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4.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5.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7.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comments/modernComment_7FFFD070_D0851251.xml" ContentType="application/vnd.ms-powerpoint.comment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p:sldMasterIdLst>
    <p:sldMasterId id="2147484428" r:id="rId4"/>
    <p:sldMasterId id="2147483715" r:id="rId5"/>
    <p:sldMasterId id="2147484607" r:id="rId6"/>
    <p:sldMasterId id="2147484627" r:id="rId7"/>
    <p:sldMasterId id="2147484647" r:id="rId8"/>
    <p:sldMasterId id="2147484677" r:id="rId9"/>
    <p:sldMasterId id="2147484709" r:id="rId10"/>
    <p:sldMasterId id="2147484743" r:id="rId11"/>
  </p:sldMasterIdLst>
  <p:notesMasterIdLst>
    <p:notesMasterId r:id="rId101"/>
  </p:notesMasterIdLst>
  <p:handoutMasterIdLst>
    <p:handoutMasterId r:id="rId102"/>
  </p:handoutMasterIdLst>
  <p:sldIdLst>
    <p:sldId id="2147471527" r:id="rId12"/>
    <p:sldId id="2147471526" r:id="rId13"/>
    <p:sldId id="2147471519" r:id="rId14"/>
    <p:sldId id="2145710202" r:id="rId15"/>
    <p:sldId id="2147471528" r:id="rId16"/>
    <p:sldId id="2147471472" r:id="rId17"/>
    <p:sldId id="2147471470" r:id="rId18"/>
    <p:sldId id="2076138272" r:id="rId19"/>
    <p:sldId id="286" r:id="rId20"/>
    <p:sldId id="2145710164" r:id="rId21"/>
    <p:sldId id="2147471485" r:id="rId22"/>
    <p:sldId id="2147471451" r:id="rId23"/>
    <p:sldId id="278" r:id="rId24"/>
    <p:sldId id="2147471525" r:id="rId25"/>
    <p:sldId id="2145710079" r:id="rId26"/>
    <p:sldId id="2145710198" r:id="rId27"/>
    <p:sldId id="2147471508" r:id="rId28"/>
    <p:sldId id="2147471509" r:id="rId29"/>
    <p:sldId id="2076138232" r:id="rId30"/>
    <p:sldId id="2076138245" r:id="rId31"/>
    <p:sldId id="2147471511" r:id="rId32"/>
    <p:sldId id="2147471461" r:id="rId33"/>
    <p:sldId id="2147471529" r:id="rId34"/>
    <p:sldId id="2147471462" r:id="rId35"/>
    <p:sldId id="2147471530" r:id="rId36"/>
    <p:sldId id="2147471510" r:id="rId37"/>
    <p:sldId id="2147471463" r:id="rId38"/>
    <p:sldId id="2145710183" r:id="rId39"/>
    <p:sldId id="2147471478" r:id="rId40"/>
    <p:sldId id="2147471479" r:id="rId41"/>
    <p:sldId id="2147471480" r:id="rId42"/>
    <p:sldId id="2145710171" r:id="rId43"/>
    <p:sldId id="2147471481" r:id="rId44"/>
    <p:sldId id="2147471482" r:id="rId45"/>
    <p:sldId id="2145710199" r:id="rId46"/>
    <p:sldId id="2147471455" r:id="rId47"/>
    <p:sldId id="2147471452" r:id="rId48"/>
    <p:sldId id="275" r:id="rId49"/>
    <p:sldId id="274" r:id="rId50"/>
    <p:sldId id="2147471456" r:id="rId51"/>
    <p:sldId id="2147471504" r:id="rId52"/>
    <p:sldId id="2147471505" r:id="rId53"/>
    <p:sldId id="2147471506" r:id="rId54"/>
    <p:sldId id="2147471500" r:id="rId55"/>
    <p:sldId id="2145710197" r:id="rId56"/>
    <p:sldId id="2147471501" r:id="rId57"/>
    <p:sldId id="2147471502" r:id="rId58"/>
    <p:sldId id="2147471503" r:id="rId59"/>
    <p:sldId id="2145710184" r:id="rId60"/>
    <p:sldId id="259" r:id="rId61"/>
    <p:sldId id="2147471507" r:id="rId62"/>
    <p:sldId id="2147471488" r:id="rId63"/>
    <p:sldId id="2147471464" r:id="rId64"/>
    <p:sldId id="2147471515" r:id="rId65"/>
    <p:sldId id="2147471516" r:id="rId66"/>
    <p:sldId id="2147471514" r:id="rId67"/>
    <p:sldId id="2145710180" r:id="rId68"/>
    <p:sldId id="2147471493" r:id="rId69"/>
    <p:sldId id="2147471494" r:id="rId70"/>
    <p:sldId id="271" r:id="rId71"/>
    <p:sldId id="295" r:id="rId72"/>
    <p:sldId id="2147471495" r:id="rId73"/>
    <p:sldId id="296" r:id="rId74"/>
    <p:sldId id="298" r:id="rId75"/>
    <p:sldId id="290" r:id="rId76"/>
    <p:sldId id="2147471521" r:id="rId77"/>
    <p:sldId id="2147471522" r:id="rId78"/>
    <p:sldId id="2147471523" r:id="rId79"/>
    <p:sldId id="2147471492" r:id="rId80"/>
    <p:sldId id="2145710195" r:id="rId81"/>
    <p:sldId id="2145710196" r:id="rId82"/>
    <p:sldId id="2147471513" r:id="rId83"/>
    <p:sldId id="2147471477" r:id="rId84"/>
    <p:sldId id="2076138394" r:id="rId85"/>
    <p:sldId id="2076138389" r:id="rId86"/>
    <p:sldId id="2147471471" r:id="rId87"/>
    <p:sldId id="264" r:id="rId88"/>
    <p:sldId id="2147471454" r:id="rId89"/>
    <p:sldId id="334" r:id="rId90"/>
    <p:sldId id="2147471531" r:id="rId91"/>
    <p:sldId id="2147471532" r:id="rId92"/>
    <p:sldId id="2147471533" r:id="rId93"/>
    <p:sldId id="2147471534" r:id="rId94"/>
    <p:sldId id="2147471535" r:id="rId95"/>
    <p:sldId id="2147471536" r:id="rId96"/>
    <p:sldId id="2147471537" r:id="rId97"/>
    <p:sldId id="2147471538" r:id="rId98"/>
    <p:sldId id="2147471539" r:id="rId99"/>
    <p:sldId id="2147471540" r:id="rId100"/>
  </p:sldIdLst>
  <p:sldSz cx="18288000" cy="10287000"/>
  <p:notesSz cx="6858000" cy="9144000"/>
  <p:embeddedFontLst>
    <p:embeddedFont>
      <p:font typeface="Barlow" panose="00000500000000000000" pitchFamily="2" charset="0"/>
      <p:regular r:id="rId103"/>
      <p:bold r:id="rId104"/>
      <p:italic r:id="rId105"/>
      <p:boldItalic r:id="rId106"/>
    </p:embeddedFont>
    <p:embeddedFont>
      <p:font typeface="Montserrat" panose="00000500000000000000" pitchFamily="2" charset="0"/>
      <p:regular r:id="rId107"/>
      <p:bold r:id="rId108"/>
      <p:italic r:id="rId109"/>
      <p:boldItalic r:id="rId110"/>
    </p:embeddedFont>
    <p:embeddedFont>
      <p:font typeface="Montserrat Bold" panose="00000800000000000000" pitchFamily="2" charset="0"/>
      <p:regular r:id="rId111"/>
      <p:bold r:id="rId112"/>
      <p:italic r:id="rId113"/>
      <p:boldItalic r:id="rId114"/>
    </p:embeddedFont>
    <p:embeddedFont>
      <p:font typeface="Montserrat Bold Italics" panose="020B0604020202020204" charset="0"/>
      <p:regular r:id="rId115"/>
      <p:bold r:id="rId116"/>
      <p:italic r:id="rId117"/>
      <p:boldItalic r:id="rId118"/>
    </p:embeddedFont>
    <p:embeddedFont>
      <p:font typeface="Montserrat ExtraBold" panose="00000900000000000000" pitchFamily="2" charset="0"/>
      <p:bold r:id="rId119"/>
      <p:italic r:id="rId120"/>
      <p:boldItalic r:id="rId121"/>
    </p:embeddedFont>
    <p:embeddedFont>
      <p:font typeface="Montserrat Italics" panose="020B0604020202020204" charset="0"/>
      <p:regular r:id="rId122"/>
      <p:bold r:id="rId123"/>
      <p:italic r:id="rId124"/>
      <p:boldItalic r:id="rId125"/>
    </p:embeddedFont>
    <p:embeddedFont>
      <p:font typeface="Montserrat Light" panose="00000400000000000000" pitchFamily="2" charset="0"/>
      <p:regular r:id="rId126"/>
      <p:italic r:id="rId127"/>
    </p:embeddedFont>
    <p:embeddedFont>
      <p:font typeface="Montserrat Medium" panose="00000600000000000000" pitchFamily="2" charset="0"/>
      <p:regular r:id="rId128"/>
      <p:italic r:id="rId129"/>
    </p:embeddedFont>
    <p:embeddedFont>
      <p:font typeface="Montserrat SemiBold" panose="00000700000000000000" pitchFamily="2" charset="0"/>
      <p:regular r:id="rId130"/>
      <p:bold r:id="rId131"/>
      <p:italic r:id="rId132"/>
      <p:boldItalic r:id="rId133"/>
    </p:embeddedFont>
    <p:embeddedFont>
      <p:font typeface="Montserrat Semi-Bold" panose="020B0604020202020204" charset="0"/>
      <p:regular r:id="rId134"/>
      <p:bold r:id="rId135"/>
      <p:italic r:id="rId136"/>
      <p:boldItalic r:id="rId137"/>
    </p:embeddedFont>
    <p:embeddedFont>
      <p:font typeface="Nunito Sans ExtraLight" pitchFamily="2" charset="0"/>
      <p:regular r:id="rId138"/>
      <p:italic r:id="rId139"/>
    </p:embeddedFont>
    <p:embeddedFont>
      <p:font typeface="Poppins" panose="00000500000000000000" pitchFamily="2" charset="0"/>
      <p:regular r:id="rId140"/>
      <p:bold r:id="rId141"/>
      <p:italic r:id="rId142"/>
      <p:boldItalic r:id="rId143"/>
    </p:embeddedFont>
    <p:embeddedFont>
      <p:font typeface="Proxima Nova" panose="020B0604020202020204" charset="0"/>
      <p:regular r:id="rId144"/>
      <p:bold r:id="rId145"/>
      <p:italic r:id="rId146"/>
      <p:boldItalic r:id="rId147"/>
    </p:embeddedFont>
    <p:embeddedFont>
      <p:font typeface="Roboto" panose="02000000000000000000" pitchFamily="2" charset="0"/>
      <p:regular r:id="rId148"/>
      <p:bold r:id="rId149"/>
      <p:italic r:id="rId150"/>
      <p:boldItalic r:id="rId151"/>
    </p:embeddedFont>
    <p:embeddedFont>
      <p:font typeface="Segoe UI" panose="020B0502040204020203" pitchFamily="34" charset="0"/>
      <p:regular r:id="rId152"/>
      <p:bold r:id="rId153"/>
      <p:italic r:id="rId154"/>
      <p:boldItalic r:id="rId155"/>
    </p:embeddedFont>
    <p:embeddedFont>
      <p:font typeface="Webdings" panose="05030102010509060703" pitchFamily="18" charset="2"/>
      <p:regular r:id="rId156"/>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Default Section" id="{EEFAE4FE-ABFD-4680-BF03-1DB7FA0DF2EE}">
          <p14:sldIdLst>
            <p14:sldId id="2147471527"/>
            <p14:sldId id="2147471526"/>
            <p14:sldId id="2147471519"/>
            <p14:sldId id="2145710202"/>
            <p14:sldId id="2147471528"/>
            <p14:sldId id="2147471472"/>
            <p14:sldId id="2147471470"/>
            <p14:sldId id="2076138272"/>
            <p14:sldId id="286"/>
            <p14:sldId id="2145710164"/>
            <p14:sldId id="2147471485"/>
            <p14:sldId id="2147471451"/>
            <p14:sldId id="278"/>
            <p14:sldId id="2147471525"/>
            <p14:sldId id="2145710079"/>
            <p14:sldId id="2145710198"/>
            <p14:sldId id="2147471508"/>
            <p14:sldId id="2147471509"/>
            <p14:sldId id="2076138232"/>
            <p14:sldId id="2076138245"/>
            <p14:sldId id="2147471511"/>
            <p14:sldId id="2147471461"/>
            <p14:sldId id="2147471529"/>
            <p14:sldId id="2147471462"/>
            <p14:sldId id="2147471530"/>
            <p14:sldId id="2147471510"/>
            <p14:sldId id="2147471463"/>
            <p14:sldId id="2145710183"/>
            <p14:sldId id="2147471478"/>
            <p14:sldId id="2147471479"/>
            <p14:sldId id="2147471480"/>
            <p14:sldId id="2145710171"/>
            <p14:sldId id="2147471481"/>
            <p14:sldId id="2147471482"/>
            <p14:sldId id="2145710199"/>
            <p14:sldId id="2147471455"/>
            <p14:sldId id="2147471452"/>
            <p14:sldId id="275"/>
            <p14:sldId id="274"/>
            <p14:sldId id="2147471456"/>
            <p14:sldId id="2147471504"/>
            <p14:sldId id="2147471505"/>
            <p14:sldId id="2147471506"/>
            <p14:sldId id="2147471500"/>
            <p14:sldId id="2145710197"/>
            <p14:sldId id="2147471501"/>
            <p14:sldId id="2147471502"/>
            <p14:sldId id="2147471503"/>
            <p14:sldId id="2145710184"/>
            <p14:sldId id="259"/>
            <p14:sldId id="2147471507"/>
            <p14:sldId id="2147471488"/>
            <p14:sldId id="2147471464"/>
            <p14:sldId id="2147471515"/>
            <p14:sldId id="2147471516"/>
            <p14:sldId id="2147471514"/>
            <p14:sldId id="2145710180"/>
            <p14:sldId id="2147471493"/>
            <p14:sldId id="2147471494"/>
            <p14:sldId id="271"/>
            <p14:sldId id="295"/>
            <p14:sldId id="2147471495"/>
            <p14:sldId id="296"/>
            <p14:sldId id="298"/>
            <p14:sldId id="290"/>
            <p14:sldId id="2147471521"/>
            <p14:sldId id="2147471522"/>
            <p14:sldId id="2147471523"/>
            <p14:sldId id="2147471492"/>
            <p14:sldId id="2145710195"/>
            <p14:sldId id="2145710196"/>
            <p14:sldId id="2147471513"/>
            <p14:sldId id="2147471477"/>
            <p14:sldId id="2076138394"/>
            <p14:sldId id="2076138389"/>
            <p14:sldId id="2147471471"/>
            <p14:sldId id="264"/>
            <p14:sldId id="2147471454"/>
            <p14:sldId id="334"/>
            <p14:sldId id="2147471531"/>
            <p14:sldId id="2147471532"/>
            <p14:sldId id="2147471533"/>
            <p14:sldId id="2147471534"/>
            <p14:sldId id="2147471535"/>
            <p14:sldId id="2147471536"/>
            <p14:sldId id="2147471537"/>
            <p14:sldId id="2147471538"/>
            <p14:sldId id="2147471539"/>
            <p14:sldId id="2147471540"/>
          </p14:sldIdLst>
        </p14:section>
        <p14:section name="Backup Slides" id="{2BB8740B-C6DB-48DC-AC11-04DE6390956F}">
          <p14:sldIdLst/>
        </p14:section>
      </p14:sectionLst>
    </p:ext>
    <p:ext uri="{EFAFB233-063F-42B5-8137-9DF3F51BA10A}">
      <p15:sldGuideLst xmlns:p15="http://schemas.microsoft.com/office/powerpoint/2012/main">
        <p15:guide id="1" orient="horz" pos="3240">
          <p15:clr>
            <a:srgbClr val="A4A3A4"/>
          </p15:clr>
        </p15:guide>
        <p15:guide id="2" pos="576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484B55E-16C3-A79A-90CB-AC24109EAECD}" name="Anna Meyre Palermo Puertas" initials="AP" userId="S::re042120@qintess.com::0bab8a8b-6a6b-4b11-905a-3871c3255912" providerId="AD"/>
  <p188:author id="{9E9E6463-60CB-9B59-6424-0D09F7F6F229}" name="Joao Antonio Amante Machado" initials="JM" userId="S::re043871@qintess.com::8cb57019-f1da-49f1-bb93-68df6375c378" providerId="AD"/>
  <p188:author id="{223F538D-449B-4505-DBEF-DEB7DFE2F5E1}" name="Ana Burbano" initials="AB" userId="S::re046196@qintess.com::ebf3f220-ca68-449f-ac95-fad767a003ba" providerId="AD"/>
  <p188:author id="{D5E5E98F-E07B-D56F-0CA9-675D3FE84D69}" name="Fellipe Fernandes Menezes Santos" initials="FS" userId="S::re042460@qintess.com::52cb8e66-8509-4b63-8941-1a98c121aa07" providerId="AD"/>
  <p188:author id="{22F3F0AE-4B23-258D-8B17-CF2CC8D46FAB}" name="Nuno Manuel Duarte Oliveira" initials="NM" userId="S::re046130@qintess.com::aba5769e-cd1e-4c64-9adb-20d8b25640c5" providerId="AD"/>
  <p188:author id="{C696C0CD-D21D-7F65-C51F-902711C4D1E0}" name="Guilherme Nogueira de Paula Tegethoff" initials="GT" userId="S::re045868@qintess.com::09bc0915-3b82-449e-a217-24142a84fb0c" providerId="AD"/>
  <p188:author id="{C53C33D0-B801-C78E-BA10-4A0E52E76FB6}" name="Francisco Marmo Da Fonseca" initials="FF" userId="S::re040707@qintess.com::543dfcb0-9882-4399-81d7-14f678bd28d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Thais Trapp Santos Ducatti" initials="TTSD" lastIdx="3" clrIdx="0">
    <p:extLst>
      <p:ext uri="{19B8F6BF-5375-455C-9EA6-DF929625EA0E}">
        <p15:presenceInfo xmlns:p15="http://schemas.microsoft.com/office/powerpoint/2012/main" userId="S-1-5-21-2648937947-613879792-2109934278-58127" providerId="AD"/>
      </p:ext>
    </p:extLst>
  </p:cmAuthor>
  <p:cmAuthor id="2" name="Lais Silveira" initials="LS" lastIdx="1" clrIdx="1">
    <p:extLst>
      <p:ext uri="{19B8F6BF-5375-455C-9EA6-DF929625EA0E}">
        <p15:presenceInfo xmlns:p15="http://schemas.microsoft.com/office/powerpoint/2012/main" userId="Lais Silveira" providerId="None"/>
      </p:ext>
    </p:extLst>
  </p:cmAuthor>
  <p:cmAuthor id="3" name="ct75" initials="c" lastIdx="2" clrIdx="2">
    <p:extLst>
      <p:ext uri="{19B8F6BF-5375-455C-9EA6-DF929625EA0E}">
        <p15:presenceInfo xmlns:p15="http://schemas.microsoft.com/office/powerpoint/2012/main" userId="ct75"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816FF"/>
    <a:srgbClr val="39008F"/>
    <a:srgbClr val="FFFFFF"/>
    <a:srgbClr val="7D43FF"/>
    <a:srgbClr val="B010F0"/>
    <a:srgbClr val="D98CF8"/>
    <a:srgbClr val="6900FF"/>
    <a:srgbClr val="6800FF"/>
    <a:srgbClr val="D3356E"/>
    <a:srgbClr val="B01C7F"/>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BAAF073-BDC1-8A5F-79C2-532EC1D57A47}" v="308" dt="2025-05-07T22:02:23.734"/>
    <p1510:client id="{90DDEAAE-E167-C188-572D-CDBDC88CA496}" v="17" dt="2025-05-09T14:07:10.839"/>
    <p1510:client id="{BD45BF9A-D840-4634-64D2-ADD1B11B6D05}" v="997" dt="2025-05-07T16:54:48.702"/>
    <p1510:client id="{C9C3DF3A-9A43-F174-C47C-2F47F54ED836}" v="728" dt="2025-05-07T14:16:10.740"/>
  </p1510:revLst>
</p1510:revInfo>
</file>

<file path=ppt/tableStyles.xml><?xml version="1.0" encoding="utf-8"?>
<a:tblStyleLst xmlns:a="http://schemas.openxmlformats.org/drawingml/2006/main" def="{5C22544A-7EE6-4342-B048-85BDC9FD1C3A}">
  <a:tblStyle styleId="{5C22544A-7EE6-4342-B048-85BDC9FD1C3A}" styleName="Estilo Médio 2 - Ênfas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7" d="100"/>
          <a:sy n="67" d="100"/>
        </p:scale>
        <p:origin x="267" y="27"/>
      </p:cViewPr>
      <p:guideLst>
        <p:guide orient="horz" pos="3240"/>
        <p:guide pos="576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font" Target="fonts/font15.fntdata"/><Relationship Id="rId21" Type="http://schemas.openxmlformats.org/officeDocument/2006/relationships/slide" Target="slides/slide10.xml"/><Relationship Id="rId42" Type="http://schemas.openxmlformats.org/officeDocument/2006/relationships/slide" Target="slides/slide31.xml"/><Relationship Id="rId63" Type="http://schemas.openxmlformats.org/officeDocument/2006/relationships/slide" Target="slides/slide52.xml"/><Relationship Id="rId84" Type="http://schemas.openxmlformats.org/officeDocument/2006/relationships/slide" Target="slides/slide73.xml"/><Relationship Id="rId138" Type="http://schemas.openxmlformats.org/officeDocument/2006/relationships/font" Target="fonts/font36.fntdata"/><Relationship Id="rId159" Type="http://schemas.openxmlformats.org/officeDocument/2006/relationships/viewProps" Target="viewProps.xml"/><Relationship Id="rId107" Type="http://schemas.openxmlformats.org/officeDocument/2006/relationships/font" Target="fonts/font5.fntdata"/><Relationship Id="rId11" Type="http://schemas.openxmlformats.org/officeDocument/2006/relationships/slideMaster" Target="slideMasters/slideMaster8.xml"/><Relationship Id="rId32" Type="http://schemas.openxmlformats.org/officeDocument/2006/relationships/slide" Target="slides/slide21.xml"/><Relationship Id="rId53" Type="http://schemas.openxmlformats.org/officeDocument/2006/relationships/slide" Target="slides/slide42.xml"/><Relationship Id="rId74" Type="http://schemas.openxmlformats.org/officeDocument/2006/relationships/slide" Target="slides/slide63.xml"/><Relationship Id="rId128" Type="http://schemas.openxmlformats.org/officeDocument/2006/relationships/font" Target="fonts/font26.fntdata"/><Relationship Id="rId149" Type="http://schemas.openxmlformats.org/officeDocument/2006/relationships/font" Target="fonts/font47.fntdata"/><Relationship Id="rId5" Type="http://schemas.openxmlformats.org/officeDocument/2006/relationships/slideMaster" Target="slideMasters/slideMaster2.xml"/><Relationship Id="rId95" Type="http://schemas.openxmlformats.org/officeDocument/2006/relationships/slide" Target="slides/slide84.xml"/><Relationship Id="rId160" Type="http://schemas.openxmlformats.org/officeDocument/2006/relationships/theme" Target="theme/theme1.xml"/><Relationship Id="rId22" Type="http://schemas.openxmlformats.org/officeDocument/2006/relationships/slide" Target="slides/slide11.xml"/><Relationship Id="rId43" Type="http://schemas.openxmlformats.org/officeDocument/2006/relationships/slide" Target="slides/slide32.xml"/><Relationship Id="rId64" Type="http://schemas.openxmlformats.org/officeDocument/2006/relationships/slide" Target="slides/slide53.xml"/><Relationship Id="rId118" Type="http://schemas.openxmlformats.org/officeDocument/2006/relationships/font" Target="fonts/font16.fntdata"/><Relationship Id="rId139" Type="http://schemas.openxmlformats.org/officeDocument/2006/relationships/font" Target="fonts/font37.fntdata"/><Relationship Id="rId85" Type="http://schemas.openxmlformats.org/officeDocument/2006/relationships/slide" Target="slides/slide74.xml"/><Relationship Id="rId150" Type="http://schemas.openxmlformats.org/officeDocument/2006/relationships/font" Target="fonts/font48.fntdata"/><Relationship Id="rId12" Type="http://schemas.openxmlformats.org/officeDocument/2006/relationships/slide" Target="slides/slide1.xml"/><Relationship Id="rId17" Type="http://schemas.openxmlformats.org/officeDocument/2006/relationships/slide" Target="slides/slide6.xml"/><Relationship Id="rId33" Type="http://schemas.openxmlformats.org/officeDocument/2006/relationships/slide" Target="slides/slide22.xml"/><Relationship Id="rId38" Type="http://schemas.openxmlformats.org/officeDocument/2006/relationships/slide" Target="slides/slide27.xml"/><Relationship Id="rId59" Type="http://schemas.openxmlformats.org/officeDocument/2006/relationships/slide" Target="slides/slide48.xml"/><Relationship Id="rId103" Type="http://schemas.openxmlformats.org/officeDocument/2006/relationships/font" Target="fonts/font1.fntdata"/><Relationship Id="rId108" Type="http://schemas.openxmlformats.org/officeDocument/2006/relationships/font" Target="fonts/font6.fntdata"/><Relationship Id="rId124" Type="http://schemas.openxmlformats.org/officeDocument/2006/relationships/font" Target="fonts/font22.fntdata"/><Relationship Id="rId129" Type="http://schemas.openxmlformats.org/officeDocument/2006/relationships/font" Target="fonts/font27.fntdata"/><Relationship Id="rId54" Type="http://schemas.openxmlformats.org/officeDocument/2006/relationships/slide" Target="slides/slide43.xml"/><Relationship Id="rId70" Type="http://schemas.openxmlformats.org/officeDocument/2006/relationships/slide" Target="slides/slide59.xml"/><Relationship Id="rId75" Type="http://schemas.openxmlformats.org/officeDocument/2006/relationships/slide" Target="slides/slide64.xml"/><Relationship Id="rId91" Type="http://schemas.openxmlformats.org/officeDocument/2006/relationships/slide" Target="slides/slide80.xml"/><Relationship Id="rId96" Type="http://schemas.openxmlformats.org/officeDocument/2006/relationships/slide" Target="slides/slide85.xml"/><Relationship Id="rId140" Type="http://schemas.openxmlformats.org/officeDocument/2006/relationships/font" Target="fonts/font38.fntdata"/><Relationship Id="rId145" Type="http://schemas.openxmlformats.org/officeDocument/2006/relationships/font" Target="fonts/font43.fntdata"/><Relationship Id="rId16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12.xml"/><Relationship Id="rId28" Type="http://schemas.openxmlformats.org/officeDocument/2006/relationships/slide" Target="slides/slide17.xml"/><Relationship Id="rId49" Type="http://schemas.openxmlformats.org/officeDocument/2006/relationships/slide" Target="slides/slide38.xml"/><Relationship Id="rId114" Type="http://schemas.openxmlformats.org/officeDocument/2006/relationships/font" Target="fonts/font12.fntdata"/><Relationship Id="rId119" Type="http://schemas.openxmlformats.org/officeDocument/2006/relationships/font" Target="fonts/font17.fntdata"/><Relationship Id="rId44" Type="http://schemas.openxmlformats.org/officeDocument/2006/relationships/slide" Target="slides/slide33.xml"/><Relationship Id="rId60" Type="http://schemas.openxmlformats.org/officeDocument/2006/relationships/slide" Target="slides/slide49.xml"/><Relationship Id="rId65" Type="http://schemas.openxmlformats.org/officeDocument/2006/relationships/slide" Target="slides/slide54.xml"/><Relationship Id="rId81" Type="http://schemas.openxmlformats.org/officeDocument/2006/relationships/slide" Target="slides/slide70.xml"/><Relationship Id="rId86" Type="http://schemas.openxmlformats.org/officeDocument/2006/relationships/slide" Target="slides/slide75.xml"/><Relationship Id="rId130" Type="http://schemas.openxmlformats.org/officeDocument/2006/relationships/font" Target="fonts/font28.fntdata"/><Relationship Id="rId135" Type="http://schemas.openxmlformats.org/officeDocument/2006/relationships/font" Target="fonts/font33.fntdata"/><Relationship Id="rId151" Type="http://schemas.openxmlformats.org/officeDocument/2006/relationships/font" Target="fonts/font49.fntdata"/><Relationship Id="rId156" Type="http://schemas.openxmlformats.org/officeDocument/2006/relationships/font" Target="fonts/font54.fntdata"/><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 Id="rId109" Type="http://schemas.openxmlformats.org/officeDocument/2006/relationships/font" Target="fonts/font7.fntdata"/><Relationship Id="rId34" Type="http://schemas.openxmlformats.org/officeDocument/2006/relationships/slide" Target="slides/slide23.xml"/><Relationship Id="rId50" Type="http://schemas.openxmlformats.org/officeDocument/2006/relationships/slide" Target="slides/slide39.xml"/><Relationship Id="rId55" Type="http://schemas.openxmlformats.org/officeDocument/2006/relationships/slide" Target="slides/slide44.xml"/><Relationship Id="rId76" Type="http://schemas.openxmlformats.org/officeDocument/2006/relationships/slide" Target="slides/slide65.xml"/><Relationship Id="rId97" Type="http://schemas.openxmlformats.org/officeDocument/2006/relationships/slide" Target="slides/slide86.xml"/><Relationship Id="rId104" Type="http://schemas.openxmlformats.org/officeDocument/2006/relationships/font" Target="fonts/font2.fntdata"/><Relationship Id="rId120" Type="http://schemas.openxmlformats.org/officeDocument/2006/relationships/font" Target="fonts/font18.fntdata"/><Relationship Id="rId125" Type="http://schemas.openxmlformats.org/officeDocument/2006/relationships/font" Target="fonts/font23.fntdata"/><Relationship Id="rId141" Type="http://schemas.openxmlformats.org/officeDocument/2006/relationships/font" Target="fonts/font39.fntdata"/><Relationship Id="rId146" Type="http://schemas.openxmlformats.org/officeDocument/2006/relationships/font" Target="fonts/font44.fntdata"/><Relationship Id="rId7" Type="http://schemas.openxmlformats.org/officeDocument/2006/relationships/slideMaster" Target="slideMasters/slideMaster4.xml"/><Relationship Id="rId71" Type="http://schemas.openxmlformats.org/officeDocument/2006/relationships/slide" Target="slides/slide60.xml"/><Relationship Id="rId92" Type="http://schemas.openxmlformats.org/officeDocument/2006/relationships/slide" Target="slides/slide81.xml"/><Relationship Id="rId162" Type="http://schemas.microsoft.com/office/2016/11/relationships/changesInfo" Target="changesInfos/changesInfo1.xml"/><Relationship Id="rId2" Type="http://schemas.openxmlformats.org/officeDocument/2006/relationships/customXml" Target="../customXml/item2.xml"/><Relationship Id="rId29" Type="http://schemas.openxmlformats.org/officeDocument/2006/relationships/slide" Target="slides/slide18.xml"/><Relationship Id="rId24" Type="http://schemas.openxmlformats.org/officeDocument/2006/relationships/slide" Target="slides/slide13.xml"/><Relationship Id="rId40" Type="http://schemas.openxmlformats.org/officeDocument/2006/relationships/slide" Target="slides/slide29.xml"/><Relationship Id="rId45" Type="http://schemas.openxmlformats.org/officeDocument/2006/relationships/slide" Target="slides/slide34.xml"/><Relationship Id="rId66" Type="http://schemas.openxmlformats.org/officeDocument/2006/relationships/slide" Target="slides/slide55.xml"/><Relationship Id="rId87" Type="http://schemas.openxmlformats.org/officeDocument/2006/relationships/slide" Target="slides/slide76.xml"/><Relationship Id="rId110" Type="http://schemas.openxmlformats.org/officeDocument/2006/relationships/font" Target="fonts/font8.fntdata"/><Relationship Id="rId115" Type="http://schemas.openxmlformats.org/officeDocument/2006/relationships/font" Target="fonts/font13.fntdata"/><Relationship Id="rId131" Type="http://schemas.openxmlformats.org/officeDocument/2006/relationships/font" Target="fonts/font29.fntdata"/><Relationship Id="rId136" Type="http://schemas.openxmlformats.org/officeDocument/2006/relationships/font" Target="fonts/font34.fntdata"/><Relationship Id="rId157" Type="http://schemas.openxmlformats.org/officeDocument/2006/relationships/commentAuthors" Target="commentAuthors.xml"/><Relationship Id="rId61" Type="http://schemas.openxmlformats.org/officeDocument/2006/relationships/slide" Target="slides/slide50.xml"/><Relationship Id="rId82" Type="http://schemas.openxmlformats.org/officeDocument/2006/relationships/slide" Target="slides/slide71.xml"/><Relationship Id="rId152" Type="http://schemas.openxmlformats.org/officeDocument/2006/relationships/font" Target="fonts/font50.fntdata"/><Relationship Id="rId19" Type="http://schemas.openxmlformats.org/officeDocument/2006/relationships/slide" Target="slides/slide8.xml"/><Relationship Id="rId14" Type="http://schemas.openxmlformats.org/officeDocument/2006/relationships/slide" Target="slides/slide3.xml"/><Relationship Id="rId30" Type="http://schemas.openxmlformats.org/officeDocument/2006/relationships/slide" Target="slides/slide19.xml"/><Relationship Id="rId35" Type="http://schemas.openxmlformats.org/officeDocument/2006/relationships/slide" Target="slides/slide24.xml"/><Relationship Id="rId56" Type="http://schemas.openxmlformats.org/officeDocument/2006/relationships/slide" Target="slides/slide45.xml"/><Relationship Id="rId77" Type="http://schemas.openxmlformats.org/officeDocument/2006/relationships/slide" Target="slides/slide66.xml"/><Relationship Id="rId100" Type="http://schemas.openxmlformats.org/officeDocument/2006/relationships/slide" Target="slides/slide89.xml"/><Relationship Id="rId105" Type="http://schemas.openxmlformats.org/officeDocument/2006/relationships/font" Target="fonts/font3.fntdata"/><Relationship Id="rId126" Type="http://schemas.openxmlformats.org/officeDocument/2006/relationships/font" Target="fonts/font24.fntdata"/><Relationship Id="rId147" Type="http://schemas.openxmlformats.org/officeDocument/2006/relationships/font" Target="fonts/font45.fntdata"/><Relationship Id="rId8" Type="http://schemas.openxmlformats.org/officeDocument/2006/relationships/slideMaster" Target="slideMasters/slideMaster5.xml"/><Relationship Id="rId51" Type="http://schemas.openxmlformats.org/officeDocument/2006/relationships/slide" Target="slides/slide40.xml"/><Relationship Id="rId72" Type="http://schemas.openxmlformats.org/officeDocument/2006/relationships/slide" Target="slides/slide61.xml"/><Relationship Id="rId93" Type="http://schemas.openxmlformats.org/officeDocument/2006/relationships/slide" Target="slides/slide82.xml"/><Relationship Id="rId98" Type="http://schemas.openxmlformats.org/officeDocument/2006/relationships/slide" Target="slides/slide87.xml"/><Relationship Id="rId121" Type="http://schemas.openxmlformats.org/officeDocument/2006/relationships/font" Target="fonts/font19.fntdata"/><Relationship Id="rId142" Type="http://schemas.openxmlformats.org/officeDocument/2006/relationships/font" Target="fonts/font40.fntdata"/><Relationship Id="rId163" Type="http://schemas.microsoft.com/office/2015/10/relationships/revisionInfo" Target="revisionInfo.xml"/><Relationship Id="rId3" Type="http://schemas.openxmlformats.org/officeDocument/2006/relationships/customXml" Target="../customXml/item3.xml"/><Relationship Id="rId25" Type="http://schemas.openxmlformats.org/officeDocument/2006/relationships/slide" Target="slides/slide14.xml"/><Relationship Id="rId46" Type="http://schemas.openxmlformats.org/officeDocument/2006/relationships/slide" Target="slides/slide35.xml"/><Relationship Id="rId67" Type="http://schemas.openxmlformats.org/officeDocument/2006/relationships/slide" Target="slides/slide56.xml"/><Relationship Id="rId116" Type="http://schemas.openxmlformats.org/officeDocument/2006/relationships/font" Target="fonts/font14.fntdata"/><Relationship Id="rId137" Type="http://schemas.openxmlformats.org/officeDocument/2006/relationships/font" Target="fonts/font35.fntdata"/><Relationship Id="rId158" Type="http://schemas.openxmlformats.org/officeDocument/2006/relationships/presProps" Target="presProps.xml"/><Relationship Id="rId20" Type="http://schemas.openxmlformats.org/officeDocument/2006/relationships/slide" Target="slides/slide9.xml"/><Relationship Id="rId41" Type="http://schemas.openxmlformats.org/officeDocument/2006/relationships/slide" Target="slides/slide30.xml"/><Relationship Id="rId62" Type="http://schemas.openxmlformats.org/officeDocument/2006/relationships/slide" Target="slides/slide51.xml"/><Relationship Id="rId83" Type="http://schemas.openxmlformats.org/officeDocument/2006/relationships/slide" Target="slides/slide72.xml"/><Relationship Id="rId88" Type="http://schemas.openxmlformats.org/officeDocument/2006/relationships/slide" Target="slides/slide77.xml"/><Relationship Id="rId111" Type="http://schemas.openxmlformats.org/officeDocument/2006/relationships/font" Target="fonts/font9.fntdata"/><Relationship Id="rId132" Type="http://schemas.openxmlformats.org/officeDocument/2006/relationships/font" Target="fonts/font30.fntdata"/><Relationship Id="rId153" Type="http://schemas.openxmlformats.org/officeDocument/2006/relationships/font" Target="fonts/font51.fntdata"/><Relationship Id="rId15" Type="http://schemas.openxmlformats.org/officeDocument/2006/relationships/slide" Target="slides/slide4.xml"/><Relationship Id="rId36" Type="http://schemas.openxmlformats.org/officeDocument/2006/relationships/slide" Target="slides/slide25.xml"/><Relationship Id="rId57" Type="http://schemas.openxmlformats.org/officeDocument/2006/relationships/slide" Target="slides/slide46.xml"/><Relationship Id="rId106" Type="http://schemas.openxmlformats.org/officeDocument/2006/relationships/font" Target="fonts/font4.fntdata"/><Relationship Id="rId127" Type="http://schemas.openxmlformats.org/officeDocument/2006/relationships/font" Target="fonts/font25.fntdata"/><Relationship Id="rId10" Type="http://schemas.openxmlformats.org/officeDocument/2006/relationships/slideMaster" Target="slideMasters/slideMaster7.xml"/><Relationship Id="rId31" Type="http://schemas.openxmlformats.org/officeDocument/2006/relationships/slide" Target="slides/slide20.xml"/><Relationship Id="rId52" Type="http://schemas.openxmlformats.org/officeDocument/2006/relationships/slide" Target="slides/slide41.xml"/><Relationship Id="rId73" Type="http://schemas.openxmlformats.org/officeDocument/2006/relationships/slide" Target="slides/slide62.xml"/><Relationship Id="rId78" Type="http://schemas.openxmlformats.org/officeDocument/2006/relationships/slide" Target="slides/slide67.xml"/><Relationship Id="rId94" Type="http://schemas.openxmlformats.org/officeDocument/2006/relationships/slide" Target="slides/slide83.xml"/><Relationship Id="rId99" Type="http://schemas.openxmlformats.org/officeDocument/2006/relationships/slide" Target="slides/slide88.xml"/><Relationship Id="rId101" Type="http://schemas.openxmlformats.org/officeDocument/2006/relationships/notesMaster" Target="notesMasters/notesMaster1.xml"/><Relationship Id="rId122" Type="http://schemas.openxmlformats.org/officeDocument/2006/relationships/font" Target="fonts/font20.fntdata"/><Relationship Id="rId143" Type="http://schemas.openxmlformats.org/officeDocument/2006/relationships/font" Target="fonts/font41.fntdata"/><Relationship Id="rId148" Type="http://schemas.openxmlformats.org/officeDocument/2006/relationships/font" Target="fonts/font46.fntdata"/><Relationship Id="rId164"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26" Type="http://schemas.openxmlformats.org/officeDocument/2006/relationships/slide" Target="slides/slide15.xml"/><Relationship Id="rId47" Type="http://schemas.openxmlformats.org/officeDocument/2006/relationships/slide" Target="slides/slide36.xml"/><Relationship Id="rId68" Type="http://schemas.openxmlformats.org/officeDocument/2006/relationships/slide" Target="slides/slide57.xml"/><Relationship Id="rId89" Type="http://schemas.openxmlformats.org/officeDocument/2006/relationships/slide" Target="slides/slide78.xml"/><Relationship Id="rId112" Type="http://schemas.openxmlformats.org/officeDocument/2006/relationships/font" Target="fonts/font10.fntdata"/><Relationship Id="rId133" Type="http://schemas.openxmlformats.org/officeDocument/2006/relationships/font" Target="fonts/font31.fntdata"/><Relationship Id="rId154" Type="http://schemas.openxmlformats.org/officeDocument/2006/relationships/font" Target="fonts/font52.fntdata"/><Relationship Id="rId16" Type="http://schemas.openxmlformats.org/officeDocument/2006/relationships/slide" Target="slides/slide5.xml"/><Relationship Id="rId37" Type="http://schemas.openxmlformats.org/officeDocument/2006/relationships/slide" Target="slides/slide26.xml"/><Relationship Id="rId58" Type="http://schemas.openxmlformats.org/officeDocument/2006/relationships/slide" Target="slides/slide47.xml"/><Relationship Id="rId79" Type="http://schemas.openxmlformats.org/officeDocument/2006/relationships/slide" Target="slides/slide68.xml"/><Relationship Id="rId102" Type="http://schemas.openxmlformats.org/officeDocument/2006/relationships/handoutMaster" Target="handoutMasters/handoutMaster1.xml"/><Relationship Id="rId123" Type="http://schemas.openxmlformats.org/officeDocument/2006/relationships/font" Target="fonts/font21.fntdata"/><Relationship Id="rId144" Type="http://schemas.openxmlformats.org/officeDocument/2006/relationships/font" Target="fonts/font42.fntdata"/><Relationship Id="rId90" Type="http://schemas.openxmlformats.org/officeDocument/2006/relationships/slide" Target="slides/slide79.xml"/><Relationship Id="rId27" Type="http://schemas.openxmlformats.org/officeDocument/2006/relationships/slide" Target="slides/slide16.xml"/><Relationship Id="rId48" Type="http://schemas.openxmlformats.org/officeDocument/2006/relationships/slide" Target="slides/slide37.xml"/><Relationship Id="rId69" Type="http://schemas.openxmlformats.org/officeDocument/2006/relationships/slide" Target="slides/slide58.xml"/><Relationship Id="rId113" Type="http://schemas.openxmlformats.org/officeDocument/2006/relationships/font" Target="fonts/font11.fntdata"/><Relationship Id="rId134" Type="http://schemas.openxmlformats.org/officeDocument/2006/relationships/font" Target="fonts/font32.fntdata"/><Relationship Id="rId80" Type="http://schemas.openxmlformats.org/officeDocument/2006/relationships/slide" Target="slides/slide69.xml"/><Relationship Id="rId155" Type="http://schemas.openxmlformats.org/officeDocument/2006/relationships/font" Target="fonts/font53.fntdata"/></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uilherme Nogueira de Paula Tegethoff" userId="S::re045868@qintess.com::09bc0915-3b82-449e-a217-24142a84fb0c" providerId="AD" clId="Web-{8BAAF073-BDC1-8A5F-79C2-532EC1D57A47}"/>
    <pc:docChg chg="addSld delSld modSld sldOrd modSection">
      <pc:chgData name="Guilherme Nogueira de Paula Tegethoff" userId="S::re045868@qintess.com::09bc0915-3b82-449e-a217-24142a84fb0c" providerId="AD" clId="Web-{8BAAF073-BDC1-8A5F-79C2-532EC1D57A47}" dt="2025-05-07T22:02:23.734" v="237"/>
      <pc:docMkLst>
        <pc:docMk/>
      </pc:docMkLst>
      <pc:sldChg chg="ord">
        <pc:chgData name="Guilherme Nogueira de Paula Tegethoff" userId="S::re045868@qintess.com::09bc0915-3b82-449e-a217-24142a84fb0c" providerId="AD" clId="Web-{8BAAF073-BDC1-8A5F-79C2-532EC1D57A47}" dt="2025-05-07T21:31:51.355" v="105"/>
        <pc:sldMkLst>
          <pc:docMk/>
          <pc:sldMk cId="0" sldId="259"/>
        </pc:sldMkLst>
      </pc:sldChg>
      <pc:sldChg chg="ord">
        <pc:chgData name="Guilherme Nogueira de Paula Tegethoff" userId="S::re045868@qintess.com::09bc0915-3b82-449e-a217-24142a84fb0c" providerId="AD" clId="Web-{8BAAF073-BDC1-8A5F-79C2-532EC1D57A47}" dt="2025-05-07T21:42:48.222" v="124"/>
        <pc:sldMkLst>
          <pc:docMk/>
          <pc:sldMk cId="0" sldId="264"/>
        </pc:sldMkLst>
      </pc:sldChg>
      <pc:sldChg chg="ord">
        <pc:chgData name="Guilherme Nogueira de Paula Tegethoff" userId="S::re045868@qintess.com::09bc0915-3b82-449e-a217-24142a84fb0c" providerId="AD" clId="Web-{8BAAF073-BDC1-8A5F-79C2-532EC1D57A47}" dt="2025-05-07T21:38:04.915" v="119"/>
        <pc:sldMkLst>
          <pc:docMk/>
          <pc:sldMk cId="3071118251" sldId="271"/>
        </pc:sldMkLst>
      </pc:sldChg>
      <pc:sldChg chg="ord">
        <pc:chgData name="Guilherme Nogueira de Paula Tegethoff" userId="S::re045868@qintess.com::09bc0915-3b82-449e-a217-24142a84fb0c" providerId="AD" clId="Web-{8BAAF073-BDC1-8A5F-79C2-532EC1D57A47}" dt="2025-05-07T21:20:07.920" v="86"/>
        <pc:sldMkLst>
          <pc:docMk/>
          <pc:sldMk cId="86984930" sldId="274"/>
        </pc:sldMkLst>
      </pc:sldChg>
      <pc:sldChg chg="modSp ord">
        <pc:chgData name="Guilherme Nogueira de Paula Tegethoff" userId="S::re045868@qintess.com::09bc0915-3b82-449e-a217-24142a84fb0c" providerId="AD" clId="Web-{8BAAF073-BDC1-8A5F-79C2-532EC1D57A47}" dt="2025-05-07T21:23:21.771" v="93" actId="1076"/>
        <pc:sldMkLst>
          <pc:docMk/>
          <pc:sldMk cId="468762133" sldId="275"/>
        </pc:sldMkLst>
        <pc:spChg chg="mod">
          <ac:chgData name="Guilherme Nogueira de Paula Tegethoff" userId="S::re045868@qintess.com::09bc0915-3b82-449e-a217-24142a84fb0c" providerId="AD" clId="Web-{8BAAF073-BDC1-8A5F-79C2-532EC1D57A47}" dt="2025-05-07T21:23:12.474" v="91" actId="20577"/>
          <ac:spMkLst>
            <pc:docMk/>
            <pc:sldMk cId="468762133" sldId="275"/>
            <ac:spMk id="34" creationId="{D5189F9A-03F4-FCDC-5413-93FB49FB1743}"/>
          </ac:spMkLst>
        </pc:spChg>
        <pc:grpChg chg="mod">
          <ac:chgData name="Guilherme Nogueira de Paula Tegethoff" userId="S::re045868@qintess.com::09bc0915-3b82-449e-a217-24142a84fb0c" providerId="AD" clId="Web-{8BAAF073-BDC1-8A5F-79C2-532EC1D57A47}" dt="2025-05-07T21:23:21.771" v="93" actId="1076"/>
          <ac:grpSpMkLst>
            <pc:docMk/>
            <pc:sldMk cId="468762133" sldId="275"/>
            <ac:grpSpMk id="36" creationId="{E4079013-AC6A-427F-86F1-152AB3912F87}"/>
          </ac:grpSpMkLst>
        </pc:grpChg>
      </pc:sldChg>
      <pc:sldChg chg="del">
        <pc:chgData name="Guilherme Nogueira de Paula Tegethoff" userId="S::re045868@qintess.com::09bc0915-3b82-449e-a217-24142a84fb0c" providerId="AD" clId="Web-{8BAAF073-BDC1-8A5F-79C2-532EC1D57A47}" dt="2025-05-07T21:46:36.839" v="140"/>
        <pc:sldMkLst>
          <pc:docMk/>
          <pc:sldMk cId="2158671648" sldId="276"/>
        </pc:sldMkLst>
      </pc:sldChg>
      <pc:sldChg chg="del">
        <pc:chgData name="Guilherme Nogueira de Paula Tegethoff" userId="S::re045868@qintess.com::09bc0915-3b82-449e-a217-24142a84fb0c" providerId="AD" clId="Web-{8BAAF073-BDC1-8A5F-79C2-532EC1D57A47}" dt="2025-05-07T21:46:36.886" v="151"/>
        <pc:sldMkLst>
          <pc:docMk/>
          <pc:sldMk cId="1431136460" sldId="277"/>
        </pc:sldMkLst>
      </pc:sldChg>
      <pc:sldChg chg="del">
        <pc:chgData name="Guilherme Nogueira de Paula Tegethoff" userId="S::re045868@qintess.com::09bc0915-3b82-449e-a217-24142a84fb0c" providerId="AD" clId="Web-{8BAAF073-BDC1-8A5F-79C2-532EC1D57A47}" dt="2025-05-07T21:46:36.949" v="156"/>
        <pc:sldMkLst>
          <pc:docMk/>
          <pc:sldMk cId="889607310" sldId="285"/>
        </pc:sldMkLst>
      </pc:sldChg>
      <pc:sldChg chg="ord">
        <pc:chgData name="Guilherme Nogueira de Paula Tegethoff" userId="S::re045868@qintess.com::09bc0915-3b82-449e-a217-24142a84fb0c" providerId="AD" clId="Web-{8BAAF073-BDC1-8A5F-79C2-532EC1D57A47}" dt="2025-05-07T21:38:04.915" v="114"/>
        <pc:sldMkLst>
          <pc:docMk/>
          <pc:sldMk cId="3486687684" sldId="290"/>
        </pc:sldMkLst>
      </pc:sldChg>
      <pc:sldChg chg="ord">
        <pc:chgData name="Guilherme Nogueira de Paula Tegethoff" userId="S::re045868@qintess.com::09bc0915-3b82-449e-a217-24142a84fb0c" providerId="AD" clId="Web-{8BAAF073-BDC1-8A5F-79C2-532EC1D57A47}" dt="2025-05-07T21:38:04.915" v="118"/>
        <pc:sldMkLst>
          <pc:docMk/>
          <pc:sldMk cId="1428970670" sldId="295"/>
        </pc:sldMkLst>
      </pc:sldChg>
      <pc:sldChg chg="ord">
        <pc:chgData name="Guilherme Nogueira de Paula Tegethoff" userId="S::re045868@qintess.com::09bc0915-3b82-449e-a217-24142a84fb0c" providerId="AD" clId="Web-{8BAAF073-BDC1-8A5F-79C2-532EC1D57A47}" dt="2025-05-07T21:38:04.915" v="116"/>
        <pc:sldMkLst>
          <pc:docMk/>
          <pc:sldMk cId="3580883174" sldId="296"/>
        </pc:sldMkLst>
      </pc:sldChg>
      <pc:sldChg chg="ord">
        <pc:chgData name="Guilherme Nogueira de Paula Tegethoff" userId="S::re045868@qintess.com::09bc0915-3b82-449e-a217-24142a84fb0c" providerId="AD" clId="Web-{8BAAF073-BDC1-8A5F-79C2-532EC1D57A47}" dt="2025-05-07T21:38:04.915" v="115"/>
        <pc:sldMkLst>
          <pc:docMk/>
          <pc:sldMk cId="1332651967" sldId="298"/>
        </pc:sldMkLst>
      </pc:sldChg>
      <pc:sldChg chg="ord">
        <pc:chgData name="Guilherme Nogueira de Paula Tegethoff" userId="S::re045868@qintess.com::09bc0915-3b82-449e-a217-24142a84fb0c" providerId="AD" clId="Web-{8BAAF073-BDC1-8A5F-79C2-532EC1D57A47}" dt="2025-05-07T21:42:48.222" v="122"/>
        <pc:sldMkLst>
          <pc:docMk/>
          <pc:sldMk cId="1112258779" sldId="334"/>
        </pc:sldMkLst>
      </pc:sldChg>
      <pc:sldChg chg="ord">
        <pc:chgData name="Guilherme Nogueira de Paula Tegethoff" userId="S::re045868@qintess.com::09bc0915-3b82-449e-a217-24142a84fb0c" providerId="AD" clId="Web-{8BAAF073-BDC1-8A5F-79C2-532EC1D57A47}" dt="2025-05-07T21:42:48.222" v="126"/>
        <pc:sldMkLst>
          <pc:docMk/>
          <pc:sldMk cId="2922052741" sldId="2076138389"/>
        </pc:sldMkLst>
      </pc:sldChg>
      <pc:sldChg chg="del">
        <pc:chgData name="Guilherme Nogueira de Paula Tegethoff" userId="S::re045868@qintess.com::09bc0915-3b82-449e-a217-24142a84fb0c" providerId="AD" clId="Web-{8BAAF073-BDC1-8A5F-79C2-532EC1D57A47}" dt="2025-05-07T21:46:36.824" v="133"/>
        <pc:sldMkLst>
          <pc:docMk/>
          <pc:sldMk cId="1579488653" sldId="2076138390"/>
        </pc:sldMkLst>
      </pc:sldChg>
      <pc:sldChg chg="ord">
        <pc:chgData name="Guilherme Nogueira de Paula Tegethoff" userId="S::re045868@qintess.com::09bc0915-3b82-449e-a217-24142a84fb0c" providerId="AD" clId="Web-{8BAAF073-BDC1-8A5F-79C2-532EC1D57A47}" dt="2025-05-07T21:42:48.222" v="127"/>
        <pc:sldMkLst>
          <pc:docMk/>
          <pc:sldMk cId="1932576193" sldId="2076138394"/>
        </pc:sldMkLst>
      </pc:sldChg>
      <pc:sldChg chg="del">
        <pc:chgData name="Guilherme Nogueira de Paula Tegethoff" userId="S::re045868@qintess.com::09bc0915-3b82-449e-a217-24142a84fb0c" providerId="AD" clId="Web-{8BAAF073-BDC1-8A5F-79C2-532EC1D57A47}" dt="2025-05-07T21:46:36.824" v="137"/>
        <pc:sldMkLst>
          <pc:docMk/>
          <pc:sldMk cId="784913555" sldId="2145710081"/>
        </pc:sldMkLst>
      </pc:sldChg>
      <pc:sldChg chg="del">
        <pc:chgData name="Guilherme Nogueira de Paula Tegethoff" userId="S::re045868@qintess.com::09bc0915-3b82-449e-a217-24142a84fb0c" providerId="AD" clId="Web-{8BAAF073-BDC1-8A5F-79C2-532EC1D57A47}" dt="2025-05-07T21:46:36.824" v="135"/>
        <pc:sldMkLst>
          <pc:docMk/>
          <pc:sldMk cId="2309377710" sldId="2145710084"/>
        </pc:sldMkLst>
      </pc:sldChg>
      <pc:sldChg chg="del">
        <pc:chgData name="Guilherme Nogueira de Paula Tegethoff" userId="S::re045868@qintess.com::09bc0915-3b82-449e-a217-24142a84fb0c" providerId="AD" clId="Web-{8BAAF073-BDC1-8A5F-79C2-532EC1D57A47}" dt="2025-05-07T21:46:36.949" v="155"/>
        <pc:sldMkLst>
          <pc:docMk/>
          <pc:sldMk cId="686012222" sldId="2145710151"/>
        </pc:sldMkLst>
      </pc:sldChg>
      <pc:sldChg chg="del">
        <pc:chgData name="Guilherme Nogueira de Paula Tegethoff" userId="S::re045868@qintess.com::09bc0915-3b82-449e-a217-24142a84fb0c" providerId="AD" clId="Web-{8BAAF073-BDC1-8A5F-79C2-532EC1D57A47}" dt="2025-05-07T21:46:36.824" v="136"/>
        <pc:sldMkLst>
          <pc:docMk/>
          <pc:sldMk cId="334296120" sldId="2145710152"/>
        </pc:sldMkLst>
      </pc:sldChg>
      <pc:sldChg chg="del">
        <pc:chgData name="Guilherme Nogueira de Paula Tegethoff" userId="S::re045868@qintess.com::09bc0915-3b82-449e-a217-24142a84fb0c" providerId="AD" clId="Web-{8BAAF073-BDC1-8A5F-79C2-532EC1D57A47}" dt="2025-05-07T21:46:36.964" v="157"/>
        <pc:sldMkLst>
          <pc:docMk/>
          <pc:sldMk cId="18275659" sldId="2145710153"/>
        </pc:sldMkLst>
      </pc:sldChg>
      <pc:sldChg chg="del">
        <pc:chgData name="Guilherme Nogueira de Paula Tegethoff" userId="S::re045868@qintess.com::09bc0915-3b82-449e-a217-24142a84fb0c" providerId="AD" clId="Web-{8BAAF073-BDC1-8A5F-79C2-532EC1D57A47}" dt="2025-05-07T21:46:36.917" v="152"/>
        <pc:sldMkLst>
          <pc:docMk/>
          <pc:sldMk cId="1794106666" sldId="2145710157"/>
        </pc:sldMkLst>
      </pc:sldChg>
      <pc:sldChg chg="del">
        <pc:chgData name="Guilherme Nogueira de Paula Tegethoff" userId="S::re045868@qintess.com::09bc0915-3b82-449e-a217-24142a84fb0c" providerId="AD" clId="Web-{8BAAF073-BDC1-8A5F-79C2-532EC1D57A47}" dt="2025-05-07T21:46:36.855" v="147"/>
        <pc:sldMkLst>
          <pc:docMk/>
          <pc:sldMk cId="3709148851" sldId="2145710162"/>
        </pc:sldMkLst>
      </pc:sldChg>
      <pc:sldChg chg="del">
        <pc:chgData name="Guilherme Nogueira de Paula Tegethoff" userId="S::re045868@qintess.com::09bc0915-3b82-449e-a217-24142a84fb0c" providerId="AD" clId="Web-{8BAAF073-BDC1-8A5F-79C2-532EC1D57A47}" dt="2025-05-07T21:46:36.855" v="146"/>
        <pc:sldMkLst>
          <pc:docMk/>
          <pc:sldMk cId="1345668831" sldId="2145710165"/>
        </pc:sldMkLst>
      </pc:sldChg>
      <pc:sldChg chg="del">
        <pc:chgData name="Guilherme Nogueira de Paula Tegethoff" userId="S::re045868@qintess.com::09bc0915-3b82-449e-a217-24142a84fb0c" providerId="AD" clId="Web-{8BAAF073-BDC1-8A5F-79C2-532EC1D57A47}" dt="2025-05-07T21:46:36.839" v="145"/>
        <pc:sldMkLst>
          <pc:docMk/>
          <pc:sldMk cId="457185682" sldId="2145710166"/>
        </pc:sldMkLst>
      </pc:sldChg>
      <pc:sldChg chg="del">
        <pc:chgData name="Guilherme Nogueira de Paula Tegethoff" userId="S::re045868@qintess.com::09bc0915-3b82-449e-a217-24142a84fb0c" providerId="AD" clId="Web-{8BAAF073-BDC1-8A5F-79C2-532EC1D57A47}" dt="2025-05-07T21:46:36.839" v="144"/>
        <pc:sldMkLst>
          <pc:docMk/>
          <pc:sldMk cId="253394204" sldId="2145710167"/>
        </pc:sldMkLst>
      </pc:sldChg>
      <pc:sldChg chg="del">
        <pc:chgData name="Guilherme Nogueira de Paula Tegethoff" userId="S::re045868@qintess.com::09bc0915-3b82-449e-a217-24142a84fb0c" providerId="AD" clId="Web-{8BAAF073-BDC1-8A5F-79C2-532EC1D57A47}" dt="2025-05-07T21:46:36.839" v="143"/>
        <pc:sldMkLst>
          <pc:docMk/>
          <pc:sldMk cId="1735458368" sldId="2145710168"/>
        </pc:sldMkLst>
      </pc:sldChg>
      <pc:sldChg chg="ord">
        <pc:chgData name="Guilherme Nogueira de Paula Tegethoff" userId="S::re045868@qintess.com::09bc0915-3b82-449e-a217-24142a84fb0c" providerId="AD" clId="Web-{8BAAF073-BDC1-8A5F-79C2-532EC1D57A47}" dt="2025-05-07T21:08:54.661" v="70"/>
        <pc:sldMkLst>
          <pc:docMk/>
          <pc:sldMk cId="81247400" sldId="2145710171"/>
        </pc:sldMkLst>
      </pc:sldChg>
      <pc:sldChg chg="del">
        <pc:chgData name="Guilherme Nogueira de Paula Tegethoff" userId="S::re045868@qintess.com::09bc0915-3b82-449e-a217-24142a84fb0c" providerId="AD" clId="Web-{8BAAF073-BDC1-8A5F-79C2-532EC1D57A47}" dt="2025-05-07T21:46:36.855" v="148"/>
        <pc:sldMkLst>
          <pc:docMk/>
          <pc:sldMk cId="1859095248" sldId="2145710177"/>
        </pc:sldMkLst>
      </pc:sldChg>
      <pc:sldChg chg="del">
        <pc:chgData name="Guilherme Nogueira de Paula Tegethoff" userId="S::re045868@qintess.com::09bc0915-3b82-449e-a217-24142a84fb0c" providerId="AD" clId="Web-{8BAAF073-BDC1-8A5F-79C2-532EC1D57A47}" dt="2025-05-07T21:46:36.855" v="149"/>
        <pc:sldMkLst>
          <pc:docMk/>
          <pc:sldMk cId="103373935" sldId="2145710179"/>
        </pc:sldMkLst>
      </pc:sldChg>
      <pc:sldChg chg="ord">
        <pc:chgData name="Guilherme Nogueira de Paula Tegethoff" userId="S::re045868@qintess.com::09bc0915-3b82-449e-a217-24142a84fb0c" providerId="AD" clId="Web-{8BAAF073-BDC1-8A5F-79C2-532EC1D57A47}" dt="2025-05-07T21:31:51.339" v="98"/>
        <pc:sldMkLst>
          <pc:docMk/>
          <pc:sldMk cId="2531816922" sldId="2145710180"/>
        </pc:sldMkLst>
      </pc:sldChg>
      <pc:sldChg chg="ord">
        <pc:chgData name="Guilherme Nogueira de Paula Tegethoff" userId="S::re045868@qintess.com::09bc0915-3b82-449e-a217-24142a84fb0c" providerId="AD" clId="Web-{8BAAF073-BDC1-8A5F-79C2-532EC1D57A47}" dt="2025-05-07T21:08:54.677" v="74"/>
        <pc:sldMkLst>
          <pc:docMk/>
          <pc:sldMk cId="1498501420" sldId="2145710183"/>
        </pc:sldMkLst>
      </pc:sldChg>
      <pc:sldChg chg="ord">
        <pc:chgData name="Guilherme Nogueira de Paula Tegethoff" userId="S::re045868@qintess.com::09bc0915-3b82-449e-a217-24142a84fb0c" providerId="AD" clId="Web-{8BAAF073-BDC1-8A5F-79C2-532EC1D57A47}" dt="2025-05-07T21:31:51.355" v="106"/>
        <pc:sldMkLst>
          <pc:docMk/>
          <pc:sldMk cId="3532781145" sldId="2145710184"/>
        </pc:sldMkLst>
      </pc:sldChg>
      <pc:sldChg chg="ord">
        <pc:chgData name="Guilherme Nogueira de Paula Tegethoff" userId="S::re045868@qintess.com::09bc0915-3b82-449e-a217-24142a84fb0c" providerId="AD" clId="Web-{8BAAF073-BDC1-8A5F-79C2-532EC1D57A47}" dt="2025-05-07T21:42:48.222" v="131"/>
        <pc:sldMkLst>
          <pc:docMk/>
          <pc:sldMk cId="1154499142" sldId="2145710195"/>
        </pc:sldMkLst>
      </pc:sldChg>
      <pc:sldChg chg="ord">
        <pc:chgData name="Guilherme Nogueira de Paula Tegethoff" userId="S::re045868@qintess.com::09bc0915-3b82-449e-a217-24142a84fb0c" providerId="AD" clId="Web-{8BAAF073-BDC1-8A5F-79C2-532EC1D57A47}" dt="2025-05-07T21:42:48.222" v="130"/>
        <pc:sldMkLst>
          <pc:docMk/>
          <pc:sldMk cId="1003972273" sldId="2145710196"/>
        </pc:sldMkLst>
      </pc:sldChg>
      <pc:sldChg chg="ord">
        <pc:chgData name="Guilherme Nogueira de Paula Tegethoff" userId="S::re045868@qintess.com::09bc0915-3b82-449e-a217-24142a84fb0c" providerId="AD" clId="Web-{8BAAF073-BDC1-8A5F-79C2-532EC1D57A47}" dt="2025-05-07T21:31:51.355" v="110"/>
        <pc:sldMkLst>
          <pc:docMk/>
          <pc:sldMk cId="2230690991" sldId="2145710197"/>
        </pc:sldMkLst>
      </pc:sldChg>
      <pc:sldChg chg="ord">
        <pc:chgData name="Guilherme Nogueira de Paula Tegethoff" userId="S::re045868@qintess.com::09bc0915-3b82-449e-a217-24142a84fb0c" providerId="AD" clId="Web-{8BAAF073-BDC1-8A5F-79C2-532EC1D57A47}" dt="2025-05-07T21:20:07.936" v="90"/>
        <pc:sldMkLst>
          <pc:docMk/>
          <pc:sldMk cId="4170088159" sldId="2145710199"/>
        </pc:sldMkLst>
      </pc:sldChg>
      <pc:sldChg chg="ord">
        <pc:chgData name="Guilherme Nogueira de Paula Tegethoff" userId="S::re045868@qintess.com::09bc0915-3b82-449e-a217-24142a84fb0c" providerId="AD" clId="Web-{8BAAF073-BDC1-8A5F-79C2-532EC1D57A47}" dt="2025-05-07T21:20:07.920" v="88"/>
        <pc:sldMkLst>
          <pc:docMk/>
          <pc:sldMk cId="4095550038" sldId="2147471452"/>
        </pc:sldMkLst>
      </pc:sldChg>
      <pc:sldChg chg="ord">
        <pc:chgData name="Guilherme Nogueira de Paula Tegethoff" userId="S::re045868@qintess.com::09bc0915-3b82-449e-a217-24142a84fb0c" providerId="AD" clId="Web-{8BAAF073-BDC1-8A5F-79C2-532EC1D57A47}" dt="2025-05-07T21:42:48.222" v="123"/>
        <pc:sldMkLst>
          <pc:docMk/>
          <pc:sldMk cId="0" sldId="2147471454"/>
        </pc:sldMkLst>
      </pc:sldChg>
      <pc:sldChg chg="ord">
        <pc:chgData name="Guilherme Nogueira de Paula Tegethoff" userId="S::re045868@qintess.com::09bc0915-3b82-449e-a217-24142a84fb0c" providerId="AD" clId="Web-{8BAAF073-BDC1-8A5F-79C2-532EC1D57A47}" dt="2025-05-07T21:20:07.936" v="89"/>
        <pc:sldMkLst>
          <pc:docMk/>
          <pc:sldMk cId="1892607702" sldId="2147471455"/>
        </pc:sldMkLst>
      </pc:sldChg>
      <pc:sldChg chg="ord">
        <pc:chgData name="Guilherme Nogueira de Paula Tegethoff" userId="S::re045868@qintess.com::09bc0915-3b82-449e-a217-24142a84fb0c" providerId="AD" clId="Web-{8BAAF073-BDC1-8A5F-79C2-532EC1D57A47}" dt="2025-05-07T21:20:07.920" v="85"/>
        <pc:sldMkLst>
          <pc:docMk/>
          <pc:sldMk cId="1675052636" sldId="2147471456"/>
        </pc:sldMkLst>
      </pc:sldChg>
      <pc:sldChg chg="del">
        <pc:chgData name="Guilherme Nogueira de Paula Tegethoff" userId="S::re045868@qintess.com::09bc0915-3b82-449e-a217-24142a84fb0c" providerId="AD" clId="Web-{8BAAF073-BDC1-8A5F-79C2-532EC1D57A47}" dt="2025-05-07T21:46:36.839" v="142"/>
        <pc:sldMkLst>
          <pc:docMk/>
          <pc:sldMk cId="0" sldId="2147471460"/>
        </pc:sldMkLst>
      </pc:sldChg>
      <pc:sldChg chg="ord">
        <pc:chgData name="Guilherme Nogueira de Paula Tegethoff" userId="S::re045868@qintess.com::09bc0915-3b82-449e-a217-24142a84fb0c" providerId="AD" clId="Web-{8BAAF073-BDC1-8A5F-79C2-532EC1D57A47}" dt="2025-05-07T21:31:51.355" v="102"/>
        <pc:sldMkLst>
          <pc:docMk/>
          <pc:sldMk cId="1379889377" sldId="2147471464"/>
        </pc:sldMkLst>
      </pc:sldChg>
      <pc:sldChg chg="del">
        <pc:chgData name="Guilherme Nogueira de Paula Tegethoff" userId="S::re045868@qintess.com::09bc0915-3b82-449e-a217-24142a84fb0c" providerId="AD" clId="Web-{8BAAF073-BDC1-8A5F-79C2-532EC1D57A47}" dt="2025-05-07T21:46:36.839" v="141"/>
        <pc:sldMkLst>
          <pc:docMk/>
          <pc:sldMk cId="18246191" sldId="2147471465"/>
        </pc:sldMkLst>
      </pc:sldChg>
      <pc:sldChg chg="del">
        <pc:chgData name="Guilherme Nogueira de Paula Tegethoff" userId="S::re045868@qintess.com::09bc0915-3b82-449e-a217-24142a84fb0c" providerId="AD" clId="Web-{8BAAF073-BDC1-8A5F-79C2-532EC1D57A47}" dt="2025-05-07T21:46:36.839" v="139"/>
        <pc:sldMkLst>
          <pc:docMk/>
          <pc:sldMk cId="2663533809" sldId="2147471466"/>
        </pc:sldMkLst>
      </pc:sldChg>
      <pc:sldChg chg="ord">
        <pc:chgData name="Guilherme Nogueira de Paula Tegethoff" userId="S::re045868@qintess.com::09bc0915-3b82-449e-a217-24142a84fb0c" providerId="AD" clId="Web-{8BAAF073-BDC1-8A5F-79C2-532EC1D57A47}" dt="2025-05-07T21:42:48.222" v="125"/>
        <pc:sldMkLst>
          <pc:docMk/>
          <pc:sldMk cId="3663465369" sldId="2147471471"/>
        </pc:sldMkLst>
      </pc:sldChg>
      <pc:sldChg chg="del">
        <pc:chgData name="Guilherme Nogueira de Paula Tegethoff" userId="S::re045868@qintess.com::09bc0915-3b82-449e-a217-24142a84fb0c" providerId="AD" clId="Web-{8BAAF073-BDC1-8A5F-79C2-532EC1D57A47}" dt="2025-05-07T21:46:36.824" v="138"/>
        <pc:sldMkLst>
          <pc:docMk/>
          <pc:sldMk cId="3073479454" sldId="2147471474"/>
        </pc:sldMkLst>
      </pc:sldChg>
      <pc:sldChg chg="del">
        <pc:chgData name="Guilherme Nogueira de Paula Tegethoff" userId="S::re045868@qintess.com::09bc0915-3b82-449e-a217-24142a84fb0c" providerId="AD" clId="Web-{8BAAF073-BDC1-8A5F-79C2-532EC1D57A47}" dt="2025-05-07T21:46:36.824" v="134"/>
        <pc:sldMkLst>
          <pc:docMk/>
          <pc:sldMk cId="3744984356" sldId="2147471475"/>
        </pc:sldMkLst>
      </pc:sldChg>
      <pc:sldChg chg="ord">
        <pc:chgData name="Guilherme Nogueira de Paula Tegethoff" userId="S::re045868@qintess.com::09bc0915-3b82-449e-a217-24142a84fb0c" providerId="AD" clId="Web-{8BAAF073-BDC1-8A5F-79C2-532EC1D57A47}" dt="2025-05-07T21:42:48.222" v="128"/>
        <pc:sldMkLst>
          <pc:docMk/>
          <pc:sldMk cId="3265380173" sldId="2147471477"/>
        </pc:sldMkLst>
      </pc:sldChg>
      <pc:sldChg chg="ord">
        <pc:chgData name="Guilherme Nogueira de Paula Tegethoff" userId="S::re045868@qintess.com::09bc0915-3b82-449e-a217-24142a84fb0c" providerId="AD" clId="Web-{8BAAF073-BDC1-8A5F-79C2-532EC1D57A47}" dt="2025-05-07T21:08:54.677" v="73"/>
        <pc:sldMkLst>
          <pc:docMk/>
          <pc:sldMk cId="1593925233" sldId="2147471478"/>
        </pc:sldMkLst>
      </pc:sldChg>
      <pc:sldChg chg="modSp ord">
        <pc:chgData name="Guilherme Nogueira de Paula Tegethoff" userId="S::re045868@qintess.com::09bc0915-3b82-449e-a217-24142a84fb0c" providerId="AD" clId="Web-{8BAAF073-BDC1-8A5F-79C2-532EC1D57A47}" dt="2025-05-07T21:13:04.545" v="75" actId="1076"/>
        <pc:sldMkLst>
          <pc:docMk/>
          <pc:sldMk cId="2003722276" sldId="2147471479"/>
        </pc:sldMkLst>
        <pc:grpChg chg="mod">
          <ac:chgData name="Guilherme Nogueira de Paula Tegethoff" userId="S::re045868@qintess.com::09bc0915-3b82-449e-a217-24142a84fb0c" providerId="AD" clId="Web-{8BAAF073-BDC1-8A5F-79C2-532EC1D57A47}" dt="2025-05-07T21:13:04.545" v="75" actId="1076"/>
          <ac:grpSpMkLst>
            <pc:docMk/>
            <pc:sldMk cId="2003722276" sldId="2147471479"/>
            <ac:grpSpMk id="61" creationId="{E0DB817E-C6A5-7F49-83C0-8CBE6BF217FD}"/>
          </ac:grpSpMkLst>
        </pc:grpChg>
      </pc:sldChg>
      <pc:sldChg chg="modSp ord">
        <pc:chgData name="Guilherme Nogueira de Paula Tegethoff" userId="S::re045868@qintess.com::09bc0915-3b82-449e-a217-24142a84fb0c" providerId="AD" clId="Web-{8BAAF073-BDC1-8A5F-79C2-532EC1D57A47}" dt="2025-05-07T21:18:38.433" v="80" actId="20577"/>
        <pc:sldMkLst>
          <pc:docMk/>
          <pc:sldMk cId="3293055473" sldId="2147471480"/>
        </pc:sldMkLst>
        <pc:spChg chg="mod">
          <ac:chgData name="Guilherme Nogueira de Paula Tegethoff" userId="S::re045868@qintess.com::09bc0915-3b82-449e-a217-24142a84fb0c" providerId="AD" clId="Web-{8BAAF073-BDC1-8A5F-79C2-532EC1D57A47}" dt="2025-05-07T21:18:38.433" v="80" actId="20577"/>
          <ac:spMkLst>
            <pc:docMk/>
            <pc:sldMk cId="3293055473" sldId="2147471480"/>
            <ac:spMk id="4" creationId="{8CE9485C-0E87-2A38-699E-DF3C7C0AF3F9}"/>
          </ac:spMkLst>
        </pc:spChg>
        <pc:grpChg chg="mod">
          <ac:chgData name="Guilherme Nogueira de Paula Tegethoff" userId="S::re045868@qintess.com::09bc0915-3b82-449e-a217-24142a84fb0c" providerId="AD" clId="Web-{8BAAF073-BDC1-8A5F-79C2-532EC1D57A47}" dt="2025-05-07T21:17:55.321" v="76" actId="1076"/>
          <ac:grpSpMkLst>
            <pc:docMk/>
            <pc:sldMk cId="3293055473" sldId="2147471480"/>
            <ac:grpSpMk id="6" creationId="{4F080391-6553-F9DC-652D-7983E2AFAFF6}"/>
          </ac:grpSpMkLst>
        </pc:grpChg>
      </pc:sldChg>
      <pc:sldChg chg="ord">
        <pc:chgData name="Guilherme Nogueira de Paula Tegethoff" userId="S::re045868@qintess.com::09bc0915-3b82-449e-a217-24142a84fb0c" providerId="AD" clId="Web-{8BAAF073-BDC1-8A5F-79C2-532EC1D57A47}" dt="2025-05-07T21:08:54.661" v="69"/>
        <pc:sldMkLst>
          <pc:docMk/>
          <pc:sldMk cId="3028785596" sldId="2147471481"/>
        </pc:sldMkLst>
      </pc:sldChg>
      <pc:sldChg chg="ord">
        <pc:chgData name="Guilherme Nogueira de Paula Tegethoff" userId="S::re045868@qintess.com::09bc0915-3b82-449e-a217-24142a84fb0c" providerId="AD" clId="Web-{8BAAF073-BDC1-8A5F-79C2-532EC1D57A47}" dt="2025-05-07T21:08:54.661" v="68"/>
        <pc:sldMkLst>
          <pc:docMk/>
          <pc:sldMk cId="2766697724" sldId="2147471482"/>
        </pc:sldMkLst>
      </pc:sldChg>
      <pc:sldChg chg="del">
        <pc:chgData name="Guilherme Nogueira de Paula Tegethoff" userId="S::re045868@qintess.com::09bc0915-3b82-449e-a217-24142a84fb0c" providerId="AD" clId="Web-{8BAAF073-BDC1-8A5F-79C2-532EC1D57A47}" dt="2025-05-07T21:46:36.933" v="154"/>
        <pc:sldMkLst>
          <pc:docMk/>
          <pc:sldMk cId="706333771" sldId="2147471483"/>
        </pc:sldMkLst>
      </pc:sldChg>
      <pc:sldChg chg="del">
        <pc:chgData name="Guilherme Nogueira de Paula Tegethoff" userId="S::re045868@qintess.com::09bc0915-3b82-449e-a217-24142a84fb0c" providerId="AD" clId="Web-{8BAAF073-BDC1-8A5F-79C2-532EC1D57A47}" dt="2025-05-07T21:46:36.917" v="153"/>
        <pc:sldMkLst>
          <pc:docMk/>
          <pc:sldMk cId="1705918086" sldId="2147471484"/>
        </pc:sldMkLst>
      </pc:sldChg>
      <pc:sldChg chg="del">
        <pc:chgData name="Guilherme Nogueira de Paula Tegethoff" userId="S::re045868@qintess.com::09bc0915-3b82-449e-a217-24142a84fb0c" providerId="AD" clId="Web-{8BAAF073-BDC1-8A5F-79C2-532EC1D57A47}" dt="2025-05-07T21:46:36.964" v="159"/>
        <pc:sldMkLst>
          <pc:docMk/>
          <pc:sldMk cId="0" sldId="2147471486"/>
        </pc:sldMkLst>
      </pc:sldChg>
      <pc:sldChg chg="ord">
        <pc:chgData name="Guilherme Nogueira de Paula Tegethoff" userId="S::re045868@qintess.com::09bc0915-3b82-449e-a217-24142a84fb0c" providerId="AD" clId="Web-{8BAAF073-BDC1-8A5F-79C2-532EC1D57A47}" dt="2025-05-07T21:31:51.355" v="103"/>
        <pc:sldMkLst>
          <pc:docMk/>
          <pc:sldMk cId="1813921596" sldId="2147471488"/>
        </pc:sldMkLst>
      </pc:sldChg>
      <pc:sldChg chg="ord">
        <pc:chgData name="Guilherme Nogueira de Paula Tegethoff" userId="S::re045868@qintess.com::09bc0915-3b82-449e-a217-24142a84fb0c" providerId="AD" clId="Web-{8BAAF073-BDC1-8A5F-79C2-532EC1D57A47}" dt="2025-05-07T21:42:48.222" v="132"/>
        <pc:sldMkLst>
          <pc:docMk/>
          <pc:sldMk cId="1793366773" sldId="2147471492"/>
        </pc:sldMkLst>
      </pc:sldChg>
      <pc:sldChg chg="ord">
        <pc:chgData name="Guilherme Nogueira de Paula Tegethoff" userId="S::re045868@qintess.com::09bc0915-3b82-449e-a217-24142a84fb0c" providerId="AD" clId="Web-{8BAAF073-BDC1-8A5F-79C2-532EC1D57A47}" dt="2025-05-07T21:38:04.915" v="121"/>
        <pc:sldMkLst>
          <pc:docMk/>
          <pc:sldMk cId="3875511390" sldId="2147471493"/>
        </pc:sldMkLst>
      </pc:sldChg>
      <pc:sldChg chg="ord">
        <pc:chgData name="Guilherme Nogueira de Paula Tegethoff" userId="S::re045868@qintess.com::09bc0915-3b82-449e-a217-24142a84fb0c" providerId="AD" clId="Web-{8BAAF073-BDC1-8A5F-79C2-532EC1D57A47}" dt="2025-05-07T21:38:04.915" v="120"/>
        <pc:sldMkLst>
          <pc:docMk/>
          <pc:sldMk cId="1215289972" sldId="2147471494"/>
        </pc:sldMkLst>
      </pc:sldChg>
      <pc:sldChg chg="ord">
        <pc:chgData name="Guilherme Nogueira de Paula Tegethoff" userId="S::re045868@qintess.com::09bc0915-3b82-449e-a217-24142a84fb0c" providerId="AD" clId="Web-{8BAAF073-BDC1-8A5F-79C2-532EC1D57A47}" dt="2025-05-07T21:38:04.915" v="117"/>
        <pc:sldMkLst>
          <pc:docMk/>
          <pc:sldMk cId="1684943281" sldId="2147471495"/>
        </pc:sldMkLst>
      </pc:sldChg>
      <pc:sldChg chg="modSp ord">
        <pc:chgData name="Guilherme Nogueira de Paula Tegethoff" userId="S::re045868@qintess.com::09bc0915-3b82-449e-a217-24142a84fb0c" providerId="AD" clId="Web-{8BAAF073-BDC1-8A5F-79C2-532EC1D57A47}" dt="2025-05-07T21:28:12.535" v="97"/>
        <pc:sldMkLst>
          <pc:docMk/>
          <pc:sldMk cId="1302592731" sldId="2147471500"/>
        </pc:sldMkLst>
        <pc:graphicFrameChg chg="mod modGraphic">
          <ac:chgData name="Guilherme Nogueira de Paula Tegethoff" userId="S::re045868@qintess.com::09bc0915-3b82-449e-a217-24142a84fb0c" providerId="AD" clId="Web-{8BAAF073-BDC1-8A5F-79C2-532EC1D57A47}" dt="2025-05-07T21:28:12.535" v="97"/>
          <ac:graphicFrameMkLst>
            <pc:docMk/>
            <pc:sldMk cId="1302592731" sldId="2147471500"/>
            <ac:graphicFrameMk id="96" creationId="{4850831C-5194-F929-B33D-DFB8FFBCA3FB}"/>
          </ac:graphicFrameMkLst>
        </pc:graphicFrameChg>
      </pc:sldChg>
      <pc:sldChg chg="ord">
        <pc:chgData name="Guilherme Nogueira de Paula Tegethoff" userId="S::re045868@qintess.com::09bc0915-3b82-449e-a217-24142a84fb0c" providerId="AD" clId="Web-{8BAAF073-BDC1-8A5F-79C2-532EC1D57A47}" dt="2025-05-07T21:31:51.355" v="109"/>
        <pc:sldMkLst>
          <pc:docMk/>
          <pc:sldMk cId="1320453199" sldId="2147471501"/>
        </pc:sldMkLst>
      </pc:sldChg>
      <pc:sldChg chg="ord">
        <pc:chgData name="Guilherme Nogueira de Paula Tegethoff" userId="S::re045868@qintess.com::09bc0915-3b82-449e-a217-24142a84fb0c" providerId="AD" clId="Web-{8BAAF073-BDC1-8A5F-79C2-532EC1D57A47}" dt="2025-05-07T21:31:51.355" v="108"/>
        <pc:sldMkLst>
          <pc:docMk/>
          <pc:sldMk cId="3373329655" sldId="2147471502"/>
        </pc:sldMkLst>
      </pc:sldChg>
      <pc:sldChg chg="ord">
        <pc:chgData name="Guilherme Nogueira de Paula Tegethoff" userId="S::re045868@qintess.com::09bc0915-3b82-449e-a217-24142a84fb0c" providerId="AD" clId="Web-{8BAAF073-BDC1-8A5F-79C2-532EC1D57A47}" dt="2025-05-07T21:31:51.355" v="107"/>
        <pc:sldMkLst>
          <pc:docMk/>
          <pc:sldMk cId="3730011014" sldId="2147471503"/>
        </pc:sldMkLst>
      </pc:sldChg>
      <pc:sldChg chg="ord">
        <pc:chgData name="Guilherme Nogueira de Paula Tegethoff" userId="S::re045868@qintess.com::09bc0915-3b82-449e-a217-24142a84fb0c" providerId="AD" clId="Web-{8BAAF073-BDC1-8A5F-79C2-532EC1D57A47}" dt="2025-05-07T21:20:07.920" v="84"/>
        <pc:sldMkLst>
          <pc:docMk/>
          <pc:sldMk cId="2924910093" sldId="2147471504"/>
        </pc:sldMkLst>
      </pc:sldChg>
      <pc:sldChg chg="ord">
        <pc:chgData name="Guilherme Nogueira de Paula Tegethoff" userId="S::re045868@qintess.com::09bc0915-3b82-449e-a217-24142a84fb0c" providerId="AD" clId="Web-{8BAAF073-BDC1-8A5F-79C2-532EC1D57A47}" dt="2025-05-07T21:20:07.920" v="83"/>
        <pc:sldMkLst>
          <pc:docMk/>
          <pc:sldMk cId="3602514659" sldId="2147471505"/>
        </pc:sldMkLst>
      </pc:sldChg>
      <pc:sldChg chg="ord">
        <pc:chgData name="Guilherme Nogueira de Paula Tegethoff" userId="S::re045868@qintess.com::09bc0915-3b82-449e-a217-24142a84fb0c" providerId="AD" clId="Web-{8BAAF073-BDC1-8A5F-79C2-532EC1D57A47}" dt="2025-05-07T21:20:07.920" v="82"/>
        <pc:sldMkLst>
          <pc:docMk/>
          <pc:sldMk cId="1781526352" sldId="2147471506"/>
        </pc:sldMkLst>
      </pc:sldChg>
      <pc:sldChg chg="ord">
        <pc:chgData name="Guilherme Nogueira de Paula Tegethoff" userId="S::re045868@qintess.com::09bc0915-3b82-449e-a217-24142a84fb0c" providerId="AD" clId="Web-{8BAAF073-BDC1-8A5F-79C2-532EC1D57A47}" dt="2025-05-07T21:31:51.355" v="104"/>
        <pc:sldMkLst>
          <pc:docMk/>
          <pc:sldMk cId="2167969117" sldId="2147471507"/>
        </pc:sldMkLst>
      </pc:sldChg>
      <pc:sldChg chg="addSp delSp modSp">
        <pc:chgData name="Guilherme Nogueira de Paula Tegethoff" userId="S::re045868@qintess.com::09bc0915-3b82-449e-a217-24142a84fb0c" providerId="AD" clId="Web-{8BAAF073-BDC1-8A5F-79C2-532EC1D57A47}" dt="2025-05-07T21:05:19.904" v="67" actId="20577"/>
        <pc:sldMkLst>
          <pc:docMk/>
          <pc:sldMk cId="4035593383" sldId="2147471510"/>
        </pc:sldMkLst>
        <pc:spChg chg="add">
          <ac:chgData name="Guilherme Nogueira de Paula Tegethoff" userId="S::re045868@qintess.com::09bc0915-3b82-449e-a217-24142a84fb0c" providerId="AD" clId="Web-{8BAAF073-BDC1-8A5F-79C2-532EC1D57A47}" dt="2025-05-07T21:02:29.273" v="4"/>
          <ac:spMkLst>
            <pc:docMk/>
            <pc:sldMk cId="4035593383" sldId="2147471510"/>
            <ac:spMk id="3" creationId="{5FA676A5-51DE-68DA-9070-B951F36EE2A1}"/>
          </ac:spMkLst>
        </pc:spChg>
        <pc:spChg chg="add mod">
          <ac:chgData name="Guilherme Nogueira de Paula Tegethoff" userId="S::re045868@qintess.com::09bc0915-3b82-449e-a217-24142a84fb0c" providerId="AD" clId="Web-{8BAAF073-BDC1-8A5F-79C2-532EC1D57A47}" dt="2025-05-07T21:04:20.714" v="37" actId="1076"/>
          <ac:spMkLst>
            <pc:docMk/>
            <pc:sldMk cId="4035593383" sldId="2147471510"/>
            <ac:spMk id="6" creationId="{3E75BA32-0A33-515B-ED79-A83110C004AB}"/>
          </ac:spMkLst>
        </pc:spChg>
        <pc:spChg chg="add del mod">
          <ac:chgData name="Guilherme Nogueira de Paula Tegethoff" userId="S::re045868@qintess.com::09bc0915-3b82-449e-a217-24142a84fb0c" providerId="AD" clId="Web-{8BAAF073-BDC1-8A5F-79C2-532EC1D57A47}" dt="2025-05-07T21:04:38.934" v="47" actId="1076"/>
          <ac:spMkLst>
            <pc:docMk/>
            <pc:sldMk cId="4035593383" sldId="2147471510"/>
            <ac:spMk id="7" creationId="{17FB38C4-0533-F65B-B483-030F85E93BFF}"/>
          </ac:spMkLst>
        </pc:spChg>
        <pc:spChg chg="add del">
          <ac:chgData name="Guilherme Nogueira de Paula Tegethoff" userId="S::re045868@qintess.com::09bc0915-3b82-449e-a217-24142a84fb0c" providerId="AD" clId="Web-{8BAAF073-BDC1-8A5F-79C2-532EC1D57A47}" dt="2025-05-07T21:03:16.134" v="32"/>
          <ac:spMkLst>
            <pc:docMk/>
            <pc:sldMk cId="4035593383" sldId="2147471510"/>
            <ac:spMk id="8" creationId="{A2CDB8E5-D0C1-FB5C-3738-06D9453B9AF7}"/>
          </ac:spMkLst>
        </pc:spChg>
        <pc:spChg chg="add del mod">
          <ac:chgData name="Guilherme Nogueira de Paula Tegethoff" userId="S::re045868@qintess.com::09bc0915-3b82-449e-a217-24142a84fb0c" providerId="AD" clId="Web-{8BAAF073-BDC1-8A5F-79C2-532EC1D57A47}" dt="2025-05-07T21:04:21.370" v="38"/>
          <ac:spMkLst>
            <pc:docMk/>
            <pc:sldMk cId="4035593383" sldId="2147471510"/>
            <ac:spMk id="9" creationId="{2DA65894-AEEC-F02D-EADE-91B7A81DC7E3}"/>
          </ac:spMkLst>
        </pc:spChg>
        <pc:spChg chg="add mod">
          <ac:chgData name="Guilherme Nogueira de Paula Tegethoff" userId="S::re045868@qintess.com::09bc0915-3b82-449e-a217-24142a84fb0c" providerId="AD" clId="Web-{8BAAF073-BDC1-8A5F-79C2-532EC1D57A47}" dt="2025-05-07T21:05:01.653" v="57" actId="1076"/>
          <ac:spMkLst>
            <pc:docMk/>
            <pc:sldMk cId="4035593383" sldId="2147471510"/>
            <ac:spMk id="10" creationId="{EF94AD31-ECC7-DB3D-0ADB-E7B8CD6E7A86}"/>
          </ac:spMkLst>
        </pc:spChg>
        <pc:spChg chg="add mod">
          <ac:chgData name="Guilherme Nogueira de Paula Tegethoff" userId="S::re045868@qintess.com::09bc0915-3b82-449e-a217-24142a84fb0c" providerId="AD" clId="Web-{8BAAF073-BDC1-8A5F-79C2-532EC1D57A47}" dt="2025-05-07T21:05:10.685" v="61" actId="20577"/>
          <ac:spMkLst>
            <pc:docMk/>
            <pc:sldMk cId="4035593383" sldId="2147471510"/>
            <ac:spMk id="11" creationId="{7C4132A2-0C48-A297-84E6-3F14E5DA15DC}"/>
          </ac:spMkLst>
        </pc:spChg>
        <pc:spChg chg="add mod">
          <ac:chgData name="Guilherme Nogueira de Paula Tegethoff" userId="S::re045868@qintess.com::09bc0915-3b82-449e-a217-24142a84fb0c" providerId="AD" clId="Web-{8BAAF073-BDC1-8A5F-79C2-532EC1D57A47}" dt="2025-05-07T21:05:19.904" v="67" actId="20577"/>
          <ac:spMkLst>
            <pc:docMk/>
            <pc:sldMk cId="4035593383" sldId="2147471510"/>
            <ac:spMk id="12" creationId="{707FF481-08B0-AF16-A733-0401FB2D9008}"/>
          </ac:spMkLst>
        </pc:spChg>
        <pc:spChg chg="mod">
          <ac:chgData name="Guilherme Nogueira de Paula Tegethoff" userId="S::re045868@qintess.com::09bc0915-3b82-449e-a217-24142a84fb0c" providerId="AD" clId="Web-{8BAAF073-BDC1-8A5F-79C2-532EC1D57A47}" dt="2025-05-07T21:02:26.788" v="2" actId="20577"/>
          <ac:spMkLst>
            <pc:docMk/>
            <pc:sldMk cId="4035593383" sldId="2147471510"/>
            <ac:spMk id="127" creationId="{0A7E4104-6F42-0D4E-C4E5-E0A80EFB9712}"/>
          </ac:spMkLst>
        </pc:spChg>
        <pc:spChg chg="mod">
          <ac:chgData name="Guilherme Nogueira de Paula Tegethoff" userId="S::re045868@qintess.com::09bc0915-3b82-449e-a217-24142a84fb0c" providerId="AD" clId="Web-{8BAAF073-BDC1-8A5F-79C2-532EC1D57A47}" dt="2025-05-07T21:02:27.163" v="3" actId="20577"/>
          <ac:spMkLst>
            <pc:docMk/>
            <pc:sldMk cId="4035593383" sldId="2147471510"/>
            <ac:spMk id="133" creationId="{C15C4B13-5279-3DBE-4AAA-6087F8E026BD}"/>
          </ac:spMkLst>
        </pc:spChg>
        <pc:spChg chg="add del mod">
          <ac:chgData name="Guilherme Nogueira de Paula Tegethoff" userId="S::re045868@qintess.com::09bc0915-3b82-449e-a217-24142a84fb0c" providerId="AD" clId="Web-{8BAAF073-BDC1-8A5F-79C2-532EC1D57A47}" dt="2025-05-07T21:04:32.324" v="43" actId="20577"/>
          <ac:spMkLst>
            <pc:docMk/>
            <pc:sldMk cId="4035593383" sldId="2147471510"/>
            <ac:spMk id="134" creationId="{6CC53808-5297-BDE8-34E6-C971B8D80BB1}"/>
          </ac:spMkLst>
        </pc:spChg>
        <pc:spChg chg="add del mod">
          <ac:chgData name="Guilherme Nogueira de Paula Tegethoff" userId="S::re045868@qintess.com::09bc0915-3b82-449e-a217-24142a84fb0c" providerId="AD" clId="Web-{8BAAF073-BDC1-8A5F-79C2-532EC1D57A47}" dt="2025-05-07T21:04:34.949" v="45" actId="20577"/>
          <ac:spMkLst>
            <pc:docMk/>
            <pc:sldMk cId="4035593383" sldId="2147471510"/>
            <ac:spMk id="135" creationId="{5935C6D1-ABEC-06E5-4B02-592225A075C4}"/>
          </ac:spMkLst>
        </pc:spChg>
        <pc:spChg chg="mod">
          <ac:chgData name="Guilherme Nogueira de Paula Tegethoff" userId="S::re045868@qintess.com::09bc0915-3b82-449e-a217-24142a84fb0c" providerId="AD" clId="Web-{8BAAF073-BDC1-8A5F-79C2-532EC1D57A47}" dt="2025-05-07T21:02:21.069" v="0" actId="20577"/>
          <ac:spMkLst>
            <pc:docMk/>
            <pc:sldMk cId="4035593383" sldId="2147471510"/>
            <ac:spMk id="136" creationId="{EA86A52A-5296-C0DF-B277-4C03B91598A0}"/>
          </ac:spMkLst>
        </pc:spChg>
        <pc:spChg chg="add del mod">
          <ac:chgData name="Guilherme Nogueira de Paula Tegethoff" userId="S::re045868@qintess.com::09bc0915-3b82-449e-a217-24142a84fb0c" providerId="AD" clId="Web-{8BAAF073-BDC1-8A5F-79C2-532EC1D57A47}" dt="2025-05-07T21:04:29.011" v="42" actId="20577"/>
          <ac:spMkLst>
            <pc:docMk/>
            <pc:sldMk cId="4035593383" sldId="2147471510"/>
            <ac:spMk id="137" creationId="{C8DAEF8B-D70A-2F17-C662-FDA651622F31}"/>
          </ac:spMkLst>
        </pc:spChg>
      </pc:sldChg>
      <pc:sldChg chg="ord">
        <pc:chgData name="Guilherme Nogueira de Paula Tegethoff" userId="S::re045868@qintess.com::09bc0915-3b82-449e-a217-24142a84fb0c" providerId="AD" clId="Web-{8BAAF073-BDC1-8A5F-79C2-532EC1D57A47}" dt="2025-05-07T21:42:48.222" v="129"/>
        <pc:sldMkLst>
          <pc:docMk/>
          <pc:sldMk cId="4077842529" sldId="2147471513"/>
        </pc:sldMkLst>
      </pc:sldChg>
      <pc:sldChg chg="ord">
        <pc:chgData name="Guilherme Nogueira de Paula Tegethoff" userId="S::re045868@qintess.com::09bc0915-3b82-449e-a217-24142a84fb0c" providerId="AD" clId="Web-{8BAAF073-BDC1-8A5F-79C2-532EC1D57A47}" dt="2025-05-07T21:31:51.355" v="99"/>
        <pc:sldMkLst>
          <pc:docMk/>
          <pc:sldMk cId="1519818957" sldId="2147471514"/>
        </pc:sldMkLst>
      </pc:sldChg>
      <pc:sldChg chg="ord">
        <pc:chgData name="Guilherme Nogueira de Paula Tegethoff" userId="S::re045868@qintess.com::09bc0915-3b82-449e-a217-24142a84fb0c" providerId="AD" clId="Web-{8BAAF073-BDC1-8A5F-79C2-532EC1D57A47}" dt="2025-05-07T21:31:51.355" v="101"/>
        <pc:sldMkLst>
          <pc:docMk/>
          <pc:sldMk cId="827526042" sldId="2147471515"/>
        </pc:sldMkLst>
      </pc:sldChg>
      <pc:sldChg chg="ord">
        <pc:chgData name="Guilherme Nogueira de Paula Tegethoff" userId="S::re045868@qintess.com::09bc0915-3b82-449e-a217-24142a84fb0c" providerId="AD" clId="Web-{8BAAF073-BDC1-8A5F-79C2-532EC1D57A47}" dt="2025-05-07T21:31:51.355" v="100"/>
        <pc:sldMkLst>
          <pc:docMk/>
          <pc:sldMk cId="646418494" sldId="2147471516"/>
        </pc:sldMkLst>
      </pc:sldChg>
      <pc:sldChg chg="del">
        <pc:chgData name="Guilherme Nogueira de Paula Tegethoff" userId="S::re045868@qintess.com::09bc0915-3b82-449e-a217-24142a84fb0c" providerId="AD" clId="Web-{8BAAF073-BDC1-8A5F-79C2-532EC1D57A47}" dt="2025-05-07T21:46:36.855" v="150"/>
        <pc:sldMkLst>
          <pc:docMk/>
          <pc:sldMk cId="1952440920" sldId="2147471517"/>
        </pc:sldMkLst>
      </pc:sldChg>
      <pc:sldChg chg="del">
        <pc:chgData name="Guilherme Nogueira de Paula Tegethoff" userId="S::re045868@qintess.com::09bc0915-3b82-449e-a217-24142a84fb0c" providerId="AD" clId="Web-{8BAAF073-BDC1-8A5F-79C2-532EC1D57A47}" dt="2025-05-07T21:46:36.964" v="158"/>
        <pc:sldMkLst>
          <pc:docMk/>
          <pc:sldMk cId="3855564239" sldId="2147471520"/>
        </pc:sldMkLst>
      </pc:sldChg>
      <pc:sldChg chg="ord">
        <pc:chgData name="Guilherme Nogueira de Paula Tegethoff" userId="S::re045868@qintess.com::09bc0915-3b82-449e-a217-24142a84fb0c" providerId="AD" clId="Web-{8BAAF073-BDC1-8A5F-79C2-532EC1D57A47}" dt="2025-05-07T21:38:04.915" v="113"/>
        <pc:sldMkLst>
          <pc:docMk/>
          <pc:sldMk cId="2072367419" sldId="2147471521"/>
        </pc:sldMkLst>
      </pc:sldChg>
      <pc:sldChg chg="ord">
        <pc:chgData name="Guilherme Nogueira de Paula Tegethoff" userId="S::re045868@qintess.com::09bc0915-3b82-449e-a217-24142a84fb0c" providerId="AD" clId="Web-{8BAAF073-BDC1-8A5F-79C2-532EC1D57A47}" dt="2025-05-07T21:38:04.899" v="112"/>
        <pc:sldMkLst>
          <pc:docMk/>
          <pc:sldMk cId="2553944308" sldId="2147471522"/>
        </pc:sldMkLst>
      </pc:sldChg>
      <pc:sldChg chg="ord">
        <pc:chgData name="Guilherme Nogueira de Paula Tegethoff" userId="S::re045868@qintess.com::09bc0915-3b82-449e-a217-24142a84fb0c" providerId="AD" clId="Web-{8BAAF073-BDC1-8A5F-79C2-532EC1D57A47}" dt="2025-05-07T21:38:04.899" v="111"/>
        <pc:sldMkLst>
          <pc:docMk/>
          <pc:sldMk cId="3217011073" sldId="2147471523"/>
        </pc:sldMkLst>
      </pc:sldChg>
      <pc:sldChg chg="add">
        <pc:chgData name="Guilherme Nogueira de Paula Tegethoff" userId="S::re045868@qintess.com::09bc0915-3b82-449e-a217-24142a84fb0c" providerId="AD" clId="Web-{8BAAF073-BDC1-8A5F-79C2-532EC1D57A47}" dt="2025-05-07T21:54:26.982" v="160"/>
        <pc:sldMkLst>
          <pc:docMk/>
          <pc:sldMk cId="103373935" sldId="2147471531"/>
        </pc:sldMkLst>
      </pc:sldChg>
      <pc:sldChg chg="add">
        <pc:chgData name="Guilherme Nogueira de Paula Tegethoff" userId="S::re045868@qintess.com::09bc0915-3b82-449e-a217-24142a84fb0c" providerId="AD" clId="Web-{8BAAF073-BDC1-8A5F-79C2-532EC1D57A47}" dt="2025-05-07T21:54:27.013" v="161"/>
        <pc:sldMkLst>
          <pc:docMk/>
          <pc:sldMk cId="3709148851" sldId="2147471532"/>
        </pc:sldMkLst>
      </pc:sldChg>
      <pc:sldChg chg="add">
        <pc:chgData name="Guilherme Nogueira de Paula Tegethoff" userId="S::re045868@qintess.com::09bc0915-3b82-449e-a217-24142a84fb0c" providerId="AD" clId="Web-{8BAAF073-BDC1-8A5F-79C2-532EC1D57A47}" dt="2025-05-07T21:54:27.029" v="162"/>
        <pc:sldMkLst>
          <pc:docMk/>
          <pc:sldMk cId="1345668831" sldId="2147471533"/>
        </pc:sldMkLst>
      </pc:sldChg>
      <pc:sldChg chg="add">
        <pc:chgData name="Guilherme Nogueira de Paula Tegethoff" userId="S::re045868@qintess.com::09bc0915-3b82-449e-a217-24142a84fb0c" providerId="AD" clId="Web-{8BAAF073-BDC1-8A5F-79C2-532EC1D57A47}" dt="2025-05-07T21:54:27.060" v="163"/>
        <pc:sldMkLst>
          <pc:docMk/>
          <pc:sldMk cId="457185682" sldId="2147471534"/>
        </pc:sldMkLst>
      </pc:sldChg>
      <pc:sldChg chg="add">
        <pc:chgData name="Guilherme Nogueira de Paula Tegethoff" userId="S::re045868@qintess.com::09bc0915-3b82-449e-a217-24142a84fb0c" providerId="AD" clId="Web-{8BAAF073-BDC1-8A5F-79C2-532EC1D57A47}" dt="2025-05-07T21:54:27.075" v="164"/>
        <pc:sldMkLst>
          <pc:docMk/>
          <pc:sldMk cId="253394204" sldId="2147471535"/>
        </pc:sldMkLst>
      </pc:sldChg>
      <pc:sldChg chg="add">
        <pc:chgData name="Guilherme Nogueira de Paula Tegethoff" userId="S::re045868@qintess.com::09bc0915-3b82-449e-a217-24142a84fb0c" providerId="AD" clId="Web-{8BAAF073-BDC1-8A5F-79C2-532EC1D57A47}" dt="2025-05-07T21:54:27.107" v="165"/>
        <pc:sldMkLst>
          <pc:docMk/>
          <pc:sldMk cId="1735458368" sldId="2147471536"/>
        </pc:sldMkLst>
      </pc:sldChg>
      <pc:sldChg chg="add mod setBg">
        <pc:chgData name="Guilherme Nogueira de Paula Tegethoff" userId="S::re045868@qintess.com::09bc0915-3b82-449e-a217-24142a84fb0c" providerId="AD" clId="Web-{8BAAF073-BDC1-8A5F-79C2-532EC1D57A47}" dt="2025-05-07T22:02:23.734" v="237"/>
        <pc:sldMkLst>
          <pc:docMk/>
          <pc:sldMk cId="67920147" sldId="2147471537"/>
        </pc:sldMkLst>
      </pc:sldChg>
      <pc:sldChg chg="addSp delSp modSp add">
        <pc:chgData name="Guilherme Nogueira de Paula Tegethoff" userId="S::re045868@qintess.com::09bc0915-3b82-449e-a217-24142a84fb0c" providerId="AD" clId="Web-{8BAAF073-BDC1-8A5F-79C2-532EC1D57A47}" dt="2025-05-07T21:59:58.588" v="215" actId="1076"/>
        <pc:sldMkLst>
          <pc:docMk/>
          <pc:sldMk cId="2158671648" sldId="2147471538"/>
        </pc:sldMkLst>
        <pc:spChg chg="del mod">
          <ac:chgData name="Guilherme Nogueira de Paula Tegethoff" userId="S::re045868@qintess.com::09bc0915-3b82-449e-a217-24142a84fb0c" providerId="AD" clId="Web-{8BAAF073-BDC1-8A5F-79C2-532EC1D57A47}" dt="2025-05-07T21:59:32.696" v="210"/>
          <ac:spMkLst>
            <pc:docMk/>
            <pc:sldMk cId="2158671648" sldId="2147471538"/>
            <ac:spMk id="2" creationId="{650EB465-3AD2-788A-4652-54C299FA28B1}"/>
          </ac:spMkLst>
        </pc:spChg>
        <pc:spChg chg="add mod">
          <ac:chgData name="Guilherme Nogueira de Paula Tegethoff" userId="S::re045868@qintess.com::09bc0915-3b82-449e-a217-24142a84fb0c" providerId="AD" clId="Web-{8BAAF073-BDC1-8A5F-79C2-532EC1D57A47}" dt="2025-05-07T21:59:58.588" v="215" actId="1076"/>
          <ac:spMkLst>
            <pc:docMk/>
            <pc:sldMk cId="2158671648" sldId="2147471538"/>
            <ac:spMk id="6" creationId="{B4602E3A-DF3E-C962-D1B6-FB9BDB28A7B1}"/>
          </ac:spMkLst>
        </pc:spChg>
        <pc:graphicFrameChg chg="mod modGraphic">
          <ac:chgData name="Guilherme Nogueira de Paula Tegethoff" userId="S::re045868@qintess.com::09bc0915-3b82-449e-a217-24142a84fb0c" providerId="AD" clId="Web-{8BAAF073-BDC1-8A5F-79C2-532EC1D57A47}" dt="2025-05-07T21:58:01.770" v="187"/>
          <ac:graphicFrameMkLst>
            <pc:docMk/>
            <pc:sldMk cId="2158671648" sldId="2147471538"/>
            <ac:graphicFrameMk id="930" creationId="{00000000-0000-0000-0000-000000000000}"/>
          </ac:graphicFrameMkLst>
        </pc:graphicFrameChg>
      </pc:sldChg>
      <pc:sldChg chg="addSp modSp add">
        <pc:chgData name="Guilherme Nogueira de Paula Tegethoff" userId="S::re045868@qintess.com::09bc0915-3b82-449e-a217-24142a84fb0c" providerId="AD" clId="Web-{8BAAF073-BDC1-8A5F-79C2-532EC1D57A47}" dt="2025-05-07T22:01:47.170" v="236"/>
        <pc:sldMkLst>
          <pc:docMk/>
          <pc:sldMk cId="2663533809" sldId="2147471539"/>
        </pc:sldMkLst>
        <pc:spChg chg="add">
          <ac:chgData name="Guilherme Nogueira de Paula Tegethoff" userId="S::re045868@qintess.com::09bc0915-3b82-449e-a217-24142a84fb0c" providerId="AD" clId="Web-{8BAAF073-BDC1-8A5F-79C2-532EC1D57A47}" dt="2025-05-07T22:00:08.682" v="216"/>
          <ac:spMkLst>
            <pc:docMk/>
            <pc:sldMk cId="2663533809" sldId="2147471539"/>
            <ac:spMk id="6" creationId="{22593D0D-DE9E-5A85-9C74-DA31210EEF78}"/>
          </ac:spMkLst>
        </pc:spChg>
        <pc:graphicFrameChg chg="mod modGraphic">
          <ac:chgData name="Guilherme Nogueira de Paula Tegethoff" userId="S::re045868@qintess.com::09bc0915-3b82-449e-a217-24142a84fb0c" providerId="AD" clId="Web-{8BAAF073-BDC1-8A5F-79C2-532EC1D57A47}" dt="2025-05-07T22:01:47.170" v="236"/>
          <ac:graphicFrameMkLst>
            <pc:docMk/>
            <pc:sldMk cId="2663533809" sldId="2147471539"/>
            <ac:graphicFrameMk id="930" creationId="{08D1EFE9-EDCC-FEEC-8584-629F401BFD41}"/>
          </ac:graphicFrameMkLst>
        </pc:graphicFrameChg>
      </pc:sldChg>
      <pc:sldChg chg="add">
        <pc:chgData name="Guilherme Nogueira de Paula Tegethoff" userId="S::re045868@qintess.com::09bc0915-3b82-449e-a217-24142a84fb0c" providerId="AD" clId="Web-{8BAAF073-BDC1-8A5F-79C2-532EC1D57A47}" dt="2025-05-07T21:54:27.200" v="169"/>
        <pc:sldMkLst>
          <pc:docMk/>
          <pc:sldMk cId="334296120" sldId="2147471540"/>
        </pc:sldMkLst>
      </pc:sldChg>
      <pc:sldMasterChg chg="addSldLayout">
        <pc:chgData name="Guilherme Nogueira de Paula Tegethoff" userId="S::re045868@qintess.com::09bc0915-3b82-449e-a217-24142a84fb0c" providerId="AD" clId="Web-{8BAAF073-BDC1-8A5F-79C2-532EC1D57A47}" dt="2025-05-07T21:54:27.013" v="161"/>
        <pc:sldMasterMkLst>
          <pc:docMk/>
          <pc:sldMasterMk cId="3608350272" sldId="2147484607"/>
        </pc:sldMasterMkLst>
        <pc:sldLayoutChg chg="add replId">
          <pc:chgData name="Guilherme Nogueira de Paula Tegethoff" userId="S::re045868@qintess.com::09bc0915-3b82-449e-a217-24142a84fb0c" providerId="AD" clId="Web-{8BAAF073-BDC1-8A5F-79C2-532EC1D57A47}" dt="2025-05-07T21:54:27.013" v="161"/>
          <pc:sldLayoutMkLst>
            <pc:docMk/>
            <pc:sldMasterMk cId="3608350272" sldId="2147484607"/>
            <pc:sldLayoutMk cId="2124430946" sldId="2147484803"/>
          </pc:sldLayoutMkLst>
        </pc:sldLayoutChg>
      </pc:sldMasterChg>
    </pc:docChg>
  </pc:docChgLst>
  <pc:docChgLst>
    <pc:chgData name="Guilherme Nogueira de Paula Tegethoff" userId="S::re045868@qintess.com::09bc0915-3b82-449e-a217-24142a84fb0c" providerId="AD" clId="Web-{C9C3DF3A-9A43-F174-C47C-2F47F54ED836}"/>
    <pc:docChg chg="addSld delSld modSld sldOrd modSection">
      <pc:chgData name="Guilherme Nogueira de Paula Tegethoff" userId="S::re045868@qintess.com::09bc0915-3b82-449e-a217-24142a84fb0c" providerId="AD" clId="Web-{C9C3DF3A-9A43-F174-C47C-2F47F54ED836}" dt="2025-05-07T14:16:10.740" v="449"/>
      <pc:docMkLst>
        <pc:docMk/>
      </pc:docMkLst>
      <pc:sldChg chg="modSp del ord">
        <pc:chgData name="Guilherme Nogueira de Paula Tegethoff" userId="S::re045868@qintess.com::09bc0915-3b82-449e-a217-24142a84fb0c" providerId="AD" clId="Web-{C9C3DF3A-9A43-F174-C47C-2F47F54ED836}" dt="2025-05-07T13:36:27.801" v="27"/>
        <pc:sldMkLst>
          <pc:docMk/>
          <pc:sldMk cId="1345322944" sldId="348"/>
        </pc:sldMkLst>
        <pc:spChg chg="mod">
          <ac:chgData name="Guilherme Nogueira de Paula Tegethoff" userId="S::re045868@qintess.com::09bc0915-3b82-449e-a217-24142a84fb0c" providerId="AD" clId="Web-{C9C3DF3A-9A43-F174-C47C-2F47F54ED836}" dt="2025-05-07T13:31:10.761" v="5" actId="1076"/>
          <ac:spMkLst>
            <pc:docMk/>
            <pc:sldMk cId="1345322944" sldId="348"/>
            <ac:spMk id="3" creationId="{6AC5AFA9-6868-F322-D20C-6DC2E2D5C8A4}"/>
          </ac:spMkLst>
        </pc:spChg>
      </pc:sldChg>
      <pc:sldChg chg="modSp">
        <pc:chgData name="Guilherme Nogueira de Paula Tegethoff" userId="S::re045868@qintess.com::09bc0915-3b82-449e-a217-24142a84fb0c" providerId="AD" clId="Web-{C9C3DF3A-9A43-F174-C47C-2F47F54ED836}" dt="2025-05-07T13:39:49.963" v="43" actId="20577"/>
        <pc:sldMkLst>
          <pc:docMk/>
          <pc:sldMk cId="3530198221" sldId="2145710182"/>
        </pc:sldMkLst>
        <pc:spChg chg="mod">
          <ac:chgData name="Guilherme Nogueira de Paula Tegethoff" userId="S::re045868@qintess.com::09bc0915-3b82-449e-a217-24142a84fb0c" providerId="AD" clId="Web-{C9C3DF3A-9A43-F174-C47C-2F47F54ED836}" dt="2025-05-07T13:39:49.963" v="43" actId="20577"/>
          <ac:spMkLst>
            <pc:docMk/>
            <pc:sldMk cId="3530198221" sldId="2145710182"/>
            <ac:spMk id="5" creationId="{195CEE35-5542-9230-93F0-CF38A624A1D2}"/>
          </ac:spMkLst>
        </pc:spChg>
      </pc:sldChg>
      <pc:sldChg chg="modSp">
        <pc:chgData name="Guilherme Nogueira de Paula Tegethoff" userId="S::re045868@qintess.com::09bc0915-3b82-449e-a217-24142a84fb0c" providerId="AD" clId="Web-{C9C3DF3A-9A43-F174-C47C-2F47F54ED836}" dt="2025-05-07T14:16:10.740" v="449"/>
        <pc:sldMkLst>
          <pc:docMk/>
          <pc:sldMk cId="2471773236" sldId="2147471519"/>
        </pc:sldMkLst>
        <pc:spChg chg="mod">
          <ac:chgData name="Guilherme Nogueira de Paula Tegethoff" userId="S::re045868@qintess.com::09bc0915-3b82-449e-a217-24142a84fb0c" providerId="AD" clId="Web-{C9C3DF3A-9A43-F174-C47C-2F47F54ED836}" dt="2025-05-07T14:10:57.372" v="385" actId="20577"/>
          <ac:spMkLst>
            <pc:docMk/>
            <pc:sldMk cId="2471773236" sldId="2147471519"/>
            <ac:spMk id="3" creationId="{B309CA1C-6D8F-B4CE-FDED-819C171798A3}"/>
          </ac:spMkLst>
        </pc:spChg>
        <pc:spChg chg="mod">
          <ac:chgData name="Guilherme Nogueira de Paula Tegethoff" userId="S::re045868@qintess.com::09bc0915-3b82-449e-a217-24142a84fb0c" providerId="AD" clId="Web-{C9C3DF3A-9A43-F174-C47C-2F47F54ED836}" dt="2025-05-07T14:13:13.282" v="416" actId="20577"/>
          <ac:spMkLst>
            <pc:docMk/>
            <pc:sldMk cId="2471773236" sldId="2147471519"/>
            <ac:spMk id="4" creationId="{A69E2B9B-C1E5-1F28-4AA1-6310E05AADFD}"/>
          </ac:spMkLst>
        </pc:spChg>
        <pc:spChg chg="mod">
          <ac:chgData name="Guilherme Nogueira de Paula Tegethoff" userId="S::re045868@qintess.com::09bc0915-3b82-449e-a217-24142a84fb0c" providerId="AD" clId="Web-{C9C3DF3A-9A43-F174-C47C-2F47F54ED836}" dt="2025-05-07T14:01:03.544" v="238" actId="20577"/>
          <ac:spMkLst>
            <pc:docMk/>
            <pc:sldMk cId="2471773236" sldId="2147471519"/>
            <ac:spMk id="6" creationId="{1A8D6850-8AC4-8FDD-7EB5-295B815B255B}"/>
          </ac:spMkLst>
        </pc:spChg>
        <pc:spChg chg="mod">
          <ac:chgData name="Guilherme Nogueira de Paula Tegethoff" userId="S::re045868@qintess.com::09bc0915-3b82-449e-a217-24142a84fb0c" providerId="AD" clId="Web-{C9C3DF3A-9A43-F174-C47C-2F47F54ED836}" dt="2025-05-07T13:50:54.778" v="97" actId="14100"/>
          <ac:spMkLst>
            <pc:docMk/>
            <pc:sldMk cId="2471773236" sldId="2147471519"/>
            <ac:spMk id="9" creationId="{55381ED9-22C3-7548-3C21-1369AB928CBC}"/>
          </ac:spMkLst>
        </pc:spChg>
        <pc:spChg chg="mod">
          <ac:chgData name="Guilherme Nogueira de Paula Tegethoff" userId="S::re045868@qintess.com::09bc0915-3b82-449e-a217-24142a84fb0c" providerId="AD" clId="Web-{C9C3DF3A-9A43-F174-C47C-2F47F54ED836}" dt="2025-05-07T13:46:25.520" v="76" actId="1076"/>
          <ac:spMkLst>
            <pc:docMk/>
            <pc:sldMk cId="2471773236" sldId="2147471519"/>
            <ac:spMk id="11" creationId="{8BA92CCD-9297-CE64-3DC5-CB19BFC067F8}"/>
          </ac:spMkLst>
        </pc:spChg>
        <pc:spChg chg="mod">
          <ac:chgData name="Guilherme Nogueira de Paula Tegethoff" userId="S::re045868@qintess.com::09bc0915-3b82-449e-a217-24142a84fb0c" providerId="AD" clId="Web-{C9C3DF3A-9A43-F174-C47C-2F47F54ED836}" dt="2025-05-07T13:47:48.679" v="92" actId="1076"/>
          <ac:spMkLst>
            <pc:docMk/>
            <pc:sldMk cId="2471773236" sldId="2147471519"/>
            <ac:spMk id="13" creationId="{5C3DCC7C-ED02-28C7-9AD2-CAA610354D11}"/>
          </ac:spMkLst>
        </pc:spChg>
        <pc:spChg chg="mod">
          <ac:chgData name="Guilherme Nogueira de Paula Tegethoff" userId="S::re045868@qintess.com::09bc0915-3b82-449e-a217-24142a84fb0c" providerId="AD" clId="Web-{C9C3DF3A-9A43-F174-C47C-2F47F54ED836}" dt="2025-05-07T14:15:21.176" v="439"/>
          <ac:spMkLst>
            <pc:docMk/>
            <pc:sldMk cId="2471773236" sldId="2147471519"/>
            <ac:spMk id="15" creationId="{19F9BB92-9605-2619-A959-09CB3FA7E9A2}"/>
          </ac:spMkLst>
        </pc:spChg>
        <pc:spChg chg="mod">
          <ac:chgData name="Guilherme Nogueira de Paula Tegethoff" userId="S::re045868@qintess.com::09bc0915-3b82-449e-a217-24142a84fb0c" providerId="AD" clId="Web-{C9C3DF3A-9A43-F174-C47C-2F47F54ED836}" dt="2025-05-07T13:47:42.398" v="89" actId="1076"/>
          <ac:spMkLst>
            <pc:docMk/>
            <pc:sldMk cId="2471773236" sldId="2147471519"/>
            <ac:spMk id="16" creationId="{E577BD23-1562-37CA-9E49-5564CBB261AA}"/>
          </ac:spMkLst>
        </pc:spChg>
        <pc:spChg chg="mod">
          <ac:chgData name="Guilherme Nogueira de Paula Tegethoff" userId="S::re045868@qintess.com::09bc0915-3b82-449e-a217-24142a84fb0c" providerId="AD" clId="Web-{C9C3DF3A-9A43-F174-C47C-2F47F54ED836}" dt="2025-05-07T13:47:30.522" v="88" actId="1076"/>
          <ac:spMkLst>
            <pc:docMk/>
            <pc:sldMk cId="2471773236" sldId="2147471519"/>
            <ac:spMk id="19" creationId="{EE56FAEF-8BC0-998A-0578-54A3ED09ACE9}"/>
          </ac:spMkLst>
        </pc:spChg>
        <pc:spChg chg="mod">
          <ac:chgData name="Guilherme Nogueira de Paula Tegethoff" userId="S::re045868@qintess.com::09bc0915-3b82-449e-a217-24142a84fb0c" providerId="AD" clId="Web-{C9C3DF3A-9A43-F174-C47C-2F47F54ED836}" dt="2025-05-07T13:46:12.176" v="73"/>
          <ac:spMkLst>
            <pc:docMk/>
            <pc:sldMk cId="2471773236" sldId="2147471519"/>
            <ac:spMk id="20" creationId="{547851BC-A81B-AC8B-3844-E80D4D72BED2}"/>
          </ac:spMkLst>
        </pc:spChg>
        <pc:spChg chg="mod">
          <ac:chgData name="Guilherme Nogueira de Paula Tegethoff" userId="S::re045868@qintess.com::09bc0915-3b82-449e-a217-24142a84fb0c" providerId="AD" clId="Web-{C9C3DF3A-9A43-F174-C47C-2F47F54ED836}" dt="2025-05-07T13:47:09.740" v="79" actId="1076"/>
          <ac:spMkLst>
            <pc:docMk/>
            <pc:sldMk cId="2471773236" sldId="2147471519"/>
            <ac:spMk id="21" creationId="{7285D375-85E0-B4F1-6296-A8A7F75E15B7}"/>
          </ac:spMkLst>
        </pc:spChg>
        <pc:spChg chg="mod">
          <ac:chgData name="Guilherme Nogueira de Paula Tegethoff" userId="S::re045868@qintess.com::09bc0915-3b82-449e-a217-24142a84fb0c" providerId="AD" clId="Web-{C9C3DF3A-9A43-F174-C47C-2F47F54ED836}" dt="2025-05-07T14:16:10.740" v="449"/>
          <ac:spMkLst>
            <pc:docMk/>
            <pc:sldMk cId="2471773236" sldId="2147471519"/>
            <ac:spMk id="24" creationId="{F2783CEA-A90B-A0C6-84E5-4A899E02DEFE}"/>
          </ac:spMkLst>
        </pc:spChg>
        <pc:spChg chg="mod">
          <ac:chgData name="Guilherme Nogueira de Paula Tegethoff" userId="S::re045868@qintess.com::09bc0915-3b82-449e-a217-24142a84fb0c" providerId="AD" clId="Web-{C9C3DF3A-9A43-F174-C47C-2F47F54ED836}" dt="2025-05-07T14:05:08.238" v="344" actId="20577"/>
          <ac:spMkLst>
            <pc:docMk/>
            <pc:sldMk cId="2471773236" sldId="2147471519"/>
            <ac:spMk id="26" creationId="{04B609B1-E4CC-E270-8EFB-14B8AE9CF299}"/>
          </ac:spMkLst>
        </pc:spChg>
        <pc:spChg chg="mod">
          <ac:chgData name="Guilherme Nogueira de Paula Tegethoff" userId="S::re045868@qintess.com::09bc0915-3b82-449e-a217-24142a84fb0c" providerId="AD" clId="Web-{C9C3DF3A-9A43-F174-C47C-2F47F54ED836}" dt="2025-05-07T14:14:31.300" v="429"/>
          <ac:spMkLst>
            <pc:docMk/>
            <pc:sldMk cId="2471773236" sldId="2147471519"/>
            <ac:spMk id="27" creationId="{7ECBDE22-B264-D254-98B5-7EACBDC2B7A0}"/>
          </ac:spMkLst>
        </pc:spChg>
        <pc:picChg chg="mod">
          <ac:chgData name="Guilherme Nogueira de Paula Tegethoff" userId="S::re045868@qintess.com::09bc0915-3b82-449e-a217-24142a84fb0c" providerId="AD" clId="Web-{C9C3DF3A-9A43-F174-C47C-2F47F54ED836}" dt="2025-05-07T13:46:15.817" v="74" actId="1076"/>
          <ac:picMkLst>
            <pc:docMk/>
            <pc:sldMk cId="2471773236" sldId="2147471519"/>
            <ac:picMk id="7" creationId="{A78842DE-0732-06B5-F443-553A6AE648BD}"/>
          </ac:picMkLst>
        </pc:picChg>
        <pc:picChg chg="mod">
          <ac:chgData name="Guilherme Nogueira de Paula Tegethoff" userId="S::re045868@qintess.com::09bc0915-3b82-449e-a217-24142a84fb0c" providerId="AD" clId="Web-{C9C3DF3A-9A43-F174-C47C-2F47F54ED836}" dt="2025-05-07T13:48:55.868" v="96" actId="1076"/>
          <ac:picMkLst>
            <pc:docMk/>
            <pc:sldMk cId="2471773236" sldId="2147471519"/>
            <ac:picMk id="8" creationId="{022F25DC-3060-D510-A240-B1C94A4B7AFB}"/>
          </ac:picMkLst>
        </pc:picChg>
        <pc:picChg chg="mod">
          <ac:chgData name="Guilherme Nogueira de Paula Tegethoff" userId="S::re045868@qintess.com::09bc0915-3b82-449e-a217-24142a84fb0c" providerId="AD" clId="Web-{C9C3DF3A-9A43-F174-C47C-2F47F54ED836}" dt="2025-05-07T13:47:48.570" v="91" actId="1076"/>
          <ac:picMkLst>
            <pc:docMk/>
            <pc:sldMk cId="2471773236" sldId="2147471519"/>
            <ac:picMk id="10" creationId="{5C1DCE69-D075-08C7-B6F4-4A5A03781B9D}"/>
          </ac:picMkLst>
        </pc:picChg>
        <pc:picChg chg="mod">
          <ac:chgData name="Guilherme Nogueira de Paula Tegethoff" userId="S::re045868@qintess.com::09bc0915-3b82-449e-a217-24142a84fb0c" providerId="AD" clId="Web-{C9C3DF3A-9A43-F174-C47C-2F47F54ED836}" dt="2025-05-07T13:47:13.412" v="80" actId="1076"/>
          <ac:picMkLst>
            <pc:docMk/>
            <pc:sldMk cId="2471773236" sldId="2147471519"/>
            <ac:picMk id="22" creationId="{36AE08B7-360D-B4B1-2F91-71CA3D17A323}"/>
          </ac:picMkLst>
        </pc:picChg>
        <pc:picChg chg="mod">
          <ac:chgData name="Guilherme Nogueira de Paula Tegethoff" userId="S::re045868@qintess.com::09bc0915-3b82-449e-a217-24142a84fb0c" providerId="AD" clId="Web-{C9C3DF3A-9A43-F174-C47C-2F47F54ED836}" dt="2025-05-07T13:47:28.319" v="84" actId="1076"/>
          <ac:picMkLst>
            <pc:docMk/>
            <pc:sldMk cId="2471773236" sldId="2147471519"/>
            <ac:picMk id="23" creationId="{5B8785F8-4F16-CA9D-7FE7-543F906DBB66}"/>
          </ac:picMkLst>
        </pc:picChg>
        <pc:picChg chg="mod">
          <ac:chgData name="Guilherme Nogueira de Paula Tegethoff" userId="S::re045868@qintess.com::09bc0915-3b82-449e-a217-24142a84fb0c" providerId="AD" clId="Web-{C9C3DF3A-9A43-F174-C47C-2F47F54ED836}" dt="2025-05-07T13:47:27.788" v="83" actId="1076"/>
          <ac:picMkLst>
            <pc:docMk/>
            <pc:sldMk cId="2471773236" sldId="2147471519"/>
            <ac:picMk id="25" creationId="{51605576-4924-35EC-9447-617770EB39FB}"/>
          </ac:picMkLst>
        </pc:picChg>
        <pc:picChg chg="mod">
          <ac:chgData name="Guilherme Nogueira de Paula Tegethoff" userId="S::re045868@qintess.com::09bc0915-3b82-449e-a217-24142a84fb0c" providerId="AD" clId="Web-{C9C3DF3A-9A43-F174-C47C-2F47F54ED836}" dt="2025-05-07T13:48:55.806" v="95" actId="1076"/>
          <ac:picMkLst>
            <pc:docMk/>
            <pc:sldMk cId="2471773236" sldId="2147471519"/>
            <ac:picMk id="29" creationId="{DD9DC2D6-1B1A-68F2-61F6-0A9F588F3B54}"/>
          </ac:picMkLst>
        </pc:picChg>
      </pc:sldChg>
      <pc:sldChg chg="addSp modSp add">
        <pc:chgData name="Guilherme Nogueira de Paula Tegethoff" userId="S::re045868@qintess.com::09bc0915-3b82-449e-a217-24142a84fb0c" providerId="AD" clId="Web-{C9C3DF3A-9A43-F174-C47C-2F47F54ED836}" dt="2025-05-07T13:36:25.020" v="26" actId="1076"/>
        <pc:sldMkLst>
          <pc:docMk/>
          <pc:sldMk cId="1476709375" sldId="2147471526"/>
        </pc:sldMkLst>
        <pc:spChg chg="add">
          <ac:chgData name="Guilherme Nogueira de Paula Tegethoff" userId="S::re045868@qintess.com::09bc0915-3b82-449e-a217-24142a84fb0c" providerId="AD" clId="Web-{C9C3DF3A-9A43-F174-C47C-2F47F54ED836}" dt="2025-05-07T13:31:17.371" v="6"/>
          <ac:spMkLst>
            <pc:docMk/>
            <pc:sldMk cId="1476709375" sldId="2147471526"/>
            <ac:spMk id="5" creationId="{56FB4A1F-886C-3DF1-7CE8-852837CDAA5A}"/>
          </ac:spMkLst>
        </pc:spChg>
        <pc:spChg chg="mod">
          <ac:chgData name="Guilherme Nogueira de Paula Tegethoff" userId="S::re045868@qintess.com::09bc0915-3b82-449e-a217-24142a84fb0c" providerId="AD" clId="Web-{C9C3DF3A-9A43-F174-C47C-2F47F54ED836}" dt="2025-05-07T13:34:04.328" v="16" actId="1076"/>
          <ac:spMkLst>
            <pc:docMk/>
            <pc:sldMk cId="1476709375" sldId="2147471526"/>
            <ac:spMk id="7" creationId="{BA12B776-A5F5-C68F-AC11-F447541D4BAD}"/>
          </ac:spMkLst>
        </pc:spChg>
        <pc:spChg chg="mod">
          <ac:chgData name="Guilherme Nogueira de Paula Tegethoff" userId="S::re045868@qintess.com::09bc0915-3b82-449e-a217-24142a84fb0c" providerId="AD" clId="Web-{C9C3DF3A-9A43-F174-C47C-2F47F54ED836}" dt="2025-05-07T13:34:04.422" v="17" actId="1076"/>
          <ac:spMkLst>
            <pc:docMk/>
            <pc:sldMk cId="1476709375" sldId="2147471526"/>
            <ac:spMk id="9" creationId="{57935A1D-13CB-F975-215F-7C51CDC3D739}"/>
          </ac:spMkLst>
        </pc:spChg>
        <pc:spChg chg="add">
          <ac:chgData name="Guilherme Nogueira de Paula Tegethoff" userId="S::re045868@qintess.com::09bc0915-3b82-449e-a217-24142a84fb0c" providerId="AD" clId="Web-{C9C3DF3A-9A43-F174-C47C-2F47F54ED836}" dt="2025-05-07T13:33:45.453" v="14"/>
          <ac:spMkLst>
            <pc:docMk/>
            <pc:sldMk cId="1476709375" sldId="2147471526"/>
            <ac:spMk id="10" creationId="{7D366794-849C-9B3A-46F3-815825103EAE}"/>
          </ac:spMkLst>
        </pc:spChg>
        <pc:spChg chg="mod">
          <ac:chgData name="Guilherme Nogueira de Paula Tegethoff" userId="S::re045868@qintess.com::09bc0915-3b82-449e-a217-24142a84fb0c" providerId="AD" clId="Web-{C9C3DF3A-9A43-F174-C47C-2F47F54ED836}" dt="2025-05-07T13:34:20.595" v="24" actId="1076"/>
          <ac:spMkLst>
            <pc:docMk/>
            <pc:sldMk cId="1476709375" sldId="2147471526"/>
            <ac:spMk id="12" creationId="{207E83C6-64F4-8EA8-8BC4-267C568ED7F1}"/>
          </ac:spMkLst>
        </pc:spChg>
        <pc:spChg chg="mod">
          <ac:chgData name="Guilherme Nogueira de Paula Tegethoff" userId="S::re045868@qintess.com::09bc0915-3b82-449e-a217-24142a84fb0c" providerId="AD" clId="Web-{C9C3DF3A-9A43-F174-C47C-2F47F54ED836}" dt="2025-05-07T13:34:04.500" v="18" actId="1076"/>
          <ac:spMkLst>
            <pc:docMk/>
            <pc:sldMk cId="1476709375" sldId="2147471526"/>
            <ac:spMk id="42" creationId="{BA12B776-A5F5-C68F-AC11-F447541D4BAD}"/>
          </ac:spMkLst>
        </pc:spChg>
        <pc:picChg chg="mod">
          <ac:chgData name="Guilherme Nogueira de Paula Tegethoff" userId="S::re045868@qintess.com::09bc0915-3b82-449e-a217-24142a84fb0c" providerId="AD" clId="Web-{C9C3DF3A-9A43-F174-C47C-2F47F54ED836}" dt="2025-05-07T13:36:25.020" v="26" actId="1076"/>
          <ac:picMkLst>
            <pc:docMk/>
            <pc:sldMk cId="1476709375" sldId="2147471526"/>
            <ac:picMk id="4" creationId="{081CDAE7-69F8-DFF5-F891-999045F0B743}"/>
          </ac:picMkLst>
        </pc:picChg>
      </pc:sldChg>
      <pc:sldChg chg="add del">
        <pc:chgData name="Guilherme Nogueira de Paula Tegethoff" userId="S::re045868@qintess.com::09bc0915-3b82-449e-a217-24142a84fb0c" providerId="AD" clId="Web-{C9C3DF3A-9A43-F174-C47C-2F47F54ED836}" dt="2025-05-07T13:39:31.369" v="32"/>
        <pc:sldMkLst>
          <pc:docMk/>
          <pc:sldMk cId="1907050459" sldId="2147471527"/>
        </pc:sldMkLst>
      </pc:sldChg>
      <pc:sldMasterChg chg="addSldLayout">
        <pc:chgData name="Guilherme Nogueira de Paula Tegethoff" userId="S::re045868@qintess.com::09bc0915-3b82-449e-a217-24142a84fb0c" providerId="AD" clId="Web-{C9C3DF3A-9A43-F174-C47C-2F47F54ED836}" dt="2025-05-07T13:29:04.086" v="1"/>
        <pc:sldMasterMkLst>
          <pc:docMk/>
          <pc:sldMasterMk cId="1083242903" sldId="2147484647"/>
        </pc:sldMasterMkLst>
        <pc:sldLayoutChg chg="add">
          <pc:chgData name="Guilherme Nogueira de Paula Tegethoff" userId="S::re045868@qintess.com::09bc0915-3b82-449e-a217-24142a84fb0c" providerId="AD" clId="Web-{C9C3DF3A-9A43-F174-C47C-2F47F54ED836}" dt="2025-05-07T13:29:04.086" v="1"/>
          <pc:sldLayoutMkLst>
            <pc:docMk/>
            <pc:sldMasterMk cId="1083242903" sldId="2147484647"/>
            <pc:sldLayoutMk cId="2809847758" sldId="2147484802"/>
          </pc:sldLayoutMkLst>
        </pc:sldLayoutChg>
      </pc:sldMasterChg>
    </pc:docChg>
  </pc:docChgLst>
  <pc:docChgLst>
    <pc:chgData name="Guilherme Nogueira de Paula Tegethoff" userId="S::re045868@qintess.com::09bc0915-3b82-449e-a217-24142a84fb0c" providerId="AD" clId="Web-{BD45BF9A-D840-4634-64D2-ADD1B11B6D05}"/>
    <pc:docChg chg="addSld delSld modSld sldOrd modSection">
      <pc:chgData name="Guilherme Nogueira de Paula Tegethoff" userId="S::re045868@qintess.com::09bc0915-3b82-449e-a217-24142a84fb0c" providerId="AD" clId="Web-{BD45BF9A-D840-4634-64D2-ADD1B11B6D05}" dt="2025-05-07T16:54:48.702" v="643" actId="1076"/>
      <pc:docMkLst>
        <pc:docMk/>
      </pc:docMkLst>
      <pc:sldChg chg="modSp ord">
        <pc:chgData name="Guilherme Nogueira de Paula Tegethoff" userId="S::re045868@qintess.com::09bc0915-3b82-449e-a217-24142a84fb0c" providerId="AD" clId="Web-{BD45BF9A-D840-4634-64D2-ADD1B11B6D05}" dt="2025-05-07T16:14:23.228" v="316"/>
        <pc:sldMkLst>
          <pc:docMk/>
          <pc:sldMk cId="0" sldId="278"/>
        </pc:sldMkLst>
        <pc:spChg chg="mod">
          <ac:chgData name="Guilherme Nogueira de Paula Tegethoff" userId="S::re045868@qintess.com::09bc0915-3b82-449e-a217-24142a84fb0c" providerId="AD" clId="Web-{BD45BF9A-D840-4634-64D2-ADD1B11B6D05}" dt="2025-05-07T15:45:32.972" v="222" actId="20577"/>
          <ac:spMkLst>
            <pc:docMk/>
            <pc:sldMk cId="0" sldId="278"/>
            <ac:spMk id="1149" creationId="{00000000-0000-0000-0000-000000000000}"/>
          </ac:spMkLst>
        </pc:spChg>
        <pc:spChg chg="mod">
          <ac:chgData name="Guilherme Nogueira de Paula Tegethoff" userId="S::re045868@qintess.com::09bc0915-3b82-449e-a217-24142a84fb0c" providerId="AD" clId="Web-{BD45BF9A-D840-4634-64D2-ADD1B11B6D05}" dt="2025-05-07T15:44:40.346" v="218" actId="20577"/>
          <ac:spMkLst>
            <pc:docMk/>
            <pc:sldMk cId="0" sldId="278"/>
            <ac:spMk id="1239" creationId="{00000000-0000-0000-0000-000000000000}"/>
          </ac:spMkLst>
        </pc:spChg>
      </pc:sldChg>
      <pc:sldChg chg="del">
        <pc:chgData name="Guilherme Nogueira de Paula Tegethoff" userId="S::re045868@qintess.com::09bc0915-3b82-449e-a217-24142a84fb0c" providerId="AD" clId="Web-{BD45BF9A-D840-4634-64D2-ADD1B11B6D05}" dt="2025-05-07T15:45:55.863" v="227"/>
        <pc:sldMkLst>
          <pc:docMk/>
          <pc:sldMk cId="0" sldId="279"/>
        </pc:sldMkLst>
      </pc:sldChg>
      <pc:sldChg chg="modSp">
        <pc:chgData name="Guilherme Nogueira de Paula Tegethoff" userId="S::re045868@qintess.com::09bc0915-3b82-449e-a217-24142a84fb0c" providerId="AD" clId="Web-{BD45BF9A-D840-4634-64D2-ADD1B11B6D05}" dt="2025-05-07T15:54:44.312" v="292" actId="1076"/>
        <pc:sldMkLst>
          <pc:docMk/>
          <pc:sldMk cId="889607310" sldId="285"/>
        </pc:sldMkLst>
        <pc:grpChg chg="mod">
          <ac:chgData name="Guilherme Nogueira de Paula Tegethoff" userId="S::re045868@qintess.com::09bc0915-3b82-449e-a217-24142a84fb0c" providerId="AD" clId="Web-{BD45BF9A-D840-4634-64D2-ADD1B11B6D05}" dt="2025-05-07T15:54:44.312" v="292" actId="1076"/>
          <ac:grpSpMkLst>
            <pc:docMk/>
            <pc:sldMk cId="889607310" sldId="285"/>
            <ac:grpSpMk id="8" creationId="{B09CA6D8-2416-FBAD-413C-C14D0026766E}"/>
          </ac:grpSpMkLst>
        </pc:grpChg>
      </pc:sldChg>
      <pc:sldChg chg="ord">
        <pc:chgData name="Guilherme Nogueira de Paula Tegethoff" userId="S::re045868@qintess.com::09bc0915-3b82-449e-a217-24142a84fb0c" providerId="AD" clId="Web-{BD45BF9A-D840-4634-64D2-ADD1B11B6D05}" dt="2025-05-07T16:12:46.585" v="311"/>
        <pc:sldMkLst>
          <pc:docMk/>
          <pc:sldMk cId="1390051567" sldId="286"/>
        </pc:sldMkLst>
      </pc:sldChg>
      <pc:sldChg chg="ord">
        <pc:chgData name="Guilherme Nogueira de Paula Tegethoff" userId="S::re045868@qintess.com::09bc0915-3b82-449e-a217-24142a84fb0c" providerId="AD" clId="Web-{BD45BF9A-D840-4634-64D2-ADD1B11B6D05}" dt="2025-05-07T16:19:32.906" v="325"/>
        <pc:sldMkLst>
          <pc:docMk/>
          <pc:sldMk cId="114576894" sldId="2076138232"/>
        </pc:sldMkLst>
      </pc:sldChg>
      <pc:sldChg chg="ord">
        <pc:chgData name="Guilherme Nogueira de Paula Tegethoff" userId="S::re045868@qintess.com::09bc0915-3b82-449e-a217-24142a84fb0c" providerId="AD" clId="Web-{BD45BF9A-D840-4634-64D2-ADD1B11B6D05}" dt="2025-05-07T16:26:37.244" v="334"/>
        <pc:sldMkLst>
          <pc:docMk/>
          <pc:sldMk cId="3397973126" sldId="2076138245"/>
        </pc:sldMkLst>
      </pc:sldChg>
      <pc:sldChg chg="ord">
        <pc:chgData name="Guilherme Nogueira de Paula Tegethoff" userId="S::re045868@qintess.com::09bc0915-3b82-449e-a217-24142a84fb0c" providerId="AD" clId="Web-{BD45BF9A-D840-4634-64D2-ADD1B11B6D05}" dt="2025-05-07T16:12:35.038" v="310"/>
        <pc:sldMkLst>
          <pc:docMk/>
          <pc:sldMk cId="451147773" sldId="2076138272"/>
        </pc:sldMkLst>
      </pc:sldChg>
      <pc:sldChg chg="ord">
        <pc:chgData name="Guilherme Nogueira de Paula Tegethoff" userId="S::re045868@qintess.com::09bc0915-3b82-449e-a217-24142a84fb0c" providerId="AD" clId="Web-{BD45BF9A-D840-4634-64D2-ADD1B11B6D05}" dt="2025-05-07T16:14:51.041" v="318"/>
        <pc:sldMkLst>
          <pc:docMk/>
          <pc:sldMk cId="2679310017" sldId="2145710079"/>
        </pc:sldMkLst>
      </pc:sldChg>
      <pc:sldChg chg="ord">
        <pc:chgData name="Guilherme Nogueira de Paula Tegethoff" userId="S::re045868@qintess.com::09bc0915-3b82-449e-a217-24142a84fb0c" providerId="AD" clId="Web-{BD45BF9A-D840-4634-64D2-ADD1B11B6D05}" dt="2025-05-07T16:13:04.133" v="313"/>
        <pc:sldMkLst>
          <pc:docMk/>
          <pc:sldMk cId="589349083" sldId="2145710164"/>
        </pc:sldMkLst>
      </pc:sldChg>
      <pc:sldChg chg="del">
        <pc:chgData name="Guilherme Nogueira de Paula Tegethoff" userId="S::re045868@qintess.com::09bc0915-3b82-449e-a217-24142a84fb0c" providerId="AD" clId="Web-{BD45BF9A-D840-4634-64D2-ADD1B11B6D05}" dt="2025-05-07T16:08:50.158" v="294"/>
        <pc:sldMkLst>
          <pc:docMk/>
          <pc:sldMk cId="3530198221" sldId="2145710182"/>
        </pc:sldMkLst>
      </pc:sldChg>
      <pc:sldChg chg="addSp modSp ord">
        <pc:chgData name="Guilherme Nogueira de Paula Tegethoff" userId="S::re045868@qintess.com::09bc0915-3b82-449e-a217-24142a84fb0c" providerId="AD" clId="Web-{BD45BF9A-D840-4634-64D2-ADD1B11B6D05}" dt="2025-05-07T16:25:05.023" v="333" actId="1076"/>
        <pc:sldMkLst>
          <pc:docMk/>
          <pc:sldMk cId="1585507721" sldId="2145710198"/>
        </pc:sldMkLst>
        <pc:spChg chg="add">
          <ac:chgData name="Guilherme Nogueira de Paula Tegethoff" userId="S::re045868@qintess.com::09bc0915-3b82-449e-a217-24142a84fb0c" providerId="AD" clId="Web-{BD45BF9A-D840-4634-64D2-ADD1B11B6D05}" dt="2025-05-07T16:21:58.441" v="331"/>
          <ac:spMkLst>
            <pc:docMk/>
            <pc:sldMk cId="1585507721" sldId="2145710198"/>
            <ac:spMk id="2" creationId="{B0381D22-FF48-6AEA-BA1E-F0AFF95BF6EC}"/>
          </ac:spMkLst>
        </pc:spChg>
        <pc:picChg chg="add mod">
          <ac:chgData name="Guilherme Nogueira de Paula Tegethoff" userId="S::re045868@qintess.com::09bc0915-3b82-449e-a217-24142a84fb0c" providerId="AD" clId="Web-{BD45BF9A-D840-4634-64D2-ADD1B11B6D05}" dt="2025-05-07T16:25:05.023" v="333" actId="1076"/>
          <ac:picMkLst>
            <pc:docMk/>
            <pc:sldMk cId="1585507721" sldId="2145710198"/>
            <ac:picMk id="3" creationId="{3FF5AFF8-1567-6F0D-2965-6D564764CD04}"/>
          </ac:picMkLst>
        </pc:picChg>
      </pc:sldChg>
      <pc:sldChg chg="modSp ord">
        <pc:chgData name="Guilherme Nogueira de Paula Tegethoff" userId="S::re045868@qintess.com::09bc0915-3b82-449e-a217-24142a84fb0c" providerId="AD" clId="Web-{BD45BF9A-D840-4634-64D2-ADD1B11B6D05}" dt="2025-05-07T16:08:44.940" v="293"/>
        <pc:sldMkLst>
          <pc:docMk/>
          <pc:sldMk cId="1726996460" sldId="2145710202"/>
        </pc:sldMkLst>
        <pc:spChg chg="mod">
          <ac:chgData name="Guilherme Nogueira de Paula Tegethoff" userId="S::re045868@qintess.com::09bc0915-3b82-449e-a217-24142a84fb0c" providerId="AD" clId="Web-{BD45BF9A-D840-4634-64D2-ADD1B11B6D05}" dt="2025-05-07T15:09:38.333" v="26" actId="20577"/>
          <ac:spMkLst>
            <pc:docMk/>
            <pc:sldMk cId="1726996460" sldId="2145710202"/>
            <ac:spMk id="5" creationId="{9550F42B-5E33-B32A-CDDF-E92BE5F039A8}"/>
          </ac:spMkLst>
        </pc:spChg>
      </pc:sldChg>
      <pc:sldChg chg="modSp ord">
        <pc:chgData name="Guilherme Nogueira de Paula Tegethoff" userId="S::re045868@qintess.com::09bc0915-3b82-449e-a217-24142a84fb0c" providerId="AD" clId="Web-{BD45BF9A-D840-4634-64D2-ADD1B11B6D05}" dt="2025-05-07T16:20:35.830" v="329"/>
        <pc:sldMkLst>
          <pc:docMk/>
          <pc:sldMk cId="0" sldId="2147471451"/>
        </pc:sldMkLst>
        <pc:spChg chg="mod">
          <ac:chgData name="Guilherme Nogueira de Paula Tegethoff" userId="S::re045868@qintess.com::09bc0915-3b82-449e-a217-24142a84fb0c" providerId="AD" clId="Web-{BD45BF9A-D840-4634-64D2-ADD1B11B6D05}" dt="2025-05-07T15:36:00.241" v="60" actId="20577"/>
          <ac:spMkLst>
            <pc:docMk/>
            <pc:sldMk cId="0" sldId="2147471451"/>
            <ac:spMk id="739" creationId="{00000000-0000-0000-0000-000000000000}"/>
          </ac:spMkLst>
        </pc:spChg>
        <pc:spChg chg="mod">
          <ac:chgData name="Guilherme Nogueira de Paula Tegethoff" userId="S::re045868@qintess.com::09bc0915-3b82-449e-a217-24142a84fb0c" providerId="AD" clId="Web-{BD45BF9A-D840-4634-64D2-ADD1B11B6D05}" dt="2025-05-07T15:35:28.850" v="47"/>
          <ac:spMkLst>
            <pc:docMk/>
            <pc:sldMk cId="0" sldId="2147471451"/>
            <ac:spMk id="749" creationId="{00000000-0000-0000-0000-000000000000}"/>
          </ac:spMkLst>
        </pc:spChg>
        <pc:spChg chg="mod">
          <ac:chgData name="Guilherme Nogueira de Paula Tegethoff" userId="S::re045868@qintess.com::09bc0915-3b82-449e-a217-24142a84fb0c" providerId="AD" clId="Web-{BD45BF9A-D840-4634-64D2-ADD1B11B6D05}" dt="2025-05-07T15:37:59.400" v="89" actId="20577"/>
          <ac:spMkLst>
            <pc:docMk/>
            <pc:sldMk cId="0" sldId="2147471451"/>
            <ac:spMk id="752" creationId="{00000000-0000-0000-0000-000000000000}"/>
          </ac:spMkLst>
        </pc:spChg>
        <pc:spChg chg="mod">
          <ac:chgData name="Guilherme Nogueira de Paula Tegethoff" userId="S::re045868@qintess.com::09bc0915-3b82-449e-a217-24142a84fb0c" providerId="AD" clId="Web-{BD45BF9A-D840-4634-64D2-ADD1B11B6D05}" dt="2025-05-07T15:34:56.037" v="41" actId="20577"/>
          <ac:spMkLst>
            <pc:docMk/>
            <pc:sldMk cId="0" sldId="2147471451"/>
            <ac:spMk id="767" creationId="{00000000-0000-0000-0000-000000000000}"/>
          </ac:spMkLst>
        </pc:spChg>
        <pc:grpChg chg="mod">
          <ac:chgData name="Guilherme Nogueira de Paula Tegethoff" userId="S::re045868@qintess.com::09bc0915-3b82-449e-a217-24142a84fb0c" providerId="AD" clId="Web-{BD45BF9A-D840-4634-64D2-ADD1B11B6D05}" dt="2025-05-07T15:35:04.677" v="43" actId="1076"/>
          <ac:grpSpMkLst>
            <pc:docMk/>
            <pc:sldMk cId="0" sldId="2147471451"/>
            <ac:grpSpMk id="4" creationId="{BAEE8904-F25C-0EDA-F45F-E972D3318EDC}"/>
          </ac:grpSpMkLst>
        </pc:grpChg>
      </pc:sldChg>
      <pc:sldChg chg="ord">
        <pc:chgData name="Guilherme Nogueira de Paula Tegethoff" userId="S::re045868@qintess.com::09bc0915-3b82-449e-a217-24142a84fb0c" providerId="AD" clId="Web-{BD45BF9A-D840-4634-64D2-ADD1B11B6D05}" dt="2025-05-07T16:19:32.906" v="323"/>
        <pc:sldMkLst>
          <pc:docMk/>
          <pc:sldMk cId="613598244" sldId="2147471461"/>
        </pc:sldMkLst>
      </pc:sldChg>
      <pc:sldChg chg="modSp ord">
        <pc:chgData name="Guilherme Nogueira de Paula Tegethoff" userId="S::re045868@qintess.com::09bc0915-3b82-449e-a217-24142a84fb0c" providerId="AD" clId="Web-{BD45BF9A-D840-4634-64D2-ADD1B11B6D05}" dt="2025-05-07T16:48:52.132" v="555" actId="1076"/>
        <pc:sldMkLst>
          <pc:docMk/>
          <pc:sldMk cId="1643493753" sldId="2147471462"/>
        </pc:sldMkLst>
        <pc:spChg chg="mod">
          <ac:chgData name="Guilherme Nogueira de Paula Tegethoff" userId="S::re045868@qintess.com::09bc0915-3b82-449e-a217-24142a84fb0c" providerId="AD" clId="Web-{BD45BF9A-D840-4634-64D2-ADD1B11B6D05}" dt="2025-05-07T16:48:52.132" v="555" actId="1076"/>
          <ac:spMkLst>
            <pc:docMk/>
            <pc:sldMk cId="1643493753" sldId="2147471462"/>
            <ac:spMk id="8" creationId="{7D66ADEF-5644-9853-D80B-E01C3AF74B89}"/>
          </ac:spMkLst>
        </pc:spChg>
      </pc:sldChg>
      <pc:sldChg chg="ord">
        <pc:chgData name="Guilherme Nogueira de Paula Tegethoff" userId="S::re045868@qintess.com::09bc0915-3b82-449e-a217-24142a84fb0c" providerId="AD" clId="Web-{BD45BF9A-D840-4634-64D2-ADD1B11B6D05}" dt="2025-05-07T16:19:32.891" v="319"/>
        <pc:sldMkLst>
          <pc:docMk/>
          <pc:sldMk cId="860506554" sldId="2147471463"/>
        </pc:sldMkLst>
      </pc:sldChg>
      <pc:sldChg chg="ord">
        <pc:chgData name="Guilherme Nogueira de Paula Tegethoff" userId="S::re045868@qintess.com::09bc0915-3b82-449e-a217-24142a84fb0c" providerId="AD" clId="Web-{BD45BF9A-D840-4634-64D2-ADD1B11B6D05}" dt="2025-05-07T16:12:16.194" v="309"/>
        <pc:sldMkLst>
          <pc:docMk/>
          <pc:sldMk cId="3282640000" sldId="2147471470"/>
        </pc:sldMkLst>
      </pc:sldChg>
      <pc:sldChg chg="ord">
        <pc:chgData name="Guilherme Nogueira de Paula Tegethoff" userId="S::re045868@qintess.com::09bc0915-3b82-449e-a217-24142a84fb0c" providerId="AD" clId="Web-{BD45BF9A-D840-4634-64D2-ADD1B11B6D05}" dt="2025-05-07T16:14:03.884" v="314"/>
        <pc:sldMkLst>
          <pc:docMk/>
          <pc:sldMk cId="1637535768" sldId="2147471485"/>
        </pc:sldMkLst>
      </pc:sldChg>
      <pc:sldChg chg="modSp">
        <pc:chgData name="Guilherme Nogueira de Paula Tegethoff" userId="S::re045868@qintess.com::09bc0915-3b82-449e-a217-24142a84fb0c" providerId="AD" clId="Web-{BD45BF9A-D840-4634-64D2-ADD1B11B6D05}" dt="2025-05-07T15:42:30.640" v="213"/>
        <pc:sldMkLst>
          <pc:docMk/>
          <pc:sldMk cId="0" sldId="2147471486"/>
        </pc:sldMkLst>
        <pc:spChg chg="mod">
          <ac:chgData name="Guilherme Nogueira de Paula Tegethoff" userId="S::re045868@qintess.com::09bc0915-3b82-449e-a217-24142a84fb0c" providerId="AD" clId="Web-{BD45BF9A-D840-4634-64D2-ADD1B11B6D05}" dt="2025-05-07T15:38:53.245" v="96" actId="20577"/>
          <ac:spMkLst>
            <pc:docMk/>
            <pc:sldMk cId="0" sldId="2147471486"/>
            <ac:spMk id="2" creationId="{00DA826B-5F0F-BBDA-7BA1-72CC8EE88599}"/>
          </ac:spMkLst>
        </pc:spChg>
        <pc:spChg chg="mod">
          <ac:chgData name="Guilherme Nogueira de Paula Tegethoff" userId="S::re045868@qintess.com::09bc0915-3b82-449e-a217-24142a84fb0c" providerId="AD" clId="Web-{BD45BF9A-D840-4634-64D2-ADD1B11B6D05}" dt="2025-05-07T15:40:05.325" v="163" actId="20577"/>
          <ac:spMkLst>
            <pc:docMk/>
            <pc:sldMk cId="0" sldId="2147471486"/>
            <ac:spMk id="1124" creationId="{00000000-0000-0000-0000-000000000000}"/>
          </ac:spMkLst>
        </pc:spChg>
        <pc:spChg chg="mod">
          <ac:chgData name="Guilherme Nogueira de Paula Tegethoff" userId="S::re045868@qintess.com::09bc0915-3b82-449e-a217-24142a84fb0c" providerId="AD" clId="Web-{BD45BF9A-D840-4634-64D2-ADD1B11B6D05}" dt="2025-05-07T15:41:53.921" v="208"/>
          <ac:spMkLst>
            <pc:docMk/>
            <pc:sldMk cId="0" sldId="2147471486"/>
            <ac:spMk id="1125" creationId="{00000000-0000-0000-0000-000000000000}"/>
          </ac:spMkLst>
        </pc:spChg>
        <pc:spChg chg="mod">
          <ac:chgData name="Guilherme Nogueira de Paula Tegethoff" userId="S::re045868@qintess.com::09bc0915-3b82-449e-a217-24142a84fb0c" providerId="AD" clId="Web-{BD45BF9A-D840-4634-64D2-ADD1B11B6D05}" dt="2025-05-07T15:40:15.293" v="176" actId="20577"/>
          <ac:spMkLst>
            <pc:docMk/>
            <pc:sldMk cId="0" sldId="2147471486"/>
            <ac:spMk id="1126" creationId="{00000000-0000-0000-0000-000000000000}"/>
          </ac:spMkLst>
        </pc:spChg>
        <pc:spChg chg="mod">
          <ac:chgData name="Guilherme Nogueira de Paula Tegethoff" userId="S::re045868@qintess.com::09bc0915-3b82-449e-a217-24142a84fb0c" providerId="AD" clId="Web-{BD45BF9A-D840-4634-64D2-ADD1B11B6D05}" dt="2025-05-07T15:41:59.171" v="209"/>
          <ac:spMkLst>
            <pc:docMk/>
            <pc:sldMk cId="0" sldId="2147471486"/>
            <ac:spMk id="1127" creationId="{00000000-0000-0000-0000-000000000000}"/>
          </ac:spMkLst>
        </pc:spChg>
        <pc:spChg chg="mod">
          <ac:chgData name="Guilherme Nogueira de Paula Tegethoff" userId="S::re045868@qintess.com::09bc0915-3b82-449e-a217-24142a84fb0c" providerId="AD" clId="Web-{BD45BF9A-D840-4634-64D2-ADD1B11B6D05}" dt="2025-05-07T15:40:57.826" v="194" actId="20577"/>
          <ac:spMkLst>
            <pc:docMk/>
            <pc:sldMk cId="0" sldId="2147471486"/>
            <ac:spMk id="1128" creationId="{00000000-0000-0000-0000-000000000000}"/>
          </ac:spMkLst>
        </pc:spChg>
        <pc:spChg chg="mod">
          <ac:chgData name="Guilherme Nogueira de Paula Tegethoff" userId="S::re045868@qintess.com::09bc0915-3b82-449e-a217-24142a84fb0c" providerId="AD" clId="Web-{BD45BF9A-D840-4634-64D2-ADD1B11B6D05}" dt="2025-05-07T15:42:15.390" v="210"/>
          <ac:spMkLst>
            <pc:docMk/>
            <pc:sldMk cId="0" sldId="2147471486"/>
            <ac:spMk id="1129" creationId="{00000000-0000-0000-0000-000000000000}"/>
          </ac:spMkLst>
        </pc:spChg>
        <pc:spChg chg="mod">
          <ac:chgData name="Guilherme Nogueira de Paula Tegethoff" userId="S::re045868@qintess.com::09bc0915-3b82-449e-a217-24142a84fb0c" providerId="AD" clId="Web-{BD45BF9A-D840-4634-64D2-ADD1B11B6D05}" dt="2025-05-07T15:39:57.856" v="146" actId="20577"/>
          <ac:spMkLst>
            <pc:docMk/>
            <pc:sldMk cId="0" sldId="2147471486"/>
            <ac:spMk id="1130" creationId="{00000000-0000-0000-0000-000000000000}"/>
          </ac:spMkLst>
        </pc:spChg>
        <pc:spChg chg="mod">
          <ac:chgData name="Guilherme Nogueira de Paula Tegethoff" userId="S::re045868@qintess.com::09bc0915-3b82-449e-a217-24142a84fb0c" providerId="AD" clId="Web-{BD45BF9A-D840-4634-64D2-ADD1B11B6D05}" dt="2025-05-07T15:41:50.389" v="207"/>
          <ac:spMkLst>
            <pc:docMk/>
            <pc:sldMk cId="0" sldId="2147471486"/>
            <ac:spMk id="1131" creationId="{00000000-0000-0000-0000-000000000000}"/>
          </ac:spMkLst>
        </pc:spChg>
        <pc:spChg chg="mod">
          <ac:chgData name="Guilherme Nogueira de Paula Tegethoff" userId="S::re045868@qintess.com::09bc0915-3b82-449e-a217-24142a84fb0c" providerId="AD" clId="Web-{BD45BF9A-D840-4634-64D2-ADD1B11B6D05}" dt="2025-05-07T15:39:47.559" v="128" actId="20577"/>
          <ac:spMkLst>
            <pc:docMk/>
            <pc:sldMk cId="0" sldId="2147471486"/>
            <ac:spMk id="1132" creationId="{00000000-0000-0000-0000-000000000000}"/>
          </ac:spMkLst>
        </pc:spChg>
        <pc:spChg chg="mod">
          <ac:chgData name="Guilherme Nogueira de Paula Tegethoff" userId="S::re045868@qintess.com::09bc0915-3b82-449e-a217-24142a84fb0c" providerId="AD" clId="Web-{BD45BF9A-D840-4634-64D2-ADD1B11B6D05}" dt="2025-05-07T15:41:46.624" v="206"/>
          <ac:spMkLst>
            <pc:docMk/>
            <pc:sldMk cId="0" sldId="2147471486"/>
            <ac:spMk id="1133" creationId="{00000000-0000-0000-0000-000000000000}"/>
          </ac:spMkLst>
        </pc:spChg>
        <pc:spChg chg="mod">
          <ac:chgData name="Guilherme Nogueira de Paula Tegethoff" userId="S::re045868@qintess.com::09bc0915-3b82-449e-a217-24142a84fb0c" providerId="AD" clId="Web-{BD45BF9A-D840-4634-64D2-ADD1B11B6D05}" dt="2025-05-07T15:39:38.840" v="108" actId="20577"/>
          <ac:spMkLst>
            <pc:docMk/>
            <pc:sldMk cId="0" sldId="2147471486"/>
            <ac:spMk id="1134" creationId="{00000000-0000-0000-0000-000000000000}"/>
          </ac:spMkLst>
        </pc:spChg>
        <pc:spChg chg="mod">
          <ac:chgData name="Guilherme Nogueira de Paula Tegethoff" userId="S::re045868@qintess.com::09bc0915-3b82-449e-a217-24142a84fb0c" providerId="AD" clId="Web-{BD45BF9A-D840-4634-64D2-ADD1B11B6D05}" dt="2025-05-07T15:42:30.640" v="213"/>
          <ac:spMkLst>
            <pc:docMk/>
            <pc:sldMk cId="0" sldId="2147471486"/>
            <ac:spMk id="1135" creationId="{00000000-0000-0000-0000-000000000000}"/>
          </ac:spMkLst>
        </pc:spChg>
      </pc:sldChg>
      <pc:sldChg chg="modSp del">
        <pc:chgData name="Guilherme Nogueira de Paula Tegethoff" userId="S::re045868@qintess.com::09bc0915-3b82-449e-a217-24142a84fb0c" providerId="AD" clId="Web-{BD45BF9A-D840-4634-64D2-ADD1B11B6D05}" dt="2025-05-07T16:20:39.002" v="330"/>
        <pc:sldMkLst>
          <pc:docMk/>
          <pc:sldMk cId="578330172" sldId="2147471491"/>
        </pc:sldMkLst>
        <pc:spChg chg="mod">
          <ac:chgData name="Guilherme Nogueira de Paula Tegethoff" userId="S::re045868@qintess.com::09bc0915-3b82-449e-a217-24142a84fb0c" providerId="AD" clId="Web-{BD45BF9A-D840-4634-64D2-ADD1B11B6D05}" dt="2025-05-07T15:34:06.629" v="34" actId="20577"/>
          <ac:spMkLst>
            <pc:docMk/>
            <pc:sldMk cId="578330172" sldId="2147471491"/>
            <ac:spMk id="11" creationId="{30C52958-0AB4-2472-8D86-2FC921962F84}"/>
          </ac:spMkLst>
        </pc:spChg>
        <pc:spChg chg="mod">
          <ac:chgData name="Guilherme Nogueira de Paula Tegethoff" userId="S::re045868@qintess.com::09bc0915-3b82-449e-a217-24142a84fb0c" providerId="AD" clId="Web-{BD45BF9A-D840-4634-64D2-ADD1B11B6D05}" dt="2025-05-07T15:34:23.786" v="38" actId="1076"/>
          <ac:spMkLst>
            <pc:docMk/>
            <pc:sldMk cId="578330172" sldId="2147471491"/>
            <ac:spMk id="13" creationId="{B4FF2261-070B-D120-813F-89ED365FCB7C}"/>
          </ac:spMkLst>
        </pc:spChg>
        <pc:grpChg chg="mod">
          <ac:chgData name="Guilherme Nogueira de Paula Tegethoff" userId="S::re045868@qintess.com::09bc0915-3b82-449e-a217-24142a84fb0c" providerId="AD" clId="Web-{BD45BF9A-D840-4634-64D2-ADD1B11B6D05}" dt="2025-05-07T15:34:09.379" v="35" actId="1076"/>
          <ac:grpSpMkLst>
            <pc:docMk/>
            <pc:sldMk cId="578330172" sldId="2147471491"/>
            <ac:grpSpMk id="8" creationId="{6798D467-0C64-8351-8D5D-93D72F64A1DE}"/>
          </ac:grpSpMkLst>
        </pc:grpChg>
        <pc:picChg chg="mod">
          <ac:chgData name="Guilherme Nogueira de Paula Tegethoff" userId="S::re045868@qintess.com::09bc0915-3b82-449e-a217-24142a84fb0c" providerId="AD" clId="Web-{BD45BF9A-D840-4634-64D2-ADD1B11B6D05}" dt="2025-05-07T15:34:19.989" v="37" actId="1076"/>
          <ac:picMkLst>
            <pc:docMk/>
            <pc:sldMk cId="578330172" sldId="2147471491"/>
            <ac:picMk id="3" creationId="{41E8BFF4-E0C8-1D22-1357-C9C7BFFD5D17}"/>
          </ac:picMkLst>
        </pc:picChg>
      </pc:sldChg>
      <pc:sldChg chg="ord">
        <pc:chgData name="Guilherme Nogueira de Paula Tegethoff" userId="S::re045868@qintess.com::09bc0915-3b82-449e-a217-24142a84fb0c" providerId="AD" clId="Web-{BD45BF9A-D840-4634-64D2-ADD1B11B6D05}" dt="2025-05-07T16:19:32.906" v="327"/>
        <pc:sldMkLst>
          <pc:docMk/>
          <pc:sldMk cId="2941508032" sldId="2147471508"/>
        </pc:sldMkLst>
      </pc:sldChg>
      <pc:sldChg chg="ord">
        <pc:chgData name="Guilherme Nogueira de Paula Tegethoff" userId="S::re045868@qintess.com::09bc0915-3b82-449e-a217-24142a84fb0c" providerId="AD" clId="Web-{BD45BF9A-D840-4634-64D2-ADD1B11B6D05}" dt="2025-05-07T16:19:32.906" v="326"/>
        <pc:sldMkLst>
          <pc:docMk/>
          <pc:sldMk cId="2177993514" sldId="2147471509"/>
        </pc:sldMkLst>
      </pc:sldChg>
      <pc:sldChg chg="ord">
        <pc:chgData name="Guilherme Nogueira de Paula Tegethoff" userId="S::re045868@qintess.com::09bc0915-3b82-449e-a217-24142a84fb0c" providerId="AD" clId="Web-{BD45BF9A-D840-4634-64D2-ADD1B11B6D05}" dt="2025-05-07T16:19:32.891" v="320"/>
        <pc:sldMkLst>
          <pc:docMk/>
          <pc:sldMk cId="4035593383" sldId="2147471510"/>
        </pc:sldMkLst>
      </pc:sldChg>
      <pc:sldChg chg="ord">
        <pc:chgData name="Guilherme Nogueira de Paula Tegethoff" userId="S::re045868@qintess.com::09bc0915-3b82-449e-a217-24142a84fb0c" providerId="AD" clId="Web-{BD45BF9A-D840-4634-64D2-ADD1B11B6D05}" dt="2025-05-07T16:19:32.906" v="324"/>
        <pc:sldMkLst>
          <pc:docMk/>
          <pc:sldMk cId="349574323" sldId="2147471511"/>
        </pc:sldMkLst>
      </pc:sldChg>
      <pc:sldChg chg="addSp delSp modSp del">
        <pc:chgData name="Guilherme Nogueira de Paula Tegethoff" userId="S::re045868@qintess.com::09bc0915-3b82-449e-a217-24142a84fb0c" providerId="AD" clId="Web-{BD45BF9A-D840-4634-64D2-ADD1B11B6D05}" dt="2025-05-07T16:11:04.536" v="308"/>
        <pc:sldMkLst>
          <pc:docMk/>
          <pc:sldMk cId="2422926321" sldId="2147471512"/>
        </pc:sldMkLst>
        <pc:spChg chg="add del mod">
          <ac:chgData name="Guilherme Nogueira de Paula Tegethoff" userId="S::re045868@qintess.com::09bc0915-3b82-449e-a217-24142a84fb0c" providerId="AD" clId="Web-{BD45BF9A-D840-4634-64D2-ADD1B11B6D05}" dt="2025-05-07T16:10:26.020" v="304"/>
          <ac:spMkLst>
            <pc:docMk/>
            <pc:sldMk cId="2422926321" sldId="2147471512"/>
            <ac:spMk id="4" creationId="{1FA30F10-245C-AF63-7500-6C32D4351A3A}"/>
          </ac:spMkLst>
        </pc:spChg>
        <pc:spChg chg="del">
          <ac:chgData name="Guilherme Nogueira de Paula Tegethoff" userId="S::re045868@qintess.com::09bc0915-3b82-449e-a217-24142a84fb0c" providerId="AD" clId="Web-{BD45BF9A-D840-4634-64D2-ADD1B11B6D05}" dt="2025-05-07T16:10:09.644" v="297"/>
          <ac:spMkLst>
            <pc:docMk/>
            <pc:sldMk cId="2422926321" sldId="2147471512"/>
            <ac:spMk id="5" creationId="{FDE866EB-CAA8-93C6-4A34-79EF9924BC02}"/>
          </ac:spMkLst>
        </pc:spChg>
        <pc:spChg chg="del">
          <ac:chgData name="Guilherme Nogueira de Paula Tegethoff" userId="S::re045868@qintess.com::09bc0915-3b82-449e-a217-24142a84fb0c" providerId="AD" clId="Web-{BD45BF9A-D840-4634-64D2-ADD1B11B6D05}" dt="2025-05-07T16:10:09.644" v="296"/>
          <ac:spMkLst>
            <pc:docMk/>
            <pc:sldMk cId="2422926321" sldId="2147471512"/>
            <ac:spMk id="8" creationId="{36D4908F-9459-3B54-C03C-6F36019BF7EB}"/>
          </ac:spMkLst>
        </pc:spChg>
        <pc:picChg chg="add del mod">
          <ac:chgData name="Guilherme Nogueira de Paula Tegethoff" userId="S::re045868@qintess.com::09bc0915-3b82-449e-a217-24142a84fb0c" providerId="AD" clId="Web-{BD45BF9A-D840-4634-64D2-ADD1B11B6D05}" dt="2025-05-07T16:10:15.988" v="301"/>
          <ac:picMkLst>
            <pc:docMk/>
            <pc:sldMk cId="2422926321" sldId="2147471512"/>
            <ac:picMk id="2" creationId="{158DE50F-E5A0-9F25-A3A7-F3D41AA9FEC4}"/>
          </ac:picMkLst>
        </pc:picChg>
        <pc:picChg chg="add del mod">
          <ac:chgData name="Guilherme Nogueira de Paula Tegethoff" userId="S::re045868@qintess.com::09bc0915-3b82-449e-a217-24142a84fb0c" providerId="AD" clId="Web-{BD45BF9A-D840-4634-64D2-ADD1B11B6D05}" dt="2025-05-07T16:10:15.988" v="300"/>
          <ac:picMkLst>
            <pc:docMk/>
            <pc:sldMk cId="2422926321" sldId="2147471512"/>
            <ac:picMk id="3" creationId="{ED3B7EB0-D964-6016-3E8E-0B446624EA2F}"/>
          </ac:picMkLst>
        </pc:picChg>
        <pc:picChg chg="del">
          <ac:chgData name="Guilherme Nogueira de Paula Tegethoff" userId="S::re045868@qintess.com::09bc0915-3b82-449e-a217-24142a84fb0c" providerId="AD" clId="Web-{BD45BF9A-D840-4634-64D2-ADD1B11B6D05}" dt="2025-05-07T16:10:09.644" v="295"/>
          <ac:picMkLst>
            <pc:docMk/>
            <pc:sldMk cId="2422926321" sldId="2147471512"/>
            <ac:picMk id="6" creationId="{AC93F58E-81E5-8E80-6342-D8C3061BAF8E}"/>
          </ac:picMkLst>
        </pc:picChg>
        <pc:picChg chg="add mod">
          <ac:chgData name="Guilherme Nogueira de Paula Tegethoff" userId="S::re045868@qintess.com::09bc0915-3b82-449e-a217-24142a84fb0c" providerId="AD" clId="Web-{BD45BF9A-D840-4634-64D2-ADD1B11B6D05}" dt="2025-05-07T16:10:37.676" v="305"/>
          <ac:picMkLst>
            <pc:docMk/>
            <pc:sldMk cId="2422926321" sldId="2147471512"/>
            <ac:picMk id="7" creationId="{077F53CC-D64D-1748-4041-5E0039670438}"/>
          </ac:picMkLst>
        </pc:picChg>
        <pc:picChg chg="add mod">
          <ac:chgData name="Guilherme Nogueira de Paula Tegethoff" userId="S::re045868@qintess.com::09bc0915-3b82-449e-a217-24142a84fb0c" providerId="AD" clId="Web-{BD45BF9A-D840-4634-64D2-ADD1B11B6D05}" dt="2025-05-07T16:10:37.786" v="306"/>
          <ac:picMkLst>
            <pc:docMk/>
            <pc:sldMk cId="2422926321" sldId="2147471512"/>
            <ac:picMk id="9" creationId="{1CB99912-90D5-DA3F-6F80-CEB69E9F70BF}"/>
          </ac:picMkLst>
        </pc:picChg>
      </pc:sldChg>
      <pc:sldChg chg="del">
        <pc:chgData name="Guilherme Nogueira de Paula Tegethoff" userId="S::re045868@qintess.com::09bc0915-3b82-449e-a217-24142a84fb0c" providerId="AD" clId="Web-{BD45BF9A-D840-4634-64D2-ADD1B11B6D05}" dt="2025-05-07T15:09:04.519" v="1"/>
        <pc:sldMkLst>
          <pc:docMk/>
          <pc:sldMk cId="0" sldId="2147471518"/>
        </pc:sldMkLst>
      </pc:sldChg>
      <pc:sldChg chg="modSp">
        <pc:chgData name="Guilherme Nogueira de Paula Tegethoff" userId="S::re045868@qintess.com::09bc0915-3b82-449e-a217-24142a84fb0c" providerId="AD" clId="Web-{BD45BF9A-D840-4634-64D2-ADD1B11B6D05}" dt="2025-05-07T15:52:15.168" v="291"/>
        <pc:sldMkLst>
          <pc:docMk/>
          <pc:sldMk cId="3855564239" sldId="2147471520"/>
        </pc:sldMkLst>
        <pc:spChg chg="mod">
          <ac:chgData name="Guilherme Nogueira de Paula Tegethoff" userId="S::re045868@qintess.com::09bc0915-3b82-449e-a217-24142a84fb0c" providerId="AD" clId="Web-{BD45BF9A-D840-4634-64D2-ADD1B11B6D05}" dt="2025-05-07T15:47:05.521" v="235" actId="20577"/>
          <ac:spMkLst>
            <pc:docMk/>
            <pc:sldMk cId="3855564239" sldId="2147471520"/>
            <ac:spMk id="2" creationId="{EB69CEF0-5151-8EBD-8E3E-8949F59DA37D}"/>
          </ac:spMkLst>
        </pc:spChg>
        <pc:spChg chg="mod">
          <ac:chgData name="Guilherme Nogueira de Paula Tegethoff" userId="S::re045868@qintess.com::09bc0915-3b82-449e-a217-24142a84fb0c" providerId="AD" clId="Web-{BD45BF9A-D840-4634-64D2-ADD1B11B6D05}" dt="2025-05-07T15:51:40.636" v="288"/>
          <ac:spMkLst>
            <pc:docMk/>
            <pc:sldMk cId="3855564239" sldId="2147471520"/>
            <ac:spMk id="876" creationId="{00000000-0000-0000-0000-000000000000}"/>
          </ac:spMkLst>
        </pc:spChg>
        <pc:spChg chg="mod">
          <ac:chgData name="Guilherme Nogueira de Paula Tegethoff" userId="S::re045868@qintess.com::09bc0915-3b82-449e-a217-24142a84fb0c" providerId="AD" clId="Web-{BD45BF9A-D840-4634-64D2-ADD1B11B6D05}" dt="2025-05-07T15:48:31.414" v="257"/>
          <ac:spMkLst>
            <pc:docMk/>
            <pc:sldMk cId="3855564239" sldId="2147471520"/>
            <ac:spMk id="877" creationId="{00000000-0000-0000-0000-000000000000}"/>
          </ac:spMkLst>
        </pc:spChg>
        <pc:spChg chg="mod">
          <ac:chgData name="Guilherme Nogueira de Paula Tegethoff" userId="S::re045868@qintess.com::09bc0915-3b82-449e-a217-24142a84fb0c" providerId="AD" clId="Web-{BD45BF9A-D840-4634-64D2-ADD1B11B6D05}" dt="2025-05-07T15:51:39.949" v="287"/>
          <ac:spMkLst>
            <pc:docMk/>
            <pc:sldMk cId="3855564239" sldId="2147471520"/>
            <ac:spMk id="878" creationId="{00000000-0000-0000-0000-000000000000}"/>
          </ac:spMkLst>
        </pc:spChg>
        <pc:spChg chg="mod">
          <ac:chgData name="Guilherme Nogueira de Paula Tegethoff" userId="S::re045868@qintess.com::09bc0915-3b82-449e-a217-24142a84fb0c" providerId="AD" clId="Web-{BD45BF9A-D840-4634-64D2-ADD1B11B6D05}" dt="2025-05-07T15:48:24.663" v="256"/>
          <ac:spMkLst>
            <pc:docMk/>
            <pc:sldMk cId="3855564239" sldId="2147471520"/>
            <ac:spMk id="879" creationId="{00000000-0000-0000-0000-000000000000}"/>
          </ac:spMkLst>
        </pc:spChg>
        <pc:spChg chg="mod">
          <ac:chgData name="Guilherme Nogueira de Paula Tegethoff" userId="S::re045868@qintess.com::09bc0915-3b82-449e-a217-24142a84fb0c" providerId="AD" clId="Web-{BD45BF9A-D840-4634-64D2-ADD1B11B6D05}" dt="2025-05-07T15:51:35.042" v="286"/>
          <ac:spMkLst>
            <pc:docMk/>
            <pc:sldMk cId="3855564239" sldId="2147471520"/>
            <ac:spMk id="880" creationId="{00000000-0000-0000-0000-000000000000}"/>
          </ac:spMkLst>
        </pc:spChg>
        <pc:spChg chg="mod">
          <ac:chgData name="Guilherme Nogueira de Paula Tegethoff" userId="S::re045868@qintess.com::09bc0915-3b82-449e-a217-24142a84fb0c" providerId="AD" clId="Web-{BD45BF9A-D840-4634-64D2-ADD1B11B6D05}" dt="2025-05-07T15:48:21.226" v="255"/>
          <ac:spMkLst>
            <pc:docMk/>
            <pc:sldMk cId="3855564239" sldId="2147471520"/>
            <ac:spMk id="881" creationId="{00000000-0000-0000-0000-000000000000}"/>
          </ac:spMkLst>
        </pc:spChg>
        <pc:spChg chg="mod">
          <ac:chgData name="Guilherme Nogueira de Paula Tegethoff" userId="S::re045868@qintess.com::09bc0915-3b82-449e-a217-24142a84fb0c" providerId="AD" clId="Web-{BD45BF9A-D840-4634-64D2-ADD1B11B6D05}" dt="2025-05-07T15:51:33.183" v="285"/>
          <ac:spMkLst>
            <pc:docMk/>
            <pc:sldMk cId="3855564239" sldId="2147471520"/>
            <ac:spMk id="882" creationId="{00000000-0000-0000-0000-000000000000}"/>
          </ac:spMkLst>
        </pc:spChg>
        <pc:spChg chg="mod">
          <ac:chgData name="Guilherme Nogueira de Paula Tegethoff" userId="S::re045868@qintess.com::09bc0915-3b82-449e-a217-24142a84fb0c" providerId="AD" clId="Web-{BD45BF9A-D840-4634-64D2-ADD1B11B6D05}" dt="2025-05-07T15:48:15.116" v="253"/>
          <ac:spMkLst>
            <pc:docMk/>
            <pc:sldMk cId="3855564239" sldId="2147471520"/>
            <ac:spMk id="883" creationId="{00000000-0000-0000-0000-000000000000}"/>
          </ac:spMkLst>
        </pc:spChg>
        <pc:spChg chg="mod">
          <ac:chgData name="Guilherme Nogueira de Paula Tegethoff" userId="S::re045868@qintess.com::09bc0915-3b82-449e-a217-24142a84fb0c" providerId="AD" clId="Web-{BD45BF9A-D840-4634-64D2-ADD1B11B6D05}" dt="2025-05-07T15:51:27.495" v="284"/>
          <ac:spMkLst>
            <pc:docMk/>
            <pc:sldMk cId="3855564239" sldId="2147471520"/>
            <ac:spMk id="884" creationId="{00000000-0000-0000-0000-000000000000}"/>
          </ac:spMkLst>
        </pc:spChg>
        <pc:spChg chg="mod">
          <ac:chgData name="Guilherme Nogueira de Paula Tegethoff" userId="S::re045868@qintess.com::09bc0915-3b82-449e-a217-24142a84fb0c" providerId="AD" clId="Web-{BD45BF9A-D840-4634-64D2-ADD1B11B6D05}" dt="2025-05-07T15:48:11.147" v="252"/>
          <ac:spMkLst>
            <pc:docMk/>
            <pc:sldMk cId="3855564239" sldId="2147471520"/>
            <ac:spMk id="885" creationId="{00000000-0000-0000-0000-000000000000}"/>
          </ac:spMkLst>
        </pc:spChg>
        <pc:spChg chg="mod">
          <ac:chgData name="Guilherme Nogueira de Paula Tegethoff" userId="S::re045868@qintess.com::09bc0915-3b82-449e-a217-24142a84fb0c" providerId="AD" clId="Web-{BD45BF9A-D840-4634-64D2-ADD1B11B6D05}" dt="2025-05-07T15:52:15.168" v="291"/>
          <ac:spMkLst>
            <pc:docMk/>
            <pc:sldMk cId="3855564239" sldId="2147471520"/>
            <ac:spMk id="886" creationId="{00000000-0000-0000-0000-000000000000}"/>
          </ac:spMkLst>
        </pc:spChg>
        <pc:spChg chg="mod">
          <ac:chgData name="Guilherme Nogueira de Paula Tegethoff" userId="S::re045868@qintess.com::09bc0915-3b82-449e-a217-24142a84fb0c" providerId="AD" clId="Web-{BD45BF9A-D840-4634-64D2-ADD1B11B6D05}" dt="2025-05-07T15:49:00.367" v="261"/>
          <ac:spMkLst>
            <pc:docMk/>
            <pc:sldMk cId="3855564239" sldId="2147471520"/>
            <ac:spMk id="887" creationId="{00000000-0000-0000-0000-000000000000}"/>
          </ac:spMkLst>
        </pc:spChg>
        <pc:spChg chg="mod">
          <ac:chgData name="Guilherme Nogueira de Paula Tegethoff" userId="S::re045868@qintess.com::09bc0915-3b82-449e-a217-24142a84fb0c" providerId="AD" clId="Web-{BD45BF9A-D840-4634-64D2-ADD1B11B6D05}" dt="2025-05-07T15:49:15.383" v="274" actId="20577"/>
          <ac:spMkLst>
            <pc:docMk/>
            <pc:sldMk cId="3855564239" sldId="2147471520"/>
            <ac:spMk id="902" creationId="{00000000-0000-0000-0000-000000000000}"/>
          </ac:spMkLst>
        </pc:spChg>
        <pc:spChg chg="mod">
          <ac:chgData name="Guilherme Nogueira de Paula Tegethoff" userId="S::re045868@qintess.com::09bc0915-3b82-449e-a217-24142a84fb0c" providerId="AD" clId="Web-{BD45BF9A-D840-4634-64D2-ADD1B11B6D05}" dt="2025-05-07T15:49:08.914" v="269" actId="20577"/>
          <ac:spMkLst>
            <pc:docMk/>
            <pc:sldMk cId="3855564239" sldId="2147471520"/>
            <ac:spMk id="905" creationId="{00000000-0000-0000-0000-000000000000}"/>
          </ac:spMkLst>
        </pc:spChg>
        <pc:spChg chg="mod">
          <ac:chgData name="Guilherme Nogueira de Paula Tegethoff" userId="S::re045868@qintess.com::09bc0915-3b82-449e-a217-24142a84fb0c" providerId="AD" clId="Web-{BD45BF9A-D840-4634-64D2-ADD1B11B6D05}" dt="2025-05-07T15:49:12.836" v="273" actId="20577"/>
          <ac:spMkLst>
            <pc:docMk/>
            <pc:sldMk cId="3855564239" sldId="2147471520"/>
            <ac:spMk id="908" creationId="{00000000-0000-0000-0000-000000000000}"/>
          </ac:spMkLst>
        </pc:spChg>
        <pc:grpChg chg="mod">
          <ac:chgData name="Guilherme Nogueira de Paula Tegethoff" userId="S::re045868@qintess.com::09bc0915-3b82-449e-a217-24142a84fb0c" providerId="AD" clId="Web-{BD45BF9A-D840-4634-64D2-ADD1B11B6D05}" dt="2025-05-07T15:50:09.978" v="275" actId="1076"/>
          <ac:grpSpMkLst>
            <pc:docMk/>
            <pc:sldMk cId="3855564239" sldId="2147471520"/>
            <ac:grpSpMk id="6" creationId="{D334EBD4-8A09-33A5-5DA5-C2A986EB64EB}"/>
          </ac:grpSpMkLst>
        </pc:grpChg>
      </pc:sldChg>
      <pc:sldChg chg="del">
        <pc:chgData name="Guilherme Nogueira de Paula Tegethoff" userId="S::re045868@qintess.com::09bc0915-3b82-449e-a217-24142a84fb0c" providerId="AD" clId="Web-{BD45BF9A-D840-4634-64D2-ADD1B11B6D05}" dt="2025-05-07T15:44:10.377" v="214"/>
        <pc:sldMkLst>
          <pc:docMk/>
          <pc:sldMk cId="4119051594" sldId="2147471524"/>
        </pc:sldMkLst>
      </pc:sldChg>
      <pc:sldChg chg="modSp ord">
        <pc:chgData name="Guilherme Nogueira de Paula Tegethoff" userId="S::re045868@qintess.com::09bc0915-3b82-449e-a217-24142a84fb0c" providerId="AD" clId="Web-{BD45BF9A-D840-4634-64D2-ADD1B11B6D05}" dt="2025-05-07T16:14:34.041" v="317"/>
        <pc:sldMkLst>
          <pc:docMk/>
          <pc:sldMk cId="2394449804" sldId="2147471525"/>
        </pc:sldMkLst>
        <pc:spChg chg="mod">
          <ac:chgData name="Guilherme Nogueira de Paula Tegethoff" userId="S::re045868@qintess.com::09bc0915-3b82-449e-a217-24142a84fb0c" providerId="AD" clId="Web-{BD45BF9A-D840-4634-64D2-ADD1B11B6D05}" dt="2025-05-07T15:45:47.426" v="225" actId="20577"/>
          <ac:spMkLst>
            <pc:docMk/>
            <pc:sldMk cId="2394449804" sldId="2147471525"/>
            <ac:spMk id="1304" creationId="{BA898195-B19D-7078-D285-B17840CFB56B}"/>
          </ac:spMkLst>
        </pc:spChg>
        <pc:grpChg chg="mod">
          <ac:chgData name="Guilherme Nogueira de Paula Tegethoff" userId="S::re045868@qintess.com::09bc0915-3b82-449e-a217-24142a84fb0c" providerId="AD" clId="Web-{BD45BF9A-D840-4634-64D2-ADD1B11B6D05}" dt="2025-05-07T15:45:53.582" v="226" actId="1076"/>
          <ac:grpSpMkLst>
            <pc:docMk/>
            <pc:sldMk cId="2394449804" sldId="2147471525"/>
            <ac:grpSpMk id="5" creationId="{ED864D12-728E-4B8C-CEFB-110FA96EDA05}"/>
          </ac:grpSpMkLst>
        </pc:grpChg>
      </pc:sldChg>
      <pc:sldChg chg="modSp">
        <pc:chgData name="Guilherme Nogueira de Paula Tegethoff" userId="S::re045868@qintess.com::09bc0915-3b82-449e-a217-24142a84fb0c" providerId="AD" clId="Web-{BD45BF9A-D840-4634-64D2-ADD1B11B6D05}" dt="2025-05-07T15:09:10.926" v="3" actId="1076"/>
        <pc:sldMkLst>
          <pc:docMk/>
          <pc:sldMk cId="1476709375" sldId="2147471526"/>
        </pc:sldMkLst>
        <pc:spChg chg="mod">
          <ac:chgData name="Guilherme Nogueira de Paula Tegethoff" userId="S::re045868@qintess.com::09bc0915-3b82-449e-a217-24142a84fb0c" providerId="AD" clId="Web-{BD45BF9A-D840-4634-64D2-ADD1B11B6D05}" dt="2025-05-07T15:09:10.926" v="3" actId="1076"/>
          <ac:spMkLst>
            <pc:docMk/>
            <pc:sldMk cId="1476709375" sldId="2147471526"/>
            <ac:spMk id="79" creationId="{C9515FF0-098B-CD59-0DD6-32E487028CB9}"/>
          </ac:spMkLst>
        </pc:spChg>
      </pc:sldChg>
      <pc:sldChg chg="add">
        <pc:chgData name="Guilherme Nogueira de Paula Tegethoff" userId="S::re045868@qintess.com::09bc0915-3b82-449e-a217-24142a84fb0c" providerId="AD" clId="Web-{BD45BF9A-D840-4634-64D2-ADD1B11B6D05}" dt="2025-05-07T15:08:58.300" v="0"/>
        <pc:sldMkLst>
          <pc:docMk/>
          <pc:sldMk cId="2671362054" sldId="2147471527"/>
        </pc:sldMkLst>
      </pc:sldChg>
      <pc:sldChg chg="add">
        <pc:chgData name="Guilherme Nogueira de Paula Tegethoff" userId="S::re045868@qintess.com::09bc0915-3b82-449e-a217-24142a84fb0c" providerId="AD" clId="Web-{BD45BF9A-D840-4634-64D2-ADD1B11B6D05}" dt="2025-05-07T16:10:59.067" v="307"/>
        <pc:sldMkLst>
          <pc:docMk/>
          <pc:sldMk cId="1713190441" sldId="2147471528"/>
        </pc:sldMkLst>
      </pc:sldChg>
      <pc:sldChg chg="modSp add mod setBg">
        <pc:chgData name="Guilherme Nogueira de Paula Tegethoff" userId="S::re045868@qintess.com::09bc0915-3b82-449e-a217-24142a84fb0c" providerId="AD" clId="Web-{BD45BF9A-D840-4634-64D2-ADD1B11B6D05}" dt="2025-05-07T16:47:49.208" v="553" actId="20577"/>
        <pc:sldMkLst>
          <pc:docMk/>
          <pc:sldMk cId="1201822260" sldId="2147471529"/>
        </pc:sldMkLst>
        <pc:spChg chg="mod">
          <ac:chgData name="Guilherme Nogueira de Paula Tegethoff" userId="S::re045868@qintess.com::09bc0915-3b82-449e-a217-24142a84fb0c" providerId="AD" clId="Web-{BD45BF9A-D840-4634-64D2-ADD1B11B6D05}" dt="2025-05-07T16:40:40.637" v="396" actId="20577"/>
          <ac:spMkLst>
            <pc:docMk/>
            <pc:sldMk cId="1201822260" sldId="2147471529"/>
            <ac:spMk id="2" creationId="{4796FBF4-D6F8-D344-A94A-3667DE164D33}"/>
          </ac:spMkLst>
        </pc:spChg>
        <pc:spChg chg="mod">
          <ac:chgData name="Guilherme Nogueira de Paula Tegethoff" userId="S::re045868@qintess.com::09bc0915-3b82-449e-a217-24142a84fb0c" providerId="AD" clId="Web-{BD45BF9A-D840-4634-64D2-ADD1B11B6D05}" dt="2025-05-07T16:34:22.566" v="349" actId="1076"/>
          <ac:spMkLst>
            <pc:docMk/>
            <pc:sldMk cId="1201822260" sldId="2147471529"/>
            <ac:spMk id="4" creationId="{FBDD8D81-4BBB-4526-7D75-627FC2BD4B42}"/>
          </ac:spMkLst>
        </pc:spChg>
        <pc:spChg chg="mod">
          <ac:chgData name="Guilherme Nogueira de Paula Tegethoff" userId="S::re045868@qintess.com::09bc0915-3b82-449e-a217-24142a84fb0c" providerId="AD" clId="Web-{BD45BF9A-D840-4634-64D2-ADD1B11B6D05}" dt="2025-05-07T16:45:32.627" v="514" actId="20577"/>
          <ac:spMkLst>
            <pc:docMk/>
            <pc:sldMk cId="1201822260" sldId="2147471529"/>
            <ac:spMk id="13" creationId="{BDE705C1-56E0-34A8-3EAA-62E46204635B}"/>
          </ac:spMkLst>
        </pc:spChg>
        <pc:spChg chg="mod">
          <ac:chgData name="Guilherme Nogueira de Paula Tegethoff" userId="S::re045868@qintess.com::09bc0915-3b82-449e-a217-24142a84fb0c" providerId="AD" clId="Web-{BD45BF9A-D840-4634-64D2-ADD1B11B6D05}" dt="2025-05-07T16:45:29.159" v="506" actId="20577"/>
          <ac:spMkLst>
            <pc:docMk/>
            <pc:sldMk cId="1201822260" sldId="2147471529"/>
            <ac:spMk id="15" creationId="{8C821D64-F68E-E912-EE03-2C4CB19B0CC4}"/>
          </ac:spMkLst>
        </pc:spChg>
        <pc:spChg chg="mod">
          <ac:chgData name="Guilherme Nogueira de Paula Tegethoff" userId="S::re045868@qintess.com::09bc0915-3b82-449e-a217-24142a84fb0c" providerId="AD" clId="Web-{BD45BF9A-D840-4634-64D2-ADD1B11B6D05}" dt="2025-05-07T16:47:49.208" v="553" actId="20577"/>
          <ac:spMkLst>
            <pc:docMk/>
            <pc:sldMk cId="1201822260" sldId="2147471529"/>
            <ac:spMk id="17" creationId="{016F1B8E-04FB-0487-8019-31D1510E2314}"/>
          </ac:spMkLst>
        </pc:spChg>
        <pc:spChg chg="mod">
          <ac:chgData name="Guilherme Nogueira de Paula Tegethoff" userId="S::re045868@qintess.com::09bc0915-3b82-449e-a217-24142a84fb0c" providerId="AD" clId="Web-{BD45BF9A-D840-4634-64D2-ADD1B11B6D05}" dt="2025-05-07T16:42:37.655" v="424"/>
          <ac:spMkLst>
            <pc:docMk/>
            <pc:sldMk cId="1201822260" sldId="2147471529"/>
            <ac:spMk id="20" creationId="{CE15C2C1-493C-943E-0298-A827DA31C361}"/>
          </ac:spMkLst>
        </pc:spChg>
        <pc:spChg chg="mod">
          <ac:chgData name="Guilherme Nogueira de Paula Tegethoff" userId="S::re045868@qintess.com::09bc0915-3b82-449e-a217-24142a84fb0c" providerId="AD" clId="Web-{BD45BF9A-D840-4634-64D2-ADD1B11B6D05}" dt="2025-05-07T16:41:38.700" v="419" actId="20577"/>
          <ac:spMkLst>
            <pc:docMk/>
            <pc:sldMk cId="1201822260" sldId="2147471529"/>
            <ac:spMk id="24" creationId="{5050A783-F4D8-5FA9-CC04-72FE278B889D}"/>
          </ac:spMkLst>
        </pc:spChg>
        <pc:spChg chg="mod">
          <ac:chgData name="Guilherme Nogueira de Paula Tegethoff" userId="S::re045868@qintess.com::09bc0915-3b82-449e-a217-24142a84fb0c" providerId="AD" clId="Web-{BD45BF9A-D840-4634-64D2-ADD1B11B6D05}" dt="2025-05-07T16:42:33.702" v="423"/>
          <ac:spMkLst>
            <pc:docMk/>
            <pc:sldMk cId="1201822260" sldId="2147471529"/>
            <ac:spMk id="26" creationId="{E428B42B-9F4F-E96A-B589-D0EB2CC2A8B3}"/>
          </ac:spMkLst>
        </pc:spChg>
        <pc:spChg chg="mod">
          <ac:chgData name="Guilherme Nogueira de Paula Tegethoff" userId="S::re045868@qintess.com::09bc0915-3b82-449e-a217-24142a84fb0c" providerId="AD" clId="Web-{BD45BF9A-D840-4634-64D2-ADD1B11B6D05}" dt="2025-05-07T16:41:35.904" v="418" actId="20577"/>
          <ac:spMkLst>
            <pc:docMk/>
            <pc:sldMk cId="1201822260" sldId="2147471529"/>
            <ac:spMk id="28" creationId="{5A5D2835-E776-3EBA-1166-F4A22FB2B475}"/>
          </ac:spMkLst>
        </pc:spChg>
        <pc:spChg chg="mod">
          <ac:chgData name="Guilherme Nogueira de Paula Tegethoff" userId="S::re045868@qintess.com::09bc0915-3b82-449e-a217-24142a84fb0c" providerId="AD" clId="Web-{BD45BF9A-D840-4634-64D2-ADD1B11B6D05}" dt="2025-05-07T16:40:05.433" v="384" actId="1076"/>
          <ac:spMkLst>
            <pc:docMk/>
            <pc:sldMk cId="1201822260" sldId="2147471529"/>
            <ac:spMk id="38" creationId="{8EEABFB0-59F5-8E27-E1AF-ECB81FF960DA}"/>
          </ac:spMkLst>
        </pc:spChg>
        <pc:spChg chg="mod">
          <ac:chgData name="Guilherme Nogueira de Paula Tegethoff" userId="S::re045868@qintess.com::09bc0915-3b82-449e-a217-24142a84fb0c" providerId="AD" clId="Web-{BD45BF9A-D840-4634-64D2-ADD1B11B6D05}" dt="2025-05-07T16:45:42.049" v="518" actId="20577"/>
          <ac:spMkLst>
            <pc:docMk/>
            <pc:sldMk cId="1201822260" sldId="2147471529"/>
            <ac:spMk id="42" creationId="{A6AE6D3F-8ACF-91F7-21DB-264311174D22}"/>
          </ac:spMkLst>
        </pc:spChg>
        <pc:spChg chg="mod">
          <ac:chgData name="Guilherme Nogueira de Paula Tegethoff" userId="S::re045868@qintess.com::09bc0915-3b82-449e-a217-24142a84fb0c" providerId="AD" clId="Web-{BD45BF9A-D840-4634-64D2-ADD1B11B6D05}" dt="2025-05-07T16:42:48.108" v="433" actId="20577"/>
          <ac:spMkLst>
            <pc:docMk/>
            <pc:sldMk cId="1201822260" sldId="2147471529"/>
            <ac:spMk id="44" creationId="{BE942D9A-A3B7-54C3-DA6B-397A33242D7F}"/>
          </ac:spMkLst>
        </pc:spChg>
        <pc:spChg chg="mod">
          <ac:chgData name="Guilherme Nogueira de Paula Tegethoff" userId="S::re045868@qintess.com::09bc0915-3b82-449e-a217-24142a84fb0c" providerId="AD" clId="Web-{BD45BF9A-D840-4634-64D2-ADD1B11B6D05}" dt="2025-05-07T16:43:34.656" v="443" actId="20577"/>
          <ac:spMkLst>
            <pc:docMk/>
            <pc:sldMk cId="1201822260" sldId="2147471529"/>
            <ac:spMk id="46" creationId="{84D48A80-8A3B-9006-B0D8-D3D4D36B2CA6}"/>
          </ac:spMkLst>
        </pc:spChg>
        <pc:spChg chg="mod">
          <ac:chgData name="Guilherme Nogueira de Paula Tegethoff" userId="S::re045868@qintess.com::09bc0915-3b82-449e-a217-24142a84fb0c" providerId="AD" clId="Web-{BD45BF9A-D840-4634-64D2-ADD1B11B6D05}" dt="2025-05-07T16:44:40.204" v="481" actId="1076"/>
          <ac:spMkLst>
            <pc:docMk/>
            <pc:sldMk cId="1201822260" sldId="2147471529"/>
            <ac:spMk id="47" creationId="{BF134045-EB68-7791-BA57-6C184A19F1F9}"/>
          </ac:spMkLst>
        </pc:spChg>
        <pc:spChg chg="mod">
          <ac:chgData name="Guilherme Nogueira de Paula Tegethoff" userId="S::re045868@qintess.com::09bc0915-3b82-449e-a217-24142a84fb0c" providerId="AD" clId="Web-{BD45BF9A-D840-4634-64D2-ADD1B11B6D05}" dt="2025-05-07T16:44:40.220" v="482" actId="1076"/>
          <ac:spMkLst>
            <pc:docMk/>
            <pc:sldMk cId="1201822260" sldId="2147471529"/>
            <ac:spMk id="48" creationId="{746BA2F5-1D31-7E5F-2576-F3236381C5EE}"/>
          </ac:spMkLst>
        </pc:spChg>
        <pc:spChg chg="mod">
          <ac:chgData name="Guilherme Nogueira de Paula Tegethoff" userId="S::re045868@qintess.com::09bc0915-3b82-449e-a217-24142a84fb0c" providerId="AD" clId="Web-{BD45BF9A-D840-4634-64D2-ADD1B11B6D05}" dt="2025-05-07T16:44:43.595" v="483" actId="1076"/>
          <ac:spMkLst>
            <pc:docMk/>
            <pc:sldMk cId="1201822260" sldId="2147471529"/>
            <ac:spMk id="49" creationId="{04F37650-8422-19C6-169C-E75B7CFAA541}"/>
          </ac:spMkLst>
        </pc:spChg>
        <pc:spChg chg="mod">
          <ac:chgData name="Guilherme Nogueira de Paula Tegethoff" userId="S::re045868@qintess.com::09bc0915-3b82-449e-a217-24142a84fb0c" providerId="AD" clId="Web-{BD45BF9A-D840-4634-64D2-ADD1B11B6D05}" dt="2025-05-07T16:44:43.626" v="484" actId="1076"/>
          <ac:spMkLst>
            <pc:docMk/>
            <pc:sldMk cId="1201822260" sldId="2147471529"/>
            <ac:spMk id="50" creationId="{2CF7C2F4-B07B-6168-6A6B-C282AC453FC8}"/>
          </ac:spMkLst>
        </pc:spChg>
        <pc:spChg chg="mod">
          <ac:chgData name="Guilherme Nogueira de Paula Tegethoff" userId="S::re045868@qintess.com::09bc0915-3b82-449e-a217-24142a84fb0c" providerId="AD" clId="Web-{BD45BF9A-D840-4634-64D2-ADD1B11B6D05}" dt="2025-05-07T16:45:49.331" v="525" actId="20577"/>
          <ac:spMkLst>
            <pc:docMk/>
            <pc:sldMk cId="1201822260" sldId="2147471529"/>
            <ac:spMk id="52" creationId="{ADFD5ABD-EF1B-5644-6BA4-75358BED09B5}"/>
          </ac:spMkLst>
        </pc:spChg>
        <pc:spChg chg="mod">
          <ac:chgData name="Guilherme Nogueira de Paula Tegethoff" userId="S::re045868@qintess.com::09bc0915-3b82-449e-a217-24142a84fb0c" providerId="AD" clId="Web-{BD45BF9A-D840-4634-64D2-ADD1B11B6D05}" dt="2025-05-07T16:41:18.669" v="414" actId="20577"/>
          <ac:spMkLst>
            <pc:docMk/>
            <pc:sldMk cId="1201822260" sldId="2147471529"/>
            <ac:spMk id="54" creationId="{C0DE5756-C9B3-709F-335C-C9007BE874EB}"/>
          </ac:spMkLst>
        </pc:spChg>
        <pc:spChg chg="mod">
          <ac:chgData name="Guilherme Nogueira de Paula Tegethoff" userId="S::re045868@qintess.com::09bc0915-3b82-449e-a217-24142a84fb0c" providerId="AD" clId="Web-{BD45BF9A-D840-4634-64D2-ADD1B11B6D05}" dt="2025-05-07T16:45:10.096" v="492" actId="20577"/>
          <ac:spMkLst>
            <pc:docMk/>
            <pc:sldMk cId="1201822260" sldId="2147471529"/>
            <ac:spMk id="56" creationId="{CBEC3136-85BC-C8E2-D7BB-CA6014E0B381}"/>
          </ac:spMkLst>
        </pc:spChg>
        <pc:spChg chg="mod">
          <ac:chgData name="Guilherme Nogueira de Paula Tegethoff" userId="S::re045868@qintess.com::09bc0915-3b82-449e-a217-24142a84fb0c" providerId="AD" clId="Web-{BD45BF9A-D840-4634-64D2-ADD1B11B6D05}" dt="2025-05-07T16:46:19.660" v="538" actId="1076"/>
          <ac:spMkLst>
            <pc:docMk/>
            <pc:sldMk cId="1201822260" sldId="2147471529"/>
            <ac:spMk id="58" creationId="{486FBA13-98CC-CCEA-F613-EF03144E84B4}"/>
          </ac:spMkLst>
        </pc:spChg>
        <pc:spChg chg="mod">
          <ac:chgData name="Guilherme Nogueira de Paula Tegethoff" userId="S::re045868@qintess.com::09bc0915-3b82-449e-a217-24142a84fb0c" providerId="AD" clId="Web-{BD45BF9A-D840-4634-64D2-ADD1B11B6D05}" dt="2025-05-07T16:46:06.925" v="531" actId="20577"/>
          <ac:spMkLst>
            <pc:docMk/>
            <pc:sldMk cId="1201822260" sldId="2147471529"/>
            <ac:spMk id="61" creationId="{7A4B3CDA-6C63-4315-6692-BB1C711224DA}"/>
          </ac:spMkLst>
        </pc:spChg>
        <pc:spChg chg="mod">
          <ac:chgData name="Guilherme Nogueira de Paula Tegethoff" userId="S::re045868@qintess.com::09bc0915-3b82-449e-a217-24142a84fb0c" providerId="AD" clId="Web-{BD45BF9A-D840-4634-64D2-ADD1B11B6D05}" dt="2025-05-07T16:46:09.535" v="532" actId="20577"/>
          <ac:spMkLst>
            <pc:docMk/>
            <pc:sldMk cId="1201822260" sldId="2147471529"/>
            <ac:spMk id="64" creationId="{147A70BB-5DCC-1B94-2767-101E99634629}"/>
          </ac:spMkLst>
        </pc:spChg>
        <pc:grpChg chg="mod">
          <ac:chgData name="Guilherme Nogueira de Paula Tegethoff" userId="S::re045868@qintess.com::09bc0915-3b82-449e-a217-24142a84fb0c" providerId="AD" clId="Web-{BD45BF9A-D840-4634-64D2-ADD1B11B6D05}" dt="2025-05-07T16:40:43.590" v="397" actId="1076"/>
          <ac:grpSpMkLst>
            <pc:docMk/>
            <pc:sldMk cId="1201822260" sldId="2147471529"/>
            <ac:grpSpMk id="3" creationId="{65DB04F4-C391-F91C-6C9A-4B9C6BE7C6F2}"/>
          </ac:grpSpMkLst>
        </pc:grpChg>
        <pc:picChg chg="mod">
          <ac:chgData name="Guilherme Nogueira de Paula Tegethoff" userId="S::re045868@qintess.com::09bc0915-3b82-449e-a217-24142a84fb0c" providerId="AD" clId="Web-{BD45BF9A-D840-4634-64D2-ADD1B11B6D05}" dt="2025-05-07T16:40:05.402" v="383" actId="1076"/>
          <ac:picMkLst>
            <pc:docMk/>
            <pc:sldMk cId="1201822260" sldId="2147471529"/>
            <ac:picMk id="37" creationId="{F76F01B3-B011-47FA-353F-9FAC8FAEBF3A}"/>
          </ac:picMkLst>
        </pc:picChg>
      </pc:sldChg>
      <pc:sldChg chg="modSp add">
        <pc:chgData name="Guilherme Nogueira de Paula Tegethoff" userId="S::re045868@qintess.com::09bc0915-3b82-449e-a217-24142a84fb0c" providerId="AD" clId="Web-{BD45BF9A-D840-4634-64D2-ADD1B11B6D05}" dt="2025-05-07T16:54:48.702" v="643" actId="1076"/>
        <pc:sldMkLst>
          <pc:docMk/>
          <pc:sldMk cId="2533214288" sldId="2147471530"/>
        </pc:sldMkLst>
        <pc:spChg chg="mod">
          <ac:chgData name="Guilherme Nogueira de Paula Tegethoff" userId="S::re045868@qintess.com::09bc0915-3b82-449e-a217-24142a84fb0c" providerId="AD" clId="Web-{BD45BF9A-D840-4634-64D2-ADD1B11B6D05}" dt="2025-05-07T16:51:23.682" v="559" actId="20577"/>
          <ac:spMkLst>
            <pc:docMk/>
            <pc:sldMk cId="2533214288" sldId="2147471530"/>
            <ac:spMk id="2" creationId="{E56A5205-460E-F88B-FFEC-BA156981618B}"/>
          </ac:spMkLst>
        </pc:spChg>
        <pc:spChg chg="mod">
          <ac:chgData name="Guilherme Nogueira de Paula Tegethoff" userId="S::re045868@qintess.com::09bc0915-3b82-449e-a217-24142a84fb0c" providerId="AD" clId="Web-{BD45BF9A-D840-4634-64D2-ADD1B11B6D05}" dt="2025-05-07T16:52:36.543" v="586"/>
          <ac:spMkLst>
            <pc:docMk/>
            <pc:sldMk cId="2533214288" sldId="2147471530"/>
            <ac:spMk id="7" creationId="{0E6AA260-8A74-9B37-A0C9-7586859C6F97}"/>
          </ac:spMkLst>
        </pc:spChg>
        <pc:spChg chg="mod">
          <ac:chgData name="Guilherme Nogueira de Paula Tegethoff" userId="S::re045868@qintess.com::09bc0915-3b82-449e-a217-24142a84fb0c" providerId="AD" clId="Web-{BD45BF9A-D840-4634-64D2-ADD1B11B6D05}" dt="2025-05-07T16:54:08.873" v="625" actId="20577"/>
          <ac:spMkLst>
            <pc:docMk/>
            <pc:sldMk cId="2533214288" sldId="2147471530"/>
            <ac:spMk id="10" creationId="{73649E79-2527-237E-6FF3-2F300C10B42B}"/>
          </ac:spMkLst>
        </pc:spChg>
        <pc:spChg chg="mod">
          <ac:chgData name="Guilherme Nogueira de Paula Tegethoff" userId="S::re045868@qintess.com::09bc0915-3b82-449e-a217-24142a84fb0c" providerId="AD" clId="Web-{BD45BF9A-D840-4634-64D2-ADD1B11B6D05}" dt="2025-05-07T16:53:00.668" v="599" actId="20577"/>
          <ac:spMkLst>
            <pc:docMk/>
            <pc:sldMk cId="2533214288" sldId="2147471530"/>
            <ac:spMk id="12" creationId="{99D56A66-F182-0DAE-FFFB-0255A32CF718}"/>
          </ac:spMkLst>
        </pc:spChg>
        <pc:spChg chg="mod">
          <ac:chgData name="Guilherme Nogueira de Paula Tegethoff" userId="S::re045868@qintess.com::09bc0915-3b82-449e-a217-24142a84fb0c" providerId="AD" clId="Web-{BD45BF9A-D840-4634-64D2-ADD1B11B6D05}" dt="2025-05-07T16:54:45.811" v="642"/>
          <ac:spMkLst>
            <pc:docMk/>
            <pc:sldMk cId="2533214288" sldId="2147471530"/>
            <ac:spMk id="13" creationId="{E184D237-CD0B-45BF-C9D9-53EAD6B7F370}"/>
          </ac:spMkLst>
        </pc:spChg>
        <pc:spChg chg="mod">
          <ac:chgData name="Guilherme Nogueira de Paula Tegethoff" userId="S::re045868@qintess.com::09bc0915-3b82-449e-a217-24142a84fb0c" providerId="AD" clId="Web-{BD45BF9A-D840-4634-64D2-ADD1B11B6D05}" dt="2025-05-07T16:53:22.778" v="604" actId="14100"/>
          <ac:spMkLst>
            <pc:docMk/>
            <pc:sldMk cId="2533214288" sldId="2147471530"/>
            <ac:spMk id="15" creationId="{7CCD7FB7-7C8D-4B3E-0821-2E19A644EDBA}"/>
          </ac:spMkLst>
        </pc:spChg>
        <pc:spChg chg="mod">
          <ac:chgData name="Guilherme Nogueira de Paula Tegethoff" userId="S::re045868@qintess.com::09bc0915-3b82-449e-a217-24142a84fb0c" providerId="AD" clId="Web-{BD45BF9A-D840-4634-64D2-ADD1B11B6D05}" dt="2025-05-07T16:51:51.260" v="564"/>
          <ac:spMkLst>
            <pc:docMk/>
            <pc:sldMk cId="2533214288" sldId="2147471530"/>
            <ac:spMk id="17" creationId="{AF03147B-6302-2E1F-C1AF-AA2DE03BEA4F}"/>
          </ac:spMkLst>
        </pc:spChg>
        <pc:grpChg chg="mod">
          <ac:chgData name="Guilherme Nogueira de Paula Tegethoff" userId="S::re045868@qintess.com::09bc0915-3b82-449e-a217-24142a84fb0c" providerId="AD" clId="Web-{BD45BF9A-D840-4634-64D2-ADD1B11B6D05}" dt="2025-05-07T16:54:48.702" v="643" actId="1076"/>
          <ac:grpSpMkLst>
            <pc:docMk/>
            <pc:sldMk cId="2533214288" sldId="2147471530"/>
            <ac:grpSpMk id="3" creationId="{CEE4583B-22D1-DEB7-BF86-164CA5794CBF}"/>
          </ac:grpSpMkLst>
        </pc:grpChg>
      </pc:sldChg>
    </pc:docChg>
  </pc:docChgLst>
  <pc:docChgLst>
    <pc:chgData name="Lucas Teixeira Aita Bittencourt" userId="S::re047461@qintess.com::db163a93-f6a4-45de-a665-ecb27fa741cd" providerId="AD" clId="Web-{90DDEAAE-E167-C188-572D-CDBDC88CA496}"/>
    <pc:docChg chg="modSld">
      <pc:chgData name="Lucas Teixeira Aita Bittencourt" userId="S::re047461@qintess.com::db163a93-f6a4-45de-a665-ecb27fa741cd" providerId="AD" clId="Web-{90DDEAAE-E167-C188-572D-CDBDC88CA496}" dt="2025-05-09T14:07:10.839" v="8" actId="20577"/>
      <pc:docMkLst>
        <pc:docMk/>
      </pc:docMkLst>
      <pc:sldChg chg="modSp">
        <pc:chgData name="Lucas Teixeira Aita Bittencourt" userId="S::re047461@qintess.com::db163a93-f6a4-45de-a665-ecb27fa741cd" providerId="AD" clId="Web-{90DDEAAE-E167-C188-572D-CDBDC88CA496}" dt="2025-05-09T14:07:10.839" v="8" actId="20577"/>
        <pc:sldMkLst>
          <pc:docMk/>
          <pc:sldMk cId="2471773236" sldId="2147471519"/>
        </pc:sldMkLst>
        <pc:spChg chg="mod">
          <ac:chgData name="Lucas Teixeira Aita Bittencourt" userId="S::re047461@qintess.com::db163a93-f6a4-45de-a665-ecb27fa741cd" providerId="AD" clId="Web-{90DDEAAE-E167-C188-572D-CDBDC88CA496}" dt="2025-05-09T14:06:37.025" v="4" actId="20577"/>
          <ac:spMkLst>
            <pc:docMk/>
            <pc:sldMk cId="2471773236" sldId="2147471519"/>
            <ac:spMk id="4" creationId="{A69E2B9B-C1E5-1F28-4AA1-6310E05AADFD}"/>
          </ac:spMkLst>
        </pc:spChg>
        <pc:spChg chg="mod">
          <ac:chgData name="Lucas Teixeira Aita Bittencourt" userId="S::re047461@qintess.com::db163a93-f6a4-45de-a665-ecb27fa741cd" providerId="AD" clId="Web-{90DDEAAE-E167-C188-572D-CDBDC88CA496}" dt="2025-05-09T14:07:10.839" v="8" actId="20577"/>
          <ac:spMkLst>
            <pc:docMk/>
            <pc:sldMk cId="2471773236" sldId="2147471519"/>
            <ac:spMk id="27" creationId="{7ECBDE22-B264-D254-98B5-7EACBDC2B7A0}"/>
          </ac:spMkLst>
        </pc:spChg>
      </pc:sldChg>
    </pc:docChg>
  </pc:docChgLst>
</pc:chgInfo>
</file>

<file path=ppt/comments/modernComment_7FFFD070_D0851251.xml><?xml version="1.0" encoding="utf-8"?>
<p188:cmLst xmlns:a="http://schemas.openxmlformats.org/drawingml/2006/main" xmlns:r="http://schemas.openxmlformats.org/officeDocument/2006/relationships" xmlns:p188="http://schemas.microsoft.com/office/powerpoint/2018/8/main">
  <p188:cm id="{CAE6F9B5-8BE7-47F6-A1CB-6898D17C07DA}" authorId="{C696C0CD-D21D-7F65-C51F-902711C4D1E0}" created="2025-05-07T15:31:59.017">
    <pc:sldMkLst xmlns:pc="http://schemas.microsoft.com/office/powerpoint/2013/main/command">
      <pc:docMk/>
      <pc:sldMk cId="3498381905" sldId="2147471472"/>
    </pc:sldMkLst>
    <p188:txBody>
      <a:bodyPr/>
      <a:lstStyle/>
      <a:p>
        <a:r>
          <a:rPr lang="en-US"/>
          <a:t>replace with english ones</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D224833-7D46-41ED-A069-10FB235B5B5C}" type="doc">
      <dgm:prSet loTypeId="urn:microsoft.com/office/officeart/2005/8/layout/radial1" loCatId="cycle" qsTypeId="urn:microsoft.com/office/officeart/2005/8/quickstyle/simple1" qsCatId="simple" csTypeId="urn:microsoft.com/office/officeart/2005/8/colors/accent1_2" csCatId="accent1" phldr="1"/>
      <dgm:spPr/>
      <dgm:t>
        <a:bodyPr/>
        <a:lstStyle/>
        <a:p>
          <a:endParaRPr lang="pt-BR"/>
        </a:p>
      </dgm:t>
    </dgm:pt>
    <dgm:pt modelId="{003B06E0-467F-4C3A-AD9B-A19C449E2208}">
      <dgm:prSet phldrT="[Texto]" custT="1"/>
      <dgm:spPr>
        <a:solidFill>
          <a:srgbClr val="CC0099"/>
        </a:solidFill>
        <a:ln>
          <a:noFill/>
        </a:ln>
        <a:effectLst>
          <a:outerShdw blurRad="50800" dist="38100" dir="2700000" algn="tl" rotWithShape="0">
            <a:prstClr val="black">
              <a:alpha val="40000"/>
            </a:prstClr>
          </a:outerShdw>
        </a:effectLst>
      </dgm:spPr>
      <dgm:t>
        <a:bodyPr/>
        <a:lstStyle/>
        <a:p>
          <a:r>
            <a:rPr lang="en-US" sz="1200" b="1" noProof="0">
              <a:solidFill>
                <a:schemeClr val="tx1"/>
              </a:solidFill>
              <a:latin typeface="Montserrat"/>
            </a:rPr>
            <a:t>Organization </a:t>
          </a:r>
          <a:r>
            <a:rPr lang="en-US" sz="2400" b="1" noProof="0">
              <a:solidFill>
                <a:schemeClr val="tx1"/>
              </a:solidFill>
              <a:latin typeface="Montserrat"/>
            </a:rPr>
            <a:t>Needs</a:t>
          </a:r>
          <a:endParaRPr lang="en-US" sz="1200" b="1" noProof="0">
            <a:solidFill>
              <a:schemeClr val="tx1"/>
            </a:solidFill>
            <a:latin typeface="Montserrat"/>
          </a:endParaRPr>
        </a:p>
      </dgm:t>
    </dgm:pt>
    <dgm:pt modelId="{DCC0DA93-E6CD-479A-8927-2DFB7A704464}" type="parTrans" cxnId="{5C652FCD-F162-4CEE-9583-DE379563DB01}">
      <dgm:prSet/>
      <dgm:spPr/>
      <dgm:t>
        <a:bodyPr/>
        <a:lstStyle/>
        <a:p>
          <a:endParaRPr lang="pt-BR" sz="1050">
            <a:solidFill>
              <a:schemeClr val="tx1"/>
            </a:solidFill>
            <a:latin typeface="Montserrat" panose="00000500000000000000" pitchFamily="2" charset="0"/>
          </a:endParaRPr>
        </a:p>
      </dgm:t>
    </dgm:pt>
    <dgm:pt modelId="{4BD30964-CD0A-4863-BF2D-6A4EE2091DDA}" type="sibTrans" cxnId="{5C652FCD-F162-4CEE-9583-DE379563DB01}">
      <dgm:prSet/>
      <dgm:spPr/>
      <dgm:t>
        <a:bodyPr/>
        <a:lstStyle/>
        <a:p>
          <a:endParaRPr lang="pt-BR" sz="1050">
            <a:solidFill>
              <a:schemeClr val="tx1"/>
            </a:solidFill>
            <a:latin typeface="Montserrat" panose="00000500000000000000" pitchFamily="2" charset="0"/>
          </a:endParaRPr>
        </a:p>
      </dgm:t>
    </dgm:pt>
    <dgm:pt modelId="{43F3EB68-FFB0-4EE7-A475-485BEB3F784D}">
      <dgm:prSet phldrT="[Texto]" custT="1"/>
      <dgm:spPr>
        <a:solidFill>
          <a:srgbClr val="6800FF"/>
        </a:solidFill>
        <a:ln>
          <a:noFill/>
        </a:ln>
        <a:effectLst>
          <a:outerShdw blurRad="50800" dist="38100" dir="2700000" algn="tl" rotWithShape="0">
            <a:prstClr val="black">
              <a:alpha val="40000"/>
            </a:prstClr>
          </a:outerShdw>
        </a:effectLst>
      </dgm:spPr>
      <dgm:t>
        <a:bodyPr/>
        <a:lstStyle/>
        <a:p>
          <a:r>
            <a:rPr lang="en-US" sz="1200" b="1" noProof="0">
              <a:solidFill>
                <a:schemeClr val="tx1"/>
              </a:solidFill>
              <a:latin typeface="Montserrat"/>
            </a:rPr>
            <a:t>Architecture Vision</a:t>
          </a:r>
        </a:p>
      </dgm:t>
    </dgm:pt>
    <dgm:pt modelId="{1C1DDF48-598B-4996-A58F-522E0B421CCF}" type="parTrans" cxnId="{5D0DCE39-F8F0-4D10-A890-7C2FDB4301D3}">
      <dgm:prSet custT="1"/>
      <dgm:spPr>
        <a:ln>
          <a:solidFill>
            <a:schemeClr val="bg1">
              <a:lumMod val="50000"/>
            </a:schemeClr>
          </a:solidFill>
          <a:headEnd type="triangle" w="med" len="med"/>
          <a:tailEnd type="triangle" w="med" len="med"/>
        </a:ln>
      </dgm:spPr>
      <dgm:t>
        <a:bodyPr/>
        <a:lstStyle/>
        <a:p>
          <a:endParaRPr lang="en-US" sz="1050" noProof="0">
            <a:solidFill>
              <a:schemeClr val="tx1"/>
            </a:solidFill>
            <a:latin typeface="Montserrat" panose="00000500000000000000" pitchFamily="2" charset="0"/>
          </a:endParaRPr>
        </a:p>
      </dgm:t>
    </dgm:pt>
    <dgm:pt modelId="{8EE120BA-9222-46D4-B85E-82FAB62E2D39}" type="sibTrans" cxnId="{5D0DCE39-F8F0-4D10-A890-7C2FDB4301D3}">
      <dgm:prSet/>
      <dgm:spPr/>
      <dgm:t>
        <a:bodyPr/>
        <a:lstStyle/>
        <a:p>
          <a:endParaRPr lang="pt-BR" sz="1050">
            <a:solidFill>
              <a:schemeClr val="tx1"/>
            </a:solidFill>
            <a:latin typeface="Montserrat" panose="00000500000000000000" pitchFamily="2" charset="0"/>
          </a:endParaRPr>
        </a:p>
      </dgm:t>
    </dgm:pt>
    <dgm:pt modelId="{440234CF-F2EA-47E5-80E7-1904C0FE3B10}">
      <dgm:prSet phldrT="[Texto]" custT="1"/>
      <dgm:spPr>
        <a:solidFill>
          <a:srgbClr val="6800FF"/>
        </a:solidFill>
        <a:ln>
          <a:noFill/>
        </a:ln>
        <a:effectLst>
          <a:outerShdw blurRad="50800" dist="38100" dir="2700000" algn="tl" rotWithShape="0">
            <a:prstClr val="black">
              <a:alpha val="40000"/>
            </a:prstClr>
          </a:outerShdw>
        </a:effectLst>
      </dgm:spPr>
      <dgm:t>
        <a:bodyPr/>
        <a:lstStyle/>
        <a:p>
          <a:r>
            <a:rPr lang="en-US" sz="1200" b="1" noProof="0">
              <a:solidFill>
                <a:schemeClr val="tx1"/>
              </a:solidFill>
              <a:latin typeface="Montserrat"/>
            </a:rPr>
            <a:t>Business Architecture</a:t>
          </a:r>
        </a:p>
      </dgm:t>
    </dgm:pt>
    <dgm:pt modelId="{54F10393-D34A-443F-AD33-5040F9DA2F04}" type="parTrans" cxnId="{5C5403E5-BFF2-4206-98FB-C55A3A4C1B64}">
      <dgm:prSet custT="1"/>
      <dgm:spPr>
        <a:ln>
          <a:solidFill>
            <a:schemeClr val="bg1">
              <a:lumMod val="50000"/>
            </a:schemeClr>
          </a:solidFill>
          <a:headEnd type="triangle" w="med" len="med"/>
          <a:tailEnd type="triangle" w="med" len="med"/>
        </a:ln>
      </dgm:spPr>
      <dgm:t>
        <a:bodyPr/>
        <a:lstStyle/>
        <a:p>
          <a:endParaRPr lang="en-US" sz="1050" noProof="0">
            <a:solidFill>
              <a:schemeClr val="tx1"/>
            </a:solidFill>
            <a:latin typeface="Montserrat" panose="00000500000000000000" pitchFamily="2" charset="0"/>
          </a:endParaRPr>
        </a:p>
      </dgm:t>
    </dgm:pt>
    <dgm:pt modelId="{571B3EC7-E672-4176-93BA-2CAA6B5414FC}" type="sibTrans" cxnId="{5C5403E5-BFF2-4206-98FB-C55A3A4C1B64}">
      <dgm:prSet/>
      <dgm:spPr/>
      <dgm:t>
        <a:bodyPr/>
        <a:lstStyle/>
        <a:p>
          <a:endParaRPr lang="pt-BR" sz="1050">
            <a:solidFill>
              <a:schemeClr val="tx1"/>
            </a:solidFill>
            <a:latin typeface="Montserrat" panose="00000500000000000000" pitchFamily="2" charset="0"/>
          </a:endParaRPr>
        </a:p>
      </dgm:t>
    </dgm:pt>
    <dgm:pt modelId="{3E6163C4-C61B-40A6-BEA3-44E6E721136B}">
      <dgm:prSet phldrT="[Texto]" custT="1"/>
      <dgm:spPr>
        <a:solidFill>
          <a:srgbClr val="6800FF"/>
        </a:solidFill>
        <a:ln>
          <a:noFill/>
        </a:ln>
        <a:effectLst>
          <a:outerShdw blurRad="50800" dist="38100" dir="2700000" algn="tl" rotWithShape="0">
            <a:prstClr val="black">
              <a:alpha val="40000"/>
            </a:prstClr>
          </a:outerShdw>
        </a:effectLst>
      </dgm:spPr>
      <dgm:t>
        <a:bodyPr/>
        <a:lstStyle/>
        <a:p>
          <a:r>
            <a:rPr lang="en-US" sz="1200" b="1" noProof="0">
              <a:solidFill>
                <a:schemeClr val="tx1"/>
              </a:solidFill>
              <a:latin typeface="Montserrat"/>
            </a:rPr>
            <a:t>Information Systems Architecture</a:t>
          </a:r>
        </a:p>
      </dgm:t>
    </dgm:pt>
    <dgm:pt modelId="{260D97DC-5E71-44A6-9AED-1F59A08A335C}" type="parTrans" cxnId="{22F16AA0-6E61-4282-88D5-C33AC40A331E}">
      <dgm:prSet custT="1"/>
      <dgm:spPr>
        <a:ln>
          <a:solidFill>
            <a:schemeClr val="bg1">
              <a:lumMod val="50000"/>
            </a:schemeClr>
          </a:solidFill>
          <a:headEnd type="triangle" w="med" len="med"/>
          <a:tailEnd type="triangle" w="med" len="med"/>
        </a:ln>
      </dgm:spPr>
      <dgm:t>
        <a:bodyPr/>
        <a:lstStyle/>
        <a:p>
          <a:endParaRPr lang="en-US" sz="1050" noProof="0">
            <a:solidFill>
              <a:schemeClr val="tx1"/>
            </a:solidFill>
            <a:latin typeface="Montserrat" panose="00000500000000000000" pitchFamily="2" charset="0"/>
          </a:endParaRPr>
        </a:p>
      </dgm:t>
    </dgm:pt>
    <dgm:pt modelId="{61AA6CDD-6A53-47D9-9169-9A85FE857F9B}" type="sibTrans" cxnId="{22F16AA0-6E61-4282-88D5-C33AC40A331E}">
      <dgm:prSet/>
      <dgm:spPr/>
      <dgm:t>
        <a:bodyPr/>
        <a:lstStyle/>
        <a:p>
          <a:endParaRPr lang="pt-BR" sz="1050">
            <a:solidFill>
              <a:schemeClr val="tx1"/>
            </a:solidFill>
            <a:latin typeface="Montserrat" panose="00000500000000000000" pitchFamily="2" charset="0"/>
          </a:endParaRPr>
        </a:p>
      </dgm:t>
    </dgm:pt>
    <dgm:pt modelId="{DB6D7FC4-4F07-4B3A-B6A3-8861053C1346}">
      <dgm:prSet phldrT="[Texto]" custT="1"/>
      <dgm:spPr>
        <a:solidFill>
          <a:srgbClr val="6800FF"/>
        </a:solidFill>
        <a:ln>
          <a:noFill/>
        </a:ln>
        <a:effectLst>
          <a:outerShdw blurRad="50800" dist="38100" dir="2700000" algn="tl" rotWithShape="0">
            <a:prstClr val="black">
              <a:alpha val="40000"/>
            </a:prstClr>
          </a:outerShdw>
        </a:effectLst>
      </dgm:spPr>
      <dgm:t>
        <a:bodyPr/>
        <a:lstStyle/>
        <a:p>
          <a:r>
            <a:rPr lang="en-US" sz="1200" b="1" noProof="0">
              <a:solidFill>
                <a:schemeClr val="tx1"/>
              </a:solidFill>
              <a:latin typeface="Montserrat"/>
            </a:rPr>
            <a:t>Technology Architecture</a:t>
          </a:r>
        </a:p>
      </dgm:t>
    </dgm:pt>
    <dgm:pt modelId="{119A573F-0A23-44D2-BE30-82E1263C7BD6}" type="parTrans" cxnId="{E3D636CB-23AF-401D-A78C-C4C0054CF6D2}">
      <dgm:prSet custT="1"/>
      <dgm:spPr>
        <a:ln>
          <a:solidFill>
            <a:schemeClr val="bg1">
              <a:lumMod val="50000"/>
            </a:schemeClr>
          </a:solidFill>
          <a:headEnd type="triangle" w="med" len="med"/>
          <a:tailEnd type="triangle" w="med" len="med"/>
        </a:ln>
      </dgm:spPr>
      <dgm:t>
        <a:bodyPr/>
        <a:lstStyle/>
        <a:p>
          <a:endParaRPr lang="en-US" sz="1050" noProof="0">
            <a:solidFill>
              <a:schemeClr val="tx1"/>
            </a:solidFill>
            <a:latin typeface="Montserrat" panose="00000500000000000000" pitchFamily="2" charset="0"/>
          </a:endParaRPr>
        </a:p>
      </dgm:t>
    </dgm:pt>
    <dgm:pt modelId="{BBD75765-44EA-4B7B-A011-EDF8D21F0625}" type="sibTrans" cxnId="{E3D636CB-23AF-401D-A78C-C4C0054CF6D2}">
      <dgm:prSet/>
      <dgm:spPr/>
      <dgm:t>
        <a:bodyPr/>
        <a:lstStyle/>
        <a:p>
          <a:endParaRPr lang="pt-BR" sz="1050">
            <a:solidFill>
              <a:schemeClr val="tx1"/>
            </a:solidFill>
            <a:latin typeface="Montserrat" panose="00000500000000000000" pitchFamily="2" charset="0"/>
          </a:endParaRPr>
        </a:p>
      </dgm:t>
    </dgm:pt>
    <dgm:pt modelId="{9600FB41-A94E-424C-B911-D59DF803E98D}">
      <dgm:prSet phldrT="[Texto]" custT="1"/>
      <dgm:spPr>
        <a:solidFill>
          <a:srgbClr val="6800FF"/>
        </a:solidFill>
        <a:ln w="12700" cap="flat" cmpd="sng" algn="ctr">
          <a:noFill/>
          <a:prstDash val="solid"/>
          <a:miter lim="800000"/>
        </a:ln>
        <a:effectLst>
          <a:outerShdw blurRad="50800" dist="38100" dir="2700000" algn="tl" rotWithShape="0">
            <a:prstClr val="black">
              <a:alpha val="40000"/>
            </a:prstClr>
          </a:outerShdw>
        </a:effectLst>
      </dgm:spPr>
      <dgm:t>
        <a:bodyPr spcFirstLastPara="0" vert="horz" wrap="square" lIns="10160" tIns="10160" rIns="10160" bIns="10160" numCol="1" spcCol="1270" anchor="ctr" anchorCtr="0"/>
        <a:lstStyle/>
        <a:p>
          <a:pPr marL="0" lvl="0" indent="0" algn="ctr" defTabSz="711200">
            <a:lnSpc>
              <a:spcPct val="90000"/>
            </a:lnSpc>
            <a:spcBef>
              <a:spcPct val="0"/>
            </a:spcBef>
            <a:spcAft>
              <a:spcPct val="35000"/>
            </a:spcAft>
            <a:buNone/>
          </a:pPr>
          <a:r>
            <a:rPr lang="en-US" sz="1200" b="1" kern="1200" noProof="0">
              <a:solidFill>
                <a:schemeClr val="tx1"/>
              </a:solidFill>
              <a:latin typeface="Montserrat"/>
              <a:ea typeface="+mn-ea"/>
              <a:cs typeface="+mn-cs"/>
            </a:rPr>
            <a:t>Opportunities &amp; Solutions</a:t>
          </a:r>
        </a:p>
      </dgm:t>
    </dgm:pt>
    <dgm:pt modelId="{96A5B07F-EF5B-4D71-ACAE-F4C54C61E605}" type="parTrans" cxnId="{4E54831B-A61A-49A8-8A96-DC86E555CFEA}">
      <dgm:prSet custT="1"/>
      <dgm:spPr>
        <a:ln>
          <a:solidFill>
            <a:schemeClr val="bg1">
              <a:lumMod val="50000"/>
            </a:schemeClr>
          </a:solidFill>
          <a:headEnd type="triangle" w="med" len="med"/>
          <a:tailEnd type="triangle" w="med" len="med"/>
        </a:ln>
      </dgm:spPr>
      <dgm:t>
        <a:bodyPr/>
        <a:lstStyle/>
        <a:p>
          <a:endParaRPr lang="en-US" sz="1050" noProof="0">
            <a:solidFill>
              <a:schemeClr val="tx1"/>
            </a:solidFill>
            <a:latin typeface="Montserrat" panose="00000500000000000000" pitchFamily="2" charset="0"/>
          </a:endParaRPr>
        </a:p>
      </dgm:t>
    </dgm:pt>
    <dgm:pt modelId="{792ED91A-8487-4216-8F94-B84C6C106521}" type="sibTrans" cxnId="{4E54831B-A61A-49A8-8A96-DC86E555CFEA}">
      <dgm:prSet/>
      <dgm:spPr/>
      <dgm:t>
        <a:bodyPr/>
        <a:lstStyle/>
        <a:p>
          <a:endParaRPr lang="pt-BR" sz="1050">
            <a:solidFill>
              <a:schemeClr val="tx1"/>
            </a:solidFill>
            <a:latin typeface="Montserrat" panose="00000500000000000000" pitchFamily="2" charset="0"/>
          </a:endParaRPr>
        </a:p>
      </dgm:t>
    </dgm:pt>
    <dgm:pt modelId="{DB3004C1-2A24-4720-B0E8-007D107807F7}">
      <dgm:prSet phldrT="[Texto]" custT="1"/>
      <dgm:spPr>
        <a:solidFill>
          <a:srgbClr val="6800FF"/>
        </a:solidFill>
        <a:ln>
          <a:noFill/>
        </a:ln>
        <a:effectLst>
          <a:outerShdw blurRad="50800" dist="38100" dir="2700000" algn="tl" rotWithShape="0">
            <a:prstClr val="black">
              <a:alpha val="40000"/>
            </a:prstClr>
          </a:outerShdw>
        </a:effectLst>
      </dgm:spPr>
      <dgm:t>
        <a:bodyPr/>
        <a:lstStyle/>
        <a:p>
          <a:r>
            <a:rPr lang="en-US" sz="1200" b="1" noProof="0">
              <a:solidFill>
                <a:schemeClr val="tx1"/>
              </a:solidFill>
              <a:latin typeface="Montserrat"/>
            </a:rPr>
            <a:t>Migration Planning</a:t>
          </a:r>
        </a:p>
      </dgm:t>
    </dgm:pt>
    <dgm:pt modelId="{F419D2B5-8C7D-44AE-A150-8AE3A58CA6C9}" type="parTrans" cxnId="{C53728D3-F72C-4CE1-A065-CC49C6B95E76}">
      <dgm:prSet custT="1"/>
      <dgm:spPr>
        <a:ln>
          <a:solidFill>
            <a:schemeClr val="bg1">
              <a:lumMod val="50000"/>
            </a:schemeClr>
          </a:solidFill>
          <a:headEnd type="triangle" w="med" len="med"/>
          <a:tailEnd type="triangle" w="med" len="med"/>
        </a:ln>
      </dgm:spPr>
      <dgm:t>
        <a:bodyPr/>
        <a:lstStyle/>
        <a:p>
          <a:endParaRPr lang="en-US" sz="1050" noProof="0">
            <a:solidFill>
              <a:schemeClr val="tx1"/>
            </a:solidFill>
            <a:latin typeface="Montserrat" panose="00000500000000000000" pitchFamily="2" charset="0"/>
          </a:endParaRPr>
        </a:p>
      </dgm:t>
    </dgm:pt>
    <dgm:pt modelId="{EB69869C-035C-4A51-836F-CABAE6861E2D}" type="sibTrans" cxnId="{C53728D3-F72C-4CE1-A065-CC49C6B95E76}">
      <dgm:prSet/>
      <dgm:spPr/>
      <dgm:t>
        <a:bodyPr/>
        <a:lstStyle/>
        <a:p>
          <a:endParaRPr lang="pt-BR" sz="1050">
            <a:solidFill>
              <a:schemeClr val="tx1"/>
            </a:solidFill>
            <a:latin typeface="Montserrat" panose="00000500000000000000" pitchFamily="2" charset="0"/>
          </a:endParaRPr>
        </a:p>
      </dgm:t>
    </dgm:pt>
    <dgm:pt modelId="{AEDA277E-ABC2-464F-A465-2E9EDE51F85E}">
      <dgm:prSet phldrT="[Texto]" custT="1"/>
      <dgm:spPr>
        <a:solidFill>
          <a:srgbClr val="6800FF"/>
        </a:solidFill>
        <a:ln>
          <a:noFill/>
        </a:ln>
        <a:effectLst>
          <a:outerShdw blurRad="50800" dist="38100" dir="2700000" algn="tl" rotWithShape="0">
            <a:prstClr val="black">
              <a:alpha val="40000"/>
            </a:prstClr>
          </a:outerShdw>
        </a:effectLst>
      </dgm:spPr>
      <dgm:t>
        <a:bodyPr/>
        <a:lstStyle/>
        <a:p>
          <a:r>
            <a:rPr lang="en-US" sz="1200" b="1" noProof="0">
              <a:solidFill>
                <a:schemeClr val="tx1"/>
              </a:solidFill>
              <a:latin typeface="Montserrat"/>
            </a:rPr>
            <a:t>Governance</a:t>
          </a:r>
        </a:p>
      </dgm:t>
    </dgm:pt>
    <dgm:pt modelId="{58101D2C-B1CA-478C-B895-3FB6C90546EF}" type="parTrans" cxnId="{F8DA1338-9D7C-4296-B177-D23847096BC7}">
      <dgm:prSet custT="1"/>
      <dgm:spPr/>
      <dgm:t>
        <a:bodyPr/>
        <a:lstStyle/>
        <a:p>
          <a:endParaRPr lang="en-US" sz="1050" noProof="0">
            <a:solidFill>
              <a:schemeClr val="tx1"/>
            </a:solidFill>
            <a:latin typeface="Montserrat" panose="00000500000000000000" pitchFamily="2" charset="0"/>
          </a:endParaRPr>
        </a:p>
      </dgm:t>
    </dgm:pt>
    <dgm:pt modelId="{D5079C25-A71A-41D7-9349-66436C1DC2E3}" type="sibTrans" cxnId="{F8DA1338-9D7C-4296-B177-D23847096BC7}">
      <dgm:prSet/>
      <dgm:spPr/>
      <dgm:t>
        <a:bodyPr/>
        <a:lstStyle/>
        <a:p>
          <a:endParaRPr lang="pt-BR" sz="1050">
            <a:solidFill>
              <a:schemeClr val="tx1"/>
            </a:solidFill>
            <a:latin typeface="Montserrat" panose="00000500000000000000" pitchFamily="2" charset="0"/>
          </a:endParaRPr>
        </a:p>
      </dgm:t>
    </dgm:pt>
    <dgm:pt modelId="{085C0AF6-4184-4C0A-8D19-7F40AEC01552}">
      <dgm:prSet phldrT="[Texto]" custT="1"/>
      <dgm:spPr>
        <a:solidFill>
          <a:srgbClr val="6800FF"/>
        </a:solidFill>
        <a:ln>
          <a:noFill/>
        </a:ln>
        <a:effectLst>
          <a:outerShdw blurRad="50800" dist="38100" dir="2700000" algn="tl" rotWithShape="0">
            <a:prstClr val="black">
              <a:alpha val="40000"/>
            </a:prstClr>
          </a:outerShdw>
        </a:effectLst>
      </dgm:spPr>
      <dgm:t>
        <a:bodyPr/>
        <a:lstStyle/>
        <a:p>
          <a:pPr rtl="0"/>
          <a:r>
            <a:rPr lang="en-US" sz="1200" b="1" noProof="0">
              <a:solidFill>
                <a:schemeClr val="tx1"/>
              </a:solidFill>
              <a:latin typeface="Montserrat"/>
            </a:rPr>
            <a:t>Architecture Change Management  </a:t>
          </a:r>
        </a:p>
      </dgm:t>
    </dgm:pt>
    <dgm:pt modelId="{61137055-B042-4BC5-AB75-6CC5F0664065}" type="parTrans" cxnId="{2579EFE9-02E7-490D-9101-9CEAF33DEBA8}">
      <dgm:prSet custT="1"/>
      <dgm:spPr>
        <a:ln>
          <a:solidFill>
            <a:schemeClr val="bg1">
              <a:lumMod val="50000"/>
            </a:schemeClr>
          </a:solidFill>
          <a:headEnd type="triangle" w="med" len="med"/>
          <a:tailEnd type="triangle" w="med" len="med"/>
        </a:ln>
      </dgm:spPr>
      <dgm:t>
        <a:bodyPr/>
        <a:lstStyle/>
        <a:p>
          <a:endParaRPr lang="en-US" sz="1050" noProof="0">
            <a:solidFill>
              <a:schemeClr val="tx1"/>
            </a:solidFill>
            <a:latin typeface="Montserrat" panose="00000500000000000000" pitchFamily="2" charset="0"/>
          </a:endParaRPr>
        </a:p>
      </dgm:t>
    </dgm:pt>
    <dgm:pt modelId="{AEBF5FFA-6D90-4A89-A51F-334EDD4C22AE}" type="sibTrans" cxnId="{2579EFE9-02E7-490D-9101-9CEAF33DEBA8}">
      <dgm:prSet/>
      <dgm:spPr/>
      <dgm:t>
        <a:bodyPr/>
        <a:lstStyle/>
        <a:p>
          <a:endParaRPr lang="pt-BR" sz="1050">
            <a:solidFill>
              <a:schemeClr val="tx1"/>
            </a:solidFill>
            <a:latin typeface="Montserrat" panose="00000500000000000000" pitchFamily="2" charset="0"/>
          </a:endParaRPr>
        </a:p>
      </dgm:t>
    </dgm:pt>
    <dgm:pt modelId="{2A4AAC0E-C932-4D51-A337-876BA69B6AD5}" type="pres">
      <dgm:prSet presAssocID="{AD224833-7D46-41ED-A069-10FB235B5B5C}" presName="cycle" presStyleCnt="0">
        <dgm:presLayoutVars>
          <dgm:chMax val="1"/>
          <dgm:dir/>
          <dgm:animLvl val="ctr"/>
          <dgm:resizeHandles val="exact"/>
        </dgm:presLayoutVars>
      </dgm:prSet>
      <dgm:spPr/>
    </dgm:pt>
    <dgm:pt modelId="{8CE75997-F62C-44A7-A507-D2927CB99C77}" type="pres">
      <dgm:prSet presAssocID="{003B06E0-467F-4C3A-AD9B-A19C449E2208}" presName="centerShape" presStyleLbl="node0" presStyleIdx="0" presStyleCnt="1" custScaleX="126180" custScaleY="126180"/>
      <dgm:spPr/>
    </dgm:pt>
    <dgm:pt modelId="{AACC3FA4-EB5F-4316-89B0-FEF22DCE4242}" type="pres">
      <dgm:prSet presAssocID="{1C1DDF48-598B-4996-A58F-522E0B421CCF}" presName="Name9" presStyleLbl="parChTrans1D2" presStyleIdx="0" presStyleCnt="8"/>
      <dgm:spPr/>
    </dgm:pt>
    <dgm:pt modelId="{06A0D719-FB75-4C60-AE6A-BA64164ADE82}" type="pres">
      <dgm:prSet presAssocID="{1C1DDF48-598B-4996-A58F-522E0B421CCF}" presName="connTx" presStyleLbl="parChTrans1D2" presStyleIdx="0" presStyleCnt="8"/>
      <dgm:spPr/>
    </dgm:pt>
    <dgm:pt modelId="{C751FA1F-56E3-4A1D-A229-60D4E4AF47D8}" type="pres">
      <dgm:prSet presAssocID="{43F3EB68-FFB0-4EE7-A475-485BEB3F784D}" presName="node" presStyleLbl="node1" presStyleIdx="0" presStyleCnt="8" custScaleX="111459" custScaleY="111459">
        <dgm:presLayoutVars>
          <dgm:bulletEnabled val="1"/>
        </dgm:presLayoutVars>
      </dgm:prSet>
      <dgm:spPr/>
    </dgm:pt>
    <dgm:pt modelId="{D7E5BCC4-D4A7-492D-B823-9B5DF8F2D389}" type="pres">
      <dgm:prSet presAssocID="{54F10393-D34A-443F-AD33-5040F9DA2F04}" presName="Name9" presStyleLbl="parChTrans1D2" presStyleIdx="1" presStyleCnt="8"/>
      <dgm:spPr/>
    </dgm:pt>
    <dgm:pt modelId="{E0BAD77D-68B4-40C1-A807-90DAB6BEACBA}" type="pres">
      <dgm:prSet presAssocID="{54F10393-D34A-443F-AD33-5040F9DA2F04}" presName="connTx" presStyleLbl="parChTrans1D2" presStyleIdx="1" presStyleCnt="8"/>
      <dgm:spPr/>
    </dgm:pt>
    <dgm:pt modelId="{11417D97-918C-4CD3-8A63-9D74BAD36D10}" type="pres">
      <dgm:prSet presAssocID="{440234CF-F2EA-47E5-80E7-1904C0FE3B10}" presName="node" presStyleLbl="node1" presStyleIdx="1" presStyleCnt="8" custScaleX="111459" custScaleY="111459">
        <dgm:presLayoutVars>
          <dgm:bulletEnabled val="1"/>
        </dgm:presLayoutVars>
      </dgm:prSet>
      <dgm:spPr/>
    </dgm:pt>
    <dgm:pt modelId="{72BEC028-DC9A-4259-807B-9002E6E8FA1D}" type="pres">
      <dgm:prSet presAssocID="{260D97DC-5E71-44A6-9AED-1F59A08A335C}" presName="Name9" presStyleLbl="parChTrans1D2" presStyleIdx="2" presStyleCnt="8"/>
      <dgm:spPr/>
    </dgm:pt>
    <dgm:pt modelId="{0C20960A-2377-45FB-B051-BAF273557852}" type="pres">
      <dgm:prSet presAssocID="{260D97DC-5E71-44A6-9AED-1F59A08A335C}" presName="connTx" presStyleLbl="parChTrans1D2" presStyleIdx="2" presStyleCnt="8"/>
      <dgm:spPr/>
    </dgm:pt>
    <dgm:pt modelId="{5EB9627E-B338-42DF-A7B0-DFD01754DB22}" type="pres">
      <dgm:prSet presAssocID="{3E6163C4-C61B-40A6-BEA3-44E6E721136B}" presName="node" presStyleLbl="node1" presStyleIdx="2" presStyleCnt="8" custScaleX="111459" custScaleY="111459">
        <dgm:presLayoutVars>
          <dgm:bulletEnabled val="1"/>
        </dgm:presLayoutVars>
      </dgm:prSet>
      <dgm:spPr/>
    </dgm:pt>
    <dgm:pt modelId="{8334465A-A68E-4F19-9DB1-AF9FEB55CD97}" type="pres">
      <dgm:prSet presAssocID="{119A573F-0A23-44D2-BE30-82E1263C7BD6}" presName="Name9" presStyleLbl="parChTrans1D2" presStyleIdx="3" presStyleCnt="8"/>
      <dgm:spPr/>
    </dgm:pt>
    <dgm:pt modelId="{0D304CED-2686-4CA6-BA2A-2B5424061D80}" type="pres">
      <dgm:prSet presAssocID="{119A573F-0A23-44D2-BE30-82E1263C7BD6}" presName="connTx" presStyleLbl="parChTrans1D2" presStyleIdx="3" presStyleCnt="8"/>
      <dgm:spPr/>
    </dgm:pt>
    <dgm:pt modelId="{BD863321-8784-4FC7-8035-1E24F0878217}" type="pres">
      <dgm:prSet presAssocID="{DB6D7FC4-4F07-4B3A-B6A3-8861053C1346}" presName="node" presStyleLbl="node1" presStyleIdx="3" presStyleCnt="8" custScaleX="111459" custScaleY="111459">
        <dgm:presLayoutVars>
          <dgm:bulletEnabled val="1"/>
        </dgm:presLayoutVars>
      </dgm:prSet>
      <dgm:spPr/>
    </dgm:pt>
    <dgm:pt modelId="{261C9275-8C2E-4F56-9ED2-4D51D480A2FD}" type="pres">
      <dgm:prSet presAssocID="{96A5B07F-EF5B-4D71-ACAE-F4C54C61E605}" presName="Name9" presStyleLbl="parChTrans1D2" presStyleIdx="4" presStyleCnt="8"/>
      <dgm:spPr/>
    </dgm:pt>
    <dgm:pt modelId="{D8823DB1-D510-4F07-BC8F-F9087CABFDA1}" type="pres">
      <dgm:prSet presAssocID="{96A5B07F-EF5B-4D71-ACAE-F4C54C61E605}" presName="connTx" presStyleLbl="parChTrans1D2" presStyleIdx="4" presStyleCnt="8"/>
      <dgm:spPr/>
    </dgm:pt>
    <dgm:pt modelId="{101F4068-1981-45A5-B2CE-A975C93A4A51}" type="pres">
      <dgm:prSet presAssocID="{9600FB41-A94E-424C-B911-D59DF803E98D}" presName="node" presStyleLbl="node1" presStyleIdx="4" presStyleCnt="8" custScaleX="111459" custScaleY="111459">
        <dgm:presLayoutVars>
          <dgm:bulletEnabled val="1"/>
        </dgm:presLayoutVars>
      </dgm:prSet>
      <dgm:spPr>
        <a:xfrm>
          <a:off x="4682411" y="5729828"/>
          <a:ext cx="1907999" cy="1907999"/>
        </a:xfrm>
        <a:prstGeom prst="ellipse">
          <a:avLst/>
        </a:prstGeom>
      </dgm:spPr>
    </dgm:pt>
    <dgm:pt modelId="{D66E2521-2C5A-4D65-894B-026F3BB25988}" type="pres">
      <dgm:prSet presAssocID="{F419D2B5-8C7D-44AE-A150-8AE3A58CA6C9}" presName="Name9" presStyleLbl="parChTrans1D2" presStyleIdx="5" presStyleCnt="8"/>
      <dgm:spPr/>
    </dgm:pt>
    <dgm:pt modelId="{E65F3014-BBBE-4FBF-8BC8-B4DE5DD0FDA8}" type="pres">
      <dgm:prSet presAssocID="{F419D2B5-8C7D-44AE-A150-8AE3A58CA6C9}" presName="connTx" presStyleLbl="parChTrans1D2" presStyleIdx="5" presStyleCnt="8"/>
      <dgm:spPr/>
    </dgm:pt>
    <dgm:pt modelId="{9CC35EEA-5CDA-4C83-A9D3-2170E35C7362}" type="pres">
      <dgm:prSet presAssocID="{DB3004C1-2A24-4720-B0E8-007D107807F7}" presName="node" presStyleLbl="node1" presStyleIdx="5" presStyleCnt="8" custScaleX="111459" custScaleY="111459">
        <dgm:presLayoutVars>
          <dgm:bulletEnabled val="1"/>
        </dgm:presLayoutVars>
      </dgm:prSet>
      <dgm:spPr/>
    </dgm:pt>
    <dgm:pt modelId="{F200CE66-EA51-4DA8-AD2A-E0FF5C6EAECB}" type="pres">
      <dgm:prSet presAssocID="{58101D2C-B1CA-478C-B895-3FB6C90546EF}" presName="Name9" presStyleLbl="parChTrans1D2" presStyleIdx="6" presStyleCnt="8"/>
      <dgm:spPr/>
    </dgm:pt>
    <dgm:pt modelId="{9F251B22-CDCE-4A95-9A0D-F4AA2D966460}" type="pres">
      <dgm:prSet presAssocID="{58101D2C-B1CA-478C-B895-3FB6C90546EF}" presName="connTx" presStyleLbl="parChTrans1D2" presStyleIdx="6" presStyleCnt="8"/>
      <dgm:spPr/>
    </dgm:pt>
    <dgm:pt modelId="{AAC12F0A-A580-40AC-AEE0-19E02B1B72E5}" type="pres">
      <dgm:prSet presAssocID="{AEDA277E-ABC2-464F-A465-2E9EDE51F85E}" presName="node" presStyleLbl="node1" presStyleIdx="6" presStyleCnt="8" custScaleX="111459" custScaleY="111459">
        <dgm:presLayoutVars>
          <dgm:bulletEnabled val="1"/>
        </dgm:presLayoutVars>
      </dgm:prSet>
      <dgm:spPr/>
    </dgm:pt>
    <dgm:pt modelId="{74B8507E-55B5-45A7-848A-5DC33A625143}" type="pres">
      <dgm:prSet presAssocID="{61137055-B042-4BC5-AB75-6CC5F0664065}" presName="Name9" presStyleLbl="parChTrans1D2" presStyleIdx="7" presStyleCnt="8"/>
      <dgm:spPr/>
    </dgm:pt>
    <dgm:pt modelId="{6DBE56EB-5071-42C4-8814-2B348586E210}" type="pres">
      <dgm:prSet presAssocID="{61137055-B042-4BC5-AB75-6CC5F0664065}" presName="connTx" presStyleLbl="parChTrans1D2" presStyleIdx="7" presStyleCnt="8"/>
      <dgm:spPr/>
    </dgm:pt>
    <dgm:pt modelId="{3AD9019C-4F19-41A3-860B-8DC2B1B2A9A3}" type="pres">
      <dgm:prSet presAssocID="{085C0AF6-4184-4C0A-8D19-7F40AEC01552}" presName="node" presStyleLbl="node1" presStyleIdx="7" presStyleCnt="8">
        <dgm:presLayoutVars>
          <dgm:bulletEnabled val="1"/>
        </dgm:presLayoutVars>
      </dgm:prSet>
      <dgm:spPr/>
    </dgm:pt>
  </dgm:ptLst>
  <dgm:cxnLst>
    <dgm:cxn modelId="{B0AB8908-8B4B-4A30-ACF0-9CE4C9A95BCF}" type="presOf" srcId="{440234CF-F2EA-47E5-80E7-1904C0FE3B10}" destId="{11417D97-918C-4CD3-8A63-9D74BAD36D10}" srcOrd="0" destOrd="0" presId="urn:microsoft.com/office/officeart/2005/8/layout/radial1"/>
    <dgm:cxn modelId="{D21A250B-EBF4-4DA6-9D10-F50AA96CEE1D}" type="presOf" srcId="{AEDA277E-ABC2-464F-A465-2E9EDE51F85E}" destId="{AAC12F0A-A580-40AC-AEE0-19E02B1B72E5}" srcOrd="0" destOrd="0" presId="urn:microsoft.com/office/officeart/2005/8/layout/radial1"/>
    <dgm:cxn modelId="{85220C13-380C-429B-B02D-602E376C364A}" type="presOf" srcId="{F419D2B5-8C7D-44AE-A150-8AE3A58CA6C9}" destId="{E65F3014-BBBE-4FBF-8BC8-B4DE5DD0FDA8}" srcOrd="1" destOrd="0" presId="urn:microsoft.com/office/officeart/2005/8/layout/radial1"/>
    <dgm:cxn modelId="{4E54831B-A61A-49A8-8A96-DC86E555CFEA}" srcId="{003B06E0-467F-4C3A-AD9B-A19C449E2208}" destId="{9600FB41-A94E-424C-B911-D59DF803E98D}" srcOrd="4" destOrd="0" parTransId="{96A5B07F-EF5B-4D71-ACAE-F4C54C61E605}" sibTransId="{792ED91A-8487-4216-8F94-B84C6C106521}"/>
    <dgm:cxn modelId="{81481D20-BA04-45DC-816C-485A243B999D}" type="presOf" srcId="{003B06E0-467F-4C3A-AD9B-A19C449E2208}" destId="{8CE75997-F62C-44A7-A507-D2927CB99C77}" srcOrd="0" destOrd="0" presId="urn:microsoft.com/office/officeart/2005/8/layout/radial1"/>
    <dgm:cxn modelId="{B5E42D24-D6A2-48C2-8DD5-1BBBFD63AB4F}" type="presOf" srcId="{43F3EB68-FFB0-4EE7-A475-485BEB3F784D}" destId="{C751FA1F-56E3-4A1D-A229-60D4E4AF47D8}" srcOrd="0" destOrd="0" presId="urn:microsoft.com/office/officeart/2005/8/layout/radial1"/>
    <dgm:cxn modelId="{6AF7E129-2CB8-4584-8620-E22BCDB01B20}" type="presOf" srcId="{119A573F-0A23-44D2-BE30-82E1263C7BD6}" destId="{0D304CED-2686-4CA6-BA2A-2B5424061D80}" srcOrd="1" destOrd="0" presId="urn:microsoft.com/office/officeart/2005/8/layout/radial1"/>
    <dgm:cxn modelId="{4678182A-3B0F-4E86-A79D-5CCABF996FD2}" type="presOf" srcId="{96A5B07F-EF5B-4D71-ACAE-F4C54C61E605}" destId="{261C9275-8C2E-4F56-9ED2-4D51D480A2FD}" srcOrd="0" destOrd="0" presId="urn:microsoft.com/office/officeart/2005/8/layout/radial1"/>
    <dgm:cxn modelId="{D9D7262C-49B9-471E-B8AF-20F132B9778D}" type="presOf" srcId="{3E6163C4-C61B-40A6-BEA3-44E6E721136B}" destId="{5EB9627E-B338-42DF-A7B0-DFD01754DB22}" srcOrd="0" destOrd="0" presId="urn:microsoft.com/office/officeart/2005/8/layout/radial1"/>
    <dgm:cxn modelId="{D702DA30-7005-435B-9BCD-131E5DBC9DB3}" type="presOf" srcId="{260D97DC-5E71-44A6-9AED-1F59A08A335C}" destId="{0C20960A-2377-45FB-B051-BAF273557852}" srcOrd="1" destOrd="0" presId="urn:microsoft.com/office/officeart/2005/8/layout/radial1"/>
    <dgm:cxn modelId="{F8DA1338-9D7C-4296-B177-D23847096BC7}" srcId="{003B06E0-467F-4C3A-AD9B-A19C449E2208}" destId="{AEDA277E-ABC2-464F-A465-2E9EDE51F85E}" srcOrd="6" destOrd="0" parTransId="{58101D2C-B1CA-478C-B895-3FB6C90546EF}" sibTransId="{D5079C25-A71A-41D7-9349-66436C1DC2E3}"/>
    <dgm:cxn modelId="{5D0DCE39-F8F0-4D10-A890-7C2FDB4301D3}" srcId="{003B06E0-467F-4C3A-AD9B-A19C449E2208}" destId="{43F3EB68-FFB0-4EE7-A475-485BEB3F784D}" srcOrd="0" destOrd="0" parTransId="{1C1DDF48-598B-4996-A58F-522E0B421CCF}" sibTransId="{8EE120BA-9222-46D4-B85E-82FAB62E2D39}"/>
    <dgm:cxn modelId="{7A1AAD3D-7789-4E81-BF43-3D23FF5FAC14}" type="presOf" srcId="{58101D2C-B1CA-478C-B895-3FB6C90546EF}" destId="{F200CE66-EA51-4DA8-AD2A-E0FF5C6EAECB}" srcOrd="0" destOrd="0" presId="urn:microsoft.com/office/officeart/2005/8/layout/radial1"/>
    <dgm:cxn modelId="{8313253F-2CA2-41F5-9E11-6EFE520A0DCA}" type="presOf" srcId="{1C1DDF48-598B-4996-A58F-522E0B421CCF}" destId="{06A0D719-FB75-4C60-AE6A-BA64164ADE82}" srcOrd="1" destOrd="0" presId="urn:microsoft.com/office/officeart/2005/8/layout/radial1"/>
    <dgm:cxn modelId="{D09DB55C-A82A-4871-9AE6-1E24D55ED6E3}" type="presOf" srcId="{F419D2B5-8C7D-44AE-A150-8AE3A58CA6C9}" destId="{D66E2521-2C5A-4D65-894B-026F3BB25988}" srcOrd="0" destOrd="0" presId="urn:microsoft.com/office/officeart/2005/8/layout/radial1"/>
    <dgm:cxn modelId="{4E173563-690E-4139-8718-B7E5DCA63EAA}" type="presOf" srcId="{085C0AF6-4184-4C0A-8D19-7F40AEC01552}" destId="{3AD9019C-4F19-41A3-860B-8DC2B1B2A9A3}" srcOrd="0" destOrd="0" presId="urn:microsoft.com/office/officeart/2005/8/layout/radial1"/>
    <dgm:cxn modelId="{3E19B26A-36F5-4C5B-B874-E8D03452172E}" type="presOf" srcId="{119A573F-0A23-44D2-BE30-82E1263C7BD6}" destId="{8334465A-A68E-4F19-9DB1-AF9FEB55CD97}" srcOrd="0" destOrd="0" presId="urn:microsoft.com/office/officeart/2005/8/layout/radial1"/>
    <dgm:cxn modelId="{866ACD58-83BA-42FE-9A8F-C0BED4DBCCAB}" type="presOf" srcId="{96A5B07F-EF5B-4D71-ACAE-F4C54C61E605}" destId="{D8823DB1-D510-4F07-BC8F-F9087CABFDA1}" srcOrd="1" destOrd="0" presId="urn:microsoft.com/office/officeart/2005/8/layout/radial1"/>
    <dgm:cxn modelId="{A6E95579-75B0-4473-850C-184D343934FD}" type="presOf" srcId="{54F10393-D34A-443F-AD33-5040F9DA2F04}" destId="{D7E5BCC4-D4A7-492D-B823-9B5DF8F2D389}" srcOrd="0" destOrd="0" presId="urn:microsoft.com/office/officeart/2005/8/layout/radial1"/>
    <dgm:cxn modelId="{18ACEF80-9263-4765-834B-51FD03FC71A6}" type="presOf" srcId="{9600FB41-A94E-424C-B911-D59DF803E98D}" destId="{101F4068-1981-45A5-B2CE-A975C93A4A51}" srcOrd="0" destOrd="0" presId="urn:microsoft.com/office/officeart/2005/8/layout/radial1"/>
    <dgm:cxn modelId="{CFCDF68F-CA37-49CB-A758-6B7411979DB9}" type="presOf" srcId="{54F10393-D34A-443F-AD33-5040F9DA2F04}" destId="{E0BAD77D-68B4-40C1-A807-90DAB6BEACBA}" srcOrd="1" destOrd="0" presId="urn:microsoft.com/office/officeart/2005/8/layout/radial1"/>
    <dgm:cxn modelId="{22F16AA0-6E61-4282-88D5-C33AC40A331E}" srcId="{003B06E0-467F-4C3A-AD9B-A19C449E2208}" destId="{3E6163C4-C61B-40A6-BEA3-44E6E721136B}" srcOrd="2" destOrd="0" parTransId="{260D97DC-5E71-44A6-9AED-1F59A08A335C}" sibTransId="{61AA6CDD-6A53-47D9-9169-9A85FE857F9B}"/>
    <dgm:cxn modelId="{FB0715A1-4798-47D4-8FDC-C11BEB89027D}" type="presOf" srcId="{260D97DC-5E71-44A6-9AED-1F59A08A335C}" destId="{72BEC028-DC9A-4259-807B-9002E6E8FA1D}" srcOrd="0" destOrd="0" presId="urn:microsoft.com/office/officeart/2005/8/layout/radial1"/>
    <dgm:cxn modelId="{8B1B00A2-88CD-4EDE-8628-CB1916F9BF22}" type="presOf" srcId="{58101D2C-B1CA-478C-B895-3FB6C90546EF}" destId="{9F251B22-CDCE-4A95-9A0D-F4AA2D966460}" srcOrd="1" destOrd="0" presId="urn:microsoft.com/office/officeart/2005/8/layout/radial1"/>
    <dgm:cxn modelId="{F3D1A3C8-939F-4226-96B0-98CF395B608B}" type="presOf" srcId="{1C1DDF48-598B-4996-A58F-522E0B421CCF}" destId="{AACC3FA4-EB5F-4316-89B0-FEF22DCE4242}" srcOrd="0" destOrd="0" presId="urn:microsoft.com/office/officeart/2005/8/layout/radial1"/>
    <dgm:cxn modelId="{E3D636CB-23AF-401D-A78C-C4C0054CF6D2}" srcId="{003B06E0-467F-4C3A-AD9B-A19C449E2208}" destId="{DB6D7FC4-4F07-4B3A-B6A3-8861053C1346}" srcOrd="3" destOrd="0" parTransId="{119A573F-0A23-44D2-BE30-82E1263C7BD6}" sibTransId="{BBD75765-44EA-4B7B-A011-EDF8D21F0625}"/>
    <dgm:cxn modelId="{5C652FCD-F162-4CEE-9583-DE379563DB01}" srcId="{AD224833-7D46-41ED-A069-10FB235B5B5C}" destId="{003B06E0-467F-4C3A-AD9B-A19C449E2208}" srcOrd="0" destOrd="0" parTransId="{DCC0DA93-E6CD-479A-8927-2DFB7A704464}" sibTransId="{4BD30964-CD0A-4863-BF2D-6A4EE2091DDA}"/>
    <dgm:cxn modelId="{C53728D3-F72C-4CE1-A065-CC49C6B95E76}" srcId="{003B06E0-467F-4C3A-AD9B-A19C449E2208}" destId="{DB3004C1-2A24-4720-B0E8-007D107807F7}" srcOrd="5" destOrd="0" parTransId="{F419D2B5-8C7D-44AE-A150-8AE3A58CA6C9}" sibTransId="{EB69869C-035C-4A51-836F-CABAE6861E2D}"/>
    <dgm:cxn modelId="{1B1426DC-AA01-4288-86B9-ECBCA31049B1}" type="presOf" srcId="{DB3004C1-2A24-4720-B0E8-007D107807F7}" destId="{9CC35EEA-5CDA-4C83-A9D3-2170E35C7362}" srcOrd="0" destOrd="0" presId="urn:microsoft.com/office/officeart/2005/8/layout/radial1"/>
    <dgm:cxn modelId="{BD2A15E0-0841-4109-A743-E09054AEE0F6}" type="presOf" srcId="{DB6D7FC4-4F07-4B3A-B6A3-8861053C1346}" destId="{BD863321-8784-4FC7-8035-1E24F0878217}" srcOrd="0" destOrd="0" presId="urn:microsoft.com/office/officeart/2005/8/layout/radial1"/>
    <dgm:cxn modelId="{5C5403E5-BFF2-4206-98FB-C55A3A4C1B64}" srcId="{003B06E0-467F-4C3A-AD9B-A19C449E2208}" destId="{440234CF-F2EA-47E5-80E7-1904C0FE3B10}" srcOrd="1" destOrd="0" parTransId="{54F10393-D34A-443F-AD33-5040F9DA2F04}" sibTransId="{571B3EC7-E672-4176-93BA-2CAA6B5414FC}"/>
    <dgm:cxn modelId="{2579EFE9-02E7-490D-9101-9CEAF33DEBA8}" srcId="{003B06E0-467F-4C3A-AD9B-A19C449E2208}" destId="{085C0AF6-4184-4C0A-8D19-7F40AEC01552}" srcOrd="7" destOrd="0" parTransId="{61137055-B042-4BC5-AB75-6CC5F0664065}" sibTransId="{AEBF5FFA-6D90-4A89-A51F-334EDD4C22AE}"/>
    <dgm:cxn modelId="{880B13EB-9F3E-4F25-8A24-553707F78FC4}" type="presOf" srcId="{AD224833-7D46-41ED-A069-10FB235B5B5C}" destId="{2A4AAC0E-C932-4D51-A337-876BA69B6AD5}" srcOrd="0" destOrd="0" presId="urn:microsoft.com/office/officeart/2005/8/layout/radial1"/>
    <dgm:cxn modelId="{CF8583EC-291A-4750-948D-E0958240140B}" type="presOf" srcId="{61137055-B042-4BC5-AB75-6CC5F0664065}" destId="{6DBE56EB-5071-42C4-8814-2B348586E210}" srcOrd="1" destOrd="0" presId="urn:microsoft.com/office/officeart/2005/8/layout/radial1"/>
    <dgm:cxn modelId="{4686F1EF-C685-4FF9-BED0-1503509AC93C}" type="presOf" srcId="{61137055-B042-4BC5-AB75-6CC5F0664065}" destId="{74B8507E-55B5-45A7-848A-5DC33A625143}" srcOrd="0" destOrd="0" presId="urn:microsoft.com/office/officeart/2005/8/layout/radial1"/>
    <dgm:cxn modelId="{D45FF55A-2C20-47C8-9148-C32401C2C171}" type="presParOf" srcId="{2A4AAC0E-C932-4D51-A337-876BA69B6AD5}" destId="{8CE75997-F62C-44A7-A507-D2927CB99C77}" srcOrd="0" destOrd="0" presId="urn:microsoft.com/office/officeart/2005/8/layout/radial1"/>
    <dgm:cxn modelId="{2CAFBF0D-C227-4AC7-9D60-E6A26875B9CC}" type="presParOf" srcId="{2A4AAC0E-C932-4D51-A337-876BA69B6AD5}" destId="{AACC3FA4-EB5F-4316-89B0-FEF22DCE4242}" srcOrd="1" destOrd="0" presId="urn:microsoft.com/office/officeart/2005/8/layout/radial1"/>
    <dgm:cxn modelId="{F1DE3056-4B59-4F5F-A7D3-6DFE55216D12}" type="presParOf" srcId="{AACC3FA4-EB5F-4316-89B0-FEF22DCE4242}" destId="{06A0D719-FB75-4C60-AE6A-BA64164ADE82}" srcOrd="0" destOrd="0" presId="urn:microsoft.com/office/officeart/2005/8/layout/radial1"/>
    <dgm:cxn modelId="{2051520D-1FD6-4461-AE99-127502E93471}" type="presParOf" srcId="{2A4AAC0E-C932-4D51-A337-876BA69B6AD5}" destId="{C751FA1F-56E3-4A1D-A229-60D4E4AF47D8}" srcOrd="2" destOrd="0" presId="urn:microsoft.com/office/officeart/2005/8/layout/radial1"/>
    <dgm:cxn modelId="{28F8A465-C850-4001-9B29-274692C4D3C3}" type="presParOf" srcId="{2A4AAC0E-C932-4D51-A337-876BA69B6AD5}" destId="{D7E5BCC4-D4A7-492D-B823-9B5DF8F2D389}" srcOrd="3" destOrd="0" presId="urn:microsoft.com/office/officeart/2005/8/layout/radial1"/>
    <dgm:cxn modelId="{42FDC5B0-A824-48BD-9706-89E559869C48}" type="presParOf" srcId="{D7E5BCC4-D4A7-492D-B823-9B5DF8F2D389}" destId="{E0BAD77D-68B4-40C1-A807-90DAB6BEACBA}" srcOrd="0" destOrd="0" presId="urn:microsoft.com/office/officeart/2005/8/layout/radial1"/>
    <dgm:cxn modelId="{83499FAE-63D3-465D-BED9-97FD671A6C25}" type="presParOf" srcId="{2A4AAC0E-C932-4D51-A337-876BA69B6AD5}" destId="{11417D97-918C-4CD3-8A63-9D74BAD36D10}" srcOrd="4" destOrd="0" presId="urn:microsoft.com/office/officeart/2005/8/layout/radial1"/>
    <dgm:cxn modelId="{DDC80363-1429-4FDB-A2BE-4CEFF3DA981D}" type="presParOf" srcId="{2A4AAC0E-C932-4D51-A337-876BA69B6AD5}" destId="{72BEC028-DC9A-4259-807B-9002E6E8FA1D}" srcOrd="5" destOrd="0" presId="urn:microsoft.com/office/officeart/2005/8/layout/radial1"/>
    <dgm:cxn modelId="{DADC1F67-F093-4909-B641-975582EB8C1F}" type="presParOf" srcId="{72BEC028-DC9A-4259-807B-9002E6E8FA1D}" destId="{0C20960A-2377-45FB-B051-BAF273557852}" srcOrd="0" destOrd="0" presId="urn:microsoft.com/office/officeart/2005/8/layout/radial1"/>
    <dgm:cxn modelId="{2A9F3144-E204-4803-A664-2A7B54CE0144}" type="presParOf" srcId="{2A4AAC0E-C932-4D51-A337-876BA69B6AD5}" destId="{5EB9627E-B338-42DF-A7B0-DFD01754DB22}" srcOrd="6" destOrd="0" presId="urn:microsoft.com/office/officeart/2005/8/layout/radial1"/>
    <dgm:cxn modelId="{03032072-BB65-4A55-BC22-DC3735B6CE43}" type="presParOf" srcId="{2A4AAC0E-C932-4D51-A337-876BA69B6AD5}" destId="{8334465A-A68E-4F19-9DB1-AF9FEB55CD97}" srcOrd="7" destOrd="0" presId="urn:microsoft.com/office/officeart/2005/8/layout/radial1"/>
    <dgm:cxn modelId="{838A77E7-F249-47A9-8319-85DCED58C72E}" type="presParOf" srcId="{8334465A-A68E-4F19-9DB1-AF9FEB55CD97}" destId="{0D304CED-2686-4CA6-BA2A-2B5424061D80}" srcOrd="0" destOrd="0" presId="urn:microsoft.com/office/officeart/2005/8/layout/radial1"/>
    <dgm:cxn modelId="{9727AE14-F2BC-4649-879F-7FFC7188D3E9}" type="presParOf" srcId="{2A4AAC0E-C932-4D51-A337-876BA69B6AD5}" destId="{BD863321-8784-4FC7-8035-1E24F0878217}" srcOrd="8" destOrd="0" presId="urn:microsoft.com/office/officeart/2005/8/layout/radial1"/>
    <dgm:cxn modelId="{5E9EC007-8F74-4E9C-8D2D-D403298672C5}" type="presParOf" srcId="{2A4AAC0E-C932-4D51-A337-876BA69B6AD5}" destId="{261C9275-8C2E-4F56-9ED2-4D51D480A2FD}" srcOrd="9" destOrd="0" presId="urn:microsoft.com/office/officeart/2005/8/layout/radial1"/>
    <dgm:cxn modelId="{A7F750B3-1AF3-4F46-97BD-10BFD0C33340}" type="presParOf" srcId="{261C9275-8C2E-4F56-9ED2-4D51D480A2FD}" destId="{D8823DB1-D510-4F07-BC8F-F9087CABFDA1}" srcOrd="0" destOrd="0" presId="urn:microsoft.com/office/officeart/2005/8/layout/radial1"/>
    <dgm:cxn modelId="{B8A21902-C5A0-4507-BE82-3631F2F622DA}" type="presParOf" srcId="{2A4AAC0E-C932-4D51-A337-876BA69B6AD5}" destId="{101F4068-1981-45A5-B2CE-A975C93A4A51}" srcOrd="10" destOrd="0" presId="urn:microsoft.com/office/officeart/2005/8/layout/radial1"/>
    <dgm:cxn modelId="{18065DDA-841E-4B1D-8391-C12026960F29}" type="presParOf" srcId="{2A4AAC0E-C932-4D51-A337-876BA69B6AD5}" destId="{D66E2521-2C5A-4D65-894B-026F3BB25988}" srcOrd="11" destOrd="0" presId="urn:microsoft.com/office/officeart/2005/8/layout/radial1"/>
    <dgm:cxn modelId="{42088E2A-F8F4-4982-ACB0-694211CDA9EE}" type="presParOf" srcId="{D66E2521-2C5A-4D65-894B-026F3BB25988}" destId="{E65F3014-BBBE-4FBF-8BC8-B4DE5DD0FDA8}" srcOrd="0" destOrd="0" presId="urn:microsoft.com/office/officeart/2005/8/layout/radial1"/>
    <dgm:cxn modelId="{2A202BD6-69BC-4180-B761-51BBB536446F}" type="presParOf" srcId="{2A4AAC0E-C932-4D51-A337-876BA69B6AD5}" destId="{9CC35EEA-5CDA-4C83-A9D3-2170E35C7362}" srcOrd="12" destOrd="0" presId="urn:microsoft.com/office/officeart/2005/8/layout/radial1"/>
    <dgm:cxn modelId="{288E4603-4D2F-4329-9AC4-5A72CDEF85E4}" type="presParOf" srcId="{2A4AAC0E-C932-4D51-A337-876BA69B6AD5}" destId="{F200CE66-EA51-4DA8-AD2A-E0FF5C6EAECB}" srcOrd="13" destOrd="0" presId="urn:microsoft.com/office/officeart/2005/8/layout/radial1"/>
    <dgm:cxn modelId="{14229999-A3CA-455A-951C-41BFC3BD8854}" type="presParOf" srcId="{F200CE66-EA51-4DA8-AD2A-E0FF5C6EAECB}" destId="{9F251B22-CDCE-4A95-9A0D-F4AA2D966460}" srcOrd="0" destOrd="0" presId="urn:microsoft.com/office/officeart/2005/8/layout/radial1"/>
    <dgm:cxn modelId="{28F2A85D-8657-4AB9-94CD-D0F27C9A184B}" type="presParOf" srcId="{2A4AAC0E-C932-4D51-A337-876BA69B6AD5}" destId="{AAC12F0A-A580-40AC-AEE0-19E02B1B72E5}" srcOrd="14" destOrd="0" presId="urn:microsoft.com/office/officeart/2005/8/layout/radial1"/>
    <dgm:cxn modelId="{507FA586-02C3-4B69-A4F3-1E5D05527520}" type="presParOf" srcId="{2A4AAC0E-C932-4D51-A337-876BA69B6AD5}" destId="{74B8507E-55B5-45A7-848A-5DC33A625143}" srcOrd="15" destOrd="0" presId="urn:microsoft.com/office/officeart/2005/8/layout/radial1"/>
    <dgm:cxn modelId="{7D7DBCE2-E70A-4CFB-8AA2-CB88C4251BF8}" type="presParOf" srcId="{74B8507E-55B5-45A7-848A-5DC33A625143}" destId="{6DBE56EB-5071-42C4-8814-2B348586E210}" srcOrd="0" destOrd="0" presId="urn:microsoft.com/office/officeart/2005/8/layout/radial1"/>
    <dgm:cxn modelId="{D290EBBA-BBE5-4B5B-8A9D-1686DB2DF03F}" type="presParOf" srcId="{2A4AAC0E-C932-4D51-A337-876BA69B6AD5}" destId="{3AD9019C-4F19-41A3-860B-8DC2B1B2A9A3}" srcOrd="16" destOrd="0" presId="urn:microsoft.com/office/officeart/2005/8/layout/radial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99D353E-00D1-4619-98E6-34642D14F1A5}" type="doc">
      <dgm:prSet loTypeId="urn:microsoft.com/office/officeart/2005/8/layout/cycle5" loCatId="cycle" qsTypeId="urn:microsoft.com/office/officeart/2005/8/quickstyle/simple4" qsCatId="simple" csTypeId="urn:microsoft.com/office/officeart/2005/8/colors/accent0_3" csCatId="mainScheme" phldr="1"/>
      <dgm:spPr/>
    </dgm:pt>
    <dgm:pt modelId="{268E6356-6C6C-4551-BE08-4ED0C77AA360}">
      <dgm:prSet phldrT="[Texto]" custT="1"/>
      <dgm:spPr>
        <a:solidFill>
          <a:srgbClr val="6800FF">
            <a:alpha val="89804"/>
          </a:srgbClr>
        </a:solidFill>
        <a:ln w="38100"/>
        <a:effectLst>
          <a:outerShdw blurRad="50800" dist="38100" dir="2700000" algn="tl" rotWithShape="0">
            <a:prstClr val="black">
              <a:alpha val="40000"/>
            </a:prstClr>
          </a:outerShdw>
        </a:effectLst>
      </dgm:spPr>
      <dgm:t>
        <a:bodyPr/>
        <a:lstStyle/>
        <a:p>
          <a:pPr rtl="0"/>
          <a:r>
            <a:rPr lang="en-US" sz="1600" b="0" noProof="0">
              <a:solidFill>
                <a:schemeClr val="tx1"/>
              </a:solidFill>
              <a:latin typeface="Montserrat"/>
            </a:rPr>
            <a:t>1 - </a:t>
          </a:r>
          <a:r>
            <a:rPr lang="en-US" sz="1600" b="0" noProof="0" err="1">
              <a:solidFill>
                <a:schemeClr val="tx1"/>
              </a:solidFill>
              <a:latin typeface="Montserrat"/>
            </a:rPr>
            <a:t>Definição</a:t>
          </a:r>
          <a:r>
            <a:rPr lang="en-US" sz="1600" b="0" noProof="0">
              <a:solidFill>
                <a:schemeClr val="tx1"/>
              </a:solidFill>
              <a:latin typeface="Montserrat"/>
            </a:rPr>
            <a:t> </a:t>
          </a:r>
          <a:r>
            <a:rPr lang="en-US" sz="1600" b="0" noProof="0" err="1">
              <a:solidFill>
                <a:schemeClr val="tx1"/>
              </a:solidFill>
              <a:latin typeface="Montserrat"/>
            </a:rPr>
            <a:t>clara</a:t>
          </a:r>
          <a:r>
            <a:rPr lang="en-US" sz="1600" b="0" noProof="0">
              <a:solidFill>
                <a:schemeClr val="tx1"/>
              </a:solidFill>
              <a:latin typeface="Montserrat"/>
            </a:rPr>
            <a:t> dos </a:t>
          </a:r>
          <a:r>
            <a:rPr lang="en-US" sz="1600" b="0" noProof="0" err="1">
              <a:solidFill>
                <a:schemeClr val="tx1"/>
              </a:solidFill>
              <a:latin typeface="Montserrat"/>
            </a:rPr>
            <a:t>objetivos</a:t>
          </a:r>
          <a:r>
            <a:rPr lang="en-US" sz="1600" b="0" noProof="0">
              <a:solidFill>
                <a:schemeClr val="tx1"/>
              </a:solidFill>
              <a:latin typeface="Montserrat"/>
            </a:rPr>
            <a:t> da </a:t>
          </a:r>
          <a:r>
            <a:rPr lang="en-US" sz="1600" b="0" noProof="0" err="1">
              <a:solidFill>
                <a:schemeClr val="tx1"/>
              </a:solidFill>
              <a:latin typeface="Montserrat"/>
            </a:rPr>
            <a:t>Transformação</a:t>
          </a:r>
          <a:r>
            <a:rPr lang="en-US" sz="1600" b="0" noProof="0">
              <a:solidFill>
                <a:schemeClr val="tx1"/>
              </a:solidFill>
              <a:latin typeface="Montserrat"/>
            </a:rPr>
            <a:t> Digital.</a:t>
          </a:r>
        </a:p>
      </dgm:t>
    </dgm:pt>
    <dgm:pt modelId="{6697E74B-9561-477B-AE87-EB4801B6A99C}" type="parTrans" cxnId="{DE892FA8-DF5C-48FB-A967-9F1F55395E5A}">
      <dgm:prSet/>
      <dgm:spPr/>
      <dgm:t>
        <a:bodyPr/>
        <a:lstStyle/>
        <a:p>
          <a:endParaRPr lang="pt-BR" sz="1100">
            <a:solidFill>
              <a:schemeClr val="tx1"/>
            </a:solidFill>
          </a:endParaRPr>
        </a:p>
      </dgm:t>
    </dgm:pt>
    <dgm:pt modelId="{DCF2EA4E-452B-409D-A621-323FF2849EA3}" type="sibTrans" cxnId="{DE892FA8-DF5C-48FB-A967-9F1F55395E5A}">
      <dgm:prSet/>
      <dgm:spPr/>
      <dgm:t>
        <a:bodyPr/>
        <a:lstStyle/>
        <a:p>
          <a:endParaRPr lang="pt-BR" sz="1100">
            <a:solidFill>
              <a:schemeClr val="tx1"/>
            </a:solidFill>
          </a:endParaRPr>
        </a:p>
      </dgm:t>
    </dgm:pt>
    <dgm:pt modelId="{D4FAA0E4-4233-4EDF-9531-0E1FFF0E1DE2}">
      <dgm:prSet phldrT="[Texto]" custT="1"/>
      <dgm:spPr>
        <a:solidFill>
          <a:srgbClr val="C72381">
            <a:alpha val="89804"/>
          </a:srgbClr>
        </a:solidFill>
        <a:ln w="38100"/>
        <a:effectLst>
          <a:outerShdw blurRad="50800" dist="38100" dir="2700000" algn="tl" rotWithShape="0">
            <a:prstClr val="black">
              <a:alpha val="40000"/>
            </a:prstClr>
          </a:outerShdw>
        </a:effectLst>
      </dgm:spPr>
      <dgm:t>
        <a:bodyPr/>
        <a:lstStyle/>
        <a:p>
          <a:pPr rtl="0"/>
          <a:r>
            <a:rPr lang="en-US" sz="1600" noProof="0">
              <a:solidFill>
                <a:schemeClr val="tx1"/>
              </a:solidFill>
              <a:latin typeface="Montserrat"/>
            </a:rPr>
            <a:t>2 - Inventory and documentation of legacy systems base to be modernized.</a:t>
          </a:r>
        </a:p>
      </dgm:t>
    </dgm:pt>
    <dgm:pt modelId="{3D699AB3-B7EE-460D-A18C-0AF2C5209ABE}" type="parTrans" cxnId="{CA806DC1-3DEC-4283-AB7B-85EF92582547}">
      <dgm:prSet/>
      <dgm:spPr/>
      <dgm:t>
        <a:bodyPr/>
        <a:lstStyle/>
        <a:p>
          <a:endParaRPr lang="pt-BR" sz="1100">
            <a:solidFill>
              <a:schemeClr val="tx1"/>
            </a:solidFill>
          </a:endParaRPr>
        </a:p>
      </dgm:t>
    </dgm:pt>
    <dgm:pt modelId="{6743E5B8-EABF-471D-BB20-B432B95FD4AC}" type="sibTrans" cxnId="{CA806DC1-3DEC-4283-AB7B-85EF92582547}">
      <dgm:prSet/>
      <dgm:spPr/>
      <dgm:t>
        <a:bodyPr/>
        <a:lstStyle/>
        <a:p>
          <a:endParaRPr lang="pt-BR" sz="1100">
            <a:solidFill>
              <a:schemeClr val="tx1"/>
            </a:solidFill>
          </a:endParaRPr>
        </a:p>
      </dgm:t>
    </dgm:pt>
    <dgm:pt modelId="{D5DC5C2E-CF15-4CF8-8D21-5BCA031D5206}">
      <dgm:prSet phldrT="[Texto]" custT="1"/>
      <dgm:spPr>
        <a:solidFill>
          <a:srgbClr val="C51D69">
            <a:alpha val="89804"/>
          </a:srgbClr>
        </a:solidFill>
        <a:ln w="38100"/>
        <a:effectLst>
          <a:outerShdw blurRad="50800" dist="38100" dir="2700000" algn="tl" rotWithShape="0">
            <a:prstClr val="black">
              <a:alpha val="40000"/>
            </a:prstClr>
          </a:outerShdw>
        </a:effectLst>
      </dgm:spPr>
      <dgm:t>
        <a:bodyPr/>
        <a:lstStyle/>
        <a:p>
          <a:pPr rtl="0"/>
          <a:r>
            <a:rPr lang="en-US" sz="1200" b="0" noProof="0">
              <a:solidFill>
                <a:schemeClr val="tx1"/>
              </a:solidFill>
              <a:latin typeface="Montserrat"/>
            </a:rPr>
            <a:t>3 - Automatic generation through AI of complete documentation of legacy systems and business processes involved.</a:t>
          </a:r>
        </a:p>
      </dgm:t>
    </dgm:pt>
    <dgm:pt modelId="{279B2853-E8C4-4A5A-B698-F6F1B7A3B777}" type="parTrans" cxnId="{7CE64099-28F1-452D-A330-CA9A915648A8}">
      <dgm:prSet/>
      <dgm:spPr/>
      <dgm:t>
        <a:bodyPr/>
        <a:lstStyle/>
        <a:p>
          <a:endParaRPr lang="pt-BR" sz="1100">
            <a:solidFill>
              <a:schemeClr val="tx1"/>
            </a:solidFill>
          </a:endParaRPr>
        </a:p>
      </dgm:t>
    </dgm:pt>
    <dgm:pt modelId="{31378E90-3795-43E0-B5D7-6F35F32619BD}" type="sibTrans" cxnId="{7CE64099-28F1-452D-A330-CA9A915648A8}">
      <dgm:prSet/>
      <dgm:spPr/>
      <dgm:t>
        <a:bodyPr/>
        <a:lstStyle/>
        <a:p>
          <a:endParaRPr lang="pt-BR" sz="1100">
            <a:solidFill>
              <a:schemeClr val="tx1"/>
            </a:solidFill>
          </a:endParaRPr>
        </a:p>
      </dgm:t>
    </dgm:pt>
    <dgm:pt modelId="{C2BE90F3-77AB-4165-A03E-32BBDE3E7074}">
      <dgm:prSet phldrT="[Texto]" custT="1"/>
      <dgm:spPr>
        <a:solidFill>
          <a:srgbClr val="7030A0">
            <a:alpha val="89804"/>
          </a:srgbClr>
        </a:solidFill>
        <a:ln w="38100"/>
        <a:effectLst>
          <a:outerShdw blurRad="50800" dist="38100" dir="2700000" algn="tl" rotWithShape="0">
            <a:prstClr val="black">
              <a:alpha val="40000"/>
            </a:prstClr>
          </a:outerShdw>
        </a:effectLst>
      </dgm:spPr>
      <dgm:t>
        <a:bodyPr/>
        <a:lstStyle/>
        <a:p>
          <a:pPr rtl="0"/>
          <a:r>
            <a:rPr lang="en-US" sz="1400" noProof="0">
              <a:solidFill>
                <a:schemeClr val="tx1"/>
              </a:solidFill>
              <a:latin typeface="Montserrat"/>
            </a:rPr>
            <a:t>4 - Definition of the modernization strategy to be adopted and definition of the modernization architecture.</a:t>
          </a:r>
        </a:p>
      </dgm:t>
    </dgm:pt>
    <dgm:pt modelId="{84C4DDF4-9905-4CE3-A926-770B973CEB87}" type="parTrans" cxnId="{68ED118E-EAFF-4024-9D1E-2A8517EBB2BC}">
      <dgm:prSet/>
      <dgm:spPr/>
      <dgm:t>
        <a:bodyPr/>
        <a:lstStyle/>
        <a:p>
          <a:endParaRPr lang="pt-BR" sz="1100">
            <a:solidFill>
              <a:schemeClr val="tx1"/>
            </a:solidFill>
          </a:endParaRPr>
        </a:p>
      </dgm:t>
    </dgm:pt>
    <dgm:pt modelId="{51A2D821-87B4-45D6-BDC7-486F56F92701}" type="sibTrans" cxnId="{68ED118E-EAFF-4024-9D1E-2A8517EBB2BC}">
      <dgm:prSet/>
      <dgm:spPr/>
      <dgm:t>
        <a:bodyPr/>
        <a:lstStyle/>
        <a:p>
          <a:endParaRPr lang="pt-BR" sz="1100">
            <a:solidFill>
              <a:schemeClr val="tx1"/>
            </a:solidFill>
          </a:endParaRPr>
        </a:p>
      </dgm:t>
    </dgm:pt>
    <dgm:pt modelId="{CCA35FD1-BB3E-412C-8385-3122352EC0E5}">
      <dgm:prSet phldrT="[Texto]" custT="1"/>
      <dgm:spPr>
        <a:solidFill>
          <a:srgbClr val="9D5BFF">
            <a:alpha val="89804"/>
          </a:srgbClr>
        </a:solidFill>
        <a:ln w="38100"/>
        <a:effectLst>
          <a:outerShdw blurRad="50800" dist="38100" dir="2700000" algn="tl" rotWithShape="0">
            <a:prstClr val="black">
              <a:alpha val="40000"/>
            </a:prstClr>
          </a:outerShdw>
        </a:effectLst>
      </dgm:spPr>
      <dgm:t>
        <a:bodyPr/>
        <a:lstStyle/>
        <a:p>
          <a:pPr rtl="0"/>
          <a:r>
            <a:rPr lang="en-US" sz="1400" noProof="0">
              <a:solidFill>
                <a:schemeClr val="tx1"/>
              </a:solidFill>
              <a:latin typeface="Montserrat"/>
            </a:rPr>
            <a:t>5 - Delivery of the Qintess System Modernization journey with AI/ML platform</a:t>
          </a:r>
        </a:p>
      </dgm:t>
    </dgm:pt>
    <dgm:pt modelId="{9720AC5B-BC9D-4BC0-AD6E-89314B33406A}" type="parTrans" cxnId="{53BF444A-20F9-43DC-BCF4-048FB3A4B49C}">
      <dgm:prSet/>
      <dgm:spPr/>
      <dgm:t>
        <a:bodyPr/>
        <a:lstStyle/>
        <a:p>
          <a:endParaRPr lang="pt-BR" sz="1100">
            <a:solidFill>
              <a:schemeClr val="tx1"/>
            </a:solidFill>
          </a:endParaRPr>
        </a:p>
      </dgm:t>
    </dgm:pt>
    <dgm:pt modelId="{7B1B4B58-2E1F-4BB9-A680-484C6105E533}" type="sibTrans" cxnId="{53BF444A-20F9-43DC-BCF4-048FB3A4B49C}">
      <dgm:prSet/>
      <dgm:spPr/>
      <dgm:t>
        <a:bodyPr/>
        <a:lstStyle/>
        <a:p>
          <a:endParaRPr lang="pt-BR" sz="1100">
            <a:solidFill>
              <a:schemeClr val="tx1"/>
            </a:solidFill>
          </a:endParaRPr>
        </a:p>
      </dgm:t>
    </dgm:pt>
    <dgm:pt modelId="{2BB01D79-7B44-4E5F-8F18-32E9E35DB1DB}">
      <dgm:prSet phldrT="[Texto]" custT="1"/>
      <dgm:spPr>
        <a:solidFill>
          <a:srgbClr val="333399">
            <a:alpha val="80000"/>
          </a:srgbClr>
        </a:solidFill>
        <a:ln w="38100"/>
        <a:effectLst>
          <a:outerShdw blurRad="50800" dist="38100" dir="2700000" algn="tl" rotWithShape="0">
            <a:prstClr val="black">
              <a:alpha val="40000"/>
            </a:prstClr>
          </a:outerShdw>
        </a:effectLst>
      </dgm:spPr>
      <dgm:t>
        <a:bodyPr/>
        <a:lstStyle/>
        <a:p>
          <a:pPr rtl="0"/>
          <a:r>
            <a:rPr lang="en-US" sz="1400" noProof="0">
              <a:solidFill>
                <a:schemeClr val="tx1"/>
              </a:solidFill>
              <a:latin typeface="Montserrat"/>
            </a:rPr>
            <a:t>6 - Activation of the Support Service from the first delivery.</a:t>
          </a:r>
        </a:p>
      </dgm:t>
    </dgm:pt>
    <dgm:pt modelId="{BBC36734-2CAB-4957-A6F7-76E01B0F9EC4}" type="parTrans" cxnId="{8B6EEFCF-BA5E-4609-9AB9-696F265D08B0}">
      <dgm:prSet/>
      <dgm:spPr/>
      <dgm:t>
        <a:bodyPr/>
        <a:lstStyle/>
        <a:p>
          <a:endParaRPr lang="pt-BR" sz="1100">
            <a:solidFill>
              <a:schemeClr val="tx1"/>
            </a:solidFill>
          </a:endParaRPr>
        </a:p>
      </dgm:t>
    </dgm:pt>
    <dgm:pt modelId="{84A8DB41-FF46-434D-80F1-BCB2BECE6984}" type="sibTrans" cxnId="{8B6EEFCF-BA5E-4609-9AB9-696F265D08B0}">
      <dgm:prSet/>
      <dgm:spPr/>
      <dgm:t>
        <a:bodyPr/>
        <a:lstStyle/>
        <a:p>
          <a:endParaRPr lang="pt-BR" sz="1100">
            <a:solidFill>
              <a:schemeClr val="tx1"/>
            </a:solidFill>
          </a:endParaRPr>
        </a:p>
      </dgm:t>
    </dgm:pt>
    <dgm:pt modelId="{E42F9C61-6793-434B-8FE2-B575DD674F1F}" type="pres">
      <dgm:prSet presAssocID="{299D353E-00D1-4619-98E6-34642D14F1A5}" presName="cycle" presStyleCnt="0">
        <dgm:presLayoutVars>
          <dgm:dir/>
          <dgm:resizeHandles val="exact"/>
        </dgm:presLayoutVars>
      </dgm:prSet>
      <dgm:spPr/>
    </dgm:pt>
    <dgm:pt modelId="{D2AF749D-83CE-47F3-8D39-9D660ABE78EB}" type="pres">
      <dgm:prSet presAssocID="{268E6356-6C6C-4551-BE08-4ED0C77AA360}" presName="node" presStyleLbl="node1" presStyleIdx="0" presStyleCnt="6" custRadScaleRad="99423">
        <dgm:presLayoutVars>
          <dgm:bulletEnabled val="1"/>
        </dgm:presLayoutVars>
      </dgm:prSet>
      <dgm:spPr/>
    </dgm:pt>
    <dgm:pt modelId="{422A85EA-A686-4451-99AE-53E1884ACE1D}" type="pres">
      <dgm:prSet presAssocID="{268E6356-6C6C-4551-BE08-4ED0C77AA360}" presName="spNode" presStyleCnt="0"/>
      <dgm:spPr/>
    </dgm:pt>
    <dgm:pt modelId="{97E83103-7331-476B-8C06-FB654ABB135C}" type="pres">
      <dgm:prSet presAssocID="{DCF2EA4E-452B-409D-A621-323FF2849EA3}" presName="sibTrans" presStyleLbl="sibTrans1D1" presStyleIdx="0" presStyleCnt="6"/>
      <dgm:spPr/>
    </dgm:pt>
    <dgm:pt modelId="{1E50F6DE-F9AB-449E-870F-6B7A66C49D8F}" type="pres">
      <dgm:prSet presAssocID="{D4FAA0E4-4233-4EDF-9531-0E1FFF0E1DE2}" presName="node" presStyleLbl="node1" presStyleIdx="1" presStyleCnt="6" custRadScaleRad="99713" custRadScaleInc="1437">
        <dgm:presLayoutVars>
          <dgm:bulletEnabled val="1"/>
        </dgm:presLayoutVars>
      </dgm:prSet>
      <dgm:spPr/>
    </dgm:pt>
    <dgm:pt modelId="{BEB31FD5-B1CF-4FAE-9337-48EE681B1107}" type="pres">
      <dgm:prSet presAssocID="{D4FAA0E4-4233-4EDF-9531-0E1FFF0E1DE2}" presName="spNode" presStyleCnt="0"/>
      <dgm:spPr/>
    </dgm:pt>
    <dgm:pt modelId="{F28E7526-E3DD-43A0-818B-3BFEC6482E1C}" type="pres">
      <dgm:prSet presAssocID="{6743E5B8-EABF-471D-BB20-B432B95FD4AC}" presName="sibTrans" presStyleLbl="sibTrans1D1" presStyleIdx="1" presStyleCnt="6"/>
      <dgm:spPr/>
    </dgm:pt>
    <dgm:pt modelId="{7174C4C9-9428-48AA-9681-B5E2CBD44E87}" type="pres">
      <dgm:prSet presAssocID="{D5DC5C2E-CF15-4CF8-8D21-5BCA031D5206}" presName="node" presStyleLbl="node1" presStyleIdx="2" presStyleCnt="6" custRadScaleRad="100290" custRadScaleInc="1428">
        <dgm:presLayoutVars>
          <dgm:bulletEnabled val="1"/>
        </dgm:presLayoutVars>
      </dgm:prSet>
      <dgm:spPr/>
    </dgm:pt>
    <dgm:pt modelId="{EB2962D2-3AAC-4E2D-BC5E-5E58C5C52F96}" type="pres">
      <dgm:prSet presAssocID="{D5DC5C2E-CF15-4CF8-8D21-5BCA031D5206}" presName="spNode" presStyleCnt="0"/>
      <dgm:spPr/>
    </dgm:pt>
    <dgm:pt modelId="{8AEF1B27-CB35-4931-993C-AF88E52DB402}" type="pres">
      <dgm:prSet presAssocID="{31378E90-3795-43E0-B5D7-6F35F32619BD}" presName="sibTrans" presStyleLbl="sibTrans1D1" presStyleIdx="2" presStyleCnt="6"/>
      <dgm:spPr/>
    </dgm:pt>
    <dgm:pt modelId="{5A5FAF66-0218-4A0D-AACC-6ABB50C28004}" type="pres">
      <dgm:prSet presAssocID="{C2BE90F3-77AB-4165-A03E-32BBDE3E7074}" presName="node" presStyleLbl="node1" presStyleIdx="3" presStyleCnt="6" custScaleX="106766" custRadScaleRad="100577">
        <dgm:presLayoutVars>
          <dgm:bulletEnabled val="1"/>
        </dgm:presLayoutVars>
      </dgm:prSet>
      <dgm:spPr/>
    </dgm:pt>
    <dgm:pt modelId="{F27CDD11-2AD2-45CE-B011-96AB23F370FB}" type="pres">
      <dgm:prSet presAssocID="{C2BE90F3-77AB-4165-A03E-32BBDE3E7074}" presName="spNode" presStyleCnt="0"/>
      <dgm:spPr/>
    </dgm:pt>
    <dgm:pt modelId="{3F882584-1CF3-462B-BADD-AC4B7843D2BB}" type="pres">
      <dgm:prSet presAssocID="{51A2D821-87B4-45D6-BDC7-486F56F92701}" presName="sibTrans" presStyleLbl="sibTrans1D1" presStyleIdx="3" presStyleCnt="6"/>
      <dgm:spPr/>
    </dgm:pt>
    <dgm:pt modelId="{F810B1C0-12F5-45A3-A133-BFEB1EADCD04}" type="pres">
      <dgm:prSet presAssocID="{CCA35FD1-BB3E-412C-8385-3122352EC0E5}" presName="node" presStyleLbl="node1" presStyleIdx="4" presStyleCnt="6">
        <dgm:presLayoutVars>
          <dgm:bulletEnabled val="1"/>
        </dgm:presLayoutVars>
      </dgm:prSet>
      <dgm:spPr/>
    </dgm:pt>
    <dgm:pt modelId="{A2742AD5-093B-4049-988A-1F69E8A210A7}" type="pres">
      <dgm:prSet presAssocID="{CCA35FD1-BB3E-412C-8385-3122352EC0E5}" presName="spNode" presStyleCnt="0"/>
      <dgm:spPr/>
    </dgm:pt>
    <dgm:pt modelId="{C81E716A-CC78-4164-A989-5DEA9A70C326}" type="pres">
      <dgm:prSet presAssocID="{7B1B4B58-2E1F-4BB9-A680-484C6105E533}" presName="sibTrans" presStyleLbl="sibTrans1D1" presStyleIdx="4" presStyleCnt="6"/>
      <dgm:spPr/>
    </dgm:pt>
    <dgm:pt modelId="{1902B9ED-F06F-4DD7-A79D-C1D2CF3D321E}" type="pres">
      <dgm:prSet presAssocID="{2BB01D79-7B44-4E5F-8F18-32E9E35DB1DB}" presName="node" presStyleLbl="node1" presStyleIdx="5" presStyleCnt="6">
        <dgm:presLayoutVars>
          <dgm:bulletEnabled val="1"/>
        </dgm:presLayoutVars>
      </dgm:prSet>
      <dgm:spPr/>
    </dgm:pt>
    <dgm:pt modelId="{EDF5587B-763C-4D7B-B775-0203CC410E9E}" type="pres">
      <dgm:prSet presAssocID="{2BB01D79-7B44-4E5F-8F18-32E9E35DB1DB}" presName="spNode" presStyleCnt="0"/>
      <dgm:spPr/>
    </dgm:pt>
    <dgm:pt modelId="{68E7578C-EFD2-458F-9EC1-8063A0329CB3}" type="pres">
      <dgm:prSet presAssocID="{84A8DB41-FF46-434D-80F1-BCB2BECE6984}" presName="sibTrans" presStyleLbl="sibTrans1D1" presStyleIdx="5" presStyleCnt="6"/>
      <dgm:spPr/>
    </dgm:pt>
  </dgm:ptLst>
  <dgm:cxnLst>
    <dgm:cxn modelId="{1DDD4D01-07B9-4754-91FC-4649D436079A}" type="presOf" srcId="{299D353E-00D1-4619-98E6-34642D14F1A5}" destId="{E42F9C61-6793-434B-8FE2-B575DD674F1F}" srcOrd="0" destOrd="0" presId="urn:microsoft.com/office/officeart/2005/8/layout/cycle5"/>
    <dgm:cxn modelId="{6C764F25-B6B4-4096-BDC8-DA766C63D136}" type="presOf" srcId="{C2BE90F3-77AB-4165-A03E-32BBDE3E7074}" destId="{5A5FAF66-0218-4A0D-AACC-6ABB50C28004}" srcOrd="0" destOrd="0" presId="urn:microsoft.com/office/officeart/2005/8/layout/cycle5"/>
    <dgm:cxn modelId="{40DCBA37-1A74-41FD-A569-23788B2D82B7}" type="presOf" srcId="{84A8DB41-FF46-434D-80F1-BCB2BECE6984}" destId="{68E7578C-EFD2-458F-9EC1-8063A0329CB3}" srcOrd="0" destOrd="0" presId="urn:microsoft.com/office/officeart/2005/8/layout/cycle5"/>
    <dgm:cxn modelId="{53BF444A-20F9-43DC-BCF4-048FB3A4B49C}" srcId="{299D353E-00D1-4619-98E6-34642D14F1A5}" destId="{CCA35FD1-BB3E-412C-8385-3122352EC0E5}" srcOrd="4" destOrd="0" parTransId="{9720AC5B-BC9D-4BC0-AD6E-89314B33406A}" sibTransId="{7B1B4B58-2E1F-4BB9-A680-484C6105E533}"/>
    <dgm:cxn modelId="{A5DC8A6A-B814-4655-A31E-7FB20F947D23}" type="presOf" srcId="{D4FAA0E4-4233-4EDF-9531-0E1FFF0E1DE2}" destId="{1E50F6DE-F9AB-449E-870F-6B7A66C49D8F}" srcOrd="0" destOrd="0" presId="urn:microsoft.com/office/officeart/2005/8/layout/cycle5"/>
    <dgm:cxn modelId="{FB348B6C-CD27-4C89-8D6F-C0E938242ED2}" type="presOf" srcId="{2BB01D79-7B44-4E5F-8F18-32E9E35DB1DB}" destId="{1902B9ED-F06F-4DD7-A79D-C1D2CF3D321E}" srcOrd="0" destOrd="0" presId="urn:microsoft.com/office/officeart/2005/8/layout/cycle5"/>
    <dgm:cxn modelId="{F3B8AD50-6225-43F3-81F9-62A5F1F0746B}" type="presOf" srcId="{31378E90-3795-43E0-B5D7-6F35F32619BD}" destId="{8AEF1B27-CB35-4931-993C-AF88E52DB402}" srcOrd="0" destOrd="0" presId="urn:microsoft.com/office/officeart/2005/8/layout/cycle5"/>
    <dgm:cxn modelId="{7EBDF67D-4041-4EEF-9A05-3248F639AD13}" type="presOf" srcId="{51A2D821-87B4-45D6-BDC7-486F56F92701}" destId="{3F882584-1CF3-462B-BADD-AC4B7843D2BB}" srcOrd="0" destOrd="0" presId="urn:microsoft.com/office/officeart/2005/8/layout/cycle5"/>
    <dgm:cxn modelId="{68ED118E-EAFF-4024-9D1E-2A8517EBB2BC}" srcId="{299D353E-00D1-4619-98E6-34642D14F1A5}" destId="{C2BE90F3-77AB-4165-A03E-32BBDE3E7074}" srcOrd="3" destOrd="0" parTransId="{84C4DDF4-9905-4CE3-A926-770B973CEB87}" sibTransId="{51A2D821-87B4-45D6-BDC7-486F56F92701}"/>
    <dgm:cxn modelId="{882FBC92-9A58-41C1-AA2F-FD962968ECBF}" type="presOf" srcId="{6743E5B8-EABF-471D-BB20-B432B95FD4AC}" destId="{F28E7526-E3DD-43A0-818B-3BFEC6482E1C}" srcOrd="0" destOrd="0" presId="urn:microsoft.com/office/officeart/2005/8/layout/cycle5"/>
    <dgm:cxn modelId="{7CE64099-28F1-452D-A330-CA9A915648A8}" srcId="{299D353E-00D1-4619-98E6-34642D14F1A5}" destId="{D5DC5C2E-CF15-4CF8-8D21-5BCA031D5206}" srcOrd="2" destOrd="0" parTransId="{279B2853-E8C4-4A5A-B698-F6F1B7A3B777}" sibTransId="{31378E90-3795-43E0-B5D7-6F35F32619BD}"/>
    <dgm:cxn modelId="{DE892FA8-DF5C-48FB-A967-9F1F55395E5A}" srcId="{299D353E-00D1-4619-98E6-34642D14F1A5}" destId="{268E6356-6C6C-4551-BE08-4ED0C77AA360}" srcOrd="0" destOrd="0" parTransId="{6697E74B-9561-477B-AE87-EB4801B6A99C}" sibTransId="{DCF2EA4E-452B-409D-A621-323FF2849EA3}"/>
    <dgm:cxn modelId="{6EC608B7-72A7-4BEF-83CC-7E997EFB0FC3}" type="presOf" srcId="{D5DC5C2E-CF15-4CF8-8D21-5BCA031D5206}" destId="{7174C4C9-9428-48AA-9681-B5E2CBD44E87}" srcOrd="0" destOrd="0" presId="urn:microsoft.com/office/officeart/2005/8/layout/cycle5"/>
    <dgm:cxn modelId="{CA806DC1-3DEC-4283-AB7B-85EF92582547}" srcId="{299D353E-00D1-4619-98E6-34642D14F1A5}" destId="{D4FAA0E4-4233-4EDF-9531-0E1FFF0E1DE2}" srcOrd="1" destOrd="0" parTransId="{3D699AB3-B7EE-460D-A18C-0AF2C5209ABE}" sibTransId="{6743E5B8-EABF-471D-BB20-B432B95FD4AC}"/>
    <dgm:cxn modelId="{488A64CF-701E-40E6-A7F5-F9A077DE835A}" type="presOf" srcId="{DCF2EA4E-452B-409D-A621-323FF2849EA3}" destId="{97E83103-7331-476B-8C06-FB654ABB135C}" srcOrd="0" destOrd="0" presId="urn:microsoft.com/office/officeart/2005/8/layout/cycle5"/>
    <dgm:cxn modelId="{8B6EEFCF-BA5E-4609-9AB9-696F265D08B0}" srcId="{299D353E-00D1-4619-98E6-34642D14F1A5}" destId="{2BB01D79-7B44-4E5F-8F18-32E9E35DB1DB}" srcOrd="5" destOrd="0" parTransId="{BBC36734-2CAB-4957-A6F7-76E01B0F9EC4}" sibTransId="{84A8DB41-FF46-434D-80F1-BCB2BECE6984}"/>
    <dgm:cxn modelId="{FDA5CDE0-6A57-4602-992B-E1C711E3692A}" type="presOf" srcId="{CCA35FD1-BB3E-412C-8385-3122352EC0E5}" destId="{F810B1C0-12F5-45A3-A133-BFEB1EADCD04}" srcOrd="0" destOrd="0" presId="urn:microsoft.com/office/officeart/2005/8/layout/cycle5"/>
    <dgm:cxn modelId="{352728E3-0AA3-4B7C-B0BD-46C3B067CAF6}" type="presOf" srcId="{268E6356-6C6C-4551-BE08-4ED0C77AA360}" destId="{D2AF749D-83CE-47F3-8D39-9D660ABE78EB}" srcOrd="0" destOrd="0" presId="urn:microsoft.com/office/officeart/2005/8/layout/cycle5"/>
    <dgm:cxn modelId="{5516C1E6-526D-4A4D-83E7-997345541D32}" type="presOf" srcId="{7B1B4B58-2E1F-4BB9-A680-484C6105E533}" destId="{C81E716A-CC78-4164-A989-5DEA9A70C326}" srcOrd="0" destOrd="0" presId="urn:microsoft.com/office/officeart/2005/8/layout/cycle5"/>
    <dgm:cxn modelId="{F84B282A-5676-45FA-97D0-4D4EE2D10EA6}" type="presParOf" srcId="{E42F9C61-6793-434B-8FE2-B575DD674F1F}" destId="{D2AF749D-83CE-47F3-8D39-9D660ABE78EB}" srcOrd="0" destOrd="0" presId="urn:microsoft.com/office/officeart/2005/8/layout/cycle5"/>
    <dgm:cxn modelId="{7D0086DE-9A1A-42A6-940D-73E37FDB3092}" type="presParOf" srcId="{E42F9C61-6793-434B-8FE2-B575DD674F1F}" destId="{422A85EA-A686-4451-99AE-53E1884ACE1D}" srcOrd="1" destOrd="0" presId="urn:microsoft.com/office/officeart/2005/8/layout/cycle5"/>
    <dgm:cxn modelId="{25B6B725-1203-4F61-9198-F4A229359002}" type="presParOf" srcId="{E42F9C61-6793-434B-8FE2-B575DD674F1F}" destId="{97E83103-7331-476B-8C06-FB654ABB135C}" srcOrd="2" destOrd="0" presId="urn:microsoft.com/office/officeart/2005/8/layout/cycle5"/>
    <dgm:cxn modelId="{4A14507E-DF16-4CA5-8B39-52181705DD4B}" type="presParOf" srcId="{E42F9C61-6793-434B-8FE2-B575DD674F1F}" destId="{1E50F6DE-F9AB-449E-870F-6B7A66C49D8F}" srcOrd="3" destOrd="0" presId="urn:microsoft.com/office/officeart/2005/8/layout/cycle5"/>
    <dgm:cxn modelId="{9ABE80ED-F244-4B3E-828B-68F1091DE44E}" type="presParOf" srcId="{E42F9C61-6793-434B-8FE2-B575DD674F1F}" destId="{BEB31FD5-B1CF-4FAE-9337-48EE681B1107}" srcOrd="4" destOrd="0" presId="urn:microsoft.com/office/officeart/2005/8/layout/cycle5"/>
    <dgm:cxn modelId="{4C1FA569-3347-4F3B-A286-3298B4CB9701}" type="presParOf" srcId="{E42F9C61-6793-434B-8FE2-B575DD674F1F}" destId="{F28E7526-E3DD-43A0-818B-3BFEC6482E1C}" srcOrd="5" destOrd="0" presId="urn:microsoft.com/office/officeart/2005/8/layout/cycle5"/>
    <dgm:cxn modelId="{A54FE953-87CC-4EE0-9F88-E5AECCFE3458}" type="presParOf" srcId="{E42F9C61-6793-434B-8FE2-B575DD674F1F}" destId="{7174C4C9-9428-48AA-9681-B5E2CBD44E87}" srcOrd="6" destOrd="0" presId="urn:microsoft.com/office/officeart/2005/8/layout/cycle5"/>
    <dgm:cxn modelId="{522D5E1C-2DD3-4B64-B585-D20AC91B9540}" type="presParOf" srcId="{E42F9C61-6793-434B-8FE2-B575DD674F1F}" destId="{EB2962D2-3AAC-4E2D-BC5E-5E58C5C52F96}" srcOrd="7" destOrd="0" presId="urn:microsoft.com/office/officeart/2005/8/layout/cycle5"/>
    <dgm:cxn modelId="{AC4513D6-76AC-4B72-8D3A-9705582EC45A}" type="presParOf" srcId="{E42F9C61-6793-434B-8FE2-B575DD674F1F}" destId="{8AEF1B27-CB35-4931-993C-AF88E52DB402}" srcOrd="8" destOrd="0" presId="urn:microsoft.com/office/officeart/2005/8/layout/cycle5"/>
    <dgm:cxn modelId="{2BB99A90-B858-4811-928A-DBA77C44E20C}" type="presParOf" srcId="{E42F9C61-6793-434B-8FE2-B575DD674F1F}" destId="{5A5FAF66-0218-4A0D-AACC-6ABB50C28004}" srcOrd="9" destOrd="0" presId="urn:microsoft.com/office/officeart/2005/8/layout/cycle5"/>
    <dgm:cxn modelId="{C73FB951-8FAB-44AD-A599-97EDC2EB0065}" type="presParOf" srcId="{E42F9C61-6793-434B-8FE2-B575DD674F1F}" destId="{F27CDD11-2AD2-45CE-B011-96AB23F370FB}" srcOrd="10" destOrd="0" presId="urn:microsoft.com/office/officeart/2005/8/layout/cycle5"/>
    <dgm:cxn modelId="{067F5821-31BB-43FF-83C2-8D1A805BCB6A}" type="presParOf" srcId="{E42F9C61-6793-434B-8FE2-B575DD674F1F}" destId="{3F882584-1CF3-462B-BADD-AC4B7843D2BB}" srcOrd="11" destOrd="0" presId="urn:microsoft.com/office/officeart/2005/8/layout/cycle5"/>
    <dgm:cxn modelId="{B93049FD-062A-4335-9FC8-FD392E4E166D}" type="presParOf" srcId="{E42F9C61-6793-434B-8FE2-B575DD674F1F}" destId="{F810B1C0-12F5-45A3-A133-BFEB1EADCD04}" srcOrd="12" destOrd="0" presId="urn:microsoft.com/office/officeart/2005/8/layout/cycle5"/>
    <dgm:cxn modelId="{87DB22FA-0DEE-46A7-911D-565E169226B0}" type="presParOf" srcId="{E42F9C61-6793-434B-8FE2-B575DD674F1F}" destId="{A2742AD5-093B-4049-988A-1F69E8A210A7}" srcOrd="13" destOrd="0" presId="urn:microsoft.com/office/officeart/2005/8/layout/cycle5"/>
    <dgm:cxn modelId="{7C3378BB-F3FA-4FC1-871F-5D8D19D9AFB6}" type="presParOf" srcId="{E42F9C61-6793-434B-8FE2-B575DD674F1F}" destId="{C81E716A-CC78-4164-A989-5DEA9A70C326}" srcOrd="14" destOrd="0" presId="urn:microsoft.com/office/officeart/2005/8/layout/cycle5"/>
    <dgm:cxn modelId="{4A231EBD-38CB-4DF8-A93B-0829C364B68B}" type="presParOf" srcId="{E42F9C61-6793-434B-8FE2-B575DD674F1F}" destId="{1902B9ED-F06F-4DD7-A79D-C1D2CF3D321E}" srcOrd="15" destOrd="0" presId="urn:microsoft.com/office/officeart/2005/8/layout/cycle5"/>
    <dgm:cxn modelId="{2C899BCC-EE41-44F6-AAC8-8EA69E35FDED}" type="presParOf" srcId="{E42F9C61-6793-434B-8FE2-B575DD674F1F}" destId="{EDF5587B-763C-4D7B-B775-0203CC410E9E}" srcOrd="16" destOrd="0" presId="urn:microsoft.com/office/officeart/2005/8/layout/cycle5"/>
    <dgm:cxn modelId="{ACB32C50-2A39-46C6-B85E-35C90C5C8913}" type="presParOf" srcId="{E42F9C61-6793-434B-8FE2-B575DD674F1F}" destId="{68E7578C-EFD2-458F-9EC1-8063A0329CB3}" srcOrd="17" destOrd="0" presId="urn:microsoft.com/office/officeart/2005/8/layout/cycle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E75997-F62C-44A7-A507-D2927CB99C77}">
      <dsp:nvSpPr>
        <dsp:cNvPr id="0" name=""/>
        <dsp:cNvSpPr/>
      </dsp:nvSpPr>
      <dsp:spPr>
        <a:xfrm>
          <a:off x="3788796" y="2487513"/>
          <a:ext cx="1977106" cy="1977106"/>
        </a:xfrm>
        <a:prstGeom prst="ellipse">
          <a:avLst/>
        </a:prstGeom>
        <a:solidFill>
          <a:srgbClr val="CC0099"/>
        </a:solidFill>
        <a:ln w="25400" cap="flat" cmpd="sng" algn="ctr">
          <a:no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noProof="0">
              <a:solidFill>
                <a:schemeClr val="tx1"/>
              </a:solidFill>
              <a:latin typeface="Montserrat"/>
            </a:rPr>
            <a:t>Organization </a:t>
          </a:r>
          <a:r>
            <a:rPr lang="en-US" sz="2400" b="1" kern="1200" noProof="0">
              <a:solidFill>
                <a:schemeClr val="tx1"/>
              </a:solidFill>
              <a:latin typeface="Montserrat"/>
            </a:rPr>
            <a:t>Needs</a:t>
          </a:r>
          <a:endParaRPr lang="en-US" sz="1200" b="1" kern="1200" noProof="0">
            <a:solidFill>
              <a:schemeClr val="tx1"/>
            </a:solidFill>
            <a:latin typeface="Montserrat"/>
          </a:endParaRPr>
        </a:p>
      </dsp:txBody>
      <dsp:txXfrm>
        <a:off x="4078336" y="2777053"/>
        <a:ext cx="1398026" cy="1398026"/>
      </dsp:txXfrm>
    </dsp:sp>
    <dsp:sp modelId="{AACC3FA4-EB5F-4316-89B0-FEF22DCE4242}">
      <dsp:nvSpPr>
        <dsp:cNvPr id="0" name=""/>
        <dsp:cNvSpPr/>
      </dsp:nvSpPr>
      <dsp:spPr>
        <a:xfrm rot="16200000">
          <a:off x="4375227" y="2070632"/>
          <a:ext cx="804244" cy="29518"/>
        </a:xfrm>
        <a:custGeom>
          <a:avLst/>
          <a:gdLst/>
          <a:ahLst/>
          <a:cxnLst/>
          <a:rect l="0" t="0" r="0" b="0"/>
          <a:pathLst>
            <a:path>
              <a:moveTo>
                <a:pt x="0" y="14759"/>
              </a:moveTo>
              <a:lnTo>
                <a:pt x="804244" y="14759"/>
              </a:lnTo>
            </a:path>
          </a:pathLst>
        </a:custGeom>
        <a:noFill/>
        <a:ln w="25400" cap="flat" cmpd="sng" algn="ctr">
          <a:solidFill>
            <a:schemeClr val="bg1">
              <a:lumMod val="50000"/>
            </a:schemeClr>
          </a:solidFill>
          <a:prstDash val="solid"/>
          <a:headEnd type="triangle" w="med" len="med"/>
          <a:tailEnd type="triangle" w="med" len="me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466725">
            <a:lnSpc>
              <a:spcPct val="90000"/>
            </a:lnSpc>
            <a:spcBef>
              <a:spcPct val="0"/>
            </a:spcBef>
            <a:spcAft>
              <a:spcPct val="35000"/>
            </a:spcAft>
            <a:buNone/>
          </a:pPr>
          <a:endParaRPr lang="en-US" sz="1050" kern="1200" noProof="0">
            <a:solidFill>
              <a:schemeClr val="tx1"/>
            </a:solidFill>
            <a:latin typeface="Montserrat" panose="00000500000000000000" pitchFamily="2" charset="0"/>
          </a:endParaRPr>
        </a:p>
      </dsp:txBody>
      <dsp:txXfrm>
        <a:off x="4757243" y="2065285"/>
        <a:ext cx="40212" cy="40212"/>
      </dsp:txXfrm>
    </dsp:sp>
    <dsp:sp modelId="{C751FA1F-56E3-4A1D-A229-60D4E4AF47D8}">
      <dsp:nvSpPr>
        <dsp:cNvPr id="0" name=""/>
        <dsp:cNvSpPr/>
      </dsp:nvSpPr>
      <dsp:spPr>
        <a:xfrm>
          <a:off x="3904127" y="-63174"/>
          <a:ext cx="1746444" cy="1746444"/>
        </a:xfrm>
        <a:prstGeom prst="ellipse">
          <a:avLst/>
        </a:prstGeom>
        <a:solidFill>
          <a:srgbClr val="6800FF"/>
        </a:solidFill>
        <a:ln w="25400" cap="flat" cmpd="sng" algn="ctr">
          <a:no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noProof="0">
              <a:solidFill>
                <a:schemeClr val="tx1"/>
              </a:solidFill>
              <a:latin typeface="Montserrat"/>
            </a:rPr>
            <a:t>Architecture Vision</a:t>
          </a:r>
        </a:p>
      </dsp:txBody>
      <dsp:txXfrm>
        <a:off x="4159888" y="192587"/>
        <a:ext cx="1234922" cy="1234922"/>
      </dsp:txXfrm>
    </dsp:sp>
    <dsp:sp modelId="{D7E5BCC4-D4A7-492D-B823-9B5DF8F2D389}">
      <dsp:nvSpPr>
        <dsp:cNvPr id="0" name=""/>
        <dsp:cNvSpPr/>
      </dsp:nvSpPr>
      <dsp:spPr>
        <a:xfrm rot="18900000">
          <a:off x="5358583" y="2477951"/>
          <a:ext cx="804244" cy="29518"/>
        </a:xfrm>
        <a:custGeom>
          <a:avLst/>
          <a:gdLst/>
          <a:ahLst/>
          <a:cxnLst/>
          <a:rect l="0" t="0" r="0" b="0"/>
          <a:pathLst>
            <a:path>
              <a:moveTo>
                <a:pt x="0" y="14759"/>
              </a:moveTo>
              <a:lnTo>
                <a:pt x="804244" y="14759"/>
              </a:lnTo>
            </a:path>
          </a:pathLst>
        </a:custGeom>
        <a:noFill/>
        <a:ln w="25400" cap="flat" cmpd="sng" algn="ctr">
          <a:solidFill>
            <a:schemeClr val="bg1">
              <a:lumMod val="50000"/>
            </a:schemeClr>
          </a:solidFill>
          <a:prstDash val="solid"/>
          <a:headEnd type="triangle" w="med" len="med"/>
          <a:tailEnd type="triangle" w="med" len="me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466725">
            <a:lnSpc>
              <a:spcPct val="90000"/>
            </a:lnSpc>
            <a:spcBef>
              <a:spcPct val="0"/>
            </a:spcBef>
            <a:spcAft>
              <a:spcPct val="35000"/>
            </a:spcAft>
            <a:buNone/>
          </a:pPr>
          <a:endParaRPr lang="en-US" sz="1050" kern="1200" noProof="0">
            <a:solidFill>
              <a:schemeClr val="tx1"/>
            </a:solidFill>
            <a:latin typeface="Montserrat" panose="00000500000000000000" pitchFamily="2" charset="0"/>
          </a:endParaRPr>
        </a:p>
      </dsp:txBody>
      <dsp:txXfrm>
        <a:off x="5740599" y="2472604"/>
        <a:ext cx="40212" cy="40212"/>
      </dsp:txXfrm>
    </dsp:sp>
    <dsp:sp modelId="{11417D97-918C-4CD3-8A63-9D74BAD36D10}">
      <dsp:nvSpPr>
        <dsp:cNvPr id="0" name=""/>
        <dsp:cNvSpPr/>
      </dsp:nvSpPr>
      <dsp:spPr>
        <a:xfrm>
          <a:off x="5789288" y="717684"/>
          <a:ext cx="1746444" cy="1746444"/>
        </a:xfrm>
        <a:prstGeom prst="ellipse">
          <a:avLst/>
        </a:prstGeom>
        <a:solidFill>
          <a:srgbClr val="6800FF"/>
        </a:solidFill>
        <a:ln w="25400" cap="flat" cmpd="sng" algn="ctr">
          <a:no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noProof="0">
              <a:solidFill>
                <a:schemeClr val="tx1"/>
              </a:solidFill>
              <a:latin typeface="Montserrat"/>
            </a:rPr>
            <a:t>Business Architecture</a:t>
          </a:r>
        </a:p>
      </dsp:txBody>
      <dsp:txXfrm>
        <a:off x="6045049" y="973445"/>
        <a:ext cx="1234922" cy="1234922"/>
      </dsp:txXfrm>
    </dsp:sp>
    <dsp:sp modelId="{72BEC028-DC9A-4259-807B-9002E6E8FA1D}">
      <dsp:nvSpPr>
        <dsp:cNvPr id="0" name=""/>
        <dsp:cNvSpPr/>
      </dsp:nvSpPr>
      <dsp:spPr>
        <a:xfrm>
          <a:off x="5765903" y="3461307"/>
          <a:ext cx="804244" cy="29518"/>
        </a:xfrm>
        <a:custGeom>
          <a:avLst/>
          <a:gdLst/>
          <a:ahLst/>
          <a:cxnLst/>
          <a:rect l="0" t="0" r="0" b="0"/>
          <a:pathLst>
            <a:path>
              <a:moveTo>
                <a:pt x="0" y="14759"/>
              </a:moveTo>
              <a:lnTo>
                <a:pt x="804244" y="14759"/>
              </a:lnTo>
            </a:path>
          </a:pathLst>
        </a:custGeom>
        <a:noFill/>
        <a:ln w="25400" cap="flat" cmpd="sng" algn="ctr">
          <a:solidFill>
            <a:schemeClr val="bg1">
              <a:lumMod val="50000"/>
            </a:schemeClr>
          </a:solidFill>
          <a:prstDash val="solid"/>
          <a:headEnd type="triangle" w="med" len="med"/>
          <a:tailEnd type="triangle" w="med" len="me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466725">
            <a:lnSpc>
              <a:spcPct val="90000"/>
            </a:lnSpc>
            <a:spcBef>
              <a:spcPct val="0"/>
            </a:spcBef>
            <a:spcAft>
              <a:spcPct val="35000"/>
            </a:spcAft>
            <a:buNone/>
          </a:pPr>
          <a:endParaRPr lang="en-US" sz="1050" kern="1200" noProof="0">
            <a:solidFill>
              <a:schemeClr val="tx1"/>
            </a:solidFill>
            <a:latin typeface="Montserrat" panose="00000500000000000000" pitchFamily="2" charset="0"/>
          </a:endParaRPr>
        </a:p>
      </dsp:txBody>
      <dsp:txXfrm>
        <a:off x="6147919" y="3455960"/>
        <a:ext cx="40212" cy="40212"/>
      </dsp:txXfrm>
    </dsp:sp>
    <dsp:sp modelId="{5EB9627E-B338-42DF-A7B0-DFD01754DB22}">
      <dsp:nvSpPr>
        <dsp:cNvPr id="0" name=""/>
        <dsp:cNvSpPr/>
      </dsp:nvSpPr>
      <dsp:spPr>
        <a:xfrm>
          <a:off x="6570147" y="2602844"/>
          <a:ext cx="1746444" cy="1746444"/>
        </a:xfrm>
        <a:prstGeom prst="ellipse">
          <a:avLst/>
        </a:prstGeom>
        <a:solidFill>
          <a:srgbClr val="6800FF"/>
        </a:solidFill>
        <a:ln w="25400" cap="flat" cmpd="sng" algn="ctr">
          <a:no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noProof="0">
              <a:solidFill>
                <a:schemeClr val="tx1"/>
              </a:solidFill>
              <a:latin typeface="Montserrat"/>
            </a:rPr>
            <a:t>Information Systems Architecture</a:t>
          </a:r>
        </a:p>
      </dsp:txBody>
      <dsp:txXfrm>
        <a:off x="6825908" y="2858605"/>
        <a:ext cx="1234922" cy="1234922"/>
      </dsp:txXfrm>
    </dsp:sp>
    <dsp:sp modelId="{8334465A-A68E-4F19-9DB1-AF9FEB55CD97}">
      <dsp:nvSpPr>
        <dsp:cNvPr id="0" name=""/>
        <dsp:cNvSpPr/>
      </dsp:nvSpPr>
      <dsp:spPr>
        <a:xfrm rot="2700000">
          <a:off x="5358583" y="4444663"/>
          <a:ext cx="804244" cy="29518"/>
        </a:xfrm>
        <a:custGeom>
          <a:avLst/>
          <a:gdLst/>
          <a:ahLst/>
          <a:cxnLst/>
          <a:rect l="0" t="0" r="0" b="0"/>
          <a:pathLst>
            <a:path>
              <a:moveTo>
                <a:pt x="0" y="14759"/>
              </a:moveTo>
              <a:lnTo>
                <a:pt x="804244" y="14759"/>
              </a:lnTo>
            </a:path>
          </a:pathLst>
        </a:custGeom>
        <a:noFill/>
        <a:ln w="25400" cap="flat" cmpd="sng" algn="ctr">
          <a:solidFill>
            <a:schemeClr val="bg1">
              <a:lumMod val="50000"/>
            </a:schemeClr>
          </a:solidFill>
          <a:prstDash val="solid"/>
          <a:headEnd type="triangle" w="med" len="med"/>
          <a:tailEnd type="triangle" w="med" len="me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466725">
            <a:lnSpc>
              <a:spcPct val="90000"/>
            </a:lnSpc>
            <a:spcBef>
              <a:spcPct val="0"/>
            </a:spcBef>
            <a:spcAft>
              <a:spcPct val="35000"/>
            </a:spcAft>
            <a:buNone/>
          </a:pPr>
          <a:endParaRPr lang="en-US" sz="1050" kern="1200" noProof="0">
            <a:solidFill>
              <a:schemeClr val="tx1"/>
            </a:solidFill>
            <a:latin typeface="Montserrat" panose="00000500000000000000" pitchFamily="2" charset="0"/>
          </a:endParaRPr>
        </a:p>
      </dsp:txBody>
      <dsp:txXfrm>
        <a:off x="5740599" y="4439316"/>
        <a:ext cx="40212" cy="40212"/>
      </dsp:txXfrm>
    </dsp:sp>
    <dsp:sp modelId="{BD863321-8784-4FC7-8035-1E24F0878217}">
      <dsp:nvSpPr>
        <dsp:cNvPr id="0" name=""/>
        <dsp:cNvSpPr/>
      </dsp:nvSpPr>
      <dsp:spPr>
        <a:xfrm>
          <a:off x="5789288" y="4488005"/>
          <a:ext cx="1746444" cy="1746444"/>
        </a:xfrm>
        <a:prstGeom prst="ellipse">
          <a:avLst/>
        </a:prstGeom>
        <a:solidFill>
          <a:srgbClr val="6800FF"/>
        </a:solidFill>
        <a:ln w="25400" cap="flat" cmpd="sng" algn="ctr">
          <a:no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noProof="0">
              <a:solidFill>
                <a:schemeClr val="tx1"/>
              </a:solidFill>
              <a:latin typeface="Montserrat"/>
            </a:rPr>
            <a:t>Technology Architecture</a:t>
          </a:r>
        </a:p>
      </dsp:txBody>
      <dsp:txXfrm>
        <a:off x="6045049" y="4743766"/>
        <a:ext cx="1234922" cy="1234922"/>
      </dsp:txXfrm>
    </dsp:sp>
    <dsp:sp modelId="{261C9275-8C2E-4F56-9ED2-4D51D480A2FD}">
      <dsp:nvSpPr>
        <dsp:cNvPr id="0" name=""/>
        <dsp:cNvSpPr/>
      </dsp:nvSpPr>
      <dsp:spPr>
        <a:xfrm rot="5400000">
          <a:off x="4375227" y="4851983"/>
          <a:ext cx="804244" cy="29518"/>
        </a:xfrm>
        <a:custGeom>
          <a:avLst/>
          <a:gdLst/>
          <a:ahLst/>
          <a:cxnLst/>
          <a:rect l="0" t="0" r="0" b="0"/>
          <a:pathLst>
            <a:path>
              <a:moveTo>
                <a:pt x="0" y="14759"/>
              </a:moveTo>
              <a:lnTo>
                <a:pt x="804244" y="14759"/>
              </a:lnTo>
            </a:path>
          </a:pathLst>
        </a:custGeom>
        <a:noFill/>
        <a:ln w="25400" cap="flat" cmpd="sng" algn="ctr">
          <a:solidFill>
            <a:schemeClr val="bg1">
              <a:lumMod val="50000"/>
            </a:schemeClr>
          </a:solidFill>
          <a:prstDash val="solid"/>
          <a:headEnd type="triangle" w="med" len="med"/>
          <a:tailEnd type="triangle" w="med" len="me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466725">
            <a:lnSpc>
              <a:spcPct val="90000"/>
            </a:lnSpc>
            <a:spcBef>
              <a:spcPct val="0"/>
            </a:spcBef>
            <a:spcAft>
              <a:spcPct val="35000"/>
            </a:spcAft>
            <a:buNone/>
          </a:pPr>
          <a:endParaRPr lang="en-US" sz="1050" kern="1200" noProof="0">
            <a:solidFill>
              <a:schemeClr val="tx1"/>
            </a:solidFill>
            <a:latin typeface="Montserrat" panose="00000500000000000000" pitchFamily="2" charset="0"/>
          </a:endParaRPr>
        </a:p>
      </dsp:txBody>
      <dsp:txXfrm>
        <a:off x="4757243" y="4846636"/>
        <a:ext cx="40212" cy="40212"/>
      </dsp:txXfrm>
    </dsp:sp>
    <dsp:sp modelId="{101F4068-1981-45A5-B2CE-A975C93A4A51}">
      <dsp:nvSpPr>
        <dsp:cNvPr id="0" name=""/>
        <dsp:cNvSpPr/>
      </dsp:nvSpPr>
      <dsp:spPr>
        <a:xfrm>
          <a:off x="3904127" y="5268864"/>
          <a:ext cx="1746444" cy="1746444"/>
        </a:xfrm>
        <a:prstGeom prst="ellipse">
          <a:avLst/>
        </a:prstGeom>
        <a:solidFill>
          <a:srgbClr val="6800FF"/>
        </a:solidFill>
        <a:ln w="12700" cap="flat" cmpd="sng" algn="ctr">
          <a:no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200" b="1" kern="1200" noProof="0">
              <a:solidFill>
                <a:schemeClr val="tx1"/>
              </a:solidFill>
              <a:latin typeface="Montserrat"/>
              <a:ea typeface="+mn-ea"/>
              <a:cs typeface="+mn-cs"/>
            </a:rPr>
            <a:t>Opportunities &amp; Solutions</a:t>
          </a:r>
        </a:p>
      </dsp:txBody>
      <dsp:txXfrm>
        <a:off x="4159888" y="5524625"/>
        <a:ext cx="1234922" cy="1234922"/>
      </dsp:txXfrm>
    </dsp:sp>
    <dsp:sp modelId="{D66E2521-2C5A-4D65-894B-026F3BB25988}">
      <dsp:nvSpPr>
        <dsp:cNvPr id="0" name=""/>
        <dsp:cNvSpPr/>
      </dsp:nvSpPr>
      <dsp:spPr>
        <a:xfrm rot="8100000">
          <a:off x="3391871" y="4444663"/>
          <a:ext cx="804244" cy="29518"/>
        </a:xfrm>
        <a:custGeom>
          <a:avLst/>
          <a:gdLst/>
          <a:ahLst/>
          <a:cxnLst/>
          <a:rect l="0" t="0" r="0" b="0"/>
          <a:pathLst>
            <a:path>
              <a:moveTo>
                <a:pt x="0" y="14759"/>
              </a:moveTo>
              <a:lnTo>
                <a:pt x="804244" y="14759"/>
              </a:lnTo>
            </a:path>
          </a:pathLst>
        </a:custGeom>
        <a:noFill/>
        <a:ln w="25400" cap="flat" cmpd="sng" algn="ctr">
          <a:solidFill>
            <a:schemeClr val="bg1">
              <a:lumMod val="50000"/>
            </a:schemeClr>
          </a:solidFill>
          <a:prstDash val="solid"/>
          <a:headEnd type="triangle" w="med" len="med"/>
          <a:tailEnd type="triangle" w="med" len="me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466725">
            <a:lnSpc>
              <a:spcPct val="90000"/>
            </a:lnSpc>
            <a:spcBef>
              <a:spcPct val="0"/>
            </a:spcBef>
            <a:spcAft>
              <a:spcPct val="35000"/>
            </a:spcAft>
            <a:buNone/>
          </a:pPr>
          <a:endParaRPr lang="en-US" sz="1050" kern="1200" noProof="0">
            <a:solidFill>
              <a:schemeClr val="tx1"/>
            </a:solidFill>
            <a:latin typeface="Montserrat" panose="00000500000000000000" pitchFamily="2" charset="0"/>
          </a:endParaRPr>
        </a:p>
      </dsp:txBody>
      <dsp:txXfrm rot="10800000">
        <a:off x="3773887" y="4439316"/>
        <a:ext cx="40212" cy="40212"/>
      </dsp:txXfrm>
    </dsp:sp>
    <dsp:sp modelId="{9CC35EEA-5CDA-4C83-A9D3-2170E35C7362}">
      <dsp:nvSpPr>
        <dsp:cNvPr id="0" name=""/>
        <dsp:cNvSpPr/>
      </dsp:nvSpPr>
      <dsp:spPr>
        <a:xfrm>
          <a:off x="2018967" y="4488005"/>
          <a:ext cx="1746444" cy="1746444"/>
        </a:xfrm>
        <a:prstGeom prst="ellipse">
          <a:avLst/>
        </a:prstGeom>
        <a:solidFill>
          <a:srgbClr val="6800FF"/>
        </a:solidFill>
        <a:ln w="25400" cap="flat" cmpd="sng" algn="ctr">
          <a:no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noProof="0">
              <a:solidFill>
                <a:schemeClr val="tx1"/>
              </a:solidFill>
              <a:latin typeface="Montserrat"/>
            </a:rPr>
            <a:t>Migration Planning</a:t>
          </a:r>
        </a:p>
      </dsp:txBody>
      <dsp:txXfrm>
        <a:off x="2274728" y="4743766"/>
        <a:ext cx="1234922" cy="1234922"/>
      </dsp:txXfrm>
    </dsp:sp>
    <dsp:sp modelId="{F200CE66-EA51-4DA8-AD2A-E0FF5C6EAECB}">
      <dsp:nvSpPr>
        <dsp:cNvPr id="0" name=""/>
        <dsp:cNvSpPr/>
      </dsp:nvSpPr>
      <dsp:spPr>
        <a:xfrm rot="10800000">
          <a:off x="2984552" y="3461307"/>
          <a:ext cx="804244" cy="29518"/>
        </a:xfrm>
        <a:custGeom>
          <a:avLst/>
          <a:gdLst/>
          <a:ahLst/>
          <a:cxnLst/>
          <a:rect l="0" t="0" r="0" b="0"/>
          <a:pathLst>
            <a:path>
              <a:moveTo>
                <a:pt x="0" y="14759"/>
              </a:moveTo>
              <a:lnTo>
                <a:pt x="804244" y="1475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466725">
            <a:lnSpc>
              <a:spcPct val="90000"/>
            </a:lnSpc>
            <a:spcBef>
              <a:spcPct val="0"/>
            </a:spcBef>
            <a:spcAft>
              <a:spcPct val="35000"/>
            </a:spcAft>
            <a:buNone/>
          </a:pPr>
          <a:endParaRPr lang="en-US" sz="1050" kern="1200" noProof="0">
            <a:solidFill>
              <a:schemeClr val="tx1"/>
            </a:solidFill>
            <a:latin typeface="Montserrat" panose="00000500000000000000" pitchFamily="2" charset="0"/>
          </a:endParaRPr>
        </a:p>
      </dsp:txBody>
      <dsp:txXfrm rot="10800000">
        <a:off x="3366568" y="3455960"/>
        <a:ext cx="40212" cy="40212"/>
      </dsp:txXfrm>
    </dsp:sp>
    <dsp:sp modelId="{AAC12F0A-A580-40AC-AEE0-19E02B1B72E5}">
      <dsp:nvSpPr>
        <dsp:cNvPr id="0" name=""/>
        <dsp:cNvSpPr/>
      </dsp:nvSpPr>
      <dsp:spPr>
        <a:xfrm>
          <a:off x="1238108" y="2602844"/>
          <a:ext cx="1746444" cy="1746444"/>
        </a:xfrm>
        <a:prstGeom prst="ellipse">
          <a:avLst/>
        </a:prstGeom>
        <a:solidFill>
          <a:srgbClr val="6800FF"/>
        </a:solidFill>
        <a:ln w="25400" cap="flat" cmpd="sng" algn="ctr">
          <a:no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noProof="0">
              <a:solidFill>
                <a:schemeClr val="tx1"/>
              </a:solidFill>
              <a:latin typeface="Montserrat"/>
            </a:rPr>
            <a:t>Governance</a:t>
          </a:r>
        </a:p>
      </dsp:txBody>
      <dsp:txXfrm>
        <a:off x="1493869" y="2858605"/>
        <a:ext cx="1234922" cy="1234922"/>
      </dsp:txXfrm>
    </dsp:sp>
    <dsp:sp modelId="{74B8507E-55B5-45A7-848A-5DC33A625143}">
      <dsp:nvSpPr>
        <dsp:cNvPr id="0" name=""/>
        <dsp:cNvSpPr/>
      </dsp:nvSpPr>
      <dsp:spPr>
        <a:xfrm rot="13500000">
          <a:off x="3315243" y="2446211"/>
          <a:ext cx="894019" cy="29518"/>
        </a:xfrm>
        <a:custGeom>
          <a:avLst/>
          <a:gdLst/>
          <a:ahLst/>
          <a:cxnLst/>
          <a:rect l="0" t="0" r="0" b="0"/>
          <a:pathLst>
            <a:path>
              <a:moveTo>
                <a:pt x="0" y="14759"/>
              </a:moveTo>
              <a:lnTo>
                <a:pt x="894019" y="14759"/>
              </a:lnTo>
            </a:path>
          </a:pathLst>
        </a:custGeom>
        <a:noFill/>
        <a:ln w="25400" cap="flat" cmpd="sng" algn="ctr">
          <a:solidFill>
            <a:schemeClr val="bg1">
              <a:lumMod val="50000"/>
            </a:schemeClr>
          </a:solidFill>
          <a:prstDash val="solid"/>
          <a:headEnd type="triangle" w="med" len="med"/>
          <a:tailEnd type="triangle" w="med" len="me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466725">
            <a:lnSpc>
              <a:spcPct val="90000"/>
            </a:lnSpc>
            <a:spcBef>
              <a:spcPct val="0"/>
            </a:spcBef>
            <a:spcAft>
              <a:spcPct val="35000"/>
            </a:spcAft>
            <a:buNone/>
          </a:pPr>
          <a:endParaRPr lang="en-US" sz="1050" kern="1200" noProof="0">
            <a:solidFill>
              <a:schemeClr val="tx1"/>
            </a:solidFill>
            <a:latin typeface="Montserrat" panose="00000500000000000000" pitchFamily="2" charset="0"/>
          </a:endParaRPr>
        </a:p>
      </dsp:txBody>
      <dsp:txXfrm rot="10800000">
        <a:off x="3739903" y="2438620"/>
        <a:ext cx="44700" cy="44700"/>
      </dsp:txXfrm>
    </dsp:sp>
    <dsp:sp modelId="{3AD9019C-4F19-41A3-860B-8DC2B1B2A9A3}">
      <dsp:nvSpPr>
        <dsp:cNvPr id="0" name=""/>
        <dsp:cNvSpPr/>
      </dsp:nvSpPr>
      <dsp:spPr>
        <a:xfrm>
          <a:off x="2108742" y="807459"/>
          <a:ext cx="1566893" cy="1566893"/>
        </a:xfrm>
        <a:prstGeom prst="ellipse">
          <a:avLst/>
        </a:prstGeom>
        <a:solidFill>
          <a:srgbClr val="6800FF"/>
        </a:solidFill>
        <a:ln w="25400" cap="flat" cmpd="sng" algn="ctr">
          <a:no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rtl="0">
            <a:lnSpc>
              <a:spcPct val="90000"/>
            </a:lnSpc>
            <a:spcBef>
              <a:spcPct val="0"/>
            </a:spcBef>
            <a:spcAft>
              <a:spcPct val="35000"/>
            </a:spcAft>
            <a:buNone/>
          </a:pPr>
          <a:r>
            <a:rPr lang="en-US" sz="1200" b="1" kern="1200" noProof="0">
              <a:solidFill>
                <a:schemeClr val="tx1"/>
              </a:solidFill>
              <a:latin typeface="Montserrat"/>
            </a:rPr>
            <a:t>Architecture Change Management  </a:t>
          </a:r>
        </a:p>
      </dsp:txBody>
      <dsp:txXfrm>
        <a:off x="2338208" y="1036925"/>
        <a:ext cx="1107961" cy="110796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2AF749D-83CE-47F3-8D39-9D660ABE78EB}">
      <dsp:nvSpPr>
        <dsp:cNvPr id="0" name=""/>
        <dsp:cNvSpPr/>
      </dsp:nvSpPr>
      <dsp:spPr>
        <a:xfrm>
          <a:off x="4305706" y="22348"/>
          <a:ext cx="2148912" cy="1396793"/>
        </a:xfrm>
        <a:prstGeom prst="roundRect">
          <a:avLst/>
        </a:prstGeom>
        <a:solidFill>
          <a:srgbClr val="6800FF">
            <a:alpha val="89804"/>
          </a:srgbClr>
        </a:solidFill>
        <a:ln w="38100">
          <a:noFill/>
        </a:ln>
        <a:effectLst>
          <a:outerShdw blurRad="50800" dist="38100" dir="2700000" algn="tl" rotWithShape="0">
            <a:prstClr val="black">
              <a:alpha val="40000"/>
            </a:prst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rtl="0">
            <a:lnSpc>
              <a:spcPct val="90000"/>
            </a:lnSpc>
            <a:spcBef>
              <a:spcPct val="0"/>
            </a:spcBef>
            <a:spcAft>
              <a:spcPct val="35000"/>
            </a:spcAft>
            <a:buNone/>
          </a:pPr>
          <a:r>
            <a:rPr lang="en-US" sz="1600" b="0" kern="1200" noProof="0">
              <a:solidFill>
                <a:schemeClr val="tx1"/>
              </a:solidFill>
              <a:latin typeface="Montserrat"/>
            </a:rPr>
            <a:t>1 - </a:t>
          </a:r>
          <a:r>
            <a:rPr lang="en-US" sz="1600" b="0" kern="1200" noProof="0" err="1">
              <a:solidFill>
                <a:schemeClr val="tx1"/>
              </a:solidFill>
              <a:latin typeface="Montserrat"/>
            </a:rPr>
            <a:t>Definição</a:t>
          </a:r>
          <a:r>
            <a:rPr lang="en-US" sz="1600" b="0" kern="1200" noProof="0">
              <a:solidFill>
                <a:schemeClr val="tx1"/>
              </a:solidFill>
              <a:latin typeface="Montserrat"/>
            </a:rPr>
            <a:t> </a:t>
          </a:r>
          <a:r>
            <a:rPr lang="en-US" sz="1600" b="0" kern="1200" noProof="0" err="1">
              <a:solidFill>
                <a:schemeClr val="tx1"/>
              </a:solidFill>
              <a:latin typeface="Montserrat"/>
            </a:rPr>
            <a:t>clara</a:t>
          </a:r>
          <a:r>
            <a:rPr lang="en-US" sz="1600" b="0" kern="1200" noProof="0">
              <a:solidFill>
                <a:schemeClr val="tx1"/>
              </a:solidFill>
              <a:latin typeface="Montserrat"/>
            </a:rPr>
            <a:t> dos </a:t>
          </a:r>
          <a:r>
            <a:rPr lang="en-US" sz="1600" b="0" kern="1200" noProof="0" err="1">
              <a:solidFill>
                <a:schemeClr val="tx1"/>
              </a:solidFill>
              <a:latin typeface="Montserrat"/>
            </a:rPr>
            <a:t>objetivos</a:t>
          </a:r>
          <a:r>
            <a:rPr lang="en-US" sz="1600" b="0" kern="1200" noProof="0">
              <a:solidFill>
                <a:schemeClr val="tx1"/>
              </a:solidFill>
              <a:latin typeface="Montserrat"/>
            </a:rPr>
            <a:t> da </a:t>
          </a:r>
          <a:r>
            <a:rPr lang="en-US" sz="1600" b="0" kern="1200" noProof="0" err="1">
              <a:solidFill>
                <a:schemeClr val="tx1"/>
              </a:solidFill>
              <a:latin typeface="Montserrat"/>
            </a:rPr>
            <a:t>Transformação</a:t>
          </a:r>
          <a:r>
            <a:rPr lang="en-US" sz="1600" b="0" kern="1200" noProof="0">
              <a:solidFill>
                <a:schemeClr val="tx1"/>
              </a:solidFill>
              <a:latin typeface="Montserrat"/>
            </a:rPr>
            <a:t> Digital.</a:t>
          </a:r>
        </a:p>
      </dsp:txBody>
      <dsp:txXfrm>
        <a:off x="4373892" y="90534"/>
        <a:ext cx="2012540" cy="1260421"/>
      </dsp:txXfrm>
    </dsp:sp>
    <dsp:sp modelId="{97E83103-7331-476B-8C06-FB654ABB135C}">
      <dsp:nvSpPr>
        <dsp:cNvPr id="0" name=""/>
        <dsp:cNvSpPr/>
      </dsp:nvSpPr>
      <dsp:spPr>
        <a:xfrm>
          <a:off x="2096325" y="725469"/>
          <a:ext cx="6588760" cy="6588760"/>
        </a:xfrm>
        <a:custGeom>
          <a:avLst/>
          <a:gdLst/>
          <a:ahLst/>
          <a:cxnLst/>
          <a:rect l="0" t="0" r="0" b="0"/>
          <a:pathLst>
            <a:path>
              <a:moveTo>
                <a:pt x="4630512" y="283119"/>
              </a:moveTo>
              <a:arcTo wR="3294380" hR="3294380" stAng="17635646" swAng="928316"/>
            </a:path>
          </a:pathLst>
        </a:custGeom>
        <a:noFill/>
        <a:ln w="9525"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sp>
    <dsp:sp modelId="{1E50F6DE-F9AB-449E-870F-6B7A66C49D8F}">
      <dsp:nvSpPr>
        <dsp:cNvPr id="0" name=""/>
        <dsp:cNvSpPr/>
      </dsp:nvSpPr>
      <dsp:spPr>
        <a:xfrm>
          <a:off x="7158738" y="1669548"/>
          <a:ext cx="2148912" cy="1396793"/>
        </a:xfrm>
        <a:prstGeom prst="roundRect">
          <a:avLst/>
        </a:prstGeom>
        <a:solidFill>
          <a:srgbClr val="C72381">
            <a:alpha val="89804"/>
          </a:srgbClr>
        </a:solidFill>
        <a:ln w="38100">
          <a:noFill/>
        </a:ln>
        <a:effectLst>
          <a:outerShdw blurRad="50800" dist="38100" dir="2700000" algn="tl" rotWithShape="0">
            <a:prstClr val="black">
              <a:alpha val="40000"/>
            </a:prst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rtl="0">
            <a:lnSpc>
              <a:spcPct val="90000"/>
            </a:lnSpc>
            <a:spcBef>
              <a:spcPct val="0"/>
            </a:spcBef>
            <a:spcAft>
              <a:spcPct val="35000"/>
            </a:spcAft>
            <a:buNone/>
          </a:pPr>
          <a:r>
            <a:rPr lang="en-US" sz="1600" kern="1200" noProof="0">
              <a:solidFill>
                <a:schemeClr val="tx1"/>
              </a:solidFill>
              <a:latin typeface="Montserrat"/>
            </a:rPr>
            <a:t>2 - Inventory and documentation of legacy systems base to be modernized.</a:t>
          </a:r>
        </a:p>
      </dsp:txBody>
      <dsp:txXfrm>
        <a:off x="7226924" y="1737734"/>
        <a:ext cx="2012540" cy="1260421"/>
      </dsp:txXfrm>
    </dsp:sp>
    <dsp:sp modelId="{F28E7526-E3DD-43A0-818B-3BFEC6482E1C}">
      <dsp:nvSpPr>
        <dsp:cNvPr id="0" name=""/>
        <dsp:cNvSpPr/>
      </dsp:nvSpPr>
      <dsp:spPr>
        <a:xfrm>
          <a:off x="2085822" y="734737"/>
          <a:ext cx="6588760" cy="6588760"/>
        </a:xfrm>
        <a:custGeom>
          <a:avLst/>
          <a:gdLst/>
          <a:ahLst/>
          <a:cxnLst/>
          <a:rect l="0" t="0" r="0" b="0"/>
          <a:pathLst>
            <a:path>
              <a:moveTo>
                <a:pt x="6534721" y="2700135"/>
              </a:moveTo>
              <a:arcTo wR="3294380" hR="3294380" stAng="20976482" swAng="1216563"/>
            </a:path>
          </a:pathLst>
        </a:custGeom>
        <a:noFill/>
        <a:ln w="9525"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sp>
    <dsp:sp modelId="{7174C4C9-9428-48AA-9681-B5E2CBD44E87}">
      <dsp:nvSpPr>
        <dsp:cNvPr id="0" name=""/>
        <dsp:cNvSpPr/>
      </dsp:nvSpPr>
      <dsp:spPr>
        <a:xfrm>
          <a:off x="7158727" y="4963929"/>
          <a:ext cx="2148912" cy="1396793"/>
        </a:xfrm>
        <a:prstGeom prst="roundRect">
          <a:avLst/>
        </a:prstGeom>
        <a:solidFill>
          <a:srgbClr val="C51D69">
            <a:alpha val="89804"/>
          </a:srgbClr>
        </a:solidFill>
        <a:ln w="38100">
          <a:noFill/>
        </a:ln>
        <a:effectLst>
          <a:outerShdw blurRad="50800" dist="38100" dir="2700000" algn="tl" rotWithShape="0">
            <a:prstClr val="black">
              <a:alpha val="40000"/>
            </a:prst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rtl="0">
            <a:lnSpc>
              <a:spcPct val="90000"/>
            </a:lnSpc>
            <a:spcBef>
              <a:spcPct val="0"/>
            </a:spcBef>
            <a:spcAft>
              <a:spcPct val="35000"/>
            </a:spcAft>
            <a:buNone/>
          </a:pPr>
          <a:r>
            <a:rPr lang="en-US" sz="1200" b="0" kern="1200" noProof="0">
              <a:solidFill>
                <a:schemeClr val="tx1"/>
              </a:solidFill>
              <a:latin typeface="Montserrat"/>
            </a:rPr>
            <a:t>3 - Automatic generation through AI of complete documentation of legacy systems and business processes involved.</a:t>
          </a:r>
        </a:p>
      </dsp:txBody>
      <dsp:txXfrm>
        <a:off x="7226913" y="5032115"/>
        <a:ext cx="2012540" cy="1260421"/>
      </dsp:txXfrm>
    </dsp:sp>
    <dsp:sp modelId="{8AEF1B27-CB35-4931-993C-AF88E52DB402}">
      <dsp:nvSpPr>
        <dsp:cNvPr id="0" name=""/>
        <dsp:cNvSpPr/>
      </dsp:nvSpPr>
      <dsp:spPr>
        <a:xfrm>
          <a:off x="2101956" y="699340"/>
          <a:ext cx="6588760" cy="6588760"/>
        </a:xfrm>
        <a:custGeom>
          <a:avLst/>
          <a:gdLst/>
          <a:ahLst/>
          <a:cxnLst/>
          <a:rect l="0" t="0" r="0" b="0"/>
          <a:pathLst>
            <a:path>
              <a:moveTo>
                <a:pt x="5381255" y="5843476"/>
              </a:moveTo>
              <a:arcTo wR="3294380" hR="3294380" stAng="3041626" swAng="867875"/>
            </a:path>
          </a:pathLst>
        </a:custGeom>
        <a:noFill/>
        <a:ln w="9525"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sp>
    <dsp:sp modelId="{5A5FAF66-0218-4A0D-AACC-6ABB50C28004}">
      <dsp:nvSpPr>
        <dsp:cNvPr id="0" name=""/>
        <dsp:cNvSpPr/>
      </dsp:nvSpPr>
      <dsp:spPr>
        <a:xfrm>
          <a:off x="4233008" y="6595440"/>
          <a:ext cx="2294308" cy="1396793"/>
        </a:xfrm>
        <a:prstGeom prst="roundRect">
          <a:avLst/>
        </a:prstGeom>
        <a:solidFill>
          <a:srgbClr val="7030A0">
            <a:alpha val="89804"/>
          </a:srgbClr>
        </a:solidFill>
        <a:ln w="38100">
          <a:noFill/>
        </a:ln>
        <a:effectLst>
          <a:outerShdw blurRad="50800" dist="38100" dir="2700000" algn="tl" rotWithShape="0">
            <a:prstClr val="black">
              <a:alpha val="40000"/>
            </a:prst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en-US" sz="1400" kern="1200" noProof="0">
              <a:solidFill>
                <a:schemeClr val="tx1"/>
              </a:solidFill>
              <a:latin typeface="Montserrat"/>
            </a:rPr>
            <a:t>4 - Definition of the modernization strategy to be adopted and definition of the modernization architecture.</a:t>
          </a:r>
        </a:p>
      </dsp:txBody>
      <dsp:txXfrm>
        <a:off x="4301194" y="6663626"/>
        <a:ext cx="2157936" cy="1260421"/>
      </dsp:txXfrm>
    </dsp:sp>
    <dsp:sp modelId="{3F882584-1CF3-462B-BADD-AC4B7843D2BB}">
      <dsp:nvSpPr>
        <dsp:cNvPr id="0" name=""/>
        <dsp:cNvSpPr/>
      </dsp:nvSpPr>
      <dsp:spPr>
        <a:xfrm>
          <a:off x="2091565" y="707454"/>
          <a:ext cx="6588760" cy="6588760"/>
        </a:xfrm>
        <a:custGeom>
          <a:avLst/>
          <a:gdLst/>
          <a:ahLst/>
          <a:cxnLst/>
          <a:rect l="0" t="0" r="0" b="0"/>
          <a:pathLst>
            <a:path>
              <a:moveTo>
                <a:pt x="1886446" y="6272746"/>
              </a:moveTo>
              <a:arcTo wR="3294380" hR="3294380" stAng="6918062" swAng="877638"/>
            </a:path>
          </a:pathLst>
        </a:custGeom>
        <a:noFill/>
        <a:ln w="9525"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sp>
    <dsp:sp modelId="{F810B1C0-12F5-45A3-A133-BFEB1EADCD04}">
      <dsp:nvSpPr>
        <dsp:cNvPr id="0" name=""/>
        <dsp:cNvSpPr/>
      </dsp:nvSpPr>
      <dsp:spPr>
        <a:xfrm>
          <a:off x="1452689" y="4944910"/>
          <a:ext cx="2148912" cy="1396793"/>
        </a:xfrm>
        <a:prstGeom prst="roundRect">
          <a:avLst/>
        </a:prstGeom>
        <a:solidFill>
          <a:srgbClr val="9D5BFF">
            <a:alpha val="89804"/>
          </a:srgbClr>
        </a:solidFill>
        <a:ln w="38100">
          <a:noFill/>
        </a:ln>
        <a:effectLst>
          <a:outerShdw blurRad="50800" dist="38100" dir="2700000" algn="tl" rotWithShape="0">
            <a:prstClr val="black">
              <a:alpha val="40000"/>
            </a:prst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en-US" sz="1400" kern="1200" noProof="0">
              <a:solidFill>
                <a:schemeClr val="tx1"/>
              </a:solidFill>
              <a:latin typeface="Montserrat"/>
            </a:rPr>
            <a:t>5 - Delivery of the Qintess System Modernization journey with AI/ML platform</a:t>
          </a:r>
        </a:p>
      </dsp:txBody>
      <dsp:txXfrm>
        <a:off x="1520875" y="5013096"/>
        <a:ext cx="2012540" cy="1260421"/>
      </dsp:txXfrm>
    </dsp:sp>
    <dsp:sp modelId="{C81E716A-CC78-4164-A989-5DEA9A70C326}">
      <dsp:nvSpPr>
        <dsp:cNvPr id="0" name=""/>
        <dsp:cNvSpPr/>
      </dsp:nvSpPr>
      <dsp:spPr>
        <a:xfrm>
          <a:off x="2085782" y="701736"/>
          <a:ext cx="6588760" cy="6588760"/>
        </a:xfrm>
        <a:custGeom>
          <a:avLst/>
          <a:gdLst/>
          <a:ahLst/>
          <a:cxnLst/>
          <a:rect l="0" t="0" r="0" b="0"/>
          <a:pathLst>
            <a:path>
              <a:moveTo>
                <a:pt x="51435" y="3874250"/>
              </a:moveTo>
              <a:arcTo wR="3294380" hR="3294380" stAng="10191725" swAng="1216550"/>
            </a:path>
          </a:pathLst>
        </a:custGeom>
        <a:noFill/>
        <a:ln w="9525"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sp>
    <dsp:sp modelId="{1902B9ED-F06F-4DD7-A79D-C1D2CF3D321E}">
      <dsp:nvSpPr>
        <dsp:cNvPr id="0" name=""/>
        <dsp:cNvSpPr/>
      </dsp:nvSpPr>
      <dsp:spPr>
        <a:xfrm>
          <a:off x="1452689" y="1650530"/>
          <a:ext cx="2148912" cy="1396793"/>
        </a:xfrm>
        <a:prstGeom prst="roundRect">
          <a:avLst/>
        </a:prstGeom>
        <a:solidFill>
          <a:srgbClr val="333399">
            <a:alpha val="80000"/>
          </a:srgbClr>
        </a:solidFill>
        <a:ln w="38100">
          <a:noFill/>
        </a:ln>
        <a:effectLst>
          <a:outerShdw blurRad="50800" dist="38100" dir="2700000" algn="tl" rotWithShape="0">
            <a:prstClr val="black">
              <a:alpha val="40000"/>
            </a:prst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en-US" sz="1400" kern="1200" noProof="0">
              <a:solidFill>
                <a:schemeClr val="tx1"/>
              </a:solidFill>
              <a:latin typeface="Montserrat"/>
            </a:rPr>
            <a:t>6 - Activation of the Support Service from the first delivery.</a:t>
          </a:r>
        </a:p>
      </dsp:txBody>
      <dsp:txXfrm>
        <a:off x="1520875" y="1718716"/>
        <a:ext cx="2012540" cy="1260421"/>
      </dsp:txXfrm>
    </dsp:sp>
    <dsp:sp modelId="{68E7578C-EFD2-458F-9EC1-8063A0329CB3}">
      <dsp:nvSpPr>
        <dsp:cNvPr id="0" name=""/>
        <dsp:cNvSpPr/>
      </dsp:nvSpPr>
      <dsp:spPr>
        <a:xfrm>
          <a:off x="2054041" y="732622"/>
          <a:ext cx="6588760" cy="6588760"/>
        </a:xfrm>
        <a:custGeom>
          <a:avLst/>
          <a:gdLst/>
          <a:ahLst/>
          <a:cxnLst/>
          <a:rect l="0" t="0" r="0" b="0"/>
          <a:pathLst>
            <a:path>
              <a:moveTo>
                <a:pt x="1230218" y="726856"/>
              </a:moveTo>
              <a:arcTo wR="3294380" hR="3294380" stAng="13872147" swAng="918646"/>
            </a:path>
          </a:pathLst>
        </a:custGeom>
        <a:noFill/>
        <a:ln w="9525"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a:extLst>
              <a:ext uri="{FF2B5EF4-FFF2-40B4-BE49-F238E27FC236}">
                <a16:creationId xmlns:a16="http://schemas.microsoft.com/office/drawing/2014/main" id="{2B46534E-58DA-93E0-3E8E-E906ADF5640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Espaço Reservado para Data 2">
            <a:extLst>
              <a:ext uri="{FF2B5EF4-FFF2-40B4-BE49-F238E27FC236}">
                <a16:creationId xmlns:a16="http://schemas.microsoft.com/office/drawing/2014/main" id="{DC502F79-0B44-EF6B-7615-7C01DC20D84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8AF89D6-0FFA-F440-BC2F-7C4DAE910DC1}" type="datetimeFigureOut">
              <a:rPr lang="pt-BR" smtClean="0"/>
              <a:t>09/05/2025</a:t>
            </a:fld>
            <a:endParaRPr lang="pt-BR"/>
          </a:p>
        </p:txBody>
      </p:sp>
      <p:sp>
        <p:nvSpPr>
          <p:cNvPr id="4" name="Espaço Reservado para Rodapé 3">
            <a:extLst>
              <a:ext uri="{FF2B5EF4-FFF2-40B4-BE49-F238E27FC236}">
                <a16:creationId xmlns:a16="http://schemas.microsoft.com/office/drawing/2014/main" id="{48170255-D1A5-1387-3D1E-B7E81B4AE18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5" name="Espaço Reservado para Número de Slide 4">
            <a:extLst>
              <a:ext uri="{FF2B5EF4-FFF2-40B4-BE49-F238E27FC236}">
                <a16:creationId xmlns:a16="http://schemas.microsoft.com/office/drawing/2014/main" id="{34AC6066-2E47-0A22-F07D-592F9E9E7D0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7F58F3-0951-CD46-A278-0F7AFD726971}" type="slidenum">
              <a:rPr lang="pt-BR" smtClean="0"/>
              <a:t>‹nº›</a:t>
            </a:fld>
            <a:endParaRPr lang="pt-BR"/>
          </a:p>
        </p:txBody>
      </p:sp>
    </p:spTree>
    <p:extLst>
      <p:ext uri="{BB962C8B-B14F-4D97-AF65-F5344CB8AC3E}">
        <p14:creationId xmlns:p14="http://schemas.microsoft.com/office/powerpoint/2010/main" val="12631581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
        <p:cNvGrpSpPr/>
        <p:nvPr/>
      </p:nvGrpSpPr>
      <p:grpSpPr>
        <a:xfrm>
          <a:off x="0" y="0"/>
          <a:ext cx="0" cy="0"/>
          <a:chOff x="0" y="0"/>
          <a:chExt cx="0" cy="0"/>
        </a:xfrm>
      </p:grpSpPr>
      <p:sp>
        <p:nvSpPr>
          <p:cNvPr id="51" name="Google Shape;51;p: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2" name="Google Shape;52;p: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2">
          <a:extLst>
            <a:ext uri="{FF2B5EF4-FFF2-40B4-BE49-F238E27FC236}">
              <a16:creationId xmlns:a16="http://schemas.microsoft.com/office/drawing/2014/main" id="{D77A86F7-F27B-7CF3-A67A-6DECFB7E8864}"/>
            </a:ext>
          </a:extLst>
        </p:cNvPr>
        <p:cNvGrpSpPr/>
        <p:nvPr/>
      </p:nvGrpSpPr>
      <p:grpSpPr>
        <a:xfrm>
          <a:off x="0" y="0"/>
          <a:ext cx="0" cy="0"/>
          <a:chOff x="0" y="0"/>
          <a:chExt cx="0" cy="0"/>
        </a:xfrm>
      </p:grpSpPr>
      <p:sp>
        <p:nvSpPr>
          <p:cNvPr id="313" name="Google Shape;313;g305e0cfbb74_0_375:notes">
            <a:extLst>
              <a:ext uri="{FF2B5EF4-FFF2-40B4-BE49-F238E27FC236}">
                <a16:creationId xmlns:a16="http://schemas.microsoft.com/office/drawing/2014/main" id="{B7A9AE9C-C55F-CF7A-7C97-56F5FA68EBEE}"/>
              </a:ext>
            </a:extLst>
          </p:cNvPr>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314" name="Google Shape;314;g305e0cfbb74_0_375:notes">
            <a:extLst>
              <a:ext uri="{FF2B5EF4-FFF2-40B4-BE49-F238E27FC236}">
                <a16:creationId xmlns:a16="http://schemas.microsoft.com/office/drawing/2014/main" id="{57B9FC2F-61A6-AA96-C7CD-E4C182C61018}"/>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9433739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2">
          <a:extLst>
            <a:ext uri="{FF2B5EF4-FFF2-40B4-BE49-F238E27FC236}">
              <a16:creationId xmlns:a16="http://schemas.microsoft.com/office/drawing/2014/main" id="{A3D98A61-237C-EB24-DEA2-5391D038A6D5}"/>
            </a:ext>
          </a:extLst>
        </p:cNvPr>
        <p:cNvGrpSpPr/>
        <p:nvPr/>
      </p:nvGrpSpPr>
      <p:grpSpPr>
        <a:xfrm>
          <a:off x="0" y="0"/>
          <a:ext cx="0" cy="0"/>
          <a:chOff x="0" y="0"/>
          <a:chExt cx="0" cy="0"/>
        </a:xfrm>
      </p:grpSpPr>
      <p:sp>
        <p:nvSpPr>
          <p:cNvPr id="313" name="Google Shape;313;g305e0cfbb74_0_375:notes">
            <a:extLst>
              <a:ext uri="{FF2B5EF4-FFF2-40B4-BE49-F238E27FC236}">
                <a16:creationId xmlns:a16="http://schemas.microsoft.com/office/drawing/2014/main" id="{F8C12FA2-48F4-342E-78E7-0AEEEC7C477B}"/>
              </a:ext>
            </a:extLst>
          </p:cNvPr>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314" name="Google Shape;314;g305e0cfbb74_0_375:notes">
            <a:extLst>
              <a:ext uri="{FF2B5EF4-FFF2-40B4-BE49-F238E27FC236}">
                <a16:creationId xmlns:a16="http://schemas.microsoft.com/office/drawing/2014/main" id="{0AA63904-8FEF-7B2A-C47C-4EF6F19C4FE9}"/>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3318924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1"/>
        <p:cNvGrpSpPr/>
        <p:nvPr/>
      </p:nvGrpSpPr>
      <p:grpSpPr>
        <a:xfrm>
          <a:off x="0" y="0"/>
          <a:ext cx="0" cy="0"/>
          <a:chOff x="0" y="0"/>
          <a:chExt cx="0" cy="0"/>
        </a:xfrm>
      </p:grpSpPr>
      <p:sp>
        <p:nvSpPr>
          <p:cNvPr id="452" name="Google Shape;452;g305e0cfbb74_0_103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53" name="Google Shape;453;g305e0cfbb74_0_103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22973242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671F00-E301-437B-9386-0E87C90E6323}"/>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F738682A-E04A-C958-4938-BBBE1F1168EA}"/>
              </a:ext>
            </a:extLst>
          </p:cNvPr>
          <p:cNvSpPr>
            <a:spLocks noGrp="1" noRot="1" noChangeAspect="1"/>
          </p:cNvSpPr>
          <p:nvPr>
            <p:ph type="sldImg"/>
          </p:nvPr>
        </p:nvSpPr>
        <p:spPr>
          <a:xfrm>
            <a:off x="381000" y="685800"/>
            <a:ext cx="6096000" cy="3429000"/>
          </a:xfrm>
        </p:spPr>
      </p:sp>
      <p:sp>
        <p:nvSpPr>
          <p:cNvPr id="3" name="Espaço Reservado para Anotações 2">
            <a:extLst>
              <a:ext uri="{FF2B5EF4-FFF2-40B4-BE49-F238E27FC236}">
                <a16:creationId xmlns:a16="http://schemas.microsoft.com/office/drawing/2014/main" id="{47D9A4B6-F03C-816A-D5BF-8C478F1498F0}"/>
              </a:ext>
            </a:extLst>
          </p:cNvPr>
          <p:cNvSpPr>
            <a:spLocks noGrp="1"/>
          </p:cNvSpPr>
          <p:nvPr>
            <p:ph type="body" idx="1"/>
          </p:nvPr>
        </p:nvSpPr>
        <p:spPr/>
        <p:txBody>
          <a:bodyPr/>
          <a:lstStyle/>
          <a:p>
            <a:endParaRPr lang="pt-BR"/>
          </a:p>
        </p:txBody>
      </p:sp>
      <p:sp>
        <p:nvSpPr>
          <p:cNvPr id="4" name="Espaço Reservado para Número de Slide 3">
            <a:extLst>
              <a:ext uri="{FF2B5EF4-FFF2-40B4-BE49-F238E27FC236}">
                <a16:creationId xmlns:a16="http://schemas.microsoft.com/office/drawing/2014/main" id="{EEA459FB-435F-5F92-C09A-D20FA0088E70}"/>
              </a:ext>
            </a:extLst>
          </p:cNvPr>
          <p:cNvSpPr>
            <a:spLocks noGrp="1"/>
          </p:cNvSpPr>
          <p:nvPr>
            <p:ph type="sldNum" sz="quarter" idx="5"/>
          </p:nvPr>
        </p:nvSpPr>
        <p:spPr/>
        <p:txBody>
          <a:bodyPr/>
          <a:lstStyle/>
          <a:p>
            <a:fld id="{49D3AD71-F620-4246-A4F3-6581B4A326A2}" type="slidenum">
              <a:rPr lang="es-CO" smtClean="0"/>
              <a:t>59</a:t>
            </a:fld>
            <a:endParaRPr lang="es-CO"/>
          </a:p>
        </p:txBody>
      </p:sp>
    </p:spTree>
    <p:extLst>
      <p:ext uri="{BB962C8B-B14F-4D97-AF65-F5344CB8AC3E}">
        <p14:creationId xmlns:p14="http://schemas.microsoft.com/office/powerpoint/2010/main" val="9559497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5ABB8A-7CF2-051F-CB49-679E17B557CB}"/>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476A3516-13AA-DC8B-692A-AF7B0739FE49}"/>
              </a:ext>
            </a:extLst>
          </p:cNvPr>
          <p:cNvSpPr>
            <a:spLocks noGrp="1" noRot="1" noChangeAspect="1"/>
          </p:cNvSpPr>
          <p:nvPr>
            <p:ph type="sldImg"/>
          </p:nvPr>
        </p:nvSpPr>
        <p:spPr>
          <a:xfrm>
            <a:off x="381000" y="685800"/>
            <a:ext cx="6096000" cy="3429000"/>
          </a:xfrm>
        </p:spPr>
      </p:sp>
      <p:sp>
        <p:nvSpPr>
          <p:cNvPr id="3" name="Marcador de notas 2">
            <a:extLst>
              <a:ext uri="{FF2B5EF4-FFF2-40B4-BE49-F238E27FC236}">
                <a16:creationId xmlns:a16="http://schemas.microsoft.com/office/drawing/2014/main" id="{D646BFC3-87A1-9920-8EB8-70F9DFF22425}"/>
              </a:ext>
            </a:extLst>
          </p:cNvPr>
          <p:cNvSpPr>
            <a:spLocks noGrp="1"/>
          </p:cNvSpPr>
          <p:nvPr>
            <p:ph type="body" idx="1"/>
          </p:nvPr>
        </p:nvSpPr>
        <p:spPr/>
        <p:txBody>
          <a:bodyPr/>
          <a:lstStyle/>
          <a:p>
            <a:endParaRPr lang="es-CO"/>
          </a:p>
        </p:txBody>
      </p:sp>
      <p:sp>
        <p:nvSpPr>
          <p:cNvPr id="4" name="Marcador de número de diapositiva 3">
            <a:extLst>
              <a:ext uri="{FF2B5EF4-FFF2-40B4-BE49-F238E27FC236}">
                <a16:creationId xmlns:a16="http://schemas.microsoft.com/office/drawing/2014/main" id="{B48A78E2-E597-5F9C-7EEA-5FEB2C416B6A}"/>
              </a:ext>
            </a:extLst>
          </p:cNvPr>
          <p:cNvSpPr>
            <a:spLocks noGrp="1"/>
          </p:cNvSpPr>
          <p:nvPr>
            <p:ph type="sldNum" sz="quarter" idx="5"/>
          </p:nvPr>
        </p:nvSpPr>
        <p:spPr/>
        <p:txBody>
          <a:bodyPr/>
          <a:lstStyle/>
          <a:p>
            <a:fld id="{49D3AD71-F620-4246-A4F3-6581B4A326A2}" type="slidenum">
              <a:rPr lang="es-CO" smtClean="0"/>
              <a:t>60</a:t>
            </a:fld>
            <a:endParaRPr lang="es-CO"/>
          </a:p>
        </p:txBody>
      </p:sp>
    </p:spTree>
    <p:extLst>
      <p:ext uri="{BB962C8B-B14F-4D97-AF65-F5344CB8AC3E}">
        <p14:creationId xmlns:p14="http://schemas.microsoft.com/office/powerpoint/2010/main" val="41732986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5"/>
          </p:nvPr>
        </p:nvSpPr>
        <p:spPr/>
        <p:txBody>
          <a:bodyPr/>
          <a:lstStyle/>
          <a:p>
            <a:fld id="{49D3AD71-F620-4246-A4F3-6581B4A326A2}" type="slidenum">
              <a:rPr lang="es-CO" smtClean="0"/>
              <a:t>62</a:t>
            </a:fld>
            <a:endParaRPr lang="es-CO"/>
          </a:p>
        </p:txBody>
      </p:sp>
    </p:spTree>
    <p:extLst>
      <p:ext uri="{BB962C8B-B14F-4D97-AF65-F5344CB8AC3E}">
        <p14:creationId xmlns:p14="http://schemas.microsoft.com/office/powerpoint/2010/main" val="21363228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1"/>
        <p:cNvGrpSpPr/>
        <p:nvPr/>
      </p:nvGrpSpPr>
      <p:grpSpPr>
        <a:xfrm>
          <a:off x="0" y="0"/>
          <a:ext cx="0" cy="0"/>
          <a:chOff x="0" y="0"/>
          <a:chExt cx="0" cy="0"/>
        </a:xfrm>
      </p:grpSpPr>
      <p:sp>
        <p:nvSpPr>
          <p:cNvPr id="362" name="Google Shape;362;g22f4e96e386_0_93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63" name="Google Shape;363;g22f4e96e386_0_93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5"/>
        <p:cNvGrpSpPr/>
        <p:nvPr/>
      </p:nvGrpSpPr>
      <p:grpSpPr>
        <a:xfrm>
          <a:off x="0" y="0"/>
          <a:ext cx="0" cy="0"/>
          <a:chOff x="0" y="0"/>
          <a:chExt cx="0" cy="0"/>
        </a:xfrm>
      </p:grpSpPr>
      <p:sp>
        <p:nvSpPr>
          <p:cNvPr id="266" name="Google Shape;266;g169e3e8f587_0_20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67" name="Google Shape;267;g169e3e8f587_0_20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0626889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59"/>
        <p:cNvGrpSpPr/>
        <p:nvPr/>
      </p:nvGrpSpPr>
      <p:grpSpPr>
        <a:xfrm>
          <a:off x="0" y="0"/>
          <a:ext cx="0" cy="0"/>
          <a:chOff x="0" y="0"/>
          <a:chExt cx="0" cy="0"/>
        </a:xfrm>
      </p:grpSpPr>
      <p:sp>
        <p:nvSpPr>
          <p:cNvPr id="1160" name="Google Shape;1160;g3026f3a8142_0_107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161" name="Google Shape;1161;g3026f3a8142_0_107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11"/>
        <p:cNvGrpSpPr/>
        <p:nvPr/>
      </p:nvGrpSpPr>
      <p:grpSpPr>
        <a:xfrm>
          <a:off x="0" y="0"/>
          <a:ext cx="0" cy="0"/>
          <a:chOff x="0" y="0"/>
          <a:chExt cx="0" cy="0"/>
        </a:xfrm>
      </p:grpSpPr>
      <p:sp>
        <p:nvSpPr>
          <p:cNvPr id="912" name="Google Shape;912;g2f92603ff98_0_9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913" name="Google Shape;913;g2f92603ff98_0_9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2145643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r>
              <a:rPr lang="pt-BR" sz="1200"/>
              <a:t>Porque não deu certo....</a:t>
            </a:r>
          </a:p>
          <a:p>
            <a:endParaRPr lang="pt-BR" sz="1200"/>
          </a:p>
          <a:p>
            <a:pPr marL="571500" indent="-571500">
              <a:buFont typeface="Arial" panose="020B0604020202020204" pitchFamily="34" charset="0"/>
              <a:buChar char="•"/>
            </a:pPr>
            <a:r>
              <a:rPr lang="pt-BR" sz="1200"/>
              <a:t>Destacar os pontos relevantes das dores</a:t>
            </a:r>
          </a:p>
          <a:p>
            <a:pPr marL="571500" indent="-571500">
              <a:buFont typeface="Arial" panose="020B0604020202020204" pitchFamily="34" charset="0"/>
              <a:buChar char="•"/>
            </a:pPr>
            <a:r>
              <a:rPr lang="pt-BR" sz="1200"/>
              <a:t>Adesão das outras áreas</a:t>
            </a:r>
          </a:p>
          <a:p>
            <a:pPr marL="571500" indent="-571500">
              <a:buFont typeface="Arial" panose="020B0604020202020204" pitchFamily="34" charset="0"/>
              <a:buChar char="•"/>
            </a:pPr>
            <a:r>
              <a:rPr lang="pt-BR" sz="1200"/>
              <a:t>A empresa não entender que é um projeto da organização e associar a iniciativa de TI</a:t>
            </a:r>
          </a:p>
          <a:p>
            <a:pPr marL="571500" indent="-571500">
              <a:buFont typeface="Arial" panose="020B0604020202020204" pitchFamily="34" charset="0"/>
              <a:buChar char="•"/>
            </a:pPr>
            <a:r>
              <a:rPr lang="pt-BR" sz="1200"/>
              <a:t>A agilidade ficou muito associada a projetos de TI e transformação digital</a:t>
            </a:r>
          </a:p>
          <a:p>
            <a:pPr marL="571500" indent="-571500">
              <a:buFont typeface="Arial" panose="020B0604020202020204" pitchFamily="34" charset="0"/>
              <a:buChar char="•"/>
            </a:pPr>
            <a:r>
              <a:rPr lang="pt-BR" sz="1200"/>
              <a:t>A TD ficou associada a foco em tecnologia e não nas demais dimensões de transformação (pessoas, cultura)</a:t>
            </a:r>
          </a:p>
          <a:p>
            <a:pPr marL="571500" indent="-571500">
              <a:buFont typeface="Arial" panose="020B0604020202020204" pitchFamily="34" charset="0"/>
              <a:buChar char="•"/>
            </a:pPr>
            <a:endParaRPr lang="pt-BR" sz="1200"/>
          </a:p>
          <a:p>
            <a:r>
              <a:rPr lang="pt-BR" sz="1200"/>
              <a:t>Quais as ações corporativas devem ser realizadas para que a Agilidade seja suportada por diversas ferramentas “transformadas” para suportar a verdadeira transformação</a:t>
            </a:r>
          </a:p>
          <a:p>
            <a:endParaRPr lang="pt-BR" sz="1200"/>
          </a:p>
          <a:p>
            <a:r>
              <a:rPr lang="pt-BR" sz="1200"/>
              <a:t>Oferecer aonde está o problema e como poderá ser endereçado</a:t>
            </a:r>
          </a:p>
          <a:p>
            <a:pPr marL="0" indent="0">
              <a:buFont typeface="Arial" panose="020B0604020202020204" pitchFamily="34" charset="0"/>
              <a:buNone/>
            </a:pPr>
            <a:endParaRPr lang="pt-BR" sz="120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CC147A-BF49-3A41-BD27-C5968D1E6A76}" type="slidenum">
              <a:rPr kumimoji="0" lang="pt-B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pt-B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18319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11">
          <a:extLst>
            <a:ext uri="{FF2B5EF4-FFF2-40B4-BE49-F238E27FC236}">
              <a16:creationId xmlns:a16="http://schemas.microsoft.com/office/drawing/2014/main" id="{57E574B0-0869-D03E-6796-392D6B1F034A}"/>
            </a:ext>
          </a:extLst>
        </p:cNvPr>
        <p:cNvGrpSpPr/>
        <p:nvPr/>
      </p:nvGrpSpPr>
      <p:grpSpPr>
        <a:xfrm>
          <a:off x="0" y="0"/>
          <a:ext cx="0" cy="0"/>
          <a:chOff x="0" y="0"/>
          <a:chExt cx="0" cy="0"/>
        </a:xfrm>
      </p:grpSpPr>
      <p:sp>
        <p:nvSpPr>
          <p:cNvPr id="912" name="Google Shape;912;g2f92603ff98_0_99:notes">
            <a:extLst>
              <a:ext uri="{FF2B5EF4-FFF2-40B4-BE49-F238E27FC236}">
                <a16:creationId xmlns:a16="http://schemas.microsoft.com/office/drawing/2014/main" id="{8276C843-9556-9BD6-1413-41DA1AFB05F0}"/>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913" name="Google Shape;913;g2f92603ff98_0_99:notes">
            <a:extLst>
              <a:ext uri="{FF2B5EF4-FFF2-40B4-BE49-F238E27FC236}">
                <a16:creationId xmlns:a16="http://schemas.microsoft.com/office/drawing/2014/main" id="{F2BD3BC0-C11F-4BE5-32F1-C29D70EC92EC}"/>
              </a:ext>
            </a:extLst>
          </p:cNvPr>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620223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5"/>
        <p:cNvGrpSpPr/>
        <p:nvPr/>
      </p:nvGrpSpPr>
      <p:grpSpPr>
        <a:xfrm>
          <a:off x="0" y="0"/>
          <a:ext cx="0" cy="0"/>
          <a:chOff x="0" y="0"/>
          <a:chExt cx="0" cy="0"/>
        </a:xfrm>
      </p:grpSpPr>
      <p:sp>
        <p:nvSpPr>
          <p:cNvPr id="736" name="Google Shape;736;g2de0371b099_0_842:notes"/>
          <p:cNvSpPr txBox="1">
            <a:spLocks noGrp="1"/>
          </p:cNvSpPr>
          <p:nvPr>
            <p:ph type="body" idx="1"/>
          </p:nvPr>
        </p:nvSpPr>
        <p:spPr>
          <a:xfrm>
            <a:off x="685800" y="4400550"/>
            <a:ext cx="5486400" cy="36006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737" name="Google Shape;737;g2de0371b099_0_84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3"/>
        <p:cNvGrpSpPr/>
        <p:nvPr/>
      </p:nvGrpSpPr>
      <p:grpSpPr>
        <a:xfrm>
          <a:off x="0" y="0"/>
          <a:ext cx="0" cy="0"/>
          <a:chOff x="0" y="0"/>
          <a:chExt cx="0" cy="0"/>
        </a:xfrm>
      </p:grpSpPr>
      <p:sp>
        <p:nvSpPr>
          <p:cNvPr id="1144" name="Google Shape;1144;g2de0371b099_0_247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145" name="Google Shape;1145;g2de0371b099_0_247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40">
          <a:extLst>
            <a:ext uri="{FF2B5EF4-FFF2-40B4-BE49-F238E27FC236}">
              <a16:creationId xmlns:a16="http://schemas.microsoft.com/office/drawing/2014/main" id="{0EF3D1F1-575C-BC37-6C04-CBC214CD35AA}"/>
            </a:ext>
          </a:extLst>
        </p:cNvPr>
        <p:cNvGrpSpPr/>
        <p:nvPr/>
      </p:nvGrpSpPr>
      <p:grpSpPr>
        <a:xfrm>
          <a:off x="0" y="0"/>
          <a:ext cx="0" cy="0"/>
          <a:chOff x="0" y="0"/>
          <a:chExt cx="0" cy="0"/>
        </a:xfrm>
      </p:grpSpPr>
      <p:sp>
        <p:nvSpPr>
          <p:cNvPr id="1241" name="Google Shape;1241;p6:notes">
            <a:extLst>
              <a:ext uri="{FF2B5EF4-FFF2-40B4-BE49-F238E27FC236}">
                <a16:creationId xmlns:a16="http://schemas.microsoft.com/office/drawing/2014/main" id="{C9BE8909-A425-B300-F107-22E078A6C74C}"/>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242" name="Google Shape;1242;p6:notes">
            <a:extLst>
              <a:ext uri="{FF2B5EF4-FFF2-40B4-BE49-F238E27FC236}">
                <a16:creationId xmlns:a16="http://schemas.microsoft.com/office/drawing/2014/main" id="{74CAE7E6-1326-F419-DD10-BDBBB41CA28B}"/>
              </a:ext>
            </a:extLst>
          </p:cNvPr>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40722212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5CB103-6149-B0C5-442B-338E5ADC5659}"/>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8834C461-9019-2427-7DEA-F9828D337118}"/>
              </a:ext>
            </a:extLst>
          </p:cNvPr>
          <p:cNvSpPr>
            <a:spLocks noGrp="1" noRot="1" noChangeAspect="1"/>
          </p:cNvSpPr>
          <p:nvPr>
            <p:ph type="sldImg"/>
          </p:nvPr>
        </p:nvSpPr>
        <p:spPr>
          <a:xfrm>
            <a:off x="381000" y="685800"/>
            <a:ext cx="6096000" cy="3429000"/>
          </a:xfrm>
        </p:spPr>
      </p:sp>
      <p:sp>
        <p:nvSpPr>
          <p:cNvPr id="3" name="Espaço Reservado para Anotações 2">
            <a:extLst>
              <a:ext uri="{FF2B5EF4-FFF2-40B4-BE49-F238E27FC236}">
                <a16:creationId xmlns:a16="http://schemas.microsoft.com/office/drawing/2014/main" id="{724131CC-91FA-41F7-4374-0349BA2E0BB5}"/>
              </a:ext>
            </a:extLst>
          </p:cNvPr>
          <p:cNvSpPr>
            <a:spLocks noGrp="1"/>
          </p:cNvSpPr>
          <p:nvPr>
            <p:ph type="body" idx="1"/>
          </p:nvPr>
        </p:nvSpPr>
        <p:spPr/>
        <p:txBody>
          <a:bodyPr/>
          <a:lstStyle/>
          <a:p>
            <a:endParaRPr lang="pt-BR"/>
          </a:p>
        </p:txBody>
      </p:sp>
      <p:sp>
        <p:nvSpPr>
          <p:cNvPr id="4" name="Espaço Reservado para Número de Slide 3">
            <a:extLst>
              <a:ext uri="{FF2B5EF4-FFF2-40B4-BE49-F238E27FC236}">
                <a16:creationId xmlns:a16="http://schemas.microsoft.com/office/drawing/2014/main" id="{EB41D0D9-307E-6F01-D553-9B1E70D5156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CC147A-BF49-3A41-BD27-C5968D1E6A76}" type="slidenum">
              <a:rPr kumimoji="0" lang="pt-BR"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pt-BR"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26487406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411">
          <a:extLst>
            <a:ext uri="{FF2B5EF4-FFF2-40B4-BE49-F238E27FC236}">
              <a16:creationId xmlns:a16="http://schemas.microsoft.com/office/drawing/2014/main" id="{562F4B75-3DA6-D966-480D-F6EEBCA4DC52}"/>
            </a:ext>
          </a:extLst>
        </p:cNvPr>
        <p:cNvGrpSpPr/>
        <p:nvPr/>
      </p:nvGrpSpPr>
      <p:grpSpPr>
        <a:xfrm>
          <a:off x="0" y="0"/>
          <a:ext cx="0" cy="0"/>
          <a:chOff x="0" y="0"/>
          <a:chExt cx="0" cy="0"/>
        </a:xfrm>
      </p:grpSpPr>
      <p:sp>
        <p:nvSpPr>
          <p:cNvPr id="13412" name="Google Shape;13412;g2c705acc674_0_32:notes">
            <a:extLst>
              <a:ext uri="{FF2B5EF4-FFF2-40B4-BE49-F238E27FC236}">
                <a16:creationId xmlns:a16="http://schemas.microsoft.com/office/drawing/2014/main" id="{A91AFDD5-A27E-AB99-1877-60890BEEE8C1}"/>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413" name="Google Shape;13413;g2c705acc674_0_32:notes">
            <a:extLst>
              <a:ext uri="{FF2B5EF4-FFF2-40B4-BE49-F238E27FC236}">
                <a16:creationId xmlns:a16="http://schemas.microsoft.com/office/drawing/2014/main" id="{D0AECD47-E0A3-11A8-FCC3-3E3AB97628A9}"/>
              </a:ext>
            </a:extLst>
          </p:cNvPr>
          <p:cNvSpPr txBox="1">
            <a:spLocks noGrp="1"/>
          </p:cNvSpPr>
          <p:nvPr>
            <p:ph type="body" idx="1"/>
          </p:nvPr>
        </p:nvSpPr>
        <p:spPr>
          <a:xfrm>
            <a:off x="914400" y="4343400"/>
            <a:ext cx="50292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979815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444">
          <a:extLst>
            <a:ext uri="{FF2B5EF4-FFF2-40B4-BE49-F238E27FC236}">
              <a16:creationId xmlns:a16="http://schemas.microsoft.com/office/drawing/2014/main" id="{1895A308-669A-3FE5-DEC4-ACD4C7501981}"/>
            </a:ext>
          </a:extLst>
        </p:cNvPr>
        <p:cNvGrpSpPr/>
        <p:nvPr/>
      </p:nvGrpSpPr>
      <p:grpSpPr>
        <a:xfrm>
          <a:off x="0" y="0"/>
          <a:ext cx="0" cy="0"/>
          <a:chOff x="0" y="0"/>
          <a:chExt cx="0" cy="0"/>
        </a:xfrm>
      </p:grpSpPr>
      <p:sp>
        <p:nvSpPr>
          <p:cNvPr id="13445" name="Google Shape;13445;g2c198429fd0_0_51:notes">
            <a:extLst>
              <a:ext uri="{FF2B5EF4-FFF2-40B4-BE49-F238E27FC236}">
                <a16:creationId xmlns:a16="http://schemas.microsoft.com/office/drawing/2014/main" id="{218214C5-097E-9031-79C9-B0562BF168C7}"/>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446" name="Google Shape;13446;g2c198429fd0_0_51:notes">
            <a:extLst>
              <a:ext uri="{FF2B5EF4-FFF2-40B4-BE49-F238E27FC236}">
                <a16:creationId xmlns:a16="http://schemas.microsoft.com/office/drawing/2014/main" id="{B243A315-4190-0E58-FD92-AEFEF662668C}"/>
              </a:ext>
            </a:extLst>
          </p:cNvPr>
          <p:cNvSpPr txBox="1">
            <a:spLocks noGrp="1"/>
          </p:cNvSpPr>
          <p:nvPr>
            <p:ph type="body" idx="1"/>
          </p:nvPr>
        </p:nvSpPr>
        <p:spPr>
          <a:xfrm>
            <a:off x="914400" y="4343400"/>
            <a:ext cx="50292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9672652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2"/>
        <p:cNvGrpSpPr/>
        <p:nvPr/>
      </p:nvGrpSpPr>
      <p:grpSpPr>
        <a:xfrm>
          <a:off x="0" y="0"/>
          <a:ext cx="0" cy="0"/>
          <a:chOff x="0" y="0"/>
          <a:chExt cx="0" cy="0"/>
        </a:xfrm>
      </p:grpSpPr>
      <p:sp>
        <p:nvSpPr>
          <p:cNvPr id="313" name="Google Shape;313;g305e0cfbb74_0_37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314" name="Google Shape;314;g305e0cfbb74_0_37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3.xml"/><Relationship Id="rId7" Type="http://schemas.openxmlformats.org/officeDocument/2006/relationships/image" Target="../media/image45.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oleObject" Target="../embeddings/oleObject1.bin"/><Relationship Id="rId5" Type="http://schemas.openxmlformats.org/officeDocument/2006/relationships/slideMaster" Target="../slideMasters/slideMaster6.xml"/><Relationship Id="rId4" Type="http://schemas.openxmlformats.org/officeDocument/2006/relationships/tags" Target="../tags/tag4.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9.png"/><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1.gif"/><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9.png"/><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9.png"/><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13.jpe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0.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14.jpeg"/><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51.jpe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52.jpeg"/><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53.jpeg"/><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54.jpeg"/><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1.gi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3.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3.xml"/><Relationship Id="rId4" Type="http://schemas.openxmlformats.org/officeDocument/2006/relationships/image" Target="../media/image41.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42.png"/><Relationship Id="rId1" Type="http://schemas.openxmlformats.org/officeDocument/2006/relationships/slideMaster" Target="../slideMasters/slideMaster3.xml"/><Relationship Id="rId4" Type="http://schemas.openxmlformats.org/officeDocument/2006/relationships/image" Target="../media/image40.pn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reserve="1">
  <p:cSld name="Title slide">
    <p:spTree>
      <p:nvGrpSpPr>
        <p:cNvPr id="1" name="Shape 9"/>
        <p:cNvGrpSpPr/>
        <p:nvPr/>
      </p:nvGrpSpPr>
      <p:grpSpPr>
        <a:xfrm>
          <a:off x="0" y="0"/>
          <a:ext cx="0" cy="0"/>
          <a:chOff x="0" y="0"/>
          <a:chExt cx="0" cy="0"/>
        </a:xfrm>
      </p:grpSpPr>
      <p:pic>
        <p:nvPicPr>
          <p:cNvPr id="10" name="Google Shape;10;p2"/>
          <p:cNvPicPr preferRelativeResize="0"/>
          <p:nvPr/>
        </p:nvPicPr>
        <p:blipFill>
          <a:blip r:embed="rId2" cstate="email">
            <a:alphaModFix/>
            <a:extLst>
              <a:ext uri="{28A0092B-C50C-407E-A947-70E740481C1C}">
                <a14:useLocalDpi xmlns:a14="http://schemas.microsoft.com/office/drawing/2010/main"/>
              </a:ext>
            </a:extLst>
          </a:blip>
          <a:stretch>
            <a:fillRect/>
          </a:stretch>
        </p:blipFill>
        <p:spPr>
          <a:xfrm rot="10800000">
            <a:off x="375057" y="590553"/>
            <a:ext cx="10661894" cy="9129298"/>
          </a:xfrm>
          <a:prstGeom prst="rect">
            <a:avLst/>
          </a:prstGeom>
          <a:noFill/>
          <a:ln>
            <a:noFill/>
          </a:ln>
        </p:spPr>
      </p:pic>
      <p:pic>
        <p:nvPicPr>
          <p:cNvPr id="11" name="Google Shape;11;p2"/>
          <p:cNvPicPr preferRelativeResize="0"/>
          <p:nvPr/>
        </p:nvPicPr>
        <p:blipFill>
          <a:blip r:embed="rId3" cstate="email">
            <a:alphaModFix/>
            <a:extLst>
              <a:ext uri="{28A0092B-C50C-407E-A947-70E740481C1C}">
                <a14:useLocalDpi xmlns:a14="http://schemas.microsoft.com/office/drawing/2010/main"/>
              </a:ext>
            </a:extLst>
          </a:blip>
          <a:stretch>
            <a:fillRect/>
          </a:stretch>
        </p:blipFill>
        <p:spPr>
          <a:xfrm>
            <a:off x="2217500" y="1038050"/>
            <a:ext cx="2668348" cy="2668348"/>
          </a:xfrm>
          <a:prstGeom prst="rect">
            <a:avLst/>
          </a:prstGeom>
          <a:noFill/>
          <a:ln>
            <a:noFill/>
          </a:ln>
        </p:spPr>
      </p:pic>
      <p:sp>
        <p:nvSpPr>
          <p:cNvPr id="12" name="Google Shape;12;p2"/>
          <p:cNvSpPr txBox="1">
            <a:spLocks noGrp="1"/>
          </p:cNvSpPr>
          <p:nvPr>
            <p:ph type="ctrTitle"/>
          </p:nvPr>
        </p:nvSpPr>
        <p:spPr>
          <a:xfrm>
            <a:off x="2162310" y="3102600"/>
            <a:ext cx="9263400" cy="4105200"/>
          </a:xfrm>
          <a:prstGeom prst="rect">
            <a:avLst/>
          </a:prstGeom>
        </p:spPr>
        <p:txBody>
          <a:bodyPr spcFirstLastPara="1" wrap="square" lIns="91425" tIns="91425" rIns="91425" bIns="91425" anchor="t" anchorCtr="0">
            <a:noAutofit/>
          </a:bodyPr>
          <a:lstStyle>
            <a:lvl1pPr lvl="0" rtl="0">
              <a:spcBef>
                <a:spcPts val="0"/>
              </a:spcBef>
              <a:spcAft>
                <a:spcPts val="0"/>
              </a:spcAft>
              <a:buSzPts val="3600"/>
              <a:buFont typeface="Montserrat"/>
              <a:buNone/>
              <a:defRPr sz="7200" b="1">
                <a:latin typeface="Montserrat"/>
                <a:ea typeface="Montserrat"/>
                <a:cs typeface="Montserrat"/>
                <a:sym typeface="Montserrat"/>
              </a:defRPr>
            </a:lvl1pPr>
            <a:lvl2pPr lvl="1" rtl="0">
              <a:spcBef>
                <a:spcPts val="0"/>
              </a:spcBef>
              <a:spcAft>
                <a:spcPts val="0"/>
              </a:spcAft>
              <a:buSzPts val="3600"/>
              <a:buFont typeface="Montserrat"/>
              <a:buNone/>
              <a:defRPr sz="7200" b="1">
                <a:latin typeface="Montserrat"/>
                <a:ea typeface="Montserrat"/>
                <a:cs typeface="Montserrat"/>
                <a:sym typeface="Montserrat"/>
              </a:defRPr>
            </a:lvl2pPr>
            <a:lvl3pPr lvl="2" rtl="0">
              <a:spcBef>
                <a:spcPts val="0"/>
              </a:spcBef>
              <a:spcAft>
                <a:spcPts val="0"/>
              </a:spcAft>
              <a:buSzPts val="3600"/>
              <a:buFont typeface="Montserrat"/>
              <a:buNone/>
              <a:defRPr sz="7200" b="1">
                <a:latin typeface="Montserrat"/>
                <a:ea typeface="Montserrat"/>
                <a:cs typeface="Montserrat"/>
                <a:sym typeface="Montserrat"/>
              </a:defRPr>
            </a:lvl3pPr>
            <a:lvl4pPr lvl="3" rtl="0">
              <a:spcBef>
                <a:spcPts val="0"/>
              </a:spcBef>
              <a:spcAft>
                <a:spcPts val="0"/>
              </a:spcAft>
              <a:buSzPts val="3600"/>
              <a:buFont typeface="Montserrat"/>
              <a:buNone/>
              <a:defRPr sz="7200" b="1">
                <a:latin typeface="Montserrat"/>
                <a:ea typeface="Montserrat"/>
                <a:cs typeface="Montserrat"/>
                <a:sym typeface="Montserrat"/>
              </a:defRPr>
            </a:lvl4pPr>
            <a:lvl5pPr lvl="4" rtl="0">
              <a:spcBef>
                <a:spcPts val="0"/>
              </a:spcBef>
              <a:spcAft>
                <a:spcPts val="0"/>
              </a:spcAft>
              <a:buSzPts val="3600"/>
              <a:buFont typeface="Montserrat"/>
              <a:buNone/>
              <a:defRPr sz="7200" b="1">
                <a:latin typeface="Montserrat"/>
                <a:ea typeface="Montserrat"/>
                <a:cs typeface="Montserrat"/>
                <a:sym typeface="Montserrat"/>
              </a:defRPr>
            </a:lvl5pPr>
            <a:lvl6pPr lvl="5" rtl="0">
              <a:spcBef>
                <a:spcPts val="0"/>
              </a:spcBef>
              <a:spcAft>
                <a:spcPts val="0"/>
              </a:spcAft>
              <a:buSzPts val="3600"/>
              <a:buFont typeface="Montserrat"/>
              <a:buNone/>
              <a:defRPr sz="7200" b="1">
                <a:latin typeface="Montserrat"/>
                <a:ea typeface="Montserrat"/>
                <a:cs typeface="Montserrat"/>
                <a:sym typeface="Montserrat"/>
              </a:defRPr>
            </a:lvl6pPr>
            <a:lvl7pPr lvl="6" rtl="0">
              <a:spcBef>
                <a:spcPts val="0"/>
              </a:spcBef>
              <a:spcAft>
                <a:spcPts val="0"/>
              </a:spcAft>
              <a:buSzPts val="3600"/>
              <a:buFont typeface="Montserrat"/>
              <a:buNone/>
              <a:defRPr sz="7200" b="1">
                <a:latin typeface="Montserrat"/>
                <a:ea typeface="Montserrat"/>
                <a:cs typeface="Montserrat"/>
                <a:sym typeface="Montserrat"/>
              </a:defRPr>
            </a:lvl7pPr>
            <a:lvl8pPr lvl="7" rtl="0">
              <a:spcBef>
                <a:spcPts val="0"/>
              </a:spcBef>
              <a:spcAft>
                <a:spcPts val="0"/>
              </a:spcAft>
              <a:buSzPts val="3600"/>
              <a:buFont typeface="Montserrat"/>
              <a:buNone/>
              <a:defRPr sz="7200" b="1">
                <a:latin typeface="Montserrat"/>
                <a:ea typeface="Montserrat"/>
                <a:cs typeface="Montserrat"/>
                <a:sym typeface="Montserrat"/>
              </a:defRPr>
            </a:lvl8pPr>
            <a:lvl9pPr lvl="8" rtl="0">
              <a:spcBef>
                <a:spcPts val="0"/>
              </a:spcBef>
              <a:spcAft>
                <a:spcPts val="0"/>
              </a:spcAft>
              <a:buSzPts val="3600"/>
              <a:buFont typeface="Montserrat"/>
              <a:buNone/>
              <a:defRPr sz="7200" b="1">
                <a:latin typeface="Montserrat"/>
                <a:ea typeface="Montserrat"/>
                <a:cs typeface="Montserrat"/>
                <a:sym typeface="Montserrat"/>
              </a:defRPr>
            </a:lvl9pPr>
          </a:lstStyle>
          <a:p>
            <a:endParaRPr/>
          </a:p>
        </p:txBody>
      </p:sp>
      <p:sp>
        <p:nvSpPr>
          <p:cNvPr id="13" name="Google Shape;13;p2"/>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pt-BR" smtClean="0"/>
              <a:pPr/>
              <a:t>‹nº›</a:t>
            </a:fld>
            <a:endParaRPr lang="pt-BR"/>
          </a:p>
        </p:txBody>
      </p:sp>
      <p:sp>
        <p:nvSpPr>
          <p:cNvPr id="14" name="Google Shape;14;p2"/>
          <p:cNvSpPr txBox="1">
            <a:spLocks noGrp="1"/>
          </p:cNvSpPr>
          <p:nvPr>
            <p:ph type="subTitle" idx="1"/>
          </p:nvPr>
        </p:nvSpPr>
        <p:spPr>
          <a:xfrm>
            <a:off x="8719800" y="304800"/>
            <a:ext cx="9263400" cy="15852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9pPr>
          </a:lstStyle>
          <a:p>
            <a:endParaRPr/>
          </a:p>
        </p:txBody>
      </p:sp>
    </p:spTree>
    <p:extLst>
      <p:ext uri="{BB962C8B-B14F-4D97-AF65-F5344CB8AC3E}">
        <p14:creationId xmlns:p14="http://schemas.microsoft.com/office/powerpoint/2010/main" val="2958388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ítulo e corpo 3 1" preserve="1" userDrawn="1">
  <p:cSld name="Título e corpo 3 1">
    <p:bg>
      <p:bgPr>
        <a:solidFill>
          <a:srgbClr val="FFFFFF"/>
        </a:solidFill>
        <a:effectLst/>
      </p:bgPr>
    </p:bg>
    <p:spTree>
      <p:nvGrpSpPr>
        <p:cNvPr id="1" name="Shape 68"/>
        <p:cNvGrpSpPr/>
        <p:nvPr/>
      </p:nvGrpSpPr>
      <p:grpSpPr>
        <a:xfrm>
          <a:off x="0" y="0"/>
          <a:ext cx="0" cy="0"/>
          <a:chOff x="0" y="0"/>
          <a:chExt cx="0" cy="0"/>
        </a:xfrm>
      </p:grpSpPr>
      <p:sp>
        <p:nvSpPr>
          <p:cNvPr id="2" name="TextBox 18">
            <a:extLst>
              <a:ext uri="{FF2B5EF4-FFF2-40B4-BE49-F238E27FC236}">
                <a16:creationId xmlns:a16="http://schemas.microsoft.com/office/drawing/2014/main" id="{35655103-B5E5-ECB7-F1A0-664BA0E0EDC0}"/>
              </a:ext>
            </a:extLst>
          </p:cNvPr>
          <p:cNvSpPr txBox="1"/>
          <p:nvPr userDrawn="1"/>
        </p:nvSpPr>
        <p:spPr>
          <a:xfrm>
            <a:off x="719138" y="9367022"/>
            <a:ext cx="3255318" cy="459876"/>
          </a:xfrm>
          <a:prstGeom prst="rect">
            <a:avLst/>
          </a:prstGeom>
        </p:spPr>
        <p:txBody>
          <a:bodyPr lIns="0" tIns="0" rIns="0" bIns="0" rtlCol="0" anchor="t">
            <a:spAutoFit/>
          </a:bodyPr>
          <a:lstStyle/>
          <a:p>
            <a:pPr algn="l">
              <a:lnSpc>
                <a:spcPts val="2940"/>
              </a:lnSpc>
            </a:pPr>
            <a:r>
              <a:rPr lang="en-US" sz="1500">
                <a:solidFill>
                  <a:srgbClr val="575758"/>
                </a:solidFill>
                <a:latin typeface="Montserrat"/>
                <a:ea typeface="Montserrat"/>
                <a:cs typeface="Montserrat"/>
                <a:sym typeface="Montserrat"/>
              </a:rPr>
              <a:t>accelerate your essence</a:t>
            </a:r>
          </a:p>
        </p:txBody>
      </p:sp>
      <p:pic>
        <p:nvPicPr>
          <p:cNvPr id="4" name="Google Shape;72;p11">
            <a:extLst>
              <a:ext uri="{FF2B5EF4-FFF2-40B4-BE49-F238E27FC236}">
                <a16:creationId xmlns:a16="http://schemas.microsoft.com/office/drawing/2014/main" id="{161EBBE8-01BF-9FD6-7EFA-7E58DB6A4064}"/>
              </a:ext>
            </a:extLst>
          </p:cNvPr>
          <p:cNvPicPr preferRelativeResize="0"/>
          <p:nvPr userDrawn="1"/>
        </p:nvPicPr>
        <p:blipFill>
          <a:blip r:embed="rId2">
            <a:alphaModFix/>
          </a:blip>
          <a:stretch>
            <a:fillRect/>
          </a:stretch>
        </p:blipFill>
        <p:spPr>
          <a:xfrm>
            <a:off x="16132400" y="8860293"/>
            <a:ext cx="1800000" cy="1800000"/>
          </a:xfrm>
          <a:prstGeom prst="rect">
            <a:avLst/>
          </a:prstGeom>
          <a:noFill/>
          <a:ln>
            <a:noFill/>
          </a:ln>
        </p:spPr>
      </p:pic>
    </p:spTree>
    <p:extLst>
      <p:ext uri="{BB962C8B-B14F-4D97-AF65-F5344CB8AC3E}">
        <p14:creationId xmlns:p14="http://schemas.microsoft.com/office/powerpoint/2010/main" val="381497240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20"/>
        <p:cNvGrpSpPr/>
        <p:nvPr/>
      </p:nvGrpSpPr>
      <p:grpSpPr>
        <a:xfrm>
          <a:off x="0" y="0"/>
          <a:ext cx="0" cy="0"/>
          <a:chOff x="0" y="0"/>
          <a:chExt cx="0" cy="0"/>
        </a:xfrm>
      </p:grpSpPr>
      <p:sp>
        <p:nvSpPr>
          <p:cNvPr id="21" name="Google Shape;21;p5"/>
          <p:cNvSpPr txBox="1">
            <a:spLocks noGrp="1"/>
          </p:cNvSpPr>
          <p:nvPr>
            <p:ph type="title"/>
          </p:nvPr>
        </p:nvSpPr>
        <p:spPr>
          <a:xfrm>
            <a:off x="623400" y="890050"/>
            <a:ext cx="17041200" cy="1145400"/>
          </a:xfrm>
          <a:prstGeom prst="rect">
            <a:avLst/>
          </a:prstGeom>
          <a:noFill/>
          <a:ln>
            <a:noFill/>
          </a:ln>
        </p:spPr>
        <p:txBody>
          <a:bodyPr spcFirstLastPara="1" wrap="square" lIns="91425" tIns="91425" rIns="91425" bIns="91425" anchor="t" anchorCtr="0">
            <a:norm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22" name="Google Shape;22;p5"/>
          <p:cNvSpPr txBox="1">
            <a:spLocks noGrp="1"/>
          </p:cNvSpPr>
          <p:nvPr>
            <p:ph type="body" idx="1"/>
          </p:nvPr>
        </p:nvSpPr>
        <p:spPr>
          <a:xfrm>
            <a:off x="623400" y="2304950"/>
            <a:ext cx="7999800" cy="6832800"/>
          </a:xfrm>
          <a:prstGeom prst="rect">
            <a:avLst/>
          </a:prstGeom>
          <a:noFill/>
          <a:ln>
            <a:noFill/>
          </a:ln>
        </p:spPr>
        <p:txBody>
          <a:bodyPr spcFirstLastPara="1" wrap="square" lIns="91425" tIns="91425" rIns="91425" bIns="91425" anchor="t" anchorCtr="0">
            <a:normAutofit/>
          </a:bodyPr>
          <a:lstStyle>
            <a:lvl1pPr marL="914400" lvl="0" indent="-635000" algn="l">
              <a:lnSpc>
                <a:spcPct val="115000"/>
              </a:lnSpc>
              <a:spcBef>
                <a:spcPts val="0"/>
              </a:spcBef>
              <a:spcAft>
                <a:spcPts val="0"/>
              </a:spcAft>
              <a:buSzPts val="1400"/>
              <a:buChar char="●"/>
              <a:defRPr sz="2800"/>
            </a:lvl1pPr>
            <a:lvl2pPr marL="1828800" lvl="1" indent="-609600" algn="l">
              <a:lnSpc>
                <a:spcPct val="115000"/>
              </a:lnSpc>
              <a:spcBef>
                <a:spcPts val="0"/>
              </a:spcBef>
              <a:spcAft>
                <a:spcPts val="0"/>
              </a:spcAft>
              <a:buSzPts val="1200"/>
              <a:buChar char="○"/>
              <a:defRPr sz="2400"/>
            </a:lvl2pPr>
            <a:lvl3pPr marL="2743200" lvl="2" indent="-609600" algn="l">
              <a:lnSpc>
                <a:spcPct val="115000"/>
              </a:lnSpc>
              <a:spcBef>
                <a:spcPts val="0"/>
              </a:spcBef>
              <a:spcAft>
                <a:spcPts val="0"/>
              </a:spcAft>
              <a:buSzPts val="1200"/>
              <a:buChar char="■"/>
              <a:defRPr sz="2400"/>
            </a:lvl3pPr>
            <a:lvl4pPr marL="3657600" lvl="3" indent="-609600" algn="l">
              <a:lnSpc>
                <a:spcPct val="115000"/>
              </a:lnSpc>
              <a:spcBef>
                <a:spcPts val="0"/>
              </a:spcBef>
              <a:spcAft>
                <a:spcPts val="0"/>
              </a:spcAft>
              <a:buSzPts val="1200"/>
              <a:buChar char="●"/>
              <a:defRPr sz="2400"/>
            </a:lvl4pPr>
            <a:lvl5pPr marL="4572000" lvl="4" indent="-609600" algn="l">
              <a:lnSpc>
                <a:spcPct val="115000"/>
              </a:lnSpc>
              <a:spcBef>
                <a:spcPts val="0"/>
              </a:spcBef>
              <a:spcAft>
                <a:spcPts val="0"/>
              </a:spcAft>
              <a:buSzPts val="1200"/>
              <a:buChar char="○"/>
              <a:defRPr sz="2400"/>
            </a:lvl5pPr>
            <a:lvl6pPr marL="5486400" lvl="5" indent="-609600" algn="l">
              <a:lnSpc>
                <a:spcPct val="115000"/>
              </a:lnSpc>
              <a:spcBef>
                <a:spcPts val="0"/>
              </a:spcBef>
              <a:spcAft>
                <a:spcPts val="0"/>
              </a:spcAft>
              <a:buSzPts val="1200"/>
              <a:buChar char="■"/>
              <a:defRPr sz="2400"/>
            </a:lvl6pPr>
            <a:lvl7pPr marL="6400800" lvl="6" indent="-609600" algn="l">
              <a:lnSpc>
                <a:spcPct val="115000"/>
              </a:lnSpc>
              <a:spcBef>
                <a:spcPts val="0"/>
              </a:spcBef>
              <a:spcAft>
                <a:spcPts val="0"/>
              </a:spcAft>
              <a:buSzPts val="1200"/>
              <a:buChar char="●"/>
              <a:defRPr sz="2400"/>
            </a:lvl7pPr>
            <a:lvl8pPr marL="7315200" lvl="7" indent="-609600" algn="l">
              <a:lnSpc>
                <a:spcPct val="115000"/>
              </a:lnSpc>
              <a:spcBef>
                <a:spcPts val="0"/>
              </a:spcBef>
              <a:spcAft>
                <a:spcPts val="0"/>
              </a:spcAft>
              <a:buSzPts val="1200"/>
              <a:buChar char="○"/>
              <a:defRPr sz="2400"/>
            </a:lvl8pPr>
            <a:lvl9pPr marL="8229600" lvl="8" indent="-609600" algn="l">
              <a:lnSpc>
                <a:spcPct val="115000"/>
              </a:lnSpc>
              <a:spcBef>
                <a:spcPts val="0"/>
              </a:spcBef>
              <a:spcAft>
                <a:spcPts val="0"/>
              </a:spcAft>
              <a:buSzPts val="1200"/>
              <a:buChar char="■"/>
              <a:defRPr sz="2400"/>
            </a:lvl9pPr>
          </a:lstStyle>
          <a:p>
            <a:endParaRPr/>
          </a:p>
        </p:txBody>
      </p:sp>
      <p:sp>
        <p:nvSpPr>
          <p:cNvPr id="23" name="Google Shape;23;p5"/>
          <p:cNvSpPr txBox="1">
            <a:spLocks noGrp="1"/>
          </p:cNvSpPr>
          <p:nvPr>
            <p:ph type="body" idx="2"/>
          </p:nvPr>
        </p:nvSpPr>
        <p:spPr>
          <a:xfrm>
            <a:off x="9664800" y="2304950"/>
            <a:ext cx="7999800" cy="6832800"/>
          </a:xfrm>
          <a:prstGeom prst="rect">
            <a:avLst/>
          </a:prstGeom>
          <a:noFill/>
          <a:ln>
            <a:noFill/>
          </a:ln>
        </p:spPr>
        <p:txBody>
          <a:bodyPr spcFirstLastPara="1" wrap="square" lIns="91425" tIns="91425" rIns="91425" bIns="91425" anchor="t" anchorCtr="0">
            <a:normAutofit/>
          </a:bodyPr>
          <a:lstStyle>
            <a:lvl1pPr marL="914400" lvl="0" indent="-635000" algn="l">
              <a:lnSpc>
                <a:spcPct val="115000"/>
              </a:lnSpc>
              <a:spcBef>
                <a:spcPts val="0"/>
              </a:spcBef>
              <a:spcAft>
                <a:spcPts val="0"/>
              </a:spcAft>
              <a:buSzPts val="1400"/>
              <a:buChar char="●"/>
              <a:defRPr sz="2800"/>
            </a:lvl1pPr>
            <a:lvl2pPr marL="1828800" lvl="1" indent="-609600" algn="l">
              <a:lnSpc>
                <a:spcPct val="115000"/>
              </a:lnSpc>
              <a:spcBef>
                <a:spcPts val="0"/>
              </a:spcBef>
              <a:spcAft>
                <a:spcPts val="0"/>
              </a:spcAft>
              <a:buSzPts val="1200"/>
              <a:buChar char="○"/>
              <a:defRPr sz="2400"/>
            </a:lvl2pPr>
            <a:lvl3pPr marL="2743200" lvl="2" indent="-609600" algn="l">
              <a:lnSpc>
                <a:spcPct val="115000"/>
              </a:lnSpc>
              <a:spcBef>
                <a:spcPts val="0"/>
              </a:spcBef>
              <a:spcAft>
                <a:spcPts val="0"/>
              </a:spcAft>
              <a:buSzPts val="1200"/>
              <a:buChar char="■"/>
              <a:defRPr sz="2400"/>
            </a:lvl3pPr>
            <a:lvl4pPr marL="3657600" lvl="3" indent="-609600" algn="l">
              <a:lnSpc>
                <a:spcPct val="115000"/>
              </a:lnSpc>
              <a:spcBef>
                <a:spcPts val="0"/>
              </a:spcBef>
              <a:spcAft>
                <a:spcPts val="0"/>
              </a:spcAft>
              <a:buSzPts val="1200"/>
              <a:buChar char="●"/>
              <a:defRPr sz="2400"/>
            </a:lvl4pPr>
            <a:lvl5pPr marL="4572000" lvl="4" indent="-609600" algn="l">
              <a:lnSpc>
                <a:spcPct val="115000"/>
              </a:lnSpc>
              <a:spcBef>
                <a:spcPts val="0"/>
              </a:spcBef>
              <a:spcAft>
                <a:spcPts val="0"/>
              </a:spcAft>
              <a:buSzPts val="1200"/>
              <a:buChar char="○"/>
              <a:defRPr sz="2400"/>
            </a:lvl5pPr>
            <a:lvl6pPr marL="5486400" lvl="5" indent="-609600" algn="l">
              <a:lnSpc>
                <a:spcPct val="115000"/>
              </a:lnSpc>
              <a:spcBef>
                <a:spcPts val="0"/>
              </a:spcBef>
              <a:spcAft>
                <a:spcPts val="0"/>
              </a:spcAft>
              <a:buSzPts val="1200"/>
              <a:buChar char="■"/>
              <a:defRPr sz="2400"/>
            </a:lvl6pPr>
            <a:lvl7pPr marL="6400800" lvl="6" indent="-609600" algn="l">
              <a:lnSpc>
                <a:spcPct val="115000"/>
              </a:lnSpc>
              <a:spcBef>
                <a:spcPts val="0"/>
              </a:spcBef>
              <a:spcAft>
                <a:spcPts val="0"/>
              </a:spcAft>
              <a:buSzPts val="1200"/>
              <a:buChar char="●"/>
              <a:defRPr sz="2400"/>
            </a:lvl7pPr>
            <a:lvl8pPr marL="7315200" lvl="7" indent="-609600" algn="l">
              <a:lnSpc>
                <a:spcPct val="115000"/>
              </a:lnSpc>
              <a:spcBef>
                <a:spcPts val="0"/>
              </a:spcBef>
              <a:spcAft>
                <a:spcPts val="0"/>
              </a:spcAft>
              <a:buSzPts val="1200"/>
              <a:buChar char="○"/>
              <a:defRPr sz="2400"/>
            </a:lvl8pPr>
            <a:lvl9pPr marL="8229600" lvl="8" indent="-609600" algn="l">
              <a:lnSpc>
                <a:spcPct val="115000"/>
              </a:lnSpc>
              <a:spcBef>
                <a:spcPts val="0"/>
              </a:spcBef>
              <a:spcAft>
                <a:spcPts val="0"/>
              </a:spcAft>
              <a:buSzPts val="1200"/>
              <a:buChar char="■"/>
              <a:defRPr sz="2400"/>
            </a:lvl9pPr>
          </a:lstStyle>
          <a:p>
            <a:endParaRPr/>
          </a:p>
        </p:txBody>
      </p:sp>
      <p:sp>
        <p:nvSpPr>
          <p:cNvPr id="24" name="Google Shape;24;p5"/>
          <p:cNvSpPr txBox="1">
            <a:spLocks noGrp="1"/>
          </p:cNvSpPr>
          <p:nvPr>
            <p:ph type="sldNum" idx="12"/>
          </p:nvPr>
        </p:nvSpPr>
        <p:spPr>
          <a:xfrm>
            <a:off x="16944916" y="9326434"/>
            <a:ext cx="1097400" cy="7872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231874869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25"/>
        <p:cNvGrpSpPr/>
        <p:nvPr/>
      </p:nvGrpSpPr>
      <p:grpSpPr>
        <a:xfrm>
          <a:off x="0" y="0"/>
          <a:ext cx="0" cy="0"/>
          <a:chOff x="0" y="0"/>
          <a:chExt cx="0" cy="0"/>
        </a:xfrm>
      </p:grpSpPr>
      <p:sp>
        <p:nvSpPr>
          <p:cNvPr id="26" name="Google Shape;26;p6"/>
          <p:cNvSpPr txBox="1">
            <a:spLocks noGrp="1"/>
          </p:cNvSpPr>
          <p:nvPr>
            <p:ph type="title"/>
          </p:nvPr>
        </p:nvSpPr>
        <p:spPr>
          <a:xfrm>
            <a:off x="623400" y="890050"/>
            <a:ext cx="17041200" cy="1145400"/>
          </a:xfrm>
          <a:prstGeom prst="rect">
            <a:avLst/>
          </a:prstGeom>
          <a:noFill/>
          <a:ln>
            <a:noFill/>
          </a:ln>
        </p:spPr>
        <p:txBody>
          <a:bodyPr spcFirstLastPara="1" wrap="square" lIns="91425" tIns="91425" rIns="91425" bIns="91425" anchor="t" anchorCtr="0">
            <a:norm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27" name="Google Shape;27;p6"/>
          <p:cNvSpPr txBox="1">
            <a:spLocks noGrp="1"/>
          </p:cNvSpPr>
          <p:nvPr>
            <p:ph type="sldNum" idx="12"/>
          </p:nvPr>
        </p:nvSpPr>
        <p:spPr>
          <a:xfrm>
            <a:off x="16944916" y="9326434"/>
            <a:ext cx="1097400" cy="7872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120667441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28"/>
        <p:cNvGrpSpPr/>
        <p:nvPr/>
      </p:nvGrpSpPr>
      <p:grpSpPr>
        <a:xfrm>
          <a:off x="0" y="0"/>
          <a:ext cx="0" cy="0"/>
          <a:chOff x="0" y="0"/>
          <a:chExt cx="0" cy="0"/>
        </a:xfrm>
      </p:grpSpPr>
      <p:sp>
        <p:nvSpPr>
          <p:cNvPr id="29" name="Google Shape;29;p7"/>
          <p:cNvSpPr txBox="1">
            <a:spLocks noGrp="1"/>
          </p:cNvSpPr>
          <p:nvPr>
            <p:ph type="title"/>
          </p:nvPr>
        </p:nvSpPr>
        <p:spPr>
          <a:xfrm>
            <a:off x="623400" y="1111200"/>
            <a:ext cx="5616000" cy="1511400"/>
          </a:xfrm>
          <a:prstGeom prst="rect">
            <a:avLst/>
          </a:prstGeom>
          <a:noFill/>
          <a:ln>
            <a:noFill/>
          </a:ln>
        </p:spPr>
        <p:txBody>
          <a:bodyPr spcFirstLastPara="1" wrap="square" lIns="91425" tIns="91425" rIns="91425" bIns="91425" anchor="b" anchorCtr="0">
            <a:normAutofit/>
          </a:bodyPr>
          <a:lstStyle>
            <a:lvl1pPr lvl="0" algn="l">
              <a:lnSpc>
                <a:spcPct val="100000"/>
              </a:lnSpc>
              <a:spcBef>
                <a:spcPts val="0"/>
              </a:spcBef>
              <a:spcAft>
                <a:spcPts val="0"/>
              </a:spcAft>
              <a:buSzPts val="2400"/>
              <a:buNone/>
              <a:defRPr sz="4800"/>
            </a:lvl1pPr>
            <a:lvl2pPr lvl="1" algn="l">
              <a:lnSpc>
                <a:spcPct val="100000"/>
              </a:lnSpc>
              <a:spcBef>
                <a:spcPts val="0"/>
              </a:spcBef>
              <a:spcAft>
                <a:spcPts val="0"/>
              </a:spcAft>
              <a:buSzPts val="2400"/>
              <a:buNone/>
              <a:defRPr sz="4800"/>
            </a:lvl2pPr>
            <a:lvl3pPr lvl="2" algn="l">
              <a:lnSpc>
                <a:spcPct val="100000"/>
              </a:lnSpc>
              <a:spcBef>
                <a:spcPts val="0"/>
              </a:spcBef>
              <a:spcAft>
                <a:spcPts val="0"/>
              </a:spcAft>
              <a:buSzPts val="2400"/>
              <a:buNone/>
              <a:defRPr sz="4800"/>
            </a:lvl3pPr>
            <a:lvl4pPr lvl="3" algn="l">
              <a:lnSpc>
                <a:spcPct val="100000"/>
              </a:lnSpc>
              <a:spcBef>
                <a:spcPts val="0"/>
              </a:spcBef>
              <a:spcAft>
                <a:spcPts val="0"/>
              </a:spcAft>
              <a:buSzPts val="2400"/>
              <a:buNone/>
              <a:defRPr sz="4800"/>
            </a:lvl4pPr>
            <a:lvl5pPr lvl="4" algn="l">
              <a:lnSpc>
                <a:spcPct val="100000"/>
              </a:lnSpc>
              <a:spcBef>
                <a:spcPts val="0"/>
              </a:spcBef>
              <a:spcAft>
                <a:spcPts val="0"/>
              </a:spcAft>
              <a:buSzPts val="2400"/>
              <a:buNone/>
              <a:defRPr sz="4800"/>
            </a:lvl5pPr>
            <a:lvl6pPr lvl="5" algn="l">
              <a:lnSpc>
                <a:spcPct val="100000"/>
              </a:lnSpc>
              <a:spcBef>
                <a:spcPts val="0"/>
              </a:spcBef>
              <a:spcAft>
                <a:spcPts val="0"/>
              </a:spcAft>
              <a:buSzPts val="2400"/>
              <a:buNone/>
              <a:defRPr sz="4800"/>
            </a:lvl6pPr>
            <a:lvl7pPr lvl="6" algn="l">
              <a:lnSpc>
                <a:spcPct val="100000"/>
              </a:lnSpc>
              <a:spcBef>
                <a:spcPts val="0"/>
              </a:spcBef>
              <a:spcAft>
                <a:spcPts val="0"/>
              </a:spcAft>
              <a:buSzPts val="2400"/>
              <a:buNone/>
              <a:defRPr sz="4800"/>
            </a:lvl7pPr>
            <a:lvl8pPr lvl="7" algn="l">
              <a:lnSpc>
                <a:spcPct val="100000"/>
              </a:lnSpc>
              <a:spcBef>
                <a:spcPts val="0"/>
              </a:spcBef>
              <a:spcAft>
                <a:spcPts val="0"/>
              </a:spcAft>
              <a:buSzPts val="2400"/>
              <a:buNone/>
              <a:defRPr sz="4800"/>
            </a:lvl8pPr>
            <a:lvl9pPr lvl="8" algn="l">
              <a:lnSpc>
                <a:spcPct val="100000"/>
              </a:lnSpc>
              <a:spcBef>
                <a:spcPts val="0"/>
              </a:spcBef>
              <a:spcAft>
                <a:spcPts val="0"/>
              </a:spcAft>
              <a:buSzPts val="2400"/>
              <a:buNone/>
              <a:defRPr sz="4800"/>
            </a:lvl9pPr>
          </a:lstStyle>
          <a:p>
            <a:endParaRPr/>
          </a:p>
        </p:txBody>
      </p:sp>
      <p:sp>
        <p:nvSpPr>
          <p:cNvPr id="30" name="Google Shape;30;p7"/>
          <p:cNvSpPr txBox="1">
            <a:spLocks noGrp="1"/>
          </p:cNvSpPr>
          <p:nvPr>
            <p:ph type="body" idx="1"/>
          </p:nvPr>
        </p:nvSpPr>
        <p:spPr>
          <a:xfrm>
            <a:off x="623400" y="2779200"/>
            <a:ext cx="5616000" cy="6358800"/>
          </a:xfrm>
          <a:prstGeom prst="rect">
            <a:avLst/>
          </a:prstGeom>
          <a:noFill/>
          <a:ln>
            <a:noFill/>
          </a:ln>
        </p:spPr>
        <p:txBody>
          <a:bodyPr spcFirstLastPara="1" wrap="square" lIns="91425" tIns="91425" rIns="91425" bIns="91425" anchor="t" anchorCtr="0">
            <a:normAutofit/>
          </a:bodyPr>
          <a:lstStyle>
            <a:lvl1pPr marL="914400" lvl="0" indent="-609600" algn="l">
              <a:lnSpc>
                <a:spcPct val="115000"/>
              </a:lnSpc>
              <a:spcBef>
                <a:spcPts val="0"/>
              </a:spcBef>
              <a:spcAft>
                <a:spcPts val="0"/>
              </a:spcAft>
              <a:buSzPts val="1200"/>
              <a:buChar char="●"/>
              <a:defRPr sz="2400"/>
            </a:lvl1pPr>
            <a:lvl2pPr marL="1828800" lvl="1" indent="-609600" algn="l">
              <a:lnSpc>
                <a:spcPct val="115000"/>
              </a:lnSpc>
              <a:spcBef>
                <a:spcPts val="0"/>
              </a:spcBef>
              <a:spcAft>
                <a:spcPts val="0"/>
              </a:spcAft>
              <a:buSzPts val="1200"/>
              <a:buChar char="○"/>
              <a:defRPr sz="2400"/>
            </a:lvl2pPr>
            <a:lvl3pPr marL="2743200" lvl="2" indent="-609600" algn="l">
              <a:lnSpc>
                <a:spcPct val="115000"/>
              </a:lnSpc>
              <a:spcBef>
                <a:spcPts val="0"/>
              </a:spcBef>
              <a:spcAft>
                <a:spcPts val="0"/>
              </a:spcAft>
              <a:buSzPts val="1200"/>
              <a:buChar char="■"/>
              <a:defRPr sz="2400"/>
            </a:lvl3pPr>
            <a:lvl4pPr marL="3657600" lvl="3" indent="-609600" algn="l">
              <a:lnSpc>
                <a:spcPct val="115000"/>
              </a:lnSpc>
              <a:spcBef>
                <a:spcPts val="0"/>
              </a:spcBef>
              <a:spcAft>
                <a:spcPts val="0"/>
              </a:spcAft>
              <a:buSzPts val="1200"/>
              <a:buChar char="●"/>
              <a:defRPr sz="2400"/>
            </a:lvl4pPr>
            <a:lvl5pPr marL="4572000" lvl="4" indent="-609600" algn="l">
              <a:lnSpc>
                <a:spcPct val="115000"/>
              </a:lnSpc>
              <a:spcBef>
                <a:spcPts val="0"/>
              </a:spcBef>
              <a:spcAft>
                <a:spcPts val="0"/>
              </a:spcAft>
              <a:buSzPts val="1200"/>
              <a:buChar char="○"/>
              <a:defRPr sz="2400"/>
            </a:lvl5pPr>
            <a:lvl6pPr marL="5486400" lvl="5" indent="-609600" algn="l">
              <a:lnSpc>
                <a:spcPct val="115000"/>
              </a:lnSpc>
              <a:spcBef>
                <a:spcPts val="0"/>
              </a:spcBef>
              <a:spcAft>
                <a:spcPts val="0"/>
              </a:spcAft>
              <a:buSzPts val="1200"/>
              <a:buChar char="■"/>
              <a:defRPr sz="2400"/>
            </a:lvl6pPr>
            <a:lvl7pPr marL="6400800" lvl="6" indent="-609600" algn="l">
              <a:lnSpc>
                <a:spcPct val="115000"/>
              </a:lnSpc>
              <a:spcBef>
                <a:spcPts val="0"/>
              </a:spcBef>
              <a:spcAft>
                <a:spcPts val="0"/>
              </a:spcAft>
              <a:buSzPts val="1200"/>
              <a:buChar char="●"/>
              <a:defRPr sz="2400"/>
            </a:lvl7pPr>
            <a:lvl8pPr marL="7315200" lvl="7" indent="-609600" algn="l">
              <a:lnSpc>
                <a:spcPct val="115000"/>
              </a:lnSpc>
              <a:spcBef>
                <a:spcPts val="0"/>
              </a:spcBef>
              <a:spcAft>
                <a:spcPts val="0"/>
              </a:spcAft>
              <a:buSzPts val="1200"/>
              <a:buChar char="○"/>
              <a:defRPr sz="2400"/>
            </a:lvl8pPr>
            <a:lvl9pPr marL="8229600" lvl="8" indent="-609600" algn="l">
              <a:lnSpc>
                <a:spcPct val="115000"/>
              </a:lnSpc>
              <a:spcBef>
                <a:spcPts val="0"/>
              </a:spcBef>
              <a:spcAft>
                <a:spcPts val="0"/>
              </a:spcAft>
              <a:buSzPts val="1200"/>
              <a:buChar char="■"/>
              <a:defRPr sz="2400"/>
            </a:lvl9pPr>
          </a:lstStyle>
          <a:p>
            <a:endParaRPr/>
          </a:p>
        </p:txBody>
      </p:sp>
      <p:sp>
        <p:nvSpPr>
          <p:cNvPr id="31" name="Google Shape;31;p7"/>
          <p:cNvSpPr txBox="1">
            <a:spLocks noGrp="1"/>
          </p:cNvSpPr>
          <p:nvPr>
            <p:ph type="sldNum" idx="12"/>
          </p:nvPr>
        </p:nvSpPr>
        <p:spPr>
          <a:xfrm>
            <a:off x="16944916" y="9326434"/>
            <a:ext cx="1097400" cy="7872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235790546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32"/>
        <p:cNvGrpSpPr/>
        <p:nvPr/>
      </p:nvGrpSpPr>
      <p:grpSpPr>
        <a:xfrm>
          <a:off x="0" y="0"/>
          <a:ext cx="0" cy="0"/>
          <a:chOff x="0" y="0"/>
          <a:chExt cx="0" cy="0"/>
        </a:xfrm>
      </p:grpSpPr>
      <p:sp>
        <p:nvSpPr>
          <p:cNvPr id="33" name="Google Shape;33;p8"/>
          <p:cNvSpPr txBox="1">
            <a:spLocks noGrp="1"/>
          </p:cNvSpPr>
          <p:nvPr>
            <p:ph type="title"/>
          </p:nvPr>
        </p:nvSpPr>
        <p:spPr>
          <a:xfrm>
            <a:off x="980500" y="900300"/>
            <a:ext cx="12735600" cy="8181600"/>
          </a:xfrm>
          <a:prstGeom prst="rect">
            <a:avLst/>
          </a:prstGeom>
          <a:noFill/>
          <a:ln>
            <a:noFill/>
          </a:ln>
        </p:spPr>
        <p:txBody>
          <a:bodyPr spcFirstLastPara="1" wrap="square" lIns="91425" tIns="91425" rIns="91425" bIns="91425" anchor="ctr" anchorCtr="0">
            <a:normAutofit/>
          </a:bodyPr>
          <a:lstStyle>
            <a:lvl1pPr lvl="0" algn="l">
              <a:lnSpc>
                <a:spcPct val="100000"/>
              </a:lnSpc>
              <a:spcBef>
                <a:spcPts val="0"/>
              </a:spcBef>
              <a:spcAft>
                <a:spcPts val="0"/>
              </a:spcAft>
              <a:buSzPts val="4800"/>
              <a:buNone/>
              <a:defRPr sz="9600"/>
            </a:lvl1pPr>
            <a:lvl2pPr lvl="1" algn="l">
              <a:lnSpc>
                <a:spcPct val="100000"/>
              </a:lnSpc>
              <a:spcBef>
                <a:spcPts val="0"/>
              </a:spcBef>
              <a:spcAft>
                <a:spcPts val="0"/>
              </a:spcAft>
              <a:buSzPts val="4800"/>
              <a:buNone/>
              <a:defRPr sz="9600"/>
            </a:lvl2pPr>
            <a:lvl3pPr lvl="2" algn="l">
              <a:lnSpc>
                <a:spcPct val="100000"/>
              </a:lnSpc>
              <a:spcBef>
                <a:spcPts val="0"/>
              </a:spcBef>
              <a:spcAft>
                <a:spcPts val="0"/>
              </a:spcAft>
              <a:buSzPts val="4800"/>
              <a:buNone/>
              <a:defRPr sz="9600"/>
            </a:lvl3pPr>
            <a:lvl4pPr lvl="3" algn="l">
              <a:lnSpc>
                <a:spcPct val="100000"/>
              </a:lnSpc>
              <a:spcBef>
                <a:spcPts val="0"/>
              </a:spcBef>
              <a:spcAft>
                <a:spcPts val="0"/>
              </a:spcAft>
              <a:buSzPts val="4800"/>
              <a:buNone/>
              <a:defRPr sz="9600"/>
            </a:lvl4pPr>
            <a:lvl5pPr lvl="4" algn="l">
              <a:lnSpc>
                <a:spcPct val="100000"/>
              </a:lnSpc>
              <a:spcBef>
                <a:spcPts val="0"/>
              </a:spcBef>
              <a:spcAft>
                <a:spcPts val="0"/>
              </a:spcAft>
              <a:buSzPts val="4800"/>
              <a:buNone/>
              <a:defRPr sz="9600"/>
            </a:lvl5pPr>
            <a:lvl6pPr lvl="5" algn="l">
              <a:lnSpc>
                <a:spcPct val="100000"/>
              </a:lnSpc>
              <a:spcBef>
                <a:spcPts val="0"/>
              </a:spcBef>
              <a:spcAft>
                <a:spcPts val="0"/>
              </a:spcAft>
              <a:buSzPts val="4800"/>
              <a:buNone/>
              <a:defRPr sz="9600"/>
            </a:lvl6pPr>
            <a:lvl7pPr lvl="6" algn="l">
              <a:lnSpc>
                <a:spcPct val="100000"/>
              </a:lnSpc>
              <a:spcBef>
                <a:spcPts val="0"/>
              </a:spcBef>
              <a:spcAft>
                <a:spcPts val="0"/>
              </a:spcAft>
              <a:buSzPts val="4800"/>
              <a:buNone/>
              <a:defRPr sz="9600"/>
            </a:lvl7pPr>
            <a:lvl8pPr lvl="7" algn="l">
              <a:lnSpc>
                <a:spcPct val="100000"/>
              </a:lnSpc>
              <a:spcBef>
                <a:spcPts val="0"/>
              </a:spcBef>
              <a:spcAft>
                <a:spcPts val="0"/>
              </a:spcAft>
              <a:buSzPts val="4800"/>
              <a:buNone/>
              <a:defRPr sz="9600"/>
            </a:lvl8pPr>
            <a:lvl9pPr lvl="8" algn="l">
              <a:lnSpc>
                <a:spcPct val="100000"/>
              </a:lnSpc>
              <a:spcBef>
                <a:spcPts val="0"/>
              </a:spcBef>
              <a:spcAft>
                <a:spcPts val="0"/>
              </a:spcAft>
              <a:buSzPts val="4800"/>
              <a:buNone/>
              <a:defRPr sz="9600"/>
            </a:lvl9pPr>
          </a:lstStyle>
          <a:p>
            <a:endParaRPr/>
          </a:p>
        </p:txBody>
      </p:sp>
      <p:sp>
        <p:nvSpPr>
          <p:cNvPr id="34" name="Google Shape;34;p8"/>
          <p:cNvSpPr txBox="1">
            <a:spLocks noGrp="1"/>
          </p:cNvSpPr>
          <p:nvPr>
            <p:ph type="sldNum" idx="12"/>
          </p:nvPr>
        </p:nvSpPr>
        <p:spPr>
          <a:xfrm>
            <a:off x="16944916" y="9326434"/>
            <a:ext cx="1097400" cy="7872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107017386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35"/>
        <p:cNvGrpSpPr/>
        <p:nvPr/>
      </p:nvGrpSpPr>
      <p:grpSpPr>
        <a:xfrm>
          <a:off x="0" y="0"/>
          <a:ext cx="0" cy="0"/>
          <a:chOff x="0" y="0"/>
          <a:chExt cx="0" cy="0"/>
        </a:xfrm>
      </p:grpSpPr>
      <p:sp>
        <p:nvSpPr>
          <p:cNvPr id="36" name="Google Shape;36;p9"/>
          <p:cNvSpPr/>
          <p:nvPr/>
        </p:nvSpPr>
        <p:spPr>
          <a:xfrm>
            <a:off x="9144000" y="-250"/>
            <a:ext cx="9144000" cy="10287000"/>
          </a:xfrm>
          <a:prstGeom prst="rect">
            <a:avLst/>
          </a:prstGeom>
          <a:solidFill>
            <a:schemeClr val="lt2"/>
          </a:solidFill>
          <a:ln>
            <a:noFill/>
          </a:ln>
        </p:spPr>
        <p:txBody>
          <a:bodyPr spcFirstLastPara="1" wrap="square" lIns="182850" tIns="182850" rIns="182850" bIns="18285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2800" b="0" i="0" u="none" strike="noStrike" cap="none">
              <a:solidFill>
                <a:srgbClr val="000000"/>
              </a:solidFill>
              <a:latin typeface="Arial"/>
              <a:ea typeface="Arial"/>
              <a:cs typeface="Arial"/>
              <a:sym typeface="Arial"/>
            </a:endParaRPr>
          </a:p>
        </p:txBody>
      </p:sp>
      <p:sp>
        <p:nvSpPr>
          <p:cNvPr id="37" name="Google Shape;37;p9"/>
          <p:cNvSpPr txBox="1">
            <a:spLocks noGrp="1"/>
          </p:cNvSpPr>
          <p:nvPr>
            <p:ph type="title"/>
          </p:nvPr>
        </p:nvSpPr>
        <p:spPr>
          <a:xfrm>
            <a:off x="531000" y="2466350"/>
            <a:ext cx="8090400" cy="2964600"/>
          </a:xfrm>
          <a:prstGeom prst="rect">
            <a:avLst/>
          </a:prstGeom>
          <a:noFill/>
          <a:ln>
            <a:noFill/>
          </a:ln>
        </p:spPr>
        <p:txBody>
          <a:bodyPr spcFirstLastPara="1" wrap="square" lIns="91425" tIns="91425" rIns="91425" bIns="91425" anchor="b" anchorCtr="0">
            <a:normAutofit/>
          </a:bodyPr>
          <a:lstStyle>
            <a:lvl1pPr lvl="0" algn="ctr">
              <a:lnSpc>
                <a:spcPct val="100000"/>
              </a:lnSpc>
              <a:spcBef>
                <a:spcPts val="0"/>
              </a:spcBef>
              <a:spcAft>
                <a:spcPts val="0"/>
              </a:spcAft>
              <a:buSzPts val="4200"/>
              <a:buNone/>
              <a:defRPr sz="8400"/>
            </a:lvl1pPr>
            <a:lvl2pPr lvl="1" algn="ctr">
              <a:lnSpc>
                <a:spcPct val="100000"/>
              </a:lnSpc>
              <a:spcBef>
                <a:spcPts val="0"/>
              </a:spcBef>
              <a:spcAft>
                <a:spcPts val="0"/>
              </a:spcAft>
              <a:buSzPts val="4200"/>
              <a:buNone/>
              <a:defRPr sz="8400"/>
            </a:lvl2pPr>
            <a:lvl3pPr lvl="2" algn="ctr">
              <a:lnSpc>
                <a:spcPct val="100000"/>
              </a:lnSpc>
              <a:spcBef>
                <a:spcPts val="0"/>
              </a:spcBef>
              <a:spcAft>
                <a:spcPts val="0"/>
              </a:spcAft>
              <a:buSzPts val="4200"/>
              <a:buNone/>
              <a:defRPr sz="8400"/>
            </a:lvl3pPr>
            <a:lvl4pPr lvl="3" algn="ctr">
              <a:lnSpc>
                <a:spcPct val="100000"/>
              </a:lnSpc>
              <a:spcBef>
                <a:spcPts val="0"/>
              </a:spcBef>
              <a:spcAft>
                <a:spcPts val="0"/>
              </a:spcAft>
              <a:buSzPts val="4200"/>
              <a:buNone/>
              <a:defRPr sz="8400"/>
            </a:lvl4pPr>
            <a:lvl5pPr lvl="4" algn="ctr">
              <a:lnSpc>
                <a:spcPct val="100000"/>
              </a:lnSpc>
              <a:spcBef>
                <a:spcPts val="0"/>
              </a:spcBef>
              <a:spcAft>
                <a:spcPts val="0"/>
              </a:spcAft>
              <a:buSzPts val="4200"/>
              <a:buNone/>
              <a:defRPr sz="8400"/>
            </a:lvl5pPr>
            <a:lvl6pPr lvl="5" algn="ctr">
              <a:lnSpc>
                <a:spcPct val="100000"/>
              </a:lnSpc>
              <a:spcBef>
                <a:spcPts val="0"/>
              </a:spcBef>
              <a:spcAft>
                <a:spcPts val="0"/>
              </a:spcAft>
              <a:buSzPts val="4200"/>
              <a:buNone/>
              <a:defRPr sz="8400"/>
            </a:lvl6pPr>
            <a:lvl7pPr lvl="6" algn="ctr">
              <a:lnSpc>
                <a:spcPct val="100000"/>
              </a:lnSpc>
              <a:spcBef>
                <a:spcPts val="0"/>
              </a:spcBef>
              <a:spcAft>
                <a:spcPts val="0"/>
              </a:spcAft>
              <a:buSzPts val="4200"/>
              <a:buNone/>
              <a:defRPr sz="8400"/>
            </a:lvl7pPr>
            <a:lvl8pPr lvl="7" algn="ctr">
              <a:lnSpc>
                <a:spcPct val="100000"/>
              </a:lnSpc>
              <a:spcBef>
                <a:spcPts val="0"/>
              </a:spcBef>
              <a:spcAft>
                <a:spcPts val="0"/>
              </a:spcAft>
              <a:buSzPts val="4200"/>
              <a:buNone/>
              <a:defRPr sz="8400"/>
            </a:lvl8pPr>
            <a:lvl9pPr lvl="8" algn="ctr">
              <a:lnSpc>
                <a:spcPct val="100000"/>
              </a:lnSpc>
              <a:spcBef>
                <a:spcPts val="0"/>
              </a:spcBef>
              <a:spcAft>
                <a:spcPts val="0"/>
              </a:spcAft>
              <a:buSzPts val="4200"/>
              <a:buNone/>
              <a:defRPr sz="8400"/>
            </a:lvl9pPr>
          </a:lstStyle>
          <a:p>
            <a:endParaRPr/>
          </a:p>
        </p:txBody>
      </p:sp>
      <p:sp>
        <p:nvSpPr>
          <p:cNvPr id="38" name="Google Shape;38;p9"/>
          <p:cNvSpPr txBox="1">
            <a:spLocks noGrp="1"/>
          </p:cNvSpPr>
          <p:nvPr>
            <p:ph type="subTitle" idx="1"/>
          </p:nvPr>
        </p:nvSpPr>
        <p:spPr>
          <a:xfrm>
            <a:off x="531000" y="5606150"/>
            <a:ext cx="8090400" cy="2470200"/>
          </a:xfrm>
          <a:prstGeom prst="rect">
            <a:avLst/>
          </a:prstGeom>
          <a:noFill/>
          <a:ln>
            <a:noFill/>
          </a:ln>
        </p:spPr>
        <p:txBody>
          <a:bodyPr spcFirstLastPara="1" wrap="square" lIns="91425" tIns="91425" rIns="91425" bIns="91425" anchor="t" anchorCtr="0">
            <a:normAutofit/>
          </a:bodyPr>
          <a:lstStyle>
            <a:lvl1pPr lvl="0" algn="ctr">
              <a:lnSpc>
                <a:spcPct val="100000"/>
              </a:lnSpc>
              <a:spcBef>
                <a:spcPts val="0"/>
              </a:spcBef>
              <a:spcAft>
                <a:spcPts val="0"/>
              </a:spcAft>
              <a:buSzPts val="2100"/>
              <a:buNone/>
              <a:defRPr sz="4200"/>
            </a:lvl1pPr>
            <a:lvl2pPr lvl="1" algn="ctr">
              <a:lnSpc>
                <a:spcPct val="100000"/>
              </a:lnSpc>
              <a:spcBef>
                <a:spcPts val="0"/>
              </a:spcBef>
              <a:spcAft>
                <a:spcPts val="0"/>
              </a:spcAft>
              <a:buSzPts val="2100"/>
              <a:buNone/>
              <a:defRPr sz="4200"/>
            </a:lvl2pPr>
            <a:lvl3pPr lvl="2" algn="ctr">
              <a:lnSpc>
                <a:spcPct val="100000"/>
              </a:lnSpc>
              <a:spcBef>
                <a:spcPts val="0"/>
              </a:spcBef>
              <a:spcAft>
                <a:spcPts val="0"/>
              </a:spcAft>
              <a:buSzPts val="2100"/>
              <a:buNone/>
              <a:defRPr sz="4200"/>
            </a:lvl3pPr>
            <a:lvl4pPr lvl="3" algn="ctr">
              <a:lnSpc>
                <a:spcPct val="100000"/>
              </a:lnSpc>
              <a:spcBef>
                <a:spcPts val="0"/>
              </a:spcBef>
              <a:spcAft>
                <a:spcPts val="0"/>
              </a:spcAft>
              <a:buSzPts val="2100"/>
              <a:buNone/>
              <a:defRPr sz="4200"/>
            </a:lvl4pPr>
            <a:lvl5pPr lvl="4" algn="ctr">
              <a:lnSpc>
                <a:spcPct val="100000"/>
              </a:lnSpc>
              <a:spcBef>
                <a:spcPts val="0"/>
              </a:spcBef>
              <a:spcAft>
                <a:spcPts val="0"/>
              </a:spcAft>
              <a:buSzPts val="2100"/>
              <a:buNone/>
              <a:defRPr sz="4200"/>
            </a:lvl5pPr>
            <a:lvl6pPr lvl="5" algn="ctr">
              <a:lnSpc>
                <a:spcPct val="100000"/>
              </a:lnSpc>
              <a:spcBef>
                <a:spcPts val="0"/>
              </a:spcBef>
              <a:spcAft>
                <a:spcPts val="0"/>
              </a:spcAft>
              <a:buSzPts val="2100"/>
              <a:buNone/>
              <a:defRPr sz="4200"/>
            </a:lvl6pPr>
            <a:lvl7pPr lvl="6" algn="ctr">
              <a:lnSpc>
                <a:spcPct val="100000"/>
              </a:lnSpc>
              <a:spcBef>
                <a:spcPts val="0"/>
              </a:spcBef>
              <a:spcAft>
                <a:spcPts val="0"/>
              </a:spcAft>
              <a:buSzPts val="2100"/>
              <a:buNone/>
              <a:defRPr sz="4200"/>
            </a:lvl7pPr>
            <a:lvl8pPr lvl="7" algn="ctr">
              <a:lnSpc>
                <a:spcPct val="100000"/>
              </a:lnSpc>
              <a:spcBef>
                <a:spcPts val="0"/>
              </a:spcBef>
              <a:spcAft>
                <a:spcPts val="0"/>
              </a:spcAft>
              <a:buSzPts val="2100"/>
              <a:buNone/>
              <a:defRPr sz="4200"/>
            </a:lvl8pPr>
            <a:lvl9pPr lvl="8" algn="ctr">
              <a:lnSpc>
                <a:spcPct val="100000"/>
              </a:lnSpc>
              <a:spcBef>
                <a:spcPts val="0"/>
              </a:spcBef>
              <a:spcAft>
                <a:spcPts val="0"/>
              </a:spcAft>
              <a:buSzPts val="2100"/>
              <a:buNone/>
              <a:defRPr sz="4200"/>
            </a:lvl9pPr>
          </a:lstStyle>
          <a:p>
            <a:endParaRPr/>
          </a:p>
        </p:txBody>
      </p:sp>
      <p:sp>
        <p:nvSpPr>
          <p:cNvPr id="39" name="Google Shape;39;p9"/>
          <p:cNvSpPr txBox="1">
            <a:spLocks noGrp="1"/>
          </p:cNvSpPr>
          <p:nvPr>
            <p:ph type="body" idx="2"/>
          </p:nvPr>
        </p:nvSpPr>
        <p:spPr>
          <a:xfrm>
            <a:off x="9879000" y="1448150"/>
            <a:ext cx="7674000" cy="7390200"/>
          </a:xfrm>
          <a:prstGeom prst="rect">
            <a:avLst/>
          </a:prstGeom>
          <a:noFill/>
          <a:ln>
            <a:noFill/>
          </a:ln>
        </p:spPr>
        <p:txBody>
          <a:bodyPr spcFirstLastPara="1" wrap="square" lIns="91425" tIns="91425" rIns="91425" bIns="91425" anchor="ctr" anchorCtr="0">
            <a:normAutofit/>
          </a:bodyPr>
          <a:lstStyle>
            <a:lvl1pPr marL="914400" lvl="0" indent="-685800" algn="l">
              <a:lnSpc>
                <a:spcPct val="115000"/>
              </a:lnSpc>
              <a:spcBef>
                <a:spcPts val="0"/>
              </a:spcBef>
              <a:spcAft>
                <a:spcPts val="0"/>
              </a:spcAft>
              <a:buSzPts val="1800"/>
              <a:buChar char="●"/>
              <a:defRPr/>
            </a:lvl1pPr>
            <a:lvl2pPr marL="1828800" lvl="1" indent="-635000" algn="l">
              <a:lnSpc>
                <a:spcPct val="115000"/>
              </a:lnSpc>
              <a:spcBef>
                <a:spcPts val="0"/>
              </a:spcBef>
              <a:spcAft>
                <a:spcPts val="0"/>
              </a:spcAft>
              <a:buSzPts val="1400"/>
              <a:buChar char="○"/>
              <a:defRPr/>
            </a:lvl2pPr>
            <a:lvl3pPr marL="2743200" lvl="2" indent="-635000" algn="l">
              <a:lnSpc>
                <a:spcPct val="115000"/>
              </a:lnSpc>
              <a:spcBef>
                <a:spcPts val="0"/>
              </a:spcBef>
              <a:spcAft>
                <a:spcPts val="0"/>
              </a:spcAft>
              <a:buSzPts val="1400"/>
              <a:buChar char="■"/>
              <a:defRPr/>
            </a:lvl3pPr>
            <a:lvl4pPr marL="3657600" lvl="3" indent="-635000" algn="l">
              <a:lnSpc>
                <a:spcPct val="115000"/>
              </a:lnSpc>
              <a:spcBef>
                <a:spcPts val="0"/>
              </a:spcBef>
              <a:spcAft>
                <a:spcPts val="0"/>
              </a:spcAft>
              <a:buSzPts val="1400"/>
              <a:buChar char="●"/>
              <a:defRPr/>
            </a:lvl4pPr>
            <a:lvl5pPr marL="4572000" lvl="4" indent="-635000" algn="l">
              <a:lnSpc>
                <a:spcPct val="115000"/>
              </a:lnSpc>
              <a:spcBef>
                <a:spcPts val="0"/>
              </a:spcBef>
              <a:spcAft>
                <a:spcPts val="0"/>
              </a:spcAft>
              <a:buSzPts val="1400"/>
              <a:buChar char="○"/>
              <a:defRPr/>
            </a:lvl5pPr>
            <a:lvl6pPr marL="5486400" lvl="5" indent="-635000" algn="l">
              <a:lnSpc>
                <a:spcPct val="115000"/>
              </a:lnSpc>
              <a:spcBef>
                <a:spcPts val="0"/>
              </a:spcBef>
              <a:spcAft>
                <a:spcPts val="0"/>
              </a:spcAft>
              <a:buSzPts val="1400"/>
              <a:buChar char="■"/>
              <a:defRPr/>
            </a:lvl6pPr>
            <a:lvl7pPr marL="6400800" lvl="6" indent="-635000" algn="l">
              <a:lnSpc>
                <a:spcPct val="115000"/>
              </a:lnSpc>
              <a:spcBef>
                <a:spcPts val="0"/>
              </a:spcBef>
              <a:spcAft>
                <a:spcPts val="0"/>
              </a:spcAft>
              <a:buSzPts val="1400"/>
              <a:buChar char="●"/>
              <a:defRPr/>
            </a:lvl7pPr>
            <a:lvl8pPr marL="7315200" lvl="7" indent="-635000" algn="l">
              <a:lnSpc>
                <a:spcPct val="115000"/>
              </a:lnSpc>
              <a:spcBef>
                <a:spcPts val="0"/>
              </a:spcBef>
              <a:spcAft>
                <a:spcPts val="0"/>
              </a:spcAft>
              <a:buSzPts val="1400"/>
              <a:buChar char="○"/>
              <a:defRPr/>
            </a:lvl8pPr>
            <a:lvl9pPr marL="8229600" lvl="8" indent="-635000" algn="l">
              <a:lnSpc>
                <a:spcPct val="115000"/>
              </a:lnSpc>
              <a:spcBef>
                <a:spcPts val="0"/>
              </a:spcBef>
              <a:spcAft>
                <a:spcPts val="0"/>
              </a:spcAft>
              <a:buSzPts val="1400"/>
              <a:buChar char="■"/>
              <a:defRPr/>
            </a:lvl9pPr>
          </a:lstStyle>
          <a:p>
            <a:endParaRPr/>
          </a:p>
        </p:txBody>
      </p:sp>
      <p:sp>
        <p:nvSpPr>
          <p:cNvPr id="40" name="Google Shape;40;p9"/>
          <p:cNvSpPr txBox="1">
            <a:spLocks noGrp="1"/>
          </p:cNvSpPr>
          <p:nvPr>
            <p:ph type="sldNum" idx="12"/>
          </p:nvPr>
        </p:nvSpPr>
        <p:spPr>
          <a:xfrm>
            <a:off x="16944916" y="9326434"/>
            <a:ext cx="1097400" cy="7872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129747574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41"/>
        <p:cNvGrpSpPr/>
        <p:nvPr/>
      </p:nvGrpSpPr>
      <p:grpSpPr>
        <a:xfrm>
          <a:off x="0" y="0"/>
          <a:ext cx="0" cy="0"/>
          <a:chOff x="0" y="0"/>
          <a:chExt cx="0" cy="0"/>
        </a:xfrm>
      </p:grpSpPr>
      <p:sp>
        <p:nvSpPr>
          <p:cNvPr id="42" name="Google Shape;42;p10"/>
          <p:cNvSpPr txBox="1">
            <a:spLocks noGrp="1"/>
          </p:cNvSpPr>
          <p:nvPr>
            <p:ph type="body" idx="1"/>
          </p:nvPr>
        </p:nvSpPr>
        <p:spPr>
          <a:xfrm>
            <a:off x="623400" y="8461150"/>
            <a:ext cx="11997600" cy="1210200"/>
          </a:xfrm>
          <a:prstGeom prst="rect">
            <a:avLst/>
          </a:prstGeom>
          <a:noFill/>
          <a:ln>
            <a:noFill/>
          </a:ln>
        </p:spPr>
        <p:txBody>
          <a:bodyPr spcFirstLastPara="1" wrap="square" lIns="91425" tIns="91425" rIns="91425" bIns="91425" anchor="ctr" anchorCtr="0">
            <a:normAutofit/>
          </a:bodyPr>
          <a:lstStyle>
            <a:lvl1pPr marL="914400" lvl="0" indent="-457200" algn="l">
              <a:lnSpc>
                <a:spcPct val="100000"/>
              </a:lnSpc>
              <a:spcBef>
                <a:spcPts val="0"/>
              </a:spcBef>
              <a:spcAft>
                <a:spcPts val="0"/>
              </a:spcAft>
              <a:buSzPts val="1800"/>
              <a:buNone/>
              <a:defRPr/>
            </a:lvl1pPr>
          </a:lstStyle>
          <a:p>
            <a:endParaRPr/>
          </a:p>
        </p:txBody>
      </p:sp>
      <p:sp>
        <p:nvSpPr>
          <p:cNvPr id="43" name="Google Shape;43;p10"/>
          <p:cNvSpPr txBox="1">
            <a:spLocks noGrp="1"/>
          </p:cNvSpPr>
          <p:nvPr>
            <p:ph type="sldNum" idx="12"/>
          </p:nvPr>
        </p:nvSpPr>
        <p:spPr>
          <a:xfrm>
            <a:off x="16944916" y="9326434"/>
            <a:ext cx="1097400" cy="7872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132668968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matchingName="Big number">
  <p:cSld name="Big number">
    <p:spTree>
      <p:nvGrpSpPr>
        <p:cNvPr id="1" name="Shape 44"/>
        <p:cNvGrpSpPr/>
        <p:nvPr/>
      </p:nvGrpSpPr>
      <p:grpSpPr>
        <a:xfrm>
          <a:off x="0" y="0"/>
          <a:ext cx="0" cy="0"/>
          <a:chOff x="0" y="0"/>
          <a:chExt cx="0" cy="0"/>
        </a:xfrm>
      </p:grpSpPr>
      <p:sp>
        <p:nvSpPr>
          <p:cNvPr id="45" name="Google Shape;45;p11"/>
          <p:cNvSpPr txBox="1">
            <a:spLocks noGrp="1"/>
          </p:cNvSpPr>
          <p:nvPr>
            <p:ph type="title" hasCustomPrompt="1"/>
          </p:nvPr>
        </p:nvSpPr>
        <p:spPr>
          <a:xfrm>
            <a:off x="623400" y="2212250"/>
            <a:ext cx="17041200" cy="3927000"/>
          </a:xfrm>
          <a:prstGeom prst="rect">
            <a:avLst/>
          </a:prstGeom>
          <a:noFill/>
          <a:ln>
            <a:noFill/>
          </a:ln>
        </p:spPr>
        <p:txBody>
          <a:bodyPr spcFirstLastPara="1" wrap="square" lIns="91425" tIns="91425" rIns="91425" bIns="91425" anchor="b" anchorCtr="0">
            <a:normAutofit/>
          </a:bodyPr>
          <a:lstStyle>
            <a:lvl1pPr lvl="0" algn="ctr">
              <a:lnSpc>
                <a:spcPct val="100000"/>
              </a:lnSpc>
              <a:spcBef>
                <a:spcPts val="0"/>
              </a:spcBef>
              <a:spcAft>
                <a:spcPts val="0"/>
              </a:spcAft>
              <a:buSzPts val="12000"/>
              <a:buNone/>
              <a:defRPr sz="24000"/>
            </a:lvl1pPr>
            <a:lvl2pPr lvl="1" algn="ctr">
              <a:lnSpc>
                <a:spcPct val="100000"/>
              </a:lnSpc>
              <a:spcBef>
                <a:spcPts val="0"/>
              </a:spcBef>
              <a:spcAft>
                <a:spcPts val="0"/>
              </a:spcAft>
              <a:buSzPts val="12000"/>
              <a:buNone/>
              <a:defRPr sz="24000"/>
            </a:lvl2pPr>
            <a:lvl3pPr lvl="2" algn="ctr">
              <a:lnSpc>
                <a:spcPct val="100000"/>
              </a:lnSpc>
              <a:spcBef>
                <a:spcPts val="0"/>
              </a:spcBef>
              <a:spcAft>
                <a:spcPts val="0"/>
              </a:spcAft>
              <a:buSzPts val="12000"/>
              <a:buNone/>
              <a:defRPr sz="24000"/>
            </a:lvl3pPr>
            <a:lvl4pPr lvl="3" algn="ctr">
              <a:lnSpc>
                <a:spcPct val="100000"/>
              </a:lnSpc>
              <a:spcBef>
                <a:spcPts val="0"/>
              </a:spcBef>
              <a:spcAft>
                <a:spcPts val="0"/>
              </a:spcAft>
              <a:buSzPts val="12000"/>
              <a:buNone/>
              <a:defRPr sz="24000"/>
            </a:lvl4pPr>
            <a:lvl5pPr lvl="4" algn="ctr">
              <a:lnSpc>
                <a:spcPct val="100000"/>
              </a:lnSpc>
              <a:spcBef>
                <a:spcPts val="0"/>
              </a:spcBef>
              <a:spcAft>
                <a:spcPts val="0"/>
              </a:spcAft>
              <a:buSzPts val="12000"/>
              <a:buNone/>
              <a:defRPr sz="24000"/>
            </a:lvl5pPr>
            <a:lvl6pPr lvl="5" algn="ctr">
              <a:lnSpc>
                <a:spcPct val="100000"/>
              </a:lnSpc>
              <a:spcBef>
                <a:spcPts val="0"/>
              </a:spcBef>
              <a:spcAft>
                <a:spcPts val="0"/>
              </a:spcAft>
              <a:buSzPts val="12000"/>
              <a:buNone/>
              <a:defRPr sz="24000"/>
            </a:lvl6pPr>
            <a:lvl7pPr lvl="6" algn="ctr">
              <a:lnSpc>
                <a:spcPct val="100000"/>
              </a:lnSpc>
              <a:spcBef>
                <a:spcPts val="0"/>
              </a:spcBef>
              <a:spcAft>
                <a:spcPts val="0"/>
              </a:spcAft>
              <a:buSzPts val="12000"/>
              <a:buNone/>
              <a:defRPr sz="24000"/>
            </a:lvl7pPr>
            <a:lvl8pPr lvl="7" algn="ctr">
              <a:lnSpc>
                <a:spcPct val="100000"/>
              </a:lnSpc>
              <a:spcBef>
                <a:spcPts val="0"/>
              </a:spcBef>
              <a:spcAft>
                <a:spcPts val="0"/>
              </a:spcAft>
              <a:buSzPts val="12000"/>
              <a:buNone/>
              <a:defRPr sz="24000"/>
            </a:lvl8pPr>
            <a:lvl9pPr lvl="8" algn="ctr">
              <a:lnSpc>
                <a:spcPct val="100000"/>
              </a:lnSpc>
              <a:spcBef>
                <a:spcPts val="0"/>
              </a:spcBef>
              <a:spcAft>
                <a:spcPts val="0"/>
              </a:spcAft>
              <a:buSzPts val="12000"/>
              <a:buNone/>
              <a:defRPr sz="24000"/>
            </a:lvl9pPr>
          </a:lstStyle>
          <a:p>
            <a:r>
              <a:t>xx%</a:t>
            </a:r>
          </a:p>
        </p:txBody>
      </p:sp>
      <p:sp>
        <p:nvSpPr>
          <p:cNvPr id="46" name="Google Shape;46;p11"/>
          <p:cNvSpPr txBox="1">
            <a:spLocks noGrp="1"/>
          </p:cNvSpPr>
          <p:nvPr>
            <p:ph type="body" idx="1"/>
          </p:nvPr>
        </p:nvSpPr>
        <p:spPr>
          <a:xfrm>
            <a:off x="623400" y="6304450"/>
            <a:ext cx="17041200" cy="2601600"/>
          </a:xfrm>
          <a:prstGeom prst="rect">
            <a:avLst/>
          </a:prstGeom>
          <a:noFill/>
          <a:ln>
            <a:noFill/>
          </a:ln>
        </p:spPr>
        <p:txBody>
          <a:bodyPr spcFirstLastPara="1" wrap="square" lIns="91425" tIns="91425" rIns="91425" bIns="91425" anchor="t" anchorCtr="0">
            <a:normAutofit/>
          </a:bodyPr>
          <a:lstStyle>
            <a:lvl1pPr marL="914400" lvl="0" indent="-685800" algn="ctr">
              <a:lnSpc>
                <a:spcPct val="115000"/>
              </a:lnSpc>
              <a:spcBef>
                <a:spcPts val="0"/>
              </a:spcBef>
              <a:spcAft>
                <a:spcPts val="0"/>
              </a:spcAft>
              <a:buSzPts val="1800"/>
              <a:buChar char="●"/>
              <a:defRPr/>
            </a:lvl1pPr>
            <a:lvl2pPr marL="1828800" lvl="1" indent="-635000" algn="ctr">
              <a:lnSpc>
                <a:spcPct val="115000"/>
              </a:lnSpc>
              <a:spcBef>
                <a:spcPts val="0"/>
              </a:spcBef>
              <a:spcAft>
                <a:spcPts val="0"/>
              </a:spcAft>
              <a:buSzPts val="1400"/>
              <a:buChar char="○"/>
              <a:defRPr/>
            </a:lvl2pPr>
            <a:lvl3pPr marL="2743200" lvl="2" indent="-635000" algn="ctr">
              <a:lnSpc>
                <a:spcPct val="115000"/>
              </a:lnSpc>
              <a:spcBef>
                <a:spcPts val="0"/>
              </a:spcBef>
              <a:spcAft>
                <a:spcPts val="0"/>
              </a:spcAft>
              <a:buSzPts val="1400"/>
              <a:buChar char="■"/>
              <a:defRPr/>
            </a:lvl3pPr>
            <a:lvl4pPr marL="3657600" lvl="3" indent="-635000" algn="ctr">
              <a:lnSpc>
                <a:spcPct val="115000"/>
              </a:lnSpc>
              <a:spcBef>
                <a:spcPts val="0"/>
              </a:spcBef>
              <a:spcAft>
                <a:spcPts val="0"/>
              </a:spcAft>
              <a:buSzPts val="1400"/>
              <a:buChar char="●"/>
              <a:defRPr/>
            </a:lvl4pPr>
            <a:lvl5pPr marL="4572000" lvl="4" indent="-635000" algn="ctr">
              <a:lnSpc>
                <a:spcPct val="115000"/>
              </a:lnSpc>
              <a:spcBef>
                <a:spcPts val="0"/>
              </a:spcBef>
              <a:spcAft>
                <a:spcPts val="0"/>
              </a:spcAft>
              <a:buSzPts val="1400"/>
              <a:buChar char="○"/>
              <a:defRPr/>
            </a:lvl5pPr>
            <a:lvl6pPr marL="5486400" lvl="5" indent="-635000" algn="ctr">
              <a:lnSpc>
                <a:spcPct val="115000"/>
              </a:lnSpc>
              <a:spcBef>
                <a:spcPts val="0"/>
              </a:spcBef>
              <a:spcAft>
                <a:spcPts val="0"/>
              </a:spcAft>
              <a:buSzPts val="1400"/>
              <a:buChar char="■"/>
              <a:defRPr/>
            </a:lvl6pPr>
            <a:lvl7pPr marL="6400800" lvl="6" indent="-635000" algn="ctr">
              <a:lnSpc>
                <a:spcPct val="115000"/>
              </a:lnSpc>
              <a:spcBef>
                <a:spcPts val="0"/>
              </a:spcBef>
              <a:spcAft>
                <a:spcPts val="0"/>
              </a:spcAft>
              <a:buSzPts val="1400"/>
              <a:buChar char="●"/>
              <a:defRPr/>
            </a:lvl7pPr>
            <a:lvl8pPr marL="7315200" lvl="7" indent="-635000" algn="ctr">
              <a:lnSpc>
                <a:spcPct val="115000"/>
              </a:lnSpc>
              <a:spcBef>
                <a:spcPts val="0"/>
              </a:spcBef>
              <a:spcAft>
                <a:spcPts val="0"/>
              </a:spcAft>
              <a:buSzPts val="1400"/>
              <a:buChar char="○"/>
              <a:defRPr/>
            </a:lvl8pPr>
            <a:lvl9pPr marL="8229600" lvl="8" indent="-635000" algn="ctr">
              <a:lnSpc>
                <a:spcPct val="115000"/>
              </a:lnSpc>
              <a:spcBef>
                <a:spcPts val="0"/>
              </a:spcBef>
              <a:spcAft>
                <a:spcPts val="0"/>
              </a:spcAft>
              <a:buSzPts val="1400"/>
              <a:buChar char="■"/>
              <a:defRPr/>
            </a:lvl9pPr>
          </a:lstStyle>
          <a:p>
            <a:endParaRPr/>
          </a:p>
        </p:txBody>
      </p:sp>
      <p:sp>
        <p:nvSpPr>
          <p:cNvPr id="47" name="Google Shape;47;p11"/>
          <p:cNvSpPr txBox="1">
            <a:spLocks noGrp="1"/>
          </p:cNvSpPr>
          <p:nvPr>
            <p:ph type="sldNum" idx="12"/>
          </p:nvPr>
        </p:nvSpPr>
        <p:spPr>
          <a:xfrm>
            <a:off x="16944916" y="9326434"/>
            <a:ext cx="1097400" cy="7872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112522359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8"/>
        <p:cNvGrpSpPr/>
        <p:nvPr/>
      </p:nvGrpSpPr>
      <p:grpSpPr>
        <a:xfrm>
          <a:off x="0" y="0"/>
          <a:ext cx="0" cy="0"/>
          <a:chOff x="0" y="0"/>
          <a:chExt cx="0" cy="0"/>
        </a:xfrm>
      </p:grpSpPr>
      <p:sp>
        <p:nvSpPr>
          <p:cNvPr id="49" name="Google Shape;49;p12"/>
          <p:cNvSpPr txBox="1">
            <a:spLocks noGrp="1"/>
          </p:cNvSpPr>
          <p:nvPr>
            <p:ph type="sldNum" idx="12"/>
          </p:nvPr>
        </p:nvSpPr>
        <p:spPr>
          <a:xfrm>
            <a:off x="16944916" y="9326434"/>
            <a:ext cx="1097400" cy="7872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155741571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matchingName="Section Header">
  <p:cSld name="1_Section Header">
    <p:spTree>
      <p:nvGrpSpPr>
        <p:cNvPr id="1" name="Shape 50"/>
        <p:cNvGrpSpPr/>
        <p:nvPr/>
      </p:nvGrpSpPr>
      <p:grpSpPr>
        <a:xfrm>
          <a:off x="0" y="0"/>
          <a:ext cx="0" cy="0"/>
          <a:chOff x="0" y="0"/>
          <a:chExt cx="0" cy="0"/>
        </a:xfrm>
      </p:grpSpPr>
      <p:sp>
        <p:nvSpPr>
          <p:cNvPr id="51" name="Google Shape;51;p13"/>
          <p:cNvSpPr txBox="1">
            <a:spLocks noGrp="1"/>
          </p:cNvSpPr>
          <p:nvPr>
            <p:ph type="title"/>
          </p:nvPr>
        </p:nvSpPr>
        <p:spPr>
          <a:xfrm>
            <a:off x="722312" y="4406900"/>
            <a:ext cx="7772400" cy="1362000"/>
          </a:xfrm>
          <a:prstGeom prst="rect">
            <a:avLst/>
          </a:prstGeom>
          <a:noFill/>
          <a:ln>
            <a:noFill/>
          </a:ln>
        </p:spPr>
        <p:txBody>
          <a:bodyPr spcFirstLastPara="1" wrap="square" lIns="45725" tIns="22850" rIns="45725" bIns="22850" anchor="t" anchorCtr="0">
            <a:normAutofit/>
          </a:bodyPr>
          <a:lstStyle>
            <a:lvl1pPr lvl="0" algn="l" rtl="0">
              <a:spcBef>
                <a:spcPts val="0"/>
              </a:spcBef>
              <a:spcAft>
                <a:spcPts val="0"/>
              </a:spcAft>
              <a:buClr>
                <a:schemeClr val="dk1"/>
              </a:buClr>
              <a:buSzPts val="2000"/>
              <a:buFont typeface="Calibri"/>
              <a:buNone/>
              <a:defRPr sz="4000" b="1" cap="none"/>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52" name="Google Shape;52;p13"/>
          <p:cNvSpPr txBox="1">
            <a:spLocks noGrp="1"/>
          </p:cNvSpPr>
          <p:nvPr>
            <p:ph type="body" idx="1"/>
          </p:nvPr>
        </p:nvSpPr>
        <p:spPr>
          <a:xfrm>
            <a:off x="722312" y="2906714"/>
            <a:ext cx="7772400" cy="1500600"/>
          </a:xfrm>
          <a:prstGeom prst="rect">
            <a:avLst/>
          </a:prstGeom>
          <a:noFill/>
          <a:ln>
            <a:noFill/>
          </a:ln>
        </p:spPr>
        <p:txBody>
          <a:bodyPr spcFirstLastPara="1" wrap="square" lIns="45725" tIns="22850" rIns="45725" bIns="22850" anchor="b" anchorCtr="0">
            <a:normAutofit/>
          </a:bodyPr>
          <a:lstStyle>
            <a:lvl1pPr marL="914400" lvl="0" indent="-457200" algn="l" rtl="0">
              <a:spcBef>
                <a:spcPts val="400"/>
              </a:spcBef>
              <a:spcAft>
                <a:spcPts val="0"/>
              </a:spcAft>
              <a:buClr>
                <a:srgbClr val="888888"/>
              </a:buClr>
              <a:buSzPts val="1000"/>
              <a:buNone/>
              <a:defRPr sz="2000">
                <a:solidFill>
                  <a:srgbClr val="888888"/>
                </a:solidFill>
              </a:defRPr>
            </a:lvl1pPr>
            <a:lvl2pPr marL="1828800" lvl="1" indent="-457200" algn="l" rtl="0">
              <a:spcBef>
                <a:spcPts val="400"/>
              </a:spcBef>
              <a:spcAft>
                <a:spcPts val="0"/>
              </a:spcAft>
              <a:buClr>
                <a:srgbClr val="888888"/>
              </a:buClr>
              <a:buSzPts val="900"/>
              <a:buNone/>
              <a:defRPr sz="1800">
                <a:solidFill>
                  <a:srgbClr val="888888"/>
                </a:solidFill>
              </a:defRPr>
            </a:lvl2pPr>
            <a:lvl3pPr marL="2743200" lvl="2" indent="-457200" algn="l" rtl="0">
              <a:spcBef>
                <a:spcPts val="400"/>
              </a:spcBef>
              <a:spcAft>
                <a:spcPts val="0"/>
              </a:spcAft>
              <a:buClr>
                <a:srgbClr val="888888"/>
              </a:buClr>
              <a:buSzPts val="800"/>
              <a:buNone/>
              <a:defRPr sz="1600">
                <a:solidFill>
                  <a:srgbClr val="888888"/>
                </a:solidFill>
              </a:defRPr>
            </a:lvl3pPr>
            <a:lvl4pPr marL="3657600" lvl="3" indent="-457200" algn="l" rtl="0">
              <a:spcBef>
                <a:spcPts val="200"/>
              </a:spcBef>
              <a:spcAft>
                <a:spcPts val="0"/>
              </a:spcAft>
              <a:buClr>
                <a:srgbClr val="888888"/>
              </a:buClr>
              <a:buSzPts val="700"/>
              <a:buNone/>
              <a:defRPr sz="1400">
                <a:solidFill>
                  <a:srgbClr val="888888"/>
                </a:solidFill>
              </a:defRPr>
            </a:lvl4pPr>
            <a:lvl5pPr marL="4572000" lvl="4" indent="-457200" algn="l" rtl="0">
              <a:spcBef>
                <a:spcPts val="200"/>
              </a:spcBef>
              <a:spcAft>
                <a:spcPts val="0"/>
              </a:spcAft>
              <a:buClr>
                <a:srgbClr val="888888"/>
              </a:buClr>
              <a:buSzPts val="700"/>
              <a:buNone/>
              <a:defRPr sz="1400">
                <a:solidFill>
                  <a:srgbClr val="888888"/>
                </a:solidFill>
              </a:defRPr>
            </a:lvl5pPr>
            <a:lvl6pPr marL="5486400" lvl="5" indent="-457200" algn="l" rtl="0">
              <a:spcBef>
                <a:spcPts val="200"/>
              </a:spcBef>
              <a:spcAft>
                <a:spcPts val="0"/>
              </a:spcAft>
              <a:buClr>
                <a:srgbClr val="888888"/>
              </a:buClr>
              <a:buSzPts val="700"/>
              <a:buNone/>
              <a:defRPr sz="1400">
                <a:solidFill>
                  <a:srgbClr val="888888"/>
                </a:solidFill>
              </a:defRPr>
            </a:lvl6pPr>
            <a:lvl7pPr marL="6400800" lvl="6" indent="-457200" algn="l" rtl="0">
              <a:spcBef>
                <a:spcPts val="200"/>
              </a:spcBef>
              <a:spcAft>
                <a:spcPts val="0"/>
              </a:spcAft>
              <a:buClr>
                <a:srgbClr val="888888"/>
              </a:buClr>
              <a:buSzPts val="700"/>
              <a:buNone/>
              <a:defRPr sz="1400">
                <a:solidFill>
                  <a:srgbClr val="888888"/>
                </a:solidFill>
              </a:defRPr>
            </a:lvl7pPr>
            <a:lvl8pPr marL="7315200" lvl="7" indent="-457200" algn="l" rtl="0">
              <a:spcBef>
                <a:spcPts val="200"/>
              </a:spcBef>
              <a:spcAft>
                <a:spcPts val="0"/>
              </a:spcAft>
              <a:buClr>
                <a:srgbClr val="888888"/>
              </a:buClr>
              <a:buSzPts val="700"/>
              <a:buNone/>
              <a:defRPr sz="1400">
                <a:solidFill>
                  <a:srgbClr val="888888"/>
                </a:solidFill>
              </a:defRPr>
            </a:lvl8pPr>
            <a:lvl9pPr marL="8229600" lvl="8" indent="-457200" algn="l" rtl="0">
              <a:spcBef>
                <a:spcPts val="200"/>
              </a:spcBef>
              <a:spcAft>
                <a:spcPts val="0"/>
              </a:spcAft>
              <a:buClr>
                <a:srgbClr val="888888"/>
              </a:buClr>
              <a:buSzPts val="700"/>
              <a:buNone/>
              <a:defRPr sz="1400">
                <a:solidFill>
                  <a:srgbClr val="888888"/>
                </a:solidFill>
              </a:defRPr>
            </a:lvl9pPr>
          </a:lstStyle>
          <a:p>
            <a:endParaRPr/>
          </a:p>
        </p:txBody>
      </p:sp>
      <p:sp>
        <p:nvSpPr>
          <p:cNvPr id="53" name="Google Shape;53;p13"/>
          <p:cNvSpPr txBox="1">
            <a:spLocks noGrp="1"/>
          </p:cNvSpPr>
          <p:nvPr>
            <p:ph type="dt" idx="10"/>
          </p:nvPr>
        </p:nvSpPr>
        <p:spPr>
          <a:xfrm>
            <a:off x="457200" y="6356350"/>
            <a:ext cx="2133600" cy="365400"/>
          </a:xfrm>
          <a:prstGeom prst="rect">
            <a:avLst/>
          </a:prstGeom>
          <a:noFill/>
          <a:ln>
            <a:noFill/>
          </a:ln>
        </p:spPr>
        <p:txBody>
          <a:bodyPr spcFirstLastPara="1" wrap="square" lIns="45725" tIns="22850" rIns="45725" bIns="22850" anchor="ctr" anchorCtr="0">
            <a:noAutofit/>
          </a:bodyPr>
          <a:lstStyle>
            <a:lvl1pPr lvl="0" algn="l" rtl="0">
              <a:spcBef>
                <a:spcPts val="0"/>
              </a:spcBef>
              <a:spcAft>
                <a:spcPts val="0"/>
              </a:spcAft>
              <a:buSzPts val="700"/>
              <a:buNone/>
              <a:defRPr sz="1400"/>
            </a:lvl1pPr>
            <a:lvl2pPr lvl="1" algn="l" rtl="0">
              <a:spcBef>
                <a:spcPts val="0"/>
              </a:spcBef>
              <a:spcAft>
                <a:spcPts val="0"/>
              </a:spcAft>
              <a:buSzPts val="700"/>
              <a:buNone/>
              <a:defRPr sz="1400"/>
            </a:lvl2pPr>
            <a:lvl3pPr lvl="2" algn="l" rtl="0">
              <a:spcBef>
                <a:spcPts val="0"/>
              </a:spcBef>
              <a:spcAft>
                <a:spcPts val="0"/>
              </a:spcAft>
              <a:buSzPts val="700"/>
              <a:buNone/>
              <a:defRPr sz="1400"/>
            </a:lvl3pPr>
            <a:lvl4pPr lvl="3" algn="l" rtl="0">
              <a:spcBef>
                <a:spcPts val="0"/>
              </a:spcBef>
              <a:spcAft>
                <a:spcPts val="0"/>
              </a:spcAft>
              <a:buSzPts val="700"/>
              <a:buNone/>
              <a:defRPr sz="1400"/>
            </a:lvl4pPr>
            <a:lvl5pPr lvl="4" algn="l" rtl="0">
              <a:spcBef>
                <a:spcPts val="0"/>
              </a:spcBef>
              <a:spcAft>
                <a:spcPts val="0"/>
              </a:spcAft>
              <a:buSzPts val="700"/>
              <a:buNone/>
              <a:defRPr sz="1400"/>
            </a:lvl5pPr>
            <a:lvl6pPr lvl="5" algn="l" rtl="0">
              <a:spcBef>
                <a:spcPts val="0"/>
              </a:spcBef>
              <a:spcAft>
                <a:spcPts val="0"/>
              </a:spcAft>
              <a:buSzPts val="700"/>
              <a:buNone/>
              <a:defRPr sz="1400"/>
            </a:lvl6pPr>
            <a:lvl7pPr lvl="6" algn="l" rtl="0">
              <a:spcBef>
                <a:spcPts val="0"/>
              </a:spcBef>
              <a:spcAft>
                <a:spcPts val="0"/>
              </a:spcAft>
              <a:buSzPts val="700"/>
              <a:buNone/>
              <a:defRPr sz="1400"/>
            </a:lvl7pPr>
            <a:lvl8pPr lvl="7" algn="l" rtl="0">
              <a:spcBef>
                <a:spcPts val="0"/>
              </a:spcBef>
              <a:spcAft>
                <a:spcPts val="0"/>
              </a:spcAft>
              <a:buSzPts val="700"/>
              <a:buNone/>
              <a:defRPr sz="1400"/>
            </a:lvl8pPr>
            <a:lvl9pPr lvl="8" algn="l" rtl="0">
              <a:spcBef>
                <a:spcPts val="0"/>
              </a:spcBef>
              <a:spcAft>
                <a:spcPts val="0"/>
              </a:spcAft>
              <a:buSzPts val="700"/>
              <a:buNone/>
              <a:defRPr sz="1400"/>
            </a:lvl9pPr>
          </a:lstStyle>
          <a:p>
            <a:endParaRPr/>
          </a:p>
        </p:txBody>
      </p:sp>
      <p:sp>
        <p:nvSpPr>
          <p:cNvPr id="54" name="Google Shape;54;p13"/>
          <p:cNvSpPr txBox="1">
            <a:spLocks noGrp="1"/>
          </p:cNvSpPr>
          <p:nvPr>
            <p:ph type="ftr" idx="11"/>
          </p:nvPr>
        </p:nvSpPr>
        <p:spPr>
          <a:xfrm>
            <a:off x="3124200" y="6356350"/>
            <a:ext cx="2895600" cy="365400"/>
          </a:xfrm>
          <a:prstGeom prst="rect">
            <a:avLst/>
          </a:prstGeom>
          <a:noFill/>
          <a:ln>
            <a:noFill/>
          </a:ln>
        </p:spPr>
        <p:txBody>
          <a:bodyPr spcFirstLastPara="1" wrap="square" lIns="45725" tIns="22850" rIns="45725" bIns="22850" anchor="ctr" anchorCtr="0">
            <a:noAutofit/>
          </a:bodyPr>
          <a:lstStyle>
            <a:lvl1pPr lvl="0" algn="ctr" rtl="0">
              <a:spcBef>
                <a:spcPts val="0"/>
              </a:spcBef>
              <a:spcAft>
                <a:spcPts val="0"/>
              </a:spcAft>
              <a:buSzPts val="700"/>
              <a:buNone/>
              <a:defRPr sz="1400"/>
            </a:lvl1pPr>
            <a:lvl2pPr lvl="1" algn="l" rtl="0">
              <a:spcBef>
                <a:spcPts val="0"/>
              </a:spcBef>
              <a:spcAft>
                <a:spcPts val="0"/>
              </a:spcAft>
              <a:buSzPts val="700"/>
              <a:buNone/>
              <a:defRPr sz="1400"/>
            </a:lvl2pPr>
            <a:lvl3pPr lvl="2" algn="l" rtl="0">
              <a:spcBef>
                <a:spcPts val="0"/>
              </a:spcBef>
              <a:spcAft>
                <a:spcPts val="0"/>
              </a:spcAft>
              <a:buSzPts val="700"/>
              <a:buNone/>
              <a:defRPr sz="1400"/>
            </a:lvl3pPr>
            <a:lvl4pPr lvl="3" algn="l" rtl="0">
              <a:spcBef>
                <a:spcPts val="0"/>
              </a:spcBef>
              <a:spcAft>
                <a:spcPts val="0"/>
              </a:spcAft>
              <a:buSzPts val="700"/>
              <a:buNone/>
              <a:defRPr sz="1400"/>
            </a:lvl4pPr>
            <a:lvl5pPr lvl="4" algn="l" rtl="0">
              <a:spcBef>
                <a:spcPts val="0"/>
              </a:spcBef>
              <a:spcAft>
                <a:spcPts val="0"/>
              </a:spcAft>
              <a:buSzPts val="700"/>
              <a:buNone/>
              <a:defRPr sz="1400"/>
            </a:lvl5pPr>
            <a:lvl6pPr lvl="5" algn="l" rtl="0">
              <a:spcBef>
                <a:spcPts val="0"/>
              </a:spcBef>
              <a:spcAft>
                <a:spcPts val="0"/>
              </a:spcAft>
              <a:buSzPts val="700"/>
              <a:buNone/>
              <a:defRPr sz="1400"/>
            </a:lvl6pPr>
            <a:lvl7pPr lvl="6" algn="l" rtl="0">
              <a:spcBef>
                <a:spcPts val="0"/>
              </a:spcBef>
              <a:spcAft>
                <a:spcPts val="0"/>
              </a:spcAft>
              <a:buSzPts val="700"/>
              <a:buNone/>
              <a:defRPr sz="1400"/>
            </a:lvl7pPr>
            <a:lvl8pPr lvl="7" algn="l" rtl="0">
              <a:spcBef>
                <a:spcPts val="0"/>
              </a:spcBef>
              <a:spcAft>
                <a:spcPts val="0"/>
              </a:spcAft>
              <a:buSzPts val="700"/>
              <a:buNone/>
              <a:defRPr sz="1400"/>
            </a:lvl8pPr>
            <a:lvl9pPr lvl="8" algn="l" rtl="0">
              <a:spcBef>
                <a:spcPts val="0"/>
              </a:spcBef>
              <a:spcAft>
                <a:spcPts val="0"/>
              </a:spcAft>
              <a:buSzPts val="700"/>
              <a:buNone/>
              <a:defRPr sz="1400"/>
            </a:lvl9pPr>
          </a:lstStyle>
          <a:p>
            <a:endParaRPr/>
          </a:p>
        </p:txBody>
      </p:sp>
      <p:sp>
        <p:nvSpPr>
          <p:cNvPr id="55" name="Google Shape;55;p13"/>
          <p:cNvSpPr txBox="1">
            <a:spLocks noGrp="1"/>
          </p:cNvSpPr>
          <p:nvPr>
            <p:ph type="sldNum" idx="12"/>
          </p:nvPr>
        </p:nvSpPr>
        <p:spPr>
          <a:xfrm>
            <a:off x="6553200" y="6356350"/>
            <a:ext cx="2133600" cy="365400"/>
          </a:xfrm>
          <a:prstGeom prst="rect">
            <a:avLst/>
          </a:prstGeom>
          <a:noFill/>
          <a:ln>
            <a:noFill/>
          </a:ln>
        </p:spPr>
        <p:txBody>
          <a:bodyPr spcFirstLastPara="1" wrap="square" lIns="45725" tIns="22850" rIns="45725" bIns="22850" anchor="ctr" anchorCtr="0">
            <a:normAutofit lnSpcReduction="20000"/>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241152670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matchingName="Blank 1">
  <p:cSld name="Blank 1">
    <p:spTree>
      <p:nvGrpSpPr>
        <p:cNvPr id="1" name="Shape 56"/>
        <p:cNvGrpSpPr/>
        <p:nvPr/>
      </p:nvGrpSpPr>
      <p:grpSpPr>
        <a:xfrm>
          <a:off x="0" y="0"/>
          <a:ext cx="0" cy="0"/>
          <a:chOff x="0" y="0"/>
          <a:chExt cx="0" cy="0"/>
        </a:xfrm>
      </p:grpSpPr>
    </p:spTree>
    <p:extLst>
      <p:ext uri="{BB962C8B-B14F-4D97-AF65-F5344CB8AC3E}">
        <p14:creationId xmlns:p14="http://schemas.microsoft.com/office/powerpoint/2010/main" val="16611624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itle and body 1" preserve="1">
  <p:cSld name="Title and body 1">
    <p:bg>
      <p:bgPr>
        <a:solidFill>
          <a:srgbClr val="222222"/>
        </a:solidFill>
        <a:effectLst/>
      </p:bgPr>
    </p:bg>
    <p:spTree>
      <p:nvGrpSpPr>
        <p:cNvPr id="1" name="Shape 80"/>
        <p:cNvGrpSpPr/>
        <p:nvPr/>
      </p:nvGrpSpPr>
      <p:grpSpPr>
        <a:xfrm>
          <a:off x="0" y="0"/>
          <a:ext cx="0" cy="0"/>
          <a:chOff x="0" y="0"/>
          <a:chExt cx="0" cy="0"/>
        </a:xfrm>
      </p:grpSpPr>
      <p:sp>
        <p:nvSpPr>
          <p:cNvPr id="81" name="Google Shape;81;p13"/>
          <p:cNvSpPr txBox="1">
            <a:spLocks noGrp="1"/>
          </p:cNvSpPr>
          <p:nvPr>
            <p:ph type="title"/>
          </p:nvPr>
        </p:nvSpPr>
        <p:spPr>
          <a:xfrm>
            <a:off x="1080600" y="1042450"/>
            <a:ext cx="10216200" cy="11454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FFFFFF"/>
              </a:buClr>
              <a:buSzPts val="2000"/>
              <a:buNone/>
              <a:defRPr sz="4000">
                <a:solidFill>
                  <a:srgbClr val="FFFFFF"/>
                </a:solidFill>
              </a:defRPr>
            </a:lvl1pPr>
            <a:lvl2pPr lvl="1" rtl="0">
              <a:spcBef>
                <a:spcPts val="0"/>
              </a:spcBef>
              <a:spcAft>
                <a:spcPts val="0"/>
              </a:spcAft>
              <a:buClr>
                <a:srgbClr val="FFFFFF"/>
              </a:buClr>
              <a:buSzPts val="2000"/>
              <a:buNone/>
              <a:defRPr>
                <a:solidFill>
                  <a:srgbClr val="FFFFFF"/>
                </a:solidFill>
              </a:defRPr>
            </a:lvl2pPr>
            <a:lvl3pPr lvl="2" rtl="0">
              <a:spcBef>
                <a:spcPts val="0"/>
              </a:spcBef>
              <a:spcAft>
                <a:spcPts val="0"/>
              </a:spcAft>
              <a:buClr>
                <a:srgbClr val="FFFFFF"/>
              </a:buClr>
              <a:buSzPts val="2000"/>
              <a:buNone/>
              <a:defRPr>
                <a:solidFill>
                  <a:srgbClr val="FFFFFF"/>
                </a:solidFill>
              </a:defRPr>
            </a:lvl3pPr>
            <a:lvl4pPr lvl="3" rtl="0">
              <a:spcBef>
                <a:spcPts val="0"/>
              </a:spcBef>
              <a:spcAft>
                <a:spcPts val="0"/>
              </a:spcAft>
              <a:buClr>
                <a:srgbClr val="FFFFFF"/>
              </a:buClr>
              <a:buSzPts val="2000"/>
              <a:buNone/>
              <a:defRPr>
                <a:solidFill>
                  <a:srgbClr val="FFFFFF"/>
                </a:solidFill>
              </a:defRPr>
            </a:lvl4pPr>
            <a:lvl5pPr lvl="4" rtl="0">
              <a:spcBef>
                <a:spcPts val="0"/>
              </a:spcBef>
              <a:spcAft>
                <a:spcPts val="0"/>
              </a:spcAft>
              <a:buClr>
                <a:srgbClr val="FFFFFF"/>
              </a:buClr>
              <a:buSzPts val="2000"/>
              <a:buNone/>
              <a:defRPr>
                <a:solidFill>
                  <a:srgbClr val="FFFFFF"/>
                </a:solidFill>
              </a:defRPr>
            </a:lvl5pPr>
            <a:lvl6pPr lvl="5" rtl="0">
              <a:spcBef>
                <a:spcPts val="0"/>
              </a:spcBef>
              <a:spcAft>
                <a:spcPts val="0"/>
              </a:spcAft>
              <a:buClr>
                <a:srgbClr val="FFFFFF"/>
              </a:buClr>
              <a:buSzPts val="2000"/>
              <a:buNone/>
              <a:defRPr>
                <a:solidFill>
                  <a:srgbClr val="FFFFFF"/>
                </a:solidFill>
              </a:defRPr>
            </a:lvl6pPr>
            <a:lvl7pPr lvl="6" rtl="0">
              <a:spcBef>
                <a:spcPts val="0"/>
              </a:spcBef>
              <a:spcAft>
                <a:spcPts val="0"/>
              </a:spcAft>
              <a:buClr>
                <a:srgbClr val="FFFFFF"/>
              </a:buClr>
              <a:buSzPts val="2000"/>
              <a:buNone/>
              <a:defRPr>
                <a:solidFill>
                  <a:srgbClr val="FFFFFF"/>
                </a:solidFill>
              </a:defRPr>
            </a:lvl7pPr>
            <a:lvl8pPr lvl="7" rtl="0">
              <a:spcBef>
                <a:spcPts val="0"/>
              </a:spcBef>
              <a:spcAft>
                <a:spcPts val="0"/>
              </a:spcAft>
              <a:buClr>
                <a:srgbClr val="FFFFFF"/>
              </a:buClr>
              <a:buSzPts val="2000"/>
              <a:buNone/>
              <a:defRPr>
                <a:solidFill>
                  <a:srgbClr val="FFFFFF"/>
                </a:solidFill>
              </a:defRPr>
            </a:lvl8pPr>
            <a:lvl9pPr lvl="8" rtl="0">
              <a:spcBef>
                <a:spcPts val="0"/>
              </a:spcBef>
              <a:spcAft>
                <a:spcPts val="0"/>
              </a:spcAft>
              <a:buClr>
                <a:srgbClr val="FFFFFF"/>
              </a:buClr>
              <a:buSzPts val="2000"/>
              <a:buNone/>
              <a:defRPr>
                <a:solidFill>
                  <a:srgbClr val="FFFFFF"/>
                </a:solidFill>
              </a:defRPr>
            </a:lvl9pPr>
          </a:lstStyle>
          <a:p>
            <a:endParaRPr/>
          </a:p>
        </p:txBody>
      </p:sp>
      <p:sp>
        <p:nvSpPr>
          <p:cNvPr id="82" name="Google Shape;82;p13"/>
          <p:cNvSpPr txBox="1">
            <a:spLocks noGrp="1"/>
          </p:cNvSpPr>
          <p:nvPr>
            <p:ph type="body" idx="1"/>
          </p:nvPr>
        </p:nvSpPr>
        <p:spPr>
          <a:xfrm>
            <a:off x="490000" y="5128700"/>
            <a:ext cx="12462600" cy="5891400"/>
          </a:xfrm>
          <a:prstGeom prst="rect">
            <a:avLst/>
          </a:prstGeom>
        </p:spPr>
        <p:txBody>
          <a:bodyPr spcFirstLastPara="1" wrap="square" lIns="91425" tIns="91425" rIns="91425" bIns="91425" anchor="t" anchorCtr="0">
            <a:noAutofit/>
          </a:bodyPr>
          <a:lstStyle>
            <a:lvl1pPr marL="914400" lvl="0" indent="-609600" rtl="0">
              <a:spcBef>
                <a:spcPts val="0"/>
              </a:spcBef>
              <a:spcAft>
                <a:spcPts val="0"/>
              </a:spcAft>
              <a:buClr>
                <a:srgbClr val="FFFFFF"/>
              </a:buClr>
              <a:buSzPts val="1200"/>
              <a:buChar char="●"/>
              <a:defRPr sz="2400">
                <a:solidFill>
                  <a:srgbClr val="FFFFFF"/>
                </a:solidFill>
              </a:defRPr>
            </a:lvl1pPr>
            <a:lvl2pPr marL="1828800" lvl="1" indent="-609600" rtl="0">
              <a:spcBef>
                <a:spcPts val="3200"/>
              </a:spcBef>
              <a:spcAft>
                <a:spcPts val="0"/>
              </a:spcAft>
              <a:buClr>
                <a:srgbClr val="FFFFFF"/>
              </a:buClr>
              <a:buSzPts val="1200"/>
              <a:buChar char="○"/>
              <a:defRPr sz="2400">
                <a:solidFill>
                  <a:srgbClr val="FFFFFF"/>
                </a:solidFill>
              </a:defRPr>
            </a:lvl2pPr>
            <a:lvl3pPr marL="2743200" lvl="2" indent="-584200" rtl="0">
              <a:spcBef>
                <a:spcPts val="3200"/>
              </a:spcBef>
              <a:spcAft>
                <a:spcPts val="0"/>
              </a:spcAft>
              <a:buClr>
                <a:srgbClr val="FFFFFF"/>
              </a:buClr>
              <a:buSzPts val="1000"/>
              <a:buChar char="■"/>
              <a:defRPr sz="2000">
                <a:solidFill>
                  <a:srgbClr val="FFFFFF"/>
                </a:solidFill>
              </a:defRPr>
            </a:lvl3pPr>
            <a:lvl4pPr marL="3657600" lvl="3" indent="-584200" rtl="0">
              <a:spcBef>
                <a:spcPts val="3200"/>
              </a:spcBef>
              <a:spcAft>
                <a:spcPts val="0"/>
              </a:spcAft>
              <a:buClr>
                <a:srgbClr val="FFFFFF"/>
              </a:buClr>
              <a:buSzPts val="1000"/>
              <a:buChar char="●"/>
              <a:defRPr sz="2000">
                <a:solidFill>
                  <a:srgbClr val="FFFFFF"/>
                </a:solidFill>
              </a:defRPr>
            </a:lvl4pPr>
            <a:lvl5pPr marL="4572000" lvl="4" indent="-558800" rtl="0">
              <a:spcBef>
                <a:spcPts val="3200"/>
              </a:spcBef>
              <a:spcAft>
                <a:spcPts val="0"/>
              </a:spcAft>
              <a:buClr>
                <a:srgbClr val="FFFFFF"/>
              </a:buClr>
              <a:buSzPts val="800"/>
              <a:buChar char="○"/>
              <a:defRPr sz="1600">
                <a:solidFill>
                  <a:srgbClr val="FFFFFF"/>
                </a:solidFill>
              </a:defRPr>
            </a:lvl5pPr>
            <a:lvl6pPr marL="5486400" lvl="5" indent="-558800" rtl="0">
              <a:spcBef>
                <a:spcPts val="3200"/>
              </a:spcBef>
              <a:spcAft>
                <a:spcPts val="0"/>
              </a:spcAft>
              <a:buClr>
                <a:srgbClr val="FFFFFF"/>
              </a:buClr>
              <a:buSzPts val="800"/>
              <a:buChar char="■"/>
              <a:defRPr sz="1600">
                <a:solidFill>
                  <a:srgbClr val="FFFFFF"/>
                </a:solidFill>
              </a:defRPr>
            </a:lvl6pPr>
            <a:lvl7pPr marL="6400800" lvl="6" indent="-609600" rtl="0">
              <a:spcBef>
                <a:spcPts val="3200"/>
              </a:spcBef>
              <a:spcAft>
                <a:spcPts val="0"/>
              </a:spcAft>
              <a:buClr>
                <a:srgbClr val="FFFFFF"/>
              </a:buClr>
              <a:buSzPts val="1200"/>
              <a:buChar char="●"/>
              <a:defRPr>
                <a:solidFill>
                  <a:srgbClr val="FFFFFF"/>
                </a:solidFill>
              </a:defRPr>
            </a:lvl7pPr>
            <a:lvl8pPr marL="7315200" lvl="7" indent="-609600" rtl="0">
              <a:spcBef>
                <a:spcPts val="3200"/>
              </a:spcBef>
              <a:spcAft>
                <a:spcPts val="0"/>
              </a:spcAft>
              <a:buClr>
                <a:srgbClr val="FFFFFF"/>
              </a:buClr>
              <a:buSzPts val="1200"/>
              <a:buChar char="○"/>
              <a:defRPr>
                <a:solidFill>
                  <a:srgbClr val="FFFFFF"/>
                </a:solidFill>
              </a:defRPr>
            </a:lvl8pPr>
            <a:lvl9pPr marL="8229600" lvl="8" indent="-609600" rtl="0">
              <a:spcBef>
                <a:spcPts val="3200"/>
              </a:spcBef>
              <a:spcAft>
                <a:spcPts val="3200"/>
              </a:spcAft>
              <a:buClr>
                <a:srgbClr val="FFFFFF"/>
              </a:buClr>
              <a:buSzPts val="1200"/>
              <a:buChar char="■"/>
              <a:defRPr>
                <a:solidFill>
                  <a:srgbClr val="FFFFFF"/>
                </a:solidFill>
              </a:defRPr>
            </a:lvl9pPr>
          </a:lstStyle>
          <a:p>
            <a:endParaRPr/>
          </a:p>
        </p:txBody>
      </p:sp>
      <p:sp>
        <p:nvSpPr>
          <p:cNvPr id="83" name="Google Shape;83;p13"/>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pic>
        <p:nvPicPr>
          <p:cNvPr id="84" name="Google Shape;84;p1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4741150" y="0"/>
            <a:ext cx="3546850" cy="4093548"/>
          </a:xfrm>
          <a:prstGeom prst="rect">
            <a:avLst/>
          </a:prstGeom>
          <a:noFill/>
          <a:ln>
            <a:noFill/>
          </a:ln>
        </p:spPr>
      </p:pic>
      <p:pic>
        <p:nvPicPr>
          <p:cNvPr id="85" name="Google Shape;85;p13"/>
          <p:cNvPicPr preferRelativeResize="0"/>
          <p:nvPr/>
        </p:nvPicPr>
        <p:blipFill>
          <a:blip r:embed="rId3" cstate="email">
            <a:alphaModFix/>
            <a:extLst>
              <a:ext uri="{28A0092B-C50C-407E-A947-70E740481C1C}">
                <a14:useLocalDpi xmlns:a14="http://schemas.microsoft.com/office/drawing/2010/main"/>
              </a:ext>
            </a:extLst>
          </a:blip>
          <a:stretch>
            <a:fillRect/>
          </a:stretch>
        </p:blipFill>
        <p:spPr>
          <a:xfrm>
            <a:off x="16183201" y="-304775"/>
            <a:ext cx="1799998" cy="1799998"/>
          </a:xfrm>
          <a:prstGeom prst="rect">
            <a:avLst/>
          </a:prstGeom>
          <a:noFill/>
          <a:ln>
            <a:noFill/>
          </a:ln>
        </p:spPr>
      </p:pic>
      <p:sp>
        <p:nvSpPr>
          <p:cNvPr id="86" name="Google Shape;86;p13"/>
          <p:cNvSpPr txBox="1">
            <a:spLocks noGrp="1"/>
          </p:cNvSpPr>
          <p:nvPr>
            <p:ph type="subTitle" idx="2"/>
          </p:nvPr>
        </p:nvSpPr>
        <p:spPr>
          <a:xfrm>
            <a:off x="8778900" y="8568450"/>
            <a:ext cx="9263400" cy="15852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9pPr>
          </a:lstStyle>
          <a:p>
            <a:endParaRPr/>
          </a:p>
        </p:txBody>
      </p:sp>
    </p:spTree>
    <p:extLst>
      <p:ext uri="{BB962C8B-B14F-4D97-AF65-F5344CB8AC3E}">
        <p14:creationId xmlns:p14="http://schemas.microsoft.com/office/powerpoint/2010/main" val="28828247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matchingName="Appendix">
  <p:cSld name="Appendix">
    <p:spTree>
      <p:nvGrpSpPr>
        <p:cNvPr id="1" name="Shape 57"/>
        <p:cNvGrpSpPr/>
        <p:nvPr/>
      </p:nvGrpSpPr>
      <p:grpSpPr>
        <a:xfrm>
          <a:off x="0" y="0"/>
          <a:ext cx="0" cy="0"/>
          <a:chOff x="0" y="0"/>
          <a:chExt cx="0" cy="0"/>
        </a:xfrm>
      </p:grpSpPr>
      <p:sp>
        <p:nvSpPr>
          <p:cNvPr id="58" name="Google Shape;58;p15"/>
          <p:cNvSpPr txBox="1">
            <a:spLocks noGrp="1"/>
          </p:cNvSpPr>
          <p:nvPr>
            <p:ph type="title"/>
          </p:nvPr>
        </p:nvSpPr>
        <p:spPr>
          <a:xfrm>
            <a:off x="457200" y="274638"/>
            <a:ext cx="8229600" cy="1143000"/>
          </a:xfrm>
          <a:prstGeom prst="rect">
            <a:avLst/>
          </a:prstGeom>
          <a:noFill/>
          <a:ln>
            <a:noFill/>
          </a:ln>
        </p:spPr>
        <p:txBody>
          <a:bodyPr spcFirstLastPara="1" wrap="square" lIns="45725" tIns="22850" rIns="45725" bIns="22850" anchor="ctr" anchorCtr="0">
            <a:normAutofit/>
          </a:bodyPr>
          <a:lstStyle>
            <a:lvl1pPr lvl="0" algn="ctr" rtl="0">
              <a:spcBef>
                <a:spcPts val="0"/>
              </a:spcBef>
              <a:spcAft>
                <a:spcPts val="0"/>
              </a:spcAft>
              <a:buClr>
                <a:schemeClr val="dk1"/>
              </a:buClr>
              <a:buSzPts val="2200"/>
              <a:buFont typeface="Calibri"/>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Tree>
    <p:extLst>
      <p:ext uri="{BB962C8B-B14F-4D97-AF65-F5344CB8AC3E}">
        <p14:creationId xmlns:p14="http://schemas.microsoft.com/office/powerpoint/2010/main" val="154415543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matchingName="Duas Partes de Conteúdo" type="twoObj">
  <p:cSld name="Duas Partes de Conteúdo">
    <p:spTree>
      <p:nvGrpSpPr>
        <p:cNvPr id="1" name="Shape 59"/>
        <p:cNvGrpSpPr/>
        <p:nvPr/>
      </p:nvGrpSpPr>
      <p:grpSpPr>
        <a:xfrm>
          <a:off x="0" y="0"/>
          <a:ext cx="0" cy="0"/>
          <a:chOff x="0" y="0"/>
          <a:chExt cx="0" cy="0"/>
        </a:xfrm>
      </p:grpSpPr>
      <p:sp>
        <p:nvSpPr>
          <p:cNvPr id="60" name="Google Shape;60;p16"/>
          <p:cNvSpPr txBox="1">
            <a:spLocks noGrp="1"/>
          </p:cNvSpPr>
          <p:nvPr>
            <p:ph type="title"/>
          </p:nvPr>
        </p:nvSpPr>
        <p:spPr>
          <a:xfrm>
            <a:off x="1257300" y="547688"/>
            <a:ext cx="15773400" cy="1988400"/>
          </a:xfrm>
          <a:prstGeom prst="rect">
            <a:avLst/>
          </a:prstGeom>
          <a:noFill/>
          <a:ln>
            <a:noFill/>
          </a:ln>
        </p:spPr>
        <p:txBody>
          <a:bodyPr spcFirstLastPara="1" wrap="square" lIns="45725" tIns="22850" rIns="45725" bIns="22850" anchor="ctr" anchorCtr="0">
            <a:normAutofit/>
          </a:bodyPr>
          <a:lstStyle>
            <a:lvl1pPr lvl="0" algn="l" rtl="0">
              <a:lnSpc>
                <a:spcPct val="90000"/>
              </a:lnSpc>
              <a:spcBef>
                <a:spcPts val="0"/>
              </a:spcBef>
              <a:spcAft>
                <a:spcPts val="0"/>
              </a:spcAft>
              <a:buClr>
                <a:schemeClr val="dk1"/>
              </a:buClr>
              <a:buSzPts val="9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61" name="Google Shape;61;p16"/>
          <p:cNvSpPr txBox="1">
            <a:spLocks noGrp="1"/>
          </p:cNvSpPr>
          <p:nvPr>
            <p:ph type="body" idx="1"/>
          </p:nvPr>
        </p:nvSpPr>
        <p:spPr>
          <a:xfrm>
            <a:off x="1257300" y="2738438"/>
            <a:ext cx="7772400" cy="6527400"/>
          </a:xfrm>
          <a:prstGeom prst="rect">
            <a:avLst/>
          </a:prstGeom>
          <a:noFill/>
          <a:ln>
            <a:noFill/>
          </a:ln>
        </p:spPr>
        <p:txBody>
          <a:bodyPr spcFirstLastPara="1" wrap="square" lIns="45725" tIns="22850" rIns="45725" bIns="22850" anchor="t" anchorCtr="0">
            <a:normAutofit/>
          </a:bodyPr>
          <a:lstStyle>
            <a:lvl1pPr marL="914400" lvl="0" indent="-571500" algn="l" rtl="0">
              <a:lnSpc>
                <a:spcPct val="90000"/>
              </a:lnSpc>
              <a:spcBef>
                <a:spcPts val="1600"/>
              </a:spcBef>
              <a:spcAft>
                <a:spcPts val="0"/>
              </a:spcAft>
              <a:buClr>
                <a:schemeClr val="dk1"/>
              </a:buClr>
              <a:buSzPts val="900"/>
              <a:buChar char="●"/>
              <a:defRPr/>
            </a:lvl1pPr>
            <a:lvl2pPr marL="1828800" lvl="1" indent="-571500" algn="l" rtl="0">
              <a:lnSpc>
                <a:spcPct val="90000"/>
              </a:lnSpc>
              <a:spcBef>
                <a:spcPts val="800"/>
              </a:spcBef>
              <a:spcAft>
                <a:spcPts val="0"/>
              </a:spcAft>
              <a:buClr>
                <a:schemeClr val="dk1"/>
              </a:buClr>
              <a:buSzPts val="900"/>
              <a:buChar char="○"/>
              <a:defRPr/>
            </a:lvl2pPr>
            <a:lvl3pPr marL="2743200" lvl="2" indent="-571500" algn="l" rtl="0">
              <a:lnSpc>
                <a:spcPct val="90000"/>
              </a:lnSpc>
              <a:spcBef>
                <a:spcPts val="800"/>
              </a:spcBef>
              <a:spcAft>
                <a:spcPts val="0"/>
              </a:spcAft>
              <a:buClr>
                <a:schemeClr val="dk1"/>
              </a:buClr>
              <a:buSzPts val="900"/>
              <a:buChar char="■"/>
              <a:defRPr/>
            </a:lvl3pPr>
            <a:lvl4pPr marL="3657600" lvl="3" indent="-571500" algn="l" rtl="0">
              <a:lnSpc>
                <a:spcPct val="90000"/>
              </a:lnSpc>
              <a:spcBef>
                <a:spcPts val="800"/>
              </a:spcBef>
              <a:spcAft>
                <a:spcPts val="0"/>
              </a:spcAft>
              <a:buClr>
                <a:schemeClr val="dk1"/>
              </a:buClr>
              <a:buSzPts val="900"/>
              <a:buChar char="●"/>
              <a:defRPr/>
            </a:lvl4pPr>
            <a:lvl5pPr marL="4572000" lvl="4" indent="-571500" algn="l" rtl="0">
              <a:lnSpc>
                <a:spcPct val="90000"/>
              </a:lnSpc>
              <a:spcBef>
                <a:spcPts val="800"/>
              </a:spcBef>
              <a:spcAft>
                <a:spcPts val="0"/>
              </a:spcAft>
              <a:buClr>
                <a:schemeClr val="dk1"/>
              </a:buClr>
              <a:buSzPts val="900"/>
              <a:buChar char="○"/>
              <a:defRPr/>
            </a:lvl5pPr>
            <a:lvl6pPr marL="5486400" lvl="5" indent="-571500" algn="l" rtl="0">
              <a:lnSpc>
                <a:spcPct val="90000"/>
              </a:lnSpc>
              <a:spcBef>
                <a:spcPts val="800"/>
              </a:spcBef>
              <a:spcAft>
                <a:spcPts val="0"/>
              </a:spcAft>
              <a:buClr>
                <a:schemeClr val="dk1"/>
              </a:buClr>
              <a:buSzPts val="900"/>
              <a:buChar char="■"/>
              <a:defRPr/>
            </a:lvl6pPr>
            <a:lvl7pPr marL="6400800" lvl="6" indent="-571500" algn="l" rtl="0">
              <a:lnSpc>
                <a:spcPct val="90000"/>
              </a:lnSpc>
              <a:spcBef>
                <a:spcPts val="800"/>
              </a:spcBef>
              <a:spcAft>
                <a:spcPts val="0"/>
              </a:spcAft>
              <a:buClr>
                <a:schemeClr val="dk1"/>
              </a:buClr>
              <a:buSzPts val="900"/>
              <a:buChar char="●"/>
              <a:defRPr/>
            </a:lvl7pPr>
            <a:lvl8pPr marL="7315200" lvl="7" indent="-571500" algn="l" rtl="0">
              <a:lnSpc>
                <a:spcPct val="90000"/>
              </a:lnSpc>
              <a:spcBef>
                <a:spcPts val="800"/>
              </a:spcBef>
              <a:spcAft>
                <a:spcPts val="0"/>
              </a:spcAft>
              <a:buClr>
                <a:schemeClr val="dk1"/>
              </a:buClr>
              <a:buSzPts val="900"/>
              <a:buChar char="○"/>
              <a:defRPr/>
            </a:lvl8pPr>
            <a:lvl9pPr marL="8229600" lvl="8" indent="-571500" algn="l" rtl="0">
              <a:lnSpc>
                <a:spcPct val="90000"/>
              </a:lnSpc>
              <a:spcBef>
                <a:spcPts val="800"/>
              </a:spcBef>
              <a:spcAft>
                <a:spcPts val="0"/>
              </a:spcAft>
              <a:buClr>
                <a:schemeClr val="dk1"/>
              </a:buClr>
              <a:buSzPts val="900"/>
              <a:buChar char="■"/>
              <a:defRPr/>
            </a:lvl9pPr>
          </a:lstStyle>
          <a:p>
            <a:endParaRPr/>
          </a:p>
        </p:txBody>
      </p:sp>
      <p:sp>
        <p:nvSpPr>
          <p:cNvPr id="62" name="Google Shape;62;p16"/>
          <p:cNvSpPr txBox="1">
            <a:spLocks noGrp="1"/>
          </p:cNvSpPr>
          <p:nvPr>
            <p:ph type="body" idx="2"/>
          </p:nvPr>
        </p:nvSpPr>
        <p:spPr>
          <a:xfrm>
            <a:off x="9258300" y="2738438"/>
            <a:ext cx="7772400" cy="6527400"/>
          </a:xfrm>
          <a:prstGeom prst="rect">
            <a:avLst/>
          </a:prstGeom>
          <a:noFill/>
          <a:ln>
            <a:noFill/>
          </a:ln>
        </p:spPr>
        <p:txBody>
          <a:bodyPr spcFirstLastPara="1" wrap="square" lIns="45725" tIns="22850" rIns="45725" bIns="22850" anchor="t" anchorCtr="0">
            <a:normAutofit/>
          </a:bodyPr>
          <a:lstStyle>
            <a:lvl1pPr marL="914400" lvl="0" indent="-571500" algn="l" rtl="0">
              <a:lnSpc>
                <a:spcPct val="90000"/>
              </a:lnSpc>
              <a:spcBef>
                <a:spcPts val="1600"/>
              </a:spcBef>
              <a:spcAft>
                <a:spcPts val="0"/>
              </a:spcAft>
              <a:buClr>
                <a:schemeClr val="dk1"/>
              </a:buClr>
              <a:buSzPts val="900"/>
              <a:buChar char="●"/>
              <a:defRPr/>
            </a:lvl1pPr>
            <a:lvl2pPr marL="1828800" lvl="1" indent="-571500" algn="l" rtl="0">
              <a:lnSpc>
                <a:spcPct val="90000"/>
              </a:lnSpc>
              <a:spcBef>
                <a:spcPts val="800"/>
              </a:spcBef>
              <a:spcAft>
                <a:spcPts val="0"/>
              </a:spcAft>
              <a:buClr>
                <a:schemeClr val="dk1"/>
              </a:buClr>
              <a:buSzPts val="900"/>
              <a:buChar char="○"/>
              <a:defRPr/>
            </a:lvl2pPr>
            <a:lvl3pPr marL="2743200" lvl="2" indent="-571500" algn="l" rtl="0">
              <a:lnSpc>
                <a:spcPct val="90000"/>
              </a:lnSpc>
              <a:spcBef>
                <a:spcPts val="800"/>
              </a:spcBef>
              <a:spcAft>
                <a:spcPts val="0"/>
              </a:spcAft>
              <a:buClr>
                <a:schemeClr val="dk1"/>
              </a:buClr>
              <a:buSzPts val="900"/>
              <a:buChar char="■"/>
              <a:defRPr/>
            </a:lvl3pPr>
            <a:lvl4pPr marL="3657600" lvl="3" indent="-571500" algn="l" rtl="0">
              <a:lnSpc>
                <a:spcPct val="90000"/>
              </a:lnSpc>
              <a:spcBef>
                <a:spcPts val="800"/>
              </a:spcBef>
              <a:spcAft>
                <a:spcPts val="0"/>
              </a:spcAft>
              <a:buClr>
                <a:schemeClr val="dk1"/>
              </a:buClr>
              <a:buSzPts val="900"/>
              <a:buChar char="●"/>
              <a:defRPr/>
            </a:lvl4pPr>
            <a:lvl5pPr marL="4572000" lvl="4" indent="-571500" algn="l" rtl="0">
              <a:lnSpc>
                <a:spcPct val="90000"/>
              </a:lnSpc>
              <a:spcBef>
                <a:spcPts val="800"/>
              </a:spcBef>
              <a:spcAft>
                <a:spcPts val="0"/>
              </a:spcAft>
              <a:buClr>
                <a:schemeClr val="dk1"/>
              </a:buClr>
              <a:buSzPts val="900"/>
              <a:buChar char="○"/>
              <a:defRPr/>
            </a:lvl5pPr>
            <a:lvl6pPr marL="5486400" lvl="5" indent="-571500" algn="l" rtl="0">
              <a:lnSpc>
                <a:spcPct val="90000"/>
              </a:lnSpc>
              <a:spcBef>
                <a:spcPts val="800"/>
              </a:spcBef>
              <a:spcAft>
                <a:spcPts val="0"/>
              </a:spcAft>
              <a:buClr>
                <a:schemeClr val="dk1"/>
              </a:buClr>
              <a:buSzPts val="900"/>
              <a:buChar char="■"/>
              <a:defRPr/>
            </a:lvl6pPr>
            <a:lvl7pPr marL="6400800" lvl="6" indent="-571500" algn="l" rtl="0">
              <a:lnSpc>
                <a:spcPct val="90000"/>
              </a:lnSpc>
              <a:spcBef>
                <a:spcPts val="800"/>
              </a:spcBef>
              <a:spcAft>
                <a:spcPts val="0"/>
              </a:spcAft>
              <a:buClr>
                <a:schemeClr val="dk1"/>
              </a:buClr>
              <a:buSzPts val="900"/>
              <a:buChar char="●"/>
              <a:defRPr/>
            </a:lvl7pPr>
            <a:lvl8pPr marL="7315200" lvl="7" indent="-571500" algn="l" rtl="0">
              <a:lnSpc>
                <a:spcPct val="90000"/>
              </a:lnSpc>
              <a:spcBef>
                <a:spcPts val="800"/>
              </a:spcBef>
              <a:spcAft>
                <a:spcPts val="0"/>
              </a:spcAft>
              <a:buClr>
                <a:schemeClr val="dk1"/>
              </a:buClr>
              <a:buSzPts val="900"/>
              <a:buChar char="○"/>
              <a:defRPr/>
            </a:lvl8pPr>
            <a:lvl9pPr marL="8229600" lvl="8" indent="-571500" algn="l" rtl="0">
              <a:lnSpc>
                <a:spcPct val="90000"/>
              </a:lnSpc>
              <a:spcBef>
                <a:spcPts val="800"/>
              </a:spcBef>
              <a:spcAft>
                <a:spcPts val="0"/>
              </a:spcAft>
              <a:buClr>
                <a:schemeClr val="dk1"/>
              </a:buClr>
              <a:buSzPts val="900"/>
              <a:buChar char="■"/>
              <a:defRPr/>
            </a:lvl9pPr>
          </a:lstStyle>
          <a:p>
            <a:endParaRPr/>
          </a:p>
        </p:txBody>
      </p:sp>
      <p:sp>
        <p:nvSpPr>
          <p:cNvPr id="63" name="Google Shape;63;p16"/>
          <p:cNvSpPr txBox="1">
            <a:spLocks noGrp="1"/>
          </p:cNvSpPr>
          <p:nvPr>
            <p:ph type="dt" idx="10"/>
          </p:nvPr>
        </p:nvSpPr>
        <p:spPr>
          <a:xfrm>
            <a:off x="1257300" y="9534526"/>
            <a:ext cx="4114800" cy="547800"/>
          </a:xfrm>
          <a:prstGeom prst="rect">
            <a:avLst/>
          </a:prstGeom>
          <a:noFill/>
          <a:ln>
            <a:noFill/>
          </a:ln>
        </p:spPr>
        <p:txBody>
          <a:bodyPr spcFirstLastPara="1" wrap="square" lIns="45725" tIns="22850" rIns="45725" bIns="22850" anchor="ctr" anchorCtr="0">
            <a:noAutofit/>
          </a:bodyPr>
          <a:lstStyle>
            <a:lvl1pPr lvl="0" algn="l" rtl="0">
              <a:spcBef>
                <a:spcPts val="0"/>
              </a:spcBef>
              <a:spcAft>
                <a:spcPts val="0"/>
              </a:spcAft>
              <a:buSzPts val="700"/>
              <a:buNone/>
              <a:defRPr sz="1400"/>
            </a:lvl1pPr>
            <a:lvl2pPr lvl="1" algn="l" rtl="0">
              <a:spcBef>
                <a:spcPts val="0"/>
              </a:spcBef>
              <a:spcAft>
                <a:spcPts val="0"/>
              </a:spcAft>
              <a:buSzPts val="700"/>
              <a:buNone/>
              <a:defRPr sz="1400"/>
            </a:lvl2pPr>
            <a:lvl3pPr lvl="2" algn="l" rtl="0">
              <a:spcBef>
                <a:spcPts val="0"/>
              </a:spcBef>
              <a:spcAft>
                <a:spcPts val="0"/>
              </a:spcAft>
              <a:buSzPts val="700"/>
              <a:buNone/>
              <a:defRPr sz="1400"/>
            </a:lvl3pPr>
            <a:lvl4pPr lvl="3" algn="l" rtl="0">
              <a:spcBef>
                <a:spcPts val="0"/>
              </a:spcBef>
              <a:spcAft>
                <a:spcPts val="0"/>
              </a:spcAft>
              <a:buSzPts val="700"/>
              <a:buNone/>
              <a:defRPr sz="1400"/>
            </a:lvl4pPr>
            <a:lvl5pPr lvl="4" algn="l" rtl="0">
              <a:spcBef>
                <a:spcPts val="0"/>
              </a:spcBef>
              <a:spcAft>
                <a:spcPts val="0"/>
              </a:spcAft>
              <a:buSzPts val="700"/>
              <a:buNone/>
              <a:defRPr sz="1400"/>
            </a:lvl5pPr>
            <a:lvl6pPr lvl="5" algn="l" rtl="0">
              <a:spcBef>
                <a:spcPts val="0"/>
              </a:spcBef>
              <a:spcAft>
                <a:spcPts val="0"/>
              </a:spcAft>
              <a:buSzPts val="700"/>
              <a:buNone/>
              <a:defRPr sz="1400"/>
            </a:lvl6pPr>
            <a:lvl7pPr lvl="6" algn="l" rtl="0">
              <a:spcBef>
                <a:spcPts val="0"/>
              </a:spcBef>
              <a:spcAft>
                <a:spcPts val="0"/>
              </a:spcAft>
              <a:buSzPts val="700"/>
              <a:buNone/>
              <a:defRPr sz="1400"/>
            </a:lvl7pPr>
            <a:lvl8pPr lvl="7" algn="l" rtl="0">
              <a:spcBef>
                <a:spcPts val="0"/>
              </a:spcBef>
              <a:spcAft>
                <a:spcPts val="0"/>
              </a:spcAft>
              <a:buSzPts val="700"/>
              <a:buNone/>
              <a:defRPr sz="1400"/>
            </a:lvl8pPr>
            <a:lvl9pPr lvl="8" algn="l" rtl="0">
              <a:spcBef>
                <a:spcPts val="0"/>
              </a:spcBef>
              <a:spcAft>
                <a:spcPts val="0"/>
              </a:spcAft>
              <a:buSzPts val="700"/>
              <a:buNone/>
              <a:defRPr sz="1400"/>
            </a:lvl9pPr>
          </a:lstStyle>
          <a:p>
            <a:endParaRPr/>
          </a:p>
        </p:txBody>
      </p:sp>
      <p:sp>
        <p:nvSpPr>
          <p:cNvPr id="64" name="Google Shape;64;p16"/>
          <p:cNvSpPr txBox="1">
            <a:spLocks noGrp="1"/>
          </p:cNvSpPr>
          <p:nvPr>
            <p:ph type="ftr" idx="11"/>
          </p:nvPr>
        </p:nvSpPr>
        <p:spPr>
          <a:xfrm>
            <a:off x="6057900" y="9534526"/>
            <a:ext cx="6172200" cy="547800"/>
          </a:xfrm>
          <a:prstGeom prst="rect">
            <a:avLst/>
          </a:prstGeom>
          <a:noFill/>
          <a:ln>
            <a:noFill/>
          </a:ln>
        </p:spPr>
        <p:txBody>
          <a:bodyPr spcFirstLastPara="1" wrap="square" lIns="45725" tIns="22850" rIns="45725" bIns="22850" anchor="ctr" anchorCtr="0">
            <a:noAutofit/>
          </a:bodyPr>
          <a:lstStyle>
            <a:lvl1pPr lvl="0" algn="ctr" rtl="0">
              <a:spcBef>
                <a:spcPts val="0"/>
              </a:spcBef>
              <a:spcAft>
                <a:spcPts val="0"/>
              </a:spcAft>
              <a:buSzPts val="700"/>
              <a:buNone/>
              <a:defRPr sz="1400"/>
            </a:lvl1pPr>
            <a:lvl2pPr lvl="1" algn="l" rtl="0">
              <a:spcBef>
                <a:spcPts val="0"/>
              </a:spcBef>
              <a:spcAft>
                <a:spcPts val="0"/>
              </a:spcAft>
              <a:buSzPts val="700"/>
              <a:buNone/>
              <a:defRPr sz="1400"/>
            </a:lvl2pPr>
            <a:lvl3pPr lvl="2" algn="l" rtl="0">
              <a:spcBef>
                <a:spcPts val="0"/>
              </a:spcBef>
              <a:spcAft>
                <a:spcPts val="0"/>
              </a:spcAft>
              <a:buSzPts val="700"/>
              <a:buNone/>
              <a:defRPr sz="1400"/>
            </a:lvl3pPr>
            <a:lvl4pPr lvl="3" algn="l" rtl="0">
              <a:spcBef>
                <a:spcPts val="0"/>
              </a:spcBef>
              <a:spcAft>
                <a:spcPts val="0"/>
              </a:spcAft>
              <a:buSzPts val="700"/>
              <a:buNone/>
              <a:defRPr sz="1400"/>
            </a:lvl4pPr>
            <a:lvl5pPr lvl="4" algn="l" rtl="0">
              <a:spcBef>
                <a:spcPts val="0"/>
              </a:spcBef>
              <a:spcAft>
                <a:spcPts val="0"/>
              </a:spcAft>
              <a:buSzPts val="700"/>
              <a:buNone/>
              <a:defRPr sz="1400"/>
            </a:lvl5pPr>
            <a:lvl6pPr lvl="5" algn="l" rtl="0">
              <a:spcBef>
                <a:spcPts val="0"/>
              </a:spcBef>
              <a:spcAft>
                <a:spcPts val="0"/>
              </a:spcAft>
              <a:buSzPts val="700"/>
              <a:buNone/>
              <a:defRPr sz="1400"/>
            </a:lvl6pPr>
            <a:lvl7pPr lvl="6" algn="l" rtl="0">
              <a:spcBef>
                <a:spcPts val="0"/>
              </a:spcBef>
              <a:spcAft>
                <a:spcPts val="0"/>
              </a:spcAft>
              <a:buSzPts val="700"/>
              <a:buNone/>
              <a:defRPr sz="1400"/>
            </a:lvl7pPr>
            <a:lvl8pPr lvl="7" algn="l" rtl="0">
              <a:spcBef>
                <a:spcPts val="0"/>
              </a:spcBef>
              <a:spcAft>
                <a:spcPts val="0"/>
              </a:spcAft>
              <a:buSzPts val="700"/>
              <a:buNone/>
              <a:defRPr sz="1400"/>
            </a:lvl8pPr>
            <a:lvl9pPr lvl="8" algn="l" rtl="0">
              <a:spcBef>
                <a:spcPts val="0"/>
              </a:spcBef>
              <a:spcAft>
                <a:spcPts val="0"/>
              </a:spcAft>
              <a:buSzPts val="700"/>
              <a:buNone/>
              <a:defRPr sz="1400"/>
            </a:lvl9pPr>
          </a:lstStyle>
          <a:p>
            <a:endParaRPr/>
          </a:p>
        </p:txBody>
      </p:sp>
      <p:sp>
        <p:nvSpPr>
          <p:cNvPr id="65" name="Google Shape;65;p16"/>
          <p:cNvSpPr txBox="1">
            <a:spLocks noGrp="1"/>
          </p:cNvSpPr>
          <p:nvPr>
            <p:ph type="sldNum" idx="12"/>
          </p:nvPr>
        </p:nvSpPr>
        <p:spPr>
          <a:xfrm>
            <a:off x="12915900" y="9534526"/>
            <a:ext cx="4114800" cy="547800"/>
          </a:xfrm>
          <a:prstGeom prst="rect">
            <a:avLst/>
          </a:prstGeom>
          <a:noFill/>
          <a:ln>
            <a:noFill/>
          </a:ln>
        </p:spPr>
        <p:txBody>
          <a:bodyPr spcFirstLastPara="1" wrap="square" lIns="45725" tIns="22850" rIns="45725" bIns="22850" anchor="ctr" anchorCtr="0">
            <a:norm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328162411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userDrawn="1">
  <p:cSld name="Content Master">
    <p:spTree>
      <p:nvGrpSpPr>
        <p:cNvPr id="1" name=""/>
        <p:cNvGrpSpPr/>
        <p:nvPr/>
      </p:nvGrpSpPr>
      <p:grpSpPr>
        <a:xfrm>
          <a:off x="0" y="0"/>
          <a:ext cx="0" cy="0"/>
          <a:chOff x="0" y="0"/>
          <a:chExt cx="0" cy="0"/>
        </a:xfrm>
      </p:grpSpPr>
      <p:graphicFrame>
        <p:nvGraphicFramePr>
          <p:cNvPr id="4" name="Object 7"/>
          <p:cNvGraphicFramePr>
            <a:graphicFrameLocks noChangeAspect="1"/>
          </p:cNvGraphicFramePr>
          <p:nvPr>
            <p:custDataLst>
              <p:tags r:id="rId1"/>
            </p:custDataLst>
          </p:nvPr>
        </p:nvGraphicFramePr>
        <p:xfrm>
          <a:off x="0" y="1"/>
          <a:ext cx="293076" cy="238126"/>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293076" cy="23812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15"/>
          <p:cNvSpPr txBox="1">
            <a:spLocks noChangeArrowheads="1"/>
          </p:cNvSpPr>
          <p:nvPr>
            <p:custDataLst>
              <p:tags r:id="rId2"/>
            </p:custDataLst>
          </p:nvPr>
        </p:nvSpPr>
        <p:spPr bwMode="auto">
          <a:xfrm>
            <a:off x="17663749" y="9991896"/>
            <a:ext cx="202222" cy="161583"/>
          </a:xfrm>
          <a:prstGeom prst="rect">
            <a:avLst/>
          </a:prstGeom>
          <a:noFill/>
          <a:ln>
            <a:noFill/>
          </a:ln>
        </p:spPr>
        <p:txBody>
          <a:bodyPr wrap="square" lIns="0" tIns="0" rIns="0" bIns="0" anchor="ctr">
            <a:spAutoFit/>
          </a:bodyPr>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fld id="{43007821-C1FF-437F-B918-41494C790916}" type="slidenum">
              <a:rPr kumimoji="0" lang="en-US" sz="1050" b="0" i="0" u="none" strike="noStrike" kern="0" cap="none" spc="0" normalizeH="0" baseline="0" noProof="0" smtClean="0">
                <a:ln>
                  <a:noFill/>
                </a:ln>
                <a:solidFill>
                  <a:srgbClr val="EEEEEE"/>
                </a:solidFill>
                <a:effectLst/>
                <a:uLnTx/>
                <a:uFillTx/>
                <a:latin typeface="Arial" pitchFamily="34" charset="0"/>
                <a:cs typeface="Arial" pitchFamily="34" charset="0"/>
                <a:sym typeface="Arial"/>
              </a:rPr>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t>‹nº›</a:t>
            </a:fld>
            <a:endParaRPr kumimoji="0" lang="en-US" sz="1050" b="0" i="0" u="none" strike="noStrike" kern="0" cap="none" spc="0" normalizeH="0" baseline="0" noProof="0">
              <a:ln>
                <a:noFill/>
              </a:ln>
              <a:solidFill>
                <a:srgbClr val="EEEEEE"/>
              </a:solidFill>
              <a:effectLst/>
              <a:uLnTx/>
              <a:uFillTx/>
              <a:latin typeface="Arial" pitchFamily="34" charset="0"/>
              <a:cs typeface="Arial" pitchFamily="34" charset="0"/>
              <a:sym typeface="Arial"/>
            </a:endParaRPr>
          </a:p>
        </p:txBody>
      </p:sp>
      <p:cxnSp>
        <p:nvCxnSpPr>
          <p:cNvPr id="9" name="Straight Connector 5"/>
          <p:cNvCxnSpPr/>
          <p:nvPr>
            <p:custDataLst>
              <p:tags r:id="rId3"/>
            </p:custDataLst>
          </p:nvPr>
        </p:nvCxnSpPr>
        <p:spPr>
          <a:xfrm flipH="1">
            <a:off x="0" y="9544050"/>
            <a:ext cx="18288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8"/>
          <p:cNvGraphicFramePr>
            <a:graphicFrameLocks noChangeAspect="1"/>
          </p:cNvGraphicFramePr>
          <p:nvPr>
            <p:custDataLst>
              <p:tags r:id="rId4"/>
            </p:custDataLst>
          </p:nvPr>
        </p:nvGraphicFramePr>
        <p:xfrm>
          <a:off x="1" y="3"/>
          <a:ext cx="272562" cy="216694"/>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11" name="Object 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3"/>
                        <a:ext cx="272562" cy="21669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p:nvPr>
        </p:nvSpPr>
        <p:spPr>
          <a:xfrm>
            <a:off x="597032" y="2242149"/>
            <a:ext cx="17690968" cy="6965626"/>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122531860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matchingName="Somente título 2 1 1 4 2">
  <p:cSld name="Somente título 2 1 1 4 2">
    <p:spTree>
      <p:nvGrpSpPr>
        <p:cNvPr id="1" name="Shape 229"/>
        <p:cNvGrpSpPr/>
        <p:nvPr/>
      </p:nvGrpSpPr>
      <p:grpSpPr>
        <a:xfrm>
          <a:off x="0" y="0"/>
          <a:ext cx="0" cy="0"/>
          <a:chOff x="0" y="0"/>
          <a:chExt cx="0" cy="0"/>
        </a:xfrm>
      </p:grpSpPr>
      <p:sp>
        <p:nvSpPr>
          <p:cNvPr id="230" name="Google Shape;230;p35"/>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pic>
        <p:nvPicPr>
          <p:cNvPr id="231" name="Google Shape;231;p35"/>
          <p:cNvPicPr preferRelativeResize="0"/>
          <p:nvPr/>
        </p:nvPicPr>
        <p:blipFill>
          <a:blip r:embed="rId2">
            <a:alphaModFix/>
          </a:blip>
          <a:stretch>
            <a:fillRect/>
          </a:stretch>
        </p:blipFill>
        <p:spPr>
          <a:xfrm>
            <a:off x="0" y="1"/>
            <a:ext cx="18288000" cy="10286994"/>
          </a:xfrm>
          <a:prstGeom prst="rect">
            <a:avLst/>
          </a:prstGeom>
          <a:noFill/>
          <a:ln>
            <a:noFill/>
          </a:ln>
        </p:spPr>
      </p:pic>
      <p:pic>
        <p:nvPicPr>
          <p:cNvPr id="232" name="Google Shape;232;p35"/>
          <p:cNvPicPr preferRelativeResize="0"/>
          <p:nvPr/>
        </p:nvPicPr>
        <p:blipFill>
          <a:blip r:embed="rId3" cstate="email">
            <a:alphaModFix/>
            <a:extLst>
              <a:ext uri="{28A0092B-C50C-407E-A947-70E740481C1C}">
                <a14:useLocalDpi xmlns:a14="http://schemas.microsoft.com/office/drawing/2010/main"/>
              </a:ext>
            </a:extLst>
          </a:blip>
          <a:stretch>
            <a:fillRect/>
          </a:stretch>
        </p:blipFill>
        <p:spPr>
          <a:xfrm>
            <a:off x="16183201" y="-304775"/>
            <a:ext cx="1799998" cy="1799998"/>
          </a:xfrm>
          <a:prstGeom prst="rect">
            <a:avLst/>
          </a:prstGeom>
          <a:noFill/>
          <a:ln>
            <a:noFill/>
          </a:ln>
        </p:spPr>
      </p:pic>
      <p:sp>
        <p:nvSpPr>
          <p:cNvPr id="233" name="Google Shape;233;p35"/>
          <p:cNvSpPr txBox="1">
            <a:spLocks noGrp="1"/>
          </p:cNvSpPr>
          <p:nvPr>
            <p:ph type="subTitle" idx="1"/>
          </p:nvPr>
        </p:nvSpPr>
        <p:spPr>
          <a:xfrm>
            <a:off x="8778900" y="8568450"/>
            <a:ext cx="9263400" cy="15852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9pPr>
          </a:lstStyle>
          <a:p>
            <a:endParaRPr/>
          </a:p>
        </p:txBody>
      </p:sp>
      <p:sp>
        <p:nvSpPr>
          <p:cNvPr id="234" name="Google Shape;234;p35"/>
          <p:cNvSpPr txBox="1">
            <a:spLocks noGrp="1"/>
          </p:cNvSpPr>
          <p:nvPr>
            <p:ph type="title"/>
          </p:nvPr>
        </p:nvSpPr>
        <p:spPr>
          <a:xfrm>
            <a:off x="1230100" y="3009200"/>
            <a:ext cx="6692400" cy="2964600"/>
          </a:xfrm>
          <a:prstGeom prst="rect">
            <a:avLst/>
          </a:prstGeom>
        </p:spPr>
        <p:txBody>
          <a:bodyPr spcFirstLastPara="1" wrap="square" lIns="91425" tIns="91425" rIns="91425" bIns="91425" anchor="b" anchorCtr="0">
            <a:noAutofit/>
          </a:bodyPr>
          <a:lstStyle>
            <a:lvl1pPr lvl="0" rtl="0">
              <a:spcBef>
                <a:spcPts val="0"/>
              </a:spcBef>
              <a:spcAft>
                <a:spcPts val="0"/>
              </a:spcAft>
              <a:buSzPts val="3000"/>
              <a:buNone/>
              <a:defRPr sz="6000"/>
            </a:lvl1pPr>
            <a:lvl2pPr lvl="1" rtl="0">
              <a:spcBef>
                <a:spcPts val="0"/>
              </a:spcBef>
              <a:spcAft>
                <a:spcPts val="0"/>
              </a:spcAft>
              <a:buSzPts val="3600"/>
              <a:buNone/>
              <a:defRPr sz="7200"/>
            </a:lvl2pPr>
            <a:lvl3pPr lvl="2" rtl="0">
              <a:spcBef>
                <a:spcPts val="0"/>
              </a:spcBef>
              <a:spcAft>
                <a:spcPts val="0"/>
              </a:spcAft>
              <a:buSzPts val="3600"/>
              <a:buNone/>
              <a:defRPr sz="7200"/>
            </a:lvl3pPr>
            <a:lvl4pPr lvl="3" rtl="0">
              <a:spcBef>
                <a:spcPts val="0"/>
              </a:spcBef>
              <a:spcAft>
                <a:spcPts val="0"/>
              </a:spcAft>
              <a:buSzPts val="3600"/>
              <a:buNone/>
              <a:defRPr sz="7200"/>
            </a:lvl4pPr>
            <a:lvl5pPr lvl="4" rtl="0">
              <a:spcBef>
                <a:spcPts val="0"/>
              </a:spcBef>
              <a:spcAft>
                <a:spcPts val="0"/>
              </a:spcAft>
              <a:buSzPts val="3600"/>
              <a:buNone/>
              <a:defRPr sz="7200"/>
            </a:lvl5pPr>
            <a:lvl6pPr lvl="5" rtl="0">
              <a:spcBef>
                <a:spcPts val="0"/>
              </a:spcBef>
              <a:spcAft>
                <a:spcPts val="0"/>
              </a:spcAft>
              <a:buSzPts val="3600"/>
              <a:buNone/>
              <a:defRPr sz="7200"/>
            </a:lvl6pPr>
            <a:lvl7pPr lvl="6" rtl="0">
              <a:spcBef>
                <a:spcPts val="0"/>
              </a:spcBef>
              <a:spcAft>
                <a:spcPts val="0"/>
              </a:spcAft>
              <a:buSzPts val="3600"/>
              <a:buNone/>
              <a:defRPr sz="7200"/>
            </a:lvl7pPr>
            <a:lvl8pPr lvl="7" rtl="0">
              <a:spcBef>
                <a:spcPts val="0"/>
              </a:spcBef>
              <a:spcAft>
                <a:spcPts val="0"/>
              </a:spcAft>
              <a:buSzPts val="3600"/>
              <a:buNone/>
              <a:defRPr sz="7200"/>
            </a:lvl8pPr>
            <a:lvl9pPr lvl="8" rtl="0">
              <a:spcBef>
                <a:spcPts val="0"/>
              </a:spcBef>
              <a:spcAft>
                <a:spcPts val="0"/>
              </a:spcAft>
              <a:buSzPts val="3600"/>
              <a:buNone/>
              <a:defRPr sz="7200"/>
            </a:lvl9pPr>
          </a:lstStyle>
          <a:p>
            <a:endParaRPr/>
          </a:p>
        </p:txBody>
      </p:sp>
      <p:sp>
        <p:nvSpPr>
          <p:cNvPr id="235" name="Google Shape;235;p35"/>
          <p:cNvSpPr txBox="1">
            <a:spLocks noGrp="1"/>
          </p:cNvSpPr>
          <p:nvPr>
            <p:ph type="subTitle" idx="2"/>
          </p:nvPr>
        </p:nvSpPr>
        <p:spPr>
          <a:xfrm>
            <a:off x="1230100" y="6149000"/>
            <a:ext cx="6692400" cy="24702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200"/>
              <a:buNone/>
              <a:defRPr/>
            </a:lvl1pPr>
            <a:lvl2pPr lvl="1" rtl="0">
              <a:lnSpc>
                <a:spcPct val="100000"/>
              </a:lnSpc>
              <a:spcBef>
                <a:spcPts val="0"/>
              </a:spcBef>
              <a:spcAft>
                <a:spcPts val="0"/>
              </a:spcAft>
              <a:buSzPts val="1800"/>
              <a:buNone/>
              <a:defRPr sz="3600"/>
            </a:lvl2pPr>
            <a:lvl3pPr lvl="2" rtl="0">
              <a:lnSpc>
                <a:spcPct val="100000"/>
              </a:lnSpc>
              <a:spcBef>
                <a:spcPts val="0"/>
              </a:spcBef>
              <a:spcAft>
                <a:spcPts val="0"/>
              </a:spcAft>
              <a:buSzPts val="1800"/>
              <a:buNone/>
              <a:defRPr sz="3600"/>
            </a:lvl3pPr>
            <a:lvl4pPr lvl="3" rtl="0">
              <a:lnSpc>
                <a:spcPct val="100000"/>
              </a:lnSpc>
              <a:spcBef>
                <a:spcPts val="0"/>
              </a:spcBef>
              <a:spcAft>
                <a:spcPts val="0"/>
              </a:spcAft>
              <a:buSzPts val="1800"/>
              <a:buNone/>
              <a:defRPr sz="3600"/>
            </a:lvl4pPr>
            <a:lvl5pPr lvl="4" rtl="0">
              <a:lnSpc>
                <a:spcPct val="100000"/>
              </a:lnSpc>
              <a:spcBef>
                <a:spcPts val="0"/>
              </a:spcBef>
              <a:spcAft>
                <a:spcPts val="0"/>
              </a:spcAft>
              <a:buSzPts val="1800"/>
              <a:buNone/>
              <a:defRPr sz="3600"/>
            </a:lvl5pPr>
            <a:lvl6pPr lvl="5" rtl="0">
              <a:lnSpc>
                <a:spcPct val="100000"/>
              </a:lnSpc>
              <a:spcBef>
                <a:spcPts val="0"/>
              </a:spcBef>
              <a:spcAft>
                <a:spcPts val="0"/>
              </a:spcAft>
              <a:buSzPts val="1800"/>
              <a:buNone/>
              <a:defRPr sz="3600"/>
            </a:lvl6pPr>
            <a:lvl7pPr lvl="6" rtl="0">
              <a:lnSpc>
                <a:spcPct val="100000"/>
              </a:lnSpc>
              <a:spcBef>
                <a:spcPts val="0"/>
              </a:spcBef>
              <a:spcAft>
                <a:spcPts val="0"/>
              </a:spcAft>
              <a:buSzPts val="1800"/>
              <a:buNone/>
              <a:defRPr sz="3600"/>
            </a:lvl7pPr>
            <a:lvl8pPr lvl="7" rtl="0">
              <a:lnSpc>
                <a:spcPct val="100000"/>
              </a:lnSpc>
              <a:spcBef>
                <a:spcPts val="0"/>
              </a:spcBef>
              <a:spcAft>
                <a:spcPts val="0"/>
              </a:spcAft>
              <a:buSzPts val="1800"/>
              <a:buNone/>
              <a:defRPr sz="3600"/>
            </a:lvl8pPr>
            <a:lvl9pPr lvl="8" rtl="0">
              <a:lnSpc>
                <a:spcPct val="100000"/>
              </a:lnSpc>
              <a:spcBef>
                <a:spcPts val="0"/>
              </a:spcBef>
              <a:spcAft>
                <a:spcPts val="0"/>
              </a:spcAft>
              <a:buSzPts val="1800"/>
              <a:buNone/>
              <a:defRPr sz="3600"/>
            </a:lvl9pPr>
          </a:lstStyle>
          <a:p>
            <a:endParaRPr/>
          </a:p>
        </p:txBody>
      </p:sp>
    </p:spTree>
    <p:extLst>
      <p:ext uri="{BB962C8B-B14F-4D97-AF65-F5344CB8AC3E}">
        <p14:creationId xmlns:p14="http://schemas.microsoft.com/office/powerpoint/2010/main" val="30906650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91F9BD4-9EAF-AD81-951A-BBCA7B907572}"/>
              </a:ext>
            </a:extLst>
          </p:cNvPr>
          <p:cNvSpPr>
            <a:spLocks noGrp="1"/>
          </p:cNvSpPr>
          <p:nvPr>
            <p:ph type="ctrTitle"/>
          </p:nvPr>
        </p:nvSpPr>
        <p:spPr>
          <a:xfrm>
            <a:off x="2286000" y="1683545"/>
            <a:ext cx="13716000" cy="3581400"/>
          </a:xfrm>
        </p:spPr>
        <p:txBody>
          <a:bodyPr anchor="b"/>
          <a:lstStyle>
            <a:lvl1pPr algn="ctr">
              <a:defRPr sz="9000"/>
            </a:lvl1pPr>
          </a:lstStyle>
          <a:p>
            <a:r>
              <a:rPr lang="pt-BR"/>
              <a:t>Clique para editar o título Mestre</a:t>
            </a:r>
          </a:p>
        </p:txBody>
      </p:sp>
      <p:sp>
        <p:nvSpPr>
          <p:cNvPr id="3" name="Subtítulo 2">
            <a:extLst>
              <a:ext uri="{FF2B5EF4-FFF2-40B4-BE49-F238E27FC236}">
                <a16:creationId xmlns:a16="http://schemas.microsoft.com/office/drawing/2014/main" id="{B4654D2D-B7B2-2D70-B131-C2687439FB60}"/>
              </a:ext>
            </a:extLst>
          </p:cNvPr>
          <p:cNvSpPr>
            <a:spLocks noGrp="1"/>
          </p:cNvSpPr>
          <p:nvPr>
            <p:ph type="subTitle" idx="1"/>
          </p:nvPr>
        </p:nvSpPr>
        <p:spPr>
          <a:xfrm>
            <a:off x="2286000" y="5403057"/>
            <a:ext cx="13716000" cy="2483643"/>
          </a:xfrm>
        </p:spPr>
        <p:txBody>
          <a:bodyPr/>
          <a:lstStyle>
            <a:lvl1pPr marL="0" indent="0" algn="ctr">
              <a:buNone/>
              <a:defRPr sz="3600"/>
            </a:lvl1pPr>
            <a:lvl2pPr marL="685800" indent="0" algn="ctr">
              <a:buNone/>
              <a:defRPr sz="3000"/>
            </a:lvl2pPr>
            <a:lvl3pPr marL="1371600" indent="0" algn="ctr">
              <a:buNone/>
              <a:defRPr sz="2700"/>
            </a:lvl3pPr>
            <a:lvl4pPr marL="2057400" indent="0" algn="ctr">
              <a:buNone/>
              <a:defRPr sz="2400"/>
            </a:lvl4pPr>
            <a:lvl5pPr marL="2743200" indent="0" algn="ctr">
              <a:buNone/>
              <a:defRPr sz="2400"/>
            </a:lvl5pPr>
            <a:lvl6pPr marL="3429000" indent="0" algn="ctr">
              <a:buNone/>
              <a:defRPr sz="2400"/>
            </a:lvl6pPr>
            <a:lvl7pPr marL="4114800" indent="0" algn="ctr">
              <a:buNone/>
              <a:defRPr sz="2400"/>
            </a:lvl7pPr>
            <a:lvl8pPr marL="4800600" indent="0" algn="ctr">
              <a:buNone/>
              <a:defRPr sz="2400"/>
            </a:lvl8pPr>
            <a:lvl9pPr marL="5486400" indent="0" algn="ctr">
              <a:buNone/>
              <a:defRPr sz="2400"/>
            </a:lvl9pPr>
          </a:lstStyle>
          <a:p>
            <a:r>
              <a:rPr lang="pt-BR"/>
              <a:t>Clique para editar o estilo do subtítulo Mestre</a:t>
            </a:r>
          </a:p>
        </p:txBody>
      </p:sp>
      <p:sp>
        <p:nvSpPr>
          <p:cNvPr id="4" name="Espaço Reservado para Data 3">
            <a:extLst>
              <a:ext uri="{FF2B5EF4-FFF2-40B4-BE49-F238E27FC236}">
                <a16:creationId xmlns:a16="http://schemas.microsoft.com/office/drawing/2014/main" id="{DCEFFC23-6131-8955-2231-93CC5D919786}"/>
              </a:ext>
            </a:extLst>
          </p:cNvPr>
          <p:cNvSpPr>
            <a:spLocks noGrp="1"/>
          </p:cNvSpPr>
          <p:nvPr>
            <p:ph type="dt" sz="half" idx="10"/>
          </p:nvPr>
        </p:nvSpPr>
        <p:spPr/>
        <p:txBody>
          <a:bodyPr/>
          <a:lstStyle/>
          <a:p>
            <a:fld id="{5BB1C777-C797-F549-82CD-2B568DC449A6}" type="datetimeFigureOut">
              <a:rPr lang="pt-BR" smtClean="0"/>
              <a:t>09/05/2025</a:t>
            </a:fld>
            <a:endParaRPr lang="pt-BR"/>
          </a:p>
        </p:txBody>
      </p:sp>
      <p:sp>
        <p:nvSpPr>
          <p:cNvPr id="5" name="Espaço Reservado para Rodapé 4">
            <a:extLst>
              <a:ext uri="{FF2B5EF4-FFF2-40B4-BE49-F238E27FC236}">
                <a16:creationId xmlns:a16="http://schemas.microsoft.com/office/drawing/2014/main" id="{62A71E05-D96B-DCB0-B950-5160A4833621}"/>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0677E14A-531A-B7E5-A185-8FC1C8CF8D27}"/>
              </a:ext>
            </a:extLst>
          </p:cNvPr>
          <p:cNvSpPr>
            <a:spLocks noGrp="1"/>
          </p:cNvSpPr>
          <p:nvPr>
            <p:ph type="sldNum" sz="quarter" idx="12"/>
          </p:nvPr>
        </p:nvSpPr>
        <p:spPr/>
        <p:txBody>
          <a:bodyPr/>
          <a:lstStyle/>
          <a:p>
            <a:fld id="{D7A3974E-6EC0-7F49-80DE-C6B22F3BD089}" type="slidenum">
              <a:rPr lang="pt-BR" smtClean="0"/>
              <a:t>‹nº›</a:t>
            </a:fld>
            <a:endParaRPr lang="pt-BR"/>
          </a:p>
        </p:txBody>
      </p:sp>
    </p:spTree>
    <p:extLst>
      <p:ext uri="{BB962C8B-B14F-4D97-AF65-F5344CB8AC3E}">
        <p14:creationId xmlns:p14="http://schemas.microsoft.com/office/powerpoint/2010/main" val="201440176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79EB1EC-3097-1153-6EDC-39CB37D1D4C3}"/>
              </a:ext>
            </a:extLst>
          </p:cNvPr>
          <p:cNvSpPr>
            <a:spLocks noGrp="1"/>
          </p:cNvSpPr>
          <p:nvPr>
            <p:ph type="title"/>
          </p:nvPr>
        </p:nvSpPr>
        <p:spPr/>
        <p:txBody>
          <a:bodyPr/>
          <a:lstStyle/>
          <a:p>
            <a:r>
              <a:rPr lang="pt-BR"/>
              <a:t>Clique para editar o título Mestre</a:t>
            </a:r>
          </a:p>
        </p:txBody>
      </p:sp>
      <p:sp>
        <p:nvSpPr>
          <p:cNvPr id="3" name="Espaço Reservado para Conteúdo 2">
            <a:extLst>
              <a:ext uri="{FF2B5EF4-FFF2-40B4-BE49-F238E27FC236}">
                <a16:creationId xmlns:a16="http://schemas.microsoft.com/office/drawing/2014/main" id="{AA24BF41-D794-DCCE-3045-1AAB5E2EF378}"/>
              </a:ext>
            </a:extLst>
          </p:cNvPr>
          <p:cNvSpPr>
            <a:spLocks noGrp="1"/>
          </p:cNvSpPr>
          <p:nvPr>
            <p:ph idx="1"/>
          </p:nvPr>
        </p:nvSpPr>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F18CC448-FB1A-01D8-3CCA-215760F90F97}"/>
              </a:ext>
            </a:extLst>
          </p:cNvPr>
          <p:cNvSpPr>
            <a:spLocks noGrp="1"/>
          </p:cNvSpPr>
          <p:nvPr>
            <p:ph type="dt" sz="half" idx="10"/>
          </p:nvPr>
        </p:nvSpPr>
        <p:spPr/>
        <p:txBody>
          <a:bodyPr/>
          <a:lstStyle/>
          <a:p>
            <a:fld id="{5BB1C777-C797-F549-82CD-2B568DC449A6}" type="datetimeFigureOut">
              <a:rPr lang="pt-BR" smtClean="0"/>
              <a:t>09/05/2025</a:t>
            </a:fld>
            <a:endParaRPr lang="pt-BR"/>
          </a:p>
        </p:txBody>
      </p:sp>
      <p:sp>
        <p:nvSpPr>
          <p:cNvPr id="5" name="Espaço Reservado para Rodapé 4">
            <a:extLst>
              <a:ext uri="{FF2B5EF4-FFF2-40B4-BE49-F238E27FC236}">
                <a16:creationId xmlns:a16="http://schemas.microsoft.com/office/drawing/2014/main" id="{F99CE8AB-F6A7-FD47-B2E3-159E4FD757DB}"/>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0707C2EA-EE1B-C533-A5A0-CD833107BE93}"/>
              </a:ext>
            </a:extLst>
          </p:cNvPr>
          <p:cNvSpPr>
            <a:spLocks noGrp="1"/>
          </p:cNvSpPr>
          <p:nvPr>
            <p:ph type="sldNum" sz="quarter" idx="12"/>
          </p:nvPr>
        </p:nvSpPr>
        <p:spPr/>
        <p:txBody>
          <a:bodyPr/>
          <a:lstStyle/>
          <a:p>
            <a:fld id="{D7A3974E-6EC0-7F49-80DE-C6B22F3BD089}" type="slidenum">
              <a:rPr lang="pt-BR" smtClean="0"/>
              <a:t>‹nº›</a:t>
            </a:fld>
            <a:endParaRPr lang="pt-BR"/>
          </a:p>
        </p:txBody>
      </p:sp>
    </p:spTree>
    <p:extLst>
      <p:ext uri="{BB962C8B-B14F-4D97-AF65-F5344CB8AC3E}">
        <p14:creationId xmlns:p14="http://schemas.microsoft.com/office/powerpoint/2010/main" val="14163824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F934783-6C25-069A-3771-B304C9545808}"/>
              </a:ext>
            </a:extLst>
          </p:cNvPr>
          <p:cNvSpPr>
            <a:spLocks noGrp="1"/>
          </p:cNvSpPr>
          <p:nvPr>
            <p:ph type="title"/>
          </p:nvPr>
        </p:nvSpPr>
        <p:spPr>
          <a:xfrm>
            <a:off x="1247775" y="2564608"/>
            <a:ext cx="15773400" cy="4279106"/>
          </a:xfrm>
        </p:spPr>
        <p:txBody>
          <a:bodyPr anchor="b"/>
          <a:lstStyle>
            <a:lvl1pPr>
              <a:defRPr sz="9000"/>
            </a:lvl1pPr>
          </a:lstStyle>
          <a:p>
            <a:r>
              <a:rPr lang="pt-BR"/>
              <a:t>Clique para editar o título Mestre</a:t>
            </a:r>
          </a:p>
        </p:txBody>
      </p:sp>
      <p:sp>
        <p:nvSpPr>
          <p:cNvPr id="3" name="Espaço Reservado para Texto 2">
            <a:extLst>
              <a:ext uri="{FF2B5EF4-FFF2-40B4-BE49-F238E27FC236}">
                <a16:creationId xmlns:a16="http://schemas.microsoft.com/office/drawing/2014/main" id="{94554933-F764-F695-192B-51CE602ED309}"/>
              </a:ext>
            </a:extLst>
          </p:cNvPr>
          <p:cNvSpPr>
            <a:spLocks noGrp="1"/>
          </p:cNvSpPr>
          <p:nvPr>
            <p:ph type="body" idx="1"/>
          </p:nvPr>
        </p:nvSpPr>
        <p:spPr>
          <a:xfrm>
            <a:off x="1247775" y="6884195"/>
            <a:ext cx="15773400" cy="2250281"/>
          </a:xfrm>
        </p:spPr>
        <p:txBody>
          <a:bodyPr/>
          <a:lstStyle>
            <a:lvl1pPr marL="0" indent="0">
              <a:buNone/>
              <a:defRPr sz="3600">
                <a:solidFill>
                  <a:schemeClr val="tx1">
                    <a:tint val="75000"/>
                  </a:schemeClr>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pt-BR"/>
              <a:t>Clique para editar os estilos de texto Mestres</a:t>
            </a:r>
          </a:p>
        </p:txBody>
      </p:sp>
      <p:sp>
        <p:nvSpPr>
          <p:cNvPr id="4" name="Espaço Reservado para Data 3">
            <a:extLst>
              <a:ext uri="{FF2B5EF4-FFF2-40B4-BE49-F238E27FC236}">
                <a16:creationId xmlns:a16="http://schemas.microsoft.com/office/drawing/2014/main" id="{E51216F0-7857-BE1A-91E8-12A21A4F4823}"/>
              </a:ext>
            </a:extLst>
          </p:cNvPr>
          <p:cNvSpPr>
            <a:spLocks noGrp="1"/>
          </p:cNvSpPr>
          <p:nvPr>
            <p:ph type="dt" sz="half" idx="10"/>
          </p:nvPr>
        </p:nvSpPr>
        <p:spPr/>
        <p:txBody>
          <a:bodyPr/>
          <a:lstStyle/>
          <a:p>
            <a:fld id="{5BB1C777-C797-F549-82CD-2B568DC449A6}" type="datetimeFigureOut">
              <a:rPr lang="pt-BR" smtClean="0"/>
              <a:t>09/05/2025</a:t>
            </a:fld>
            <a:endParaRPr lang="pt-BR"/>
          </a:p>
        </p:txBody>
      </p:sp>
      <p:sp>
        <p:nvSpPr>
          <p:cNvPr id="5" name="Espaço Reservado para Rodapé 4">
            <a:extLst>
              <a:ext uri="{FF2B5EF4-FFF2-40B4-BE49-F238E27FC236}">
                <a16:creationId xmlns:a16="http://schemas.microsoft.com/office/drawing/2014/main" id="{568546C2-839C-3227-F2B7-3892DF3617A5}"/>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7FDCFA37-20DD-1859-5969-ABD193878806}"/>
              </a:ext>
            </a:extLst>
          </p:cNvPr>
          <p:cNvSpPr>
            <a:spLocks noGrp="1"/>
          </p:cNvSpPr>
          <p:nvPr>
            <p:ph type="sldNum" sz="quarter" idx="12"/>
          </p:nvPr>
        </p:nvSpPr>
        <p:spPr/>
        <p:txBody>
          <a:bodyPr/>
          <a:lstStyle/>
          <a:p>
            <a:fld id="{D7A3974E-6EC0-7F49-80DE-C6B22F3BD089}" type="slidenum">
              <a:rPr lang="pt-BR" smtClean="0"/>
              <a:t>‹nº›</a:t>
            </a:fld>
            <a:endParaRPr lang="pt-BR"/>
          </a:p>
        </p:txBody>
      </p:sp>
    </p:spTree>
    <p:extLst>
      <p:ext uri="{BB962C8B-B14F-4D97-AF65-F5344CB8AC3E}">
        <p14:creationId xmlns:p14="http://schemas.microsoft.com/office/powerpoint/2010/main" val="187567344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B755450-C852-22C0-03F9-AB9A6518B176}"/>
              </a:ext>
            </a:extLst>
          </p:cNvPr>
          <p:cNvSpPr>
            <a:spLocks noGrp="1"/>
          </p:cNvSpPr>
          <p:nvPr>
            <p:ph type="title"/>
          </p:nvPr>
        </p:nvSpPr>
        <p:spPr/>
        <p:txBody>
          <a:bodyPr/>
          <a:lstStyle/>
          <a:p>
            <a:r>
              <a:rPr lang="pt-BR"/>
              <a:t>Clique para editar o título Mestre</a:t>
            </a:r>
          </a:p>
        </p:txBody>
      </p:sp>
      <p:sp>
        <p:nvSpPr>
          <p:cNvPr id="3" name="Espaço Reservado para Conteúdo 2">
            <a:extLst>
              <a:ext uri="{FF2B5EF4-FFF2-40B4-BE49-F238E27FC236}">
                <a16:creationId xmlns:a16="http://schemas.microsoft.com/office/drawing/2014/main" id="{E1736949-FA4C-24F7-CDCD-00BFDF074AD0}"/>
              </a:ext>
            </a:extLst>
          </p:cNvPr>
          <p:cNvSpPr>
            <a:spLocks noGrp="1"/>
          </p:cNvSpPr>
          <p:nvPr>
            <p:ph sz="half" idx="1"/>
          </p:nvPr>
        </p:nvSpPr>
        <p:spPr>
          <a:xfrm>
            <a:off x="1257300" y="2738438"/>
            <a:ext cx="7772400" cy="6527007"/>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Conteúdo 3">
            <a:extLst>
              <a:ext uri="{FF2B5EF4-FFF2-40B4-BE49-F238E27FC236}">
                <a16:creationId xmlns:a16="http://schemas.microsoft.com/office/drawing/2014/main" id="{7BB9E2AF-4440-FB30-4BA1-69C3FD3B764D}"/>
              </a:ext>
            </a:extLst>
          </p:cNvPr>
          <p:cNvSpPr>
            <a:spLocks noGrp="1"/>
          </p:cNvSpPr>
          <p:nvPr>
            <p:ph sz="half" idx="2"/>
          </p:nvPr>
        </p:nvSpPr>
        <p:spPr>
          <a:xfrm>
            <a:off x="9258300" y="2738438"/>
            <a:ext cx="7772400" cy="6527007"/>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Data 4">
            <a:extLst>
              <a:ext uri="{FF2B5EF4-FFF2-40B4-BE49-F238E27FC236}">
                <a16:creationId xmlns:a16="http://schemas.microsoft.com/office/drawing/2014/main" id="{CEE193ED-4CF6-3D1F-7B5D-16E50774DC40}"/>
              </a:ext>
            </a:extLst>
          </p:cNvPr>
          <p:cNvSpPr>
            <a:spLocks noGrp="1"/>
          </p:cNvSpPr>
          <p:nvPr>
            <p:ph type="dt" sz="half" idx="10"/>
          </p:nvPr>
        </p:nvSpPr>
        <p:spPr/>
        <p:txBody>
          <a:bodyPr/>
          <a:lstStyle/>
          <a:p>
            <a:fld id="{5BB1C777-C797-F549-82CD-2B568DC449A6}" type="datetimeFigureOut">
              <a:rPr lang="pt-BR" smtClean="0"/>
              <a:t>09/05/2025</a:t>
            </a:fld>
            <a:endParaRPr lang="pt-BR"/>
          </a:p>
        </p:txBody>
      </p:sp>
      <p:sp>
        <p:nvSpPr>
          <p:cNvPr id="6" name="Espaço Reservado para Rodapé 5">
            <a:extLst>
              <a:ext uri="{FF2B5EF4-FFF2-40B4-BE49-F238E27FC236}">
                <a16:creationId xmlns:a16="http://schemas.microsoft.com/office/drawing/2014/main" id="{D11F9856-930A-8926-ADB7-D27B6AC808D9}"/>
              </a:ext>
            </a:extLst>
          </p:cNvPr>
          <p:cNvSpPr>
            <a:spLocks noGrp="1"/>
          </p:cNvSpPr>
          <p:nvPr>
            <p:ph type="ftr" sz="quarter" idx="11"/>
          </p:nvPr>
        </p:nvSpPr>
        <p:spPr/>
        <p:txBody>
          <a:bodyPr/>
          <a:lstStyle/>
          <a:p>
            <a:endParaRPr lang="pt-BR"/>
          </a:p>
        </p:txBody>
      </p:sp>
      <p:sp>
        <p:nvSpPr>
          <p:cNvPr id="7" name="Espaço Reservado para Número de Slide 6">
            <a:extLst>
              <a:ext uri="{FF2B5EF4-FFF2-40B4-BE49-F238E27FC236}">
                <a16:creationId xmlns:a16="http://schemas.microsoft.com/office/drawing/2014/main" id="{90D8B839-0538-C5AA-2793-B137B5398452}"/>
              </a:ext>
            </a:extLst>
          </p:cNvPr>
          <p:cNvSpPr>
            <a:spLocks noGrp="1"/>
          </p:cNvSpPr>
          <p:nvPr>
            <p:ph type="sldNum" sz="quarter" idx="12"/>
          </p:nvPr>
        </p:nvSpPr>
        <p:spPr/>
        <p:txBody>
          <a:bodyPr/>
          <a:lstStyle/>
          <a:p>
            <a:fld id="{D7A3974E-6EC0-7F49-80DE-C6B22F3BD089}" type="slidenum">
              <a:rPr lang="pt-BR" smtClean="0"/>
              <a:t>‹nº›</a:t>
            </a:fld>
            <a:endParaRPr lang="pt-BR"/>
          </a:p>
        </p:txBody>
      </p:sp>
    </p:spTree>
    <p:extLst>
      <p:ext uri="{BB962C8B-B14F-4D97-AF65-F5344CB8AC3E}">
        <p14:creationId xmlns:p14="http://schemas.microsoft.com/office/powerpoint/2010/main" val="336151518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F2C8EEE-851D-ED38-970C-A73B56BF5597}"/>
              </a:ext>
            </a:extLst>
          </p:cNvPr>
          <p:cNvSpPr>
            <a:spLocks noGrp="1"/>
          </p:cNvSpPr>
          <p:nvPr>
            <p:ph type="title"/>
          </p:nvPr>
        </p:nvSpPr>
        <p:spPr>
          <a:xfrm>
            <a:off x="1259682" y="547688"/>
            <a:ext cx="15773400" cy="1988345"/>
          </a:xfrm>
        </p:spPr>
        <p:txBody>
          <a:bodyPr/>
          <a:lstStyle/>
          <a:p>
            <a:r>
              <a:rPr lang="pt-BR"/>
              <a:t>Clique para editar o título Mestre</a:t>
            </a:r>
          </a:p>
        </p:txBody>
      </p:sp>
      <p:sp>
        <p:nvSpPr>
          <p:cNvPr id="3" name="Espaço Reservado para Texto 2">
            <a:extLst>
              <a:ext uri="{FF2B5EF4-FFF2-40B4-BE49-F238E27FC236}">
                <a16:creationId xmlns:a16="http://schemas.microsoft.com/office/drawing/2014/main" id="{D6C3BEC9-4634-E00D-1E49-0413A859C625}"/>
              </a:ext>
            </a:extLst>
          </p:cNvPr>
          <p:cNvSpPr>
            <a:spLocks noGrp="1"/>
          </p:cNvSpPr>
          <p:nvPr>
            <p:ph type="body" idx="1"/>
          </p:nvPr>
        </p:nvSpPr>
        <p:spPr>
          <a:xfrm>
            <a:off x="1259683" y="2521745"/>
            <a:ext cx="7736681" cy="1235868"/>
          </a:xfrm>
        </p:spPr>
        <p:txBody>
          <a:bodyPr anchor="b"/>
          <a:lstStyle>
            <a:lvl1pPr marL="0" indent="0">
              <a:buNone/>
              <a:defRPr sz="3600" b="1"/>
            </a:lvl1pPr>
            <a:lvl2pPr marL="685800" indent="0">
              <a:buNone/>
              <a:defRPr sz="3000" b="1"/>
            </a:lvl2pPr>
            <a:lvl3pPr marL="1371600" indent="0">
              <a:buNone/>
              <a:defRPr sz="2700" b="1"/>
            </a:lvl3pPr>
            <a:lvl4pPr marL="2057400" indent="0">
              <a:buNone/>
              <a:defRPr sz="2400" b="1"/>
            </a:lvl4pPr>
            <a:lvl5pPr marL="2743200" indent="0">
              <a:buNone/>
              <a:defRPr sz="2400" b="1"/>
            </a:lvl5pPr>
            <a:lvl6pPr marL="3429000" indent="0">
              <a:buNone/>
              <a:defRPr sz="2400" b="1"/>
            </a:lvl6pPr>
            <a:lvl7pPr marL="4114800" indent="0">
              <a:buNone/>
              <a:defRPr sz="2400" b="1"/>
            </a:lvl7pPr>
            <a:lvl8pPr marL="4800600" indent="0">
              <a:buNone/>
              <a:defRPr sz="2400" b="1"/>
            </a:lvl8pPr>
            <a:lvl9pPr marL="5486400" indent="0">
              <a:buNone/>
              <a:defRPr sz="2400" b="1"/>
            </a:lvl9pPr>
          </a:lstStyle>
          <a:p>
            <a:pPr lvl="0"/>
            <a:r>
              <a:rPr lang="pt-BR"/>
              <a:t>Clique para editar os estilos de texto Mestres</a:t>
            </a:r>
          </a:p>
        </p:txBody>
      </p:sp>
      <p:sp>
        <p:nvSpPr>
          <p:cNvPr id="4" name="Espaço Reservado para Conteúdo 3">
            <a:extLst>
              <a:ext uri="{FF2B5EF4-FFF2-40B4-BE49-F238E27FC236}">
                <a16:creationId xmlns:a16="http://schemas.microsoft.com/office/drawing/2014/main" id="{E4E64209-100F-BE93-76FB-873B82EC959E}"/>
              </a:ext>
            </a:extLst>
          </p:cNvPr>
          <p:cNvSpPr>
            <a:spLocks noGrp="1"/>
          </p:cNvSpPr>
          <p:nvPr>
            <p:ph sz="half" idx="2"/>
          </p:nvPr>
        </p:nvSpPr>
        <p:spPr>
          <a:xfrm>
            <a:off x="1259683" y="3757613"/>
            <a:ext cx="7736681" cy="5526882"/>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Texto 4">
            <a:extLst>
              <a:ext uri="{FF2B5EF4-FFF2-40B4-BE49-F238E27FC236}">
                <a16:creationId xmlns:a16="http://schemas.microsoft.com/office/drawing/2014/main" id="{D308A4CC-C8D9-C1A6-5AAC-0C0F689D79B8}"/>
              </a:ext>
            </a:extLst>
          </p:cNvPr>
          <p:cNvSpPr>
            <a:spLocks noGrp="1"/>
          </p:cNvSpPr>
          <p:nvPr>
            <p:ph type="body" sz="quarter" idx="3"/>
          </p:nvPr>
        </p:nvSpPr>
        <p:spPr>
          <a:xfrm>
            <a:off x="9258300" y="2521745"/>
            <a:ext cx="7774782" cy="1235868"/>
          </a:xfrm>
        </p:spPr>
        <p:txBody>
          <a:bodyPr anchor="b"/>
          <a:lstStyle>
            <a:lvl1pPr marL="0" indent="0">
              <a:buNone/>
              <a:defRPr sz="3600" b="1"/>
            </a:lvl1pPr>
            <a:lvl2pPr marL="685800" indent="0">
              <a:buNone/>
              <a:defRPr sz="3000" b="1"/>
            </a:lvl2pPr>
            <a:lvl3pPr marL="1371600" indent="0">
              <a:buNone/>
              <a:defRPr sz="2700" b="1"/>
            </a:lvl3pPr>
            <a:lvl4pPr marL="2057400" indent="0">
              <a:buNone/>
              <a:defRPr sz="2400" b="1"/>
            </a:lvl4pPr>
            <a:lvl5pPr marL="2743200" indent="0">
              <a:buNone/>
              <a:defRPr sz="2400" b="1"/>
            </a:lvl5pPr>
            <a:lvl6pPr marL="3429000" indent="0">
              <a:buNone/>
              <a:defRPr sz="2400" b="1"/>
            </a:lvl6pPr>
            <a:lvl7pPr marL="4114800" indent="0">
              <a:buNone/>
              <a:defRPr sz="2400" b="1"/>
            </a:lvl7pPr>
            <a:lvl8pPr marL="4800600" indent="0">
              <a:buNone/>
              <a:defRPr sz="2400" b="1"/>
            </a:lvl8pPr>
            <a:lvl9pPr marL="5486400" indent="0">
              <a:buNone/>
              <a:defRPr sz="2400" b="1"/>
            </a:lvl9pPr>
          </a:lstStyle>
          <a:p>
            <a:pPr lvl="0"/>
            <a:r>
              <a:rPr lang="pt-BR"/>
              <a:t>Clique para editar os estilos de texto Mestres</a:t>
            </a:r>
          </a:p>
        </p:txBody>
      </p:sp>
      <p:sp>
        <p:nvSpPr>
          <p:cNvPr id="6" name="Espaço Reservado para Conteúdo 5">
            <a:extLst>
              <a:ext uri="{FF2B5EF4-FFF2-40B4-BE49-F238E27FC236}">
                <a16:creationId xmlns:a16="http://schemas.microsoft.com/office/drawing/2014/main" id="{3E0C78B5-4DBC-B321-A556-216E252ECA3C}"/>
              </a:ext>
            </a:extLst>
          </p:cNvPr>
          <p:cNvSpPr>
            <a:spLocks noGrp="1"/>
          </p:cNvSpPr>
          <p:nvPr>
            <p:ph sz="quarter" idx="4"/>
          </p:nvPr>
        </p:nvSpPr>
        <p:spPr>
          <a:xfrm>
            <a:off x="9258300" y="3757613"/>
            <a:ext cx="7774782" cy="5526882"/>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7" name="Espaço Reservado para Data 6">
            <a:extLst>
              <a:ext uri="{FF2B5EF4-FFF2-40B4-BE49-F238E27FC236}">
                <a16:creationId xmlns:a16="http://schemas.microsoft.com/office/drawing/2014/main" id="{30759534-7304-F1D0-5F98-BE69ADAC1C71}"/>
              </a:ext>
            </a:extLst>
          </p:cNvPr>
          <p:cNvSpPr>
            <a:spLocks noGrp="1"/>
          </p:cNvSpPr>
          <p:nvPr>
            <p:ph type="dt" sz="half" idx="10"/>
          </p:nvPr>
        </p:nvSpPr>
        <p:spPr/>
        <p:txBody>
          <a:bodyPr/>
          <a:lstStyle/>
          <a:p>
            <a:fld id="{5BB1C777-C797-F549-82CD-2B568DC449A6}" type="datetimeFigureOut">
              <a:rPr lang="pt-BR" smtClean="0"/>
              <a:t>09/05/2025</a:t>
            </a:fld>
            <a:endParaRPr lang="pt-BR"/>
          </a:p>
        </p:txBody>
      </p:sp>
      <p:sp>
        <p:nvSpPr>
          <p:cNvPr id="8" name="Espaço Reservado para Rodapé 7">
            <a:extLst>
              <a:ext uri="{FF2B5EF4-FFF2-40B4-BE49-F238E27FC236}">
                <a16:creationId xmlns:a16="http://schemas.microsoft.com/office/drawing/2014/main" id="{773D4E29-4674-A1C5-E8C7-ABDC969142AF}"/>
              </a:ext>
            </a:extLst>
          </p:cNvPr>
          <p:cNvSpPr>
            <a:spLocks noGrp="1"/>
          </p:cNvSpPr>
          <p:nvPr>
            <p:ph type="ftr" sz="quarter" idx="11"/>
          </p:nvPr>
        </p:nvSpPr>
        <p:spPr/>
        <p:txBody>
          <a:bodyPr/>
          <a:lstStyle/>
          <a:p>
            <a:endParaRPr lang="pt-BR"/>
          </a:p>
        </p:txBody>
      </p:sp>
      <p:sp>
        <p:nvSpPr>
          <p:cNvPr id="9" name="Espaço Reservado para Número de Slide 8">
            <a:extLst>
              <a:ext uri="{FF2B5EF4-FFF2-40B4-BE49-F238E27FC236}">
                <a16:creationId xmlns:a16="http://schemas.microsoft.com/office/drawing/2014/main" id="{83EA1B20-F4BE-E6A0-3744-2DF0F250C8FB}"/>
              </a:ext>
            </a:extLst>
          </p:cNvPr>
          <p:cNvSpPr>
            <a:spLocks noGrp="1"/>
          </p:cNvSpPr>
          <p:nvPr>
            <p:ph type="sldNum" sz="quarter" idx="12"/>
          </p:nvPr>
        </p:nvSpPr>
        <p:spPr/>
        <p:txBody>
          <a:bodyPr/>
          <a:lstStyle/>
          <a:p>
            <a:fld id="{D7A3974E-6EC0-7F49-80DE-C6B22F3BD089}" type="slidenum">
              <a:rPr lang="pt-BR" smtClean="0"/>
              <a:t>‹nº›</a:t>
            </a:fld>
            <a:endParaRPr lang="pt-BR"/>
          </a:p>
        </p:txBody>
      </p:sp>
    </p:spTree>
    <p:extLst>
      <p:ext uri="{BB962C8B-B14F-4D97-AF65-F5344CB8AC3E}">
        <p14:creationId xmlns:p14="http://schemas.microsoft.com/office/powerpoint/2010/main" val="173879088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A1DAEA8-60C3-6871-6FC4-C810B55171B2}"/>
              </a:ext>
            </a:extLst>
          </p:cNvPr>
          <p:cNvSpPr>
            <a:spLocks noGrp="1"/>
          </p:cNvSpPr>
          <p:nvPr>
            <p:ph type="title"/>
          </p:nvPr>
        </p:nvSpPr>
        <p:spPr/>
        <p:txBody>
          <a:bodyPr/>
          <a:lstStyle/>
          <a:p>
            <a:r>
              <a:rPr lang="pt-BR"/>
              <a:t>Clique para editar o título Mestre</a:t>
            </a:r>
          </a:p>
        </p:txBody>
      </p:sp>
      <p:sp>
        <p:nvSpPr>
          <p:cNvPr id="3" name="Espaço Reservado para Data 2">
            <a:extLst>
              <a:ext uri="{FF2B5EF4-FFF2-40B4-BE49-F238E27FC236}">
                <a16:creationId xmlns:a16="http://schemas.microsoft.com/office/drawing/2014/main" id="{3E5CB003-2CF6-00FC-5ECE-E2E14E23C52A}"/>
              </a:ext>
            </a:extLst>
          </p:cNvPr>
          <p:cNvSpPr>
            <a:spLocks noGrp="1"/>
          </p:cNvSpPr>
          <p:nvPr>
            <p:ph type="dt" sz="half" idx="10"/>
          </p:nvPr>
        </p:nvSpPr>
        <p:spPr/>
        <p:txBody>
          <a:bodyPr/>
          <a:lstStyle/>
          <a:p>
            <a:fld id="{5BB1C777-C797-F549-82CD-2B568DC449A6}" type="datetimeFigureOut">
              <a:rPr lang="pt-BR" smtClean="0"/>
              <a:t>09/05/2025</a:t>
            </a:fld>
            <a:endParaRPr lang="pt-BR"/>
          </a:p>
        </p:txBody>
      </p:sp>
      <p:sp>
        <p:nvSpPr>
          <p:cNvPr id="4" name="Espaço Reservado para Rodapé 3">
            <a:extLst>
              <a:ext uri="{FF2B5EF4-FFF2-40B4-BE49-F238E27FC236}">
                <a16:creationId xmlns:a16="http://schemas.microsoft.com/office/drawing/2014/main" id="{BF024C83-7333-A5A6-319E-FAAC21C9313F}"/>
              </a:ext>
            </a:extLst>
          </p:cNvPr>
          <p:cNvSpPr>
            <a:spLocks noGrp="1"/>
          </p:cNvSpPr>
          <p:nvPr>
            <p:ph type="ftr" sz="quarter" idx="11"/>
          </p:nvPr>
        </p:nvSpPr>
        <p:spPr/>
        <p:txBody>
          <a:bodyPr/>
          <a:lstStyle/>
          <a:p>
            <a:endParaRPr lang="pt-BR"/>
          </a:p>
        </p:txBody>
      </p:sp>
      <p:sp>
        <p:nvSpPr>
          <p:cNvPr id="5" name="Espaço Reservado para Número de Slide 4">
            <a:extLst>
              <a:ext uri="{FF2B5EF4-FFF2-40B4-BE49-F238E27FC236}">
                <a16:creationId xmlns:a16="http://schemas.microsoft.com/office/drawing/2014/main" id="{F9FF3D80-11D3-B084-C78F-87C1FE772493}"/>
              </a:ext>
            </a:extLst>
          </p:cNvPr>
          <p:cNvSpPr>
            <a:spLocks noGrp="1"/>
          </p:cNvSpPr>
          <p:nvPr>
            <p:ph type="sldNum" sz="quarter" idx="12"/>
          </p:nvPr>
        </p:nvSpPr>
        <p:spPr/>
        <p:txBody>
          <a:bodyPr/>
          <a:lstStyle/>
          <a:p>
            <a:fld id="{D7A3974E-6EC0-7F49-80DE-C6B22F3BD089}" type="slidenum">
              <a:rPr lang="pt-BR" smtClean="0"/>
              <a:t>‹nº›</a:t>
            </a:fld>
            <a:endParaRPr lang="pt-BR"/>
          </a:p>
        </p:txBody>
      </p:sp>
    </p:spTree>
    <p:extLst>
      <p:ext uri="{BB962C8B-B14F-4D97-AF65-F5344CB8AC3E}">
        <p14:creationId xmlns:p14="http://schemas.microsoft.com/office/powerpoint/2010/main" val="322588764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ítulo e corpo 2" preserve="1">
  <p:cSld name="Título e corpo 2">
    <p:bg>
      <p:bgPr>
        <a:solidFill>
          <a:srgbClr val="FFFFFF"/>
        </a:solidFill>
        <a:effectLst/>
      </p:bgPr>
    </p:bg>
    <p:spTree>
      <p:nvGrpSpPr>
        <p:cNvPr id="1" name="Shape 93"/>
        <p:cNvGrpSpPr/>
        <p:nvPr/>
      </p:nvGrpSpPr>
      <p:grpSpPr>
        <a:xfrm>
          <a:off x="0" y="0"/>
          <a:ext cx="0" cy="0"/>
          <a:chOff x="0" y="0"/>
          <a:chExt cx="0" cy="0"/>
        </a:xfrm>
      </p:grpSpPr>
      <p:sp>
        <p:nvSpPr>
          <p:cNvPr id="94" name="Google Shape;94;p15"/>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pic>
        <p:nvPicPr>
          <p:cNvPr id="95" name="Google Shape;95;p1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rot="10800000">
            <a:off x="11544296" y="4487852"/>
            <a:ext cx="6819900" cy="5837248"/>
          </a:xfrm>
          <a:prstGeom prst="rect">
            <a:avLst/>
          </a:prstGeom>
          <a:noFill/>
          <a:ln>
            <a:noFill/>
          </a:ln>
        </p:spPr>
      </p:pic>
      <p:sp>
        <p:nvSpPr>
          <p:cNvPr id="96" name="Google Shape;96;p15"/>
          <p:cNvSpPr txBox="1">
            <a:spLocks noGrp="1"/>
          </p:cNvSpPr>
          <p:nvPr>
            <p:ph type="title"/>
          </p:nvPr>
        </p:nvSpPr>
        <p:spPr>
          <a:xfrm>
            <a:off x="1080600" y="1042450"/>
            <a:ext cx="10216200" cy="11454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222222"/>
              </a:buClr>
              <a:buSzPts val="2000"/>
              <a:buNone/>
              <a:defRPr sz="4000">
                <a:solidFill>
                  <a:srgbClr val="222222"/>
                </a:solidFill>
              </a:defRPr>
            </a:lvl1pPr>
            <a:lvl2pPr lvl="1" rtl="0">
              <a:spcBef>
                <a:spcPts val="0"/>
              </a:spcBef>
              <a:spcAft>
                <a:spcPts val="0"/>
              </a:spcAft>
              <a:buClr>
                <a:srgbClr val="222222"/>
              </a:buClr>
              <a:buSzPts val="2000"/>
              <a:buNone/>
              <a:defRPr>
                <a:solidFill>
                  <a:srgbClr val="222222"/>
                </a:solidFill>
              </a:defRPr>
            </a:lvl2pPr>
            <a:lvl3pPr lvl="2" rtl="0">
              <a:spcBef>
                <a:spcPts val="0"/>
              </a:spcBef>
              <a:spcAft>
                <a:spcPts val="0"/>
              </a:spcAft>
              <a:buClr>
                <a:srgbClr val="222222"/>
              </a:buClr>
              <a:buSzPts val="2000"/>
              <a:buNone/>
              <a:defRPr>
                <a:solidFill>
                  <a:srgbClr val="222222"/>
                </a:solidFill>
              </a:defRPr>
            </a:lvl3pPr>
            <a:lvl4pPr lvl="3" rtl="0">
              <a:spcBef>
                <a:spcPts val="0"/>
              </a:spcBef>
              <a:spcAft>
                <a:spcPts val="0"/>
              </a:spcAft>
              <a:buClr>
                <a:srgbClr val="222222"/>
              </a:buClr>
              <a:buSzPts val="2000"/>
              <a:buNone/>
              <a:defRPr>
                <a:solidFill>
                  <a:srgbClr val="222222"/>
                </a:solidFill>
              </a:defRPr>
            </a:lvl4pPr>
            <a:lvl5pPr lvl="4" rtl="0">
              <a:spcBef>
                <a:spcPts val="0"/>
              </a:spcBef>
              <a:spcAft>
                <a:spcPts val="0"/>
              </a:spcAft>
              <a:buClr>
                <a:srgbClr val="222222"/>
              </a:buClr>
              <a:buSzPts val="2000"/>
              <a:buNone/>
              <a:defRPr>
                <a:solidFill>
                  <a:srgbClr val="222222"/>
                </a:solidFill>
              </a:defRPr>
            </a:lvl5pPr>
            <a:lvl6pPr lvl="5" rtl="0">
              <a:spcBef>
                <a:spcPts val="0"/>
              </a:spcBef>
              <a:spcAft>
                <a:spcPts val="0"/>
              </a:spcAft>
              <a:buClr>
                <a:srgbClr val="222222"/>
              </a:buClr>
              <a:buSzPts val="2000"/>
              <a:buNone/>
              <a:defRPr>
                <a:solidFill>
                  <a:srgbClr val="222222"/>
                </a:solidFill>
              </a:defRPr>
            </a:lvl6pPr>
            <a:lvl7pPr lvl="6" rtl="0">
              <a:spcBef>
                <a:spcPts val="0"/>
              </a:spcBef>
              <a:spcAft>
                <a:spcPts val="0"/>
              </a:spcAft>
              <a:buClr>
                <a:srgbClr val="222222"/>
              </a:buClr>
              <a:buSzPts val="2000"/>
              <a:buNone/>
              <a:defRPr>
                <a:solidFill>
                  <a:srgbClr val="222222"/>
                </a:solidFill>
              </a:defRPr>
            </a:lvl7pPr>
            <a:lvl8pPr lvl="7" rtl="0">
              <a:spcBef>
                <a:spcPts val="0"/>
              </a:spcBef>
              <a:spcAft>
                <a:spcPts val="0"/>
              </a:spcAft>
              <a:buClr>
                <a:srgbClr val="222222"/>
              </a:buClr>
              <a:buSzPts val="2000"/>
              <a:buNone/>
              <a:defRPr>
                <a:solidFill>
                  <a:srgbClr val="222222"/>
                </a:solidFill>
              </a:defRPr>
            </a:lvl8pPr>
            <a:lvl9pPr lvl="8" rtl="0">
              <a:spcBef>
                <a:spcPts val="0"/>
              </a:spcBef>
              <a:spcAft>
                <a:spcPts val="0"/>
              </a:spcAft>
              <a:buClr>
                <a:srgbClr val="222222"/>
              </a:buClr>
              <a:buSzPts val="2000"/>
              <a:buNone/>
              <a:defRPr>
                <a:solidFill>
                  <a:srgbClr val="222222"/>
                </a:solidFill>
              </a:defRPr>
            </a:lvl9pPr>
          </a:lstStyle>
          <a:p>
            <a:endParaRPr/>
          </a:p>
        </p:txBody>
      </p:sp>
      <p:sp>
        <p:nvSpPr>
          <p:cNvPr id="97" name="Google Shape;97;p15"/>
          <p:cNvSpPr txBox="1">
            <a:spLocks noGrp="1"/>
          </p:cNvSpPr>
          <p:nvPr>
            <p:ph type="body" idx="1"/>
          </p:nvPr>
        </p:nvSpPr>
        <p:spPr>
          <a:xfrm>
            <a:off x="1080600" y="3130350"/>
            <a:ext cx="12462600" cy="5891400"/>
          </a:xfrm>
          <a:prstGeom prst="rect">
            <a:avLst/>
          </a:prstGeom>
        </p:spPr>
        <p:txBody>
          <a:bodyPr spcFirstLastPara="1" wrap="square" lIns="91425" tIns="91425" rIns="91425" bIns="91425" anchor="t" anchorCtr="0">
            <a:noAutofit/>
          </a:bodyPr>
          <a:lstStyle>
            <a:lvl1pPr marL="914400" lvl="0" indent="-609600" rtl="0">
              <a:spcBef>
                <a:spcPts val="0"/>
              </a:spcBef>
              <a:spcAft>
                <a:spcPts val="0"/>
              </a:spcAft>
              <a:buClr>
                <a:srgbClr val="222222"/>
              </a:buClr>
              <a:buSzPts val="1200"/>
              <a:buChar char="●"/>
              <a:defRPr sz="2400">
                <a:solidFill>
                  <a:srgbClr val="222222"/>
                </a:solidFill>
              </a:defRPr>
            </a:lvl1pPr>
            <a:lvl2pPr marL="1828800" lvl="1" indent="-609600" rtl="0">
              <a:spcBef>
                <a:spcPts val="3200"/>
              </a:spcBef>
              <a:spcAft>
                <a:spcPts val="0"/>
              </a:spcAft>
              <a:buClr>
                <a:srgbClr val="222222"/>
              </a:buClr>
              <a:buSzPts val="1200"/>
              <a:buChar char="○"/>
              <a:defRPr sz="2400">
                <a:solidFill>
                  <a:srgbClr val="222222"/>
                </a:solidFill>
              </a:defRPr>
            </a:lvl2pPr>
            <a:lvl3pPr marL="2743200" lvl="2" indent="-584200" rtl="0">
              <a:spcBef>
                <a:spcPts val="3200"/>
              </a:spcBef>
              <a:spcAft>
                <a:spcPts val="0"/>
              </a:spcAft>
              <a:buClr>
                <a:srgbClr val="222222"/>
              </a:buClr>
              <a:buSzPts val="1000"/>
              <a:buChar char="■"/>
              <a:defRPr sz="2000">
                <a:solidFill>
                  <a:srgbClr val="222222"/>
                </a:solidFill>
              </a:defRPr>
            </a:lvl3pPr>
            <a:lvl4pPr marL="3657600" lvl="3" indent="-584200" rtl="0">
              <a:spcBef>
                <a:spcPts val="3200"/>
              </a:spcBef>
              <a:spcAft>
                <a:spcPts val="0"/>
              </a:spcAft>
              <a:buClr>
                <a:srgbClr val="222222"/>
              </a:buClr>
              <a:buSzPts val="1000"/>
              <a:buChar char="●"/>
              <a:defRPr sz="2000">
                <a:solidFill>
                  <a:srgbClr val="222222"/>
                </a:solidFill>
              </a:defRPr>
            </a:lvl4pPr>
            <a:lvl5pPr marL="4572000" lvl="4" indent="-558800" rtl="0">
              <a:spcBef>
                <a:spcPts val="3200"/>
              </a:spcBef>
              <a:spcAft>
                <a:spcPts val="0"/>
              </a:spcAft>
              <a:buClr>
                <a:srgbClr val="222222"/>
              </a:buClr>
              <a:buSzPts val="800"/>
              <a:buChar char="○"/>
              <a:defRPr sz="1600">
                <a:solidFill>
                  <a:srgbClr val="222222"/>
                </a:solidFill>
              </a:defRPr>
            </a:lvl5pPr>
            <a:lvl6pPr marL="5486400" lvl="5" indent="-558800" rtl="0">
              <a:spcBef>
                <a:spcPts val="3200"/>
              </a:spcBef>
              <a:spcAft>
                <a:spcPts val="0"/>
              </a:spcAft>
              <a:buClr>
                <a:srgbClr val="222222"/>
              </a:buClr>
              <a:buSzPts val="800"/>
              <a:buChar char="■"/>
              <a:defRPr sz="1600">
                <a:solidFill>
                  <a:srgbClr val="222222"/>
                </a:solidFill>
              </a:defRPr>
            </a:lvl6pPr>
            <a:lvl7pPr marL="6400800" lvl="6" indent="-609600" rtl="0">
              <a:spcBef>
                <a:spcPts val="3200"/>
              </a:spcBef>
              <a:spcAft>
                <a:spcPts val="0"/>
              </a:spcAft>
              <a:buClr>
                <a:srgbClr val="222222"/>
              </a:buClr>
              <a:buSzPts val="1200"/>
              <a:buChar char="●"/>
              <a:defRPr>
                <a:solidFill>
                  <a:srgbClr val="222222"/>
                </a:solidFill>
              </a:defRPr>
            </a:lvl7pPr>
            <a:lvl8pPr marL="7315200" lvl="7" indent="-609600" rtl="0">
              <a:spcBef>
                <a:spcPts val="3200"/>
              </a:spcBef>
              <a:spcAft>
                <a:spcPts val="0"/>
              </a:spcAft>
              <a:buClr>
                <a:srgbClr val="222222"/>
              </a:buClr>
              <a:buSzPts val="1200"/>
              <a:buChar char="○"/>
              <a:defRPr>
                <a:solidFill>
                  <a:srgbClr val="222222"/>
                </a:solidFill>
              </a:defRPr>
            </a:lvl8pPr>
            <a:lvl9pPr marL="8229600" lvl="8" indent="-609600" rtl="0">
              <a:spcBef>
                <a:spcPts val="3200"/>
              </a:spcBef>
              <a:spcAft>
                <a:spcPts val="3200"/>
              </a:spcAft>
              <a:buClr>
                <a:srgbClr val="222222"/>
              </a:buClr>
              <a:buSzPts val="1200"/>
              <a:buChar char="■"/>
              <a:defRPr>
                <a:solidFill>
                  <a:srgbClr val="222222"/>
                </a:solidFill>
              </a:defRPr>
            </a:lvl9pPr>
          </a:lstStyle>
          <a:p>
            <a:endParaRPr/>
          </a:p>
        </p:txBody>
      </p:sp>
      <p:sp>
        <p:nvSpPr>
          <p:cNvPr id="99" name="Google Shape;99;p15"/>
          <p:cNvSpPr txBox="1">
            <a:spLocks noGrp="1"/>
          </p:cNvSpPr>
          <p:nvPr>
            <p:ph type="subTitle" idx="2"/>
          </p:nvPr>
        </p:nvSpPr>
        <p:spPr>
          <a:xfrm>
            <a:off x="8778900" y="8568450"/>
            <a:ext cx="9263400" cy="15852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9pPr>
          </a:lstStyle>
          <a:p>
            <a:endParaRPr/>
          </a:p>
        </p:txBody>
      </p:sp>
      <p:pic>
        <p:nvPicPr>
          <p:cNvPr id="2" name="Google Shape;72;p11">
            <a:extLst>
              <a:ext uri="{FF2B5EF4-FFF2-40B4-BE49-F238E27FC236}">
                <a16:creationId xmlns:a16="http://schemas.microsoft.com/office/drawing/2014/main" id="{5DFC936D-B23B-6698-7718-C8A64424C3E5}"/>
              </a:ext>
            </a:extLst>
          </p:cNvPr>
          <p:cNvPicPr preferRelativeResize="0"/>
          <p:nvPr userDrawn="1"/>
        </p:nvPicPr>
        <p:blipFill>
          <a:blip r:embed="rId3">
            <a:alphaModFix/>
          </a:blip>
          <a:stretch>
            <a:fillRect/>
          </a:stretch>
        </p:blipFill>
        <p:spPr>
          <a:xfrm>
            <a:off x="16488000" y="0"/>
            <a:ext cx="1800000" cy="1800000"/>
          </a:xfrm>
          <a:prstGeom prst="rect">
            <a:avLst/>
          </a:prstGeom>
          <a:noFill/>
          <a:ln>
            <a:noFill/>
          </a:ln>
        </p:spPr>
      </p:pic>
    </p:spTree>
    <p:extLst>
      <p:ext uri="{BB962C8B-B14F-4D97-AF65-F5344CB8AC3E}">
        <p14:creationId xmlns:p14="http://schemas.microsoft.com/office/powerpoint/2010/main" val="24469474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1">
            <a:extLst>
              <a:ext uri="{FF2B5EF4-FFF2-40B4-BE49-F238E27FC236}">
                <a16:creationId xmlns:a16="http://schemas.microsoft.com/office/drawing/2014/main" id="{723BF168-8B0D-B161-BE12-2E7007144B62}"/>
              </a:ext>
            </a:extLst>
          </p:cNvPr>
          <p:cNvSpPr>
            <a:spLocks noGrp="1"/>
          </p:cNvSpPr>
          <p:nvPr>
            <p:ph type="dt" sz="half" idx="10"/>
          </p:nvPr>
        </p:nvSpPr>
        <p:spPr/>
        <p:txBody>
          <a:bodyPr/>
          <a:lstStyle/>
          <a:p>
            <a:fld id="{5BB1C777-C797-F549-82CD-2B568DC449A6}" type="datetimeFigureOut">
              <a:rPr lang="pt-BR" smtClean="0"/>
              <a:t>09/05/2025</a:t>
            </a:fld>
            <a:endParaRPr lang="pt-BR"/>
          </a:p>
        </p:txBody>
      </p:sp>
      <p:sp>
        <p:nvSpPr>
          <p:cNvPr id="3" name="Espaço Reservado para Rodapé 2">
            <a:extLst>
              <a:ext uri="{FF2B5EF4-FFF2-40B4-BE49-F238E27FC236}">
                <a16:creationId xmlns:a16="http://schemas.microsoft.com/office/drawing/2014/main" id="{1705203B-678D-B553-DA1B-74F663DFA141}"/>
              </a:ext>
            </a:extLst>
          </p:cNvPr>
          <p:cNvSpPr>
            <a:spLocks noGrp="1"/>
          </p:cNvSpPr>
          <p:nvPr>
            <p:ph type="ftr" sz="quarter" idx="11"/>
          </p:nvPr>
        </p:nvSpPr>
        <p:spPr/>
        <p:txBody>
          <a:bodyPr/>
          <a:lstStyle/>
          <a:p>
            <a:endParaRPr lang="pt-BR"/>
          </a:p>
        </p:txBody>
      </p:sp>
      <p:sp>
        <p:nvSpPr>
          <p:cNvPr id="4" name="Espaço Reservado para Número de Slide 3">
            <a:extLst>
              <a:ext uri="{FF2B5EF4-FFF2-40B4-BE49-F238E27FC236}">
                <a16:creationId xmlns:a16="http://schemas.microsoft.com/office/drawing/2014/main" id="{39D6516F-21CD-8E68-6728-CF821721F40C}"/>
              </a:ext>
            </a:extLst>
          </p:cNvPr>
          <p:cNvSpPr>
            <a:spLocks noGrp="1"/>
          </p:cNvSpPr>
          <p:nvPr>
            <p:ph type="sldNum" sz="quarter" idx="12"/>
          </p:nvPr>
        </p:nvSpPr>
        <p:spPr/>
        <p:txBody>
          <a:bodyPr/>
          <a:lstStyle/>
          <a:p>
            <a:fld id="{D7A3974E-6EC0-7F49-80DE-C6B22F3BD089}" type="slidenum">
              <a:rPr lang="pt-BR" smtClean="0"/>
              <a:t>‹nº›</a:t>
            </a:fld>
            <a:endParaRPr lang="pt-BR"/>
          </a:p>
        </p:txBody>
      </p:sp>
    </p:spTree>
    <p:extLst>
      <p:ext uri="{BB962C8B-B14F-4D97-AF65-F5344CB8AC3E}">
        <p14:creationId xmlns:p14="http://schemas.microsoft.com/office/powerpoint/2010/main" val="157925007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F9D45D2-B30E-C915-3D9B-3C86D0AA3CA5}"/>
              </a:ext>
            </a:extLst>
          </p:cNvPr>
          <p:cNvSpPr>
            <a:spLocks noGrp="1"/>
          </p:cNvSpPr>
          <p:nvPr>
            <p:ph type="title"/>
          </p:nvPr>
        </p:nvSpPr>
        <p:spPr>
          <a:xfrm>
            <a:off x="1259683" y="685800"/>
            <a:ext cx="5898356" cy="2400300"/>
          </a:xfrm>
        </p:spPr>
        <p:txBody>
          <a:bodyPr anchor="b"/>
          <a:lstStyle>
            <a:lvl1pPr>
              <a:defRPr sz="4800"/>
            </a:lvl1pPr>
          </a:lstStyle>
          <a:p>
            <a:r>
              <a:rPr lang="pt-BR"/>
              <a:t>Clique para editar o título Mestre</a:t>
            </a:r>
          </a:p>
        </p:txBody>
      </p:sp>
      <p:sp>
        <p:nvSpPr>
          <p:cNvPr id="3" name="Espaço Reservado para Conteúdo 2">
            <a:extLst>
              <a:ext uri="{FF2B5EF4-FFF2-40B4-BE49-F238E27FC236}">
                <a16:creationId xmlns:a16="http://schemas.microsoft.com/office/drawing/2014/main" id="{9E9CCF5E-3D5A-782C-BB23-3163119B969D}"/>
              </a:ext>
            </a:extLst>
          </p:cNvPr>
          <p:cNvSpPr>
            <a:spLocks noGrp="1"/>
          </p:cNvSpPr>
          <p:nvPr>
            <p:ph idx="1"/>
          </p:nvPr>
        </p:nvSpPr>
        <p:spPr>
          <a:xfrm>
            <a:off x="7774782" y="1481138"/>
            <a:ext cx="9258300" cy="7310438"/>
          </a:xfrm>
        </p:spPr>
        <p:txBody>
          <a:bodyPr/>
          <a:lstStyle>
            <a:lvl1pPr>
              <a:defRPr sz="4800"/>
            </a:lvl1pPr>
            <a:lvl2pPr>
              <a:defRPr sz="4200"/>
            </a:lvl2pPr>
            <a:lvl3pPr>
              <a:defRPr sz="3600"/>
            </a:lvl3pPr>
            <a:lvl4pPr>
              <a:defRPr sz="3000"/>
            </a:lvl4pPr>
            <a:lvl5pPr>
              <a:defRPr sz="3000"/>
            </a:lvl5pPr>
            <a:lvl6pPr>
              <a:defRPr sz="3000"/>
            </a:lvl6pPr>
            <a:lvl7pPr>
              <a:defRPr sz="3000"/>
            </a:lvl7pPr>
            <a:lvl8pPr>
              <a:defRPr sz="3000"/>
            </a:lvl8pPr>
            <a:lvl9pPr>
              <a:defRPr sz="3000"/>
            </a:lvl9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Texto 3">
            <a:extLst>
              <a:ext uri="{FF2B5EF4-FFF2-40B4-BE49-F238E27FC236}">
                <a16:creationId xmlns:a16="http://schemas.microsoft.com/office/drawing/2014/main" id="{09147A07-4737-E59C-55F9-CA53C5DE2AC8}"/>
              </a:ext>
            </a:extLst>
          </p:cNvPr>
          <p:cNvSpPr>
            <a:spLocks noGrp="1"/>
          </p:cNvSpPr>
          <p:nvPr>
            <p:ph type="body" sz="half" idx="2"/>
          </p:nvPr>
        </p:nvSpPr>
        <p:spPr>
          <a:xfrm>
            <a:off x="1259683" y="3086100"/>
            <a:ext cx="5898356" cy="5717382"/>
          </a:xfrm>
        </p:spPr>
        <p:txBody>
          <a:bodyPr/>
          <a:lstStyle>
            <a:lvl1pPr marL="0" indent="0">
              <a:buNone/>
              <a:defRPr sz="2400"/>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pt-BR"/>
              <a:t>Clique para editar os estilos de texto Mestres</a:t>
            </a:r>
          </a:p>
        </p:txBody>
      </p:sp>
      <p:sp>
        <p:nvSpPr>
          <p:cNvPr id="5" name="Espaço Reservado para Data 4">
            <a:extLst>
              <a:ext uri="{FF2B5EF4-FFF2-40B4-BE49-F238E27FC236}">
                <a16:creationId xmlns:a16="http://schemas.microsoft.com/office/drawing/2014/main" id="{F23648FB-D950-19F4-E62F-8FEB07234D6B}"/>
              </a:ext>
            </a:extLst>
          </p:cNvPr>
          <p:cNvSpPr>
            <a:spLocks noGrp="1"/>
          </p:cNvSpPr>
          <p:nvPr>
            <p:ph type="dt" sz="half" idx="10"/>
          </p:nvPr>
        </p:nvSpPr>
        <p:spPr/>
        <p:txBody>
          <a:bodyPr/>
          <a:lstStyle/>
          <a:p>
            <a:fld id="{5BB1C777-C797-F549-82CD-2B568DC449A6}" type="datetimeFigureOut">
              <a:rPr lang="pt-BR" smtClean="0"/>
              <a:t>09/05/2025</a:t>
            </a:fld>
            <a:endParaRPr lang="pt-BR"/>
          </a:p>
        </p:txBody>
      </p:sp>
      <p:sp>
        <p:nvSpPr>
          <p:cNvPr id="6" name="Espaço Reservado para Rodapé 5">
            <a:extLst>
              <a:ext uri="{FF2B5EF4-FFF2-40B4-BE49-F238E27FC236}">
                <a16:creationId xmlns:a16="http://schemas.microsoft.com/office/drawing/2014/main" id="{E26ACCE3-B6CF-64FC-51BB-44C396199D6C}"/>
              </a:ext>
            </a:extLst>
          </p:cNvPr>
          <p:cNvSpPr>
            <a:spLocks noGrp="1"/>
          </p:cNvSpPr>
          <p:nvPr>
            <p:ph type="ftr" sz="quarter" idx="11"/>
          </p:nvPr>
        </p:nvSpPr>
        <p:spPr/>
        <p:txBody>
          <a:bodyPr/>
          <a:lstStyle/>
          <a:p>
            <a:endParaRPr lang="pt-BR"/>
          </a:p>
        </p:txBody>
      </p:sp>
      <p:sp>
        <p:nvSpPr>
          <p:cNvPr id="7" name="Espaço Reservado para Número de Slide 6">
            <a:extLst>
              <a:ext uri="{FF2B5EF4-FFF2-40B4-BE49-F238E27FC236}">
                <a16:creationId xmlns:a16="http://schemas.microsoft.com/office/drawing/2014/main" id="{8E66FF84-A8E3-10A1-A496-813FAC7FF5CE}"/>
              </a:ext>
            </a:extLst>
          </p:cNvPr>
          <p:cNvSpPr>
            <a:spLocks noGrp="1"/>
          </p:cNvSpPr>
          <p:nvPr>
            <p:ph type="sldNum" sz="quarter" idx="12"/>
          </p:nvPr>
        </p:nvSpPr>
        <p:spPr/>
        <p:txBody>
          <a:bodyPr/>
          <a:lstStyle/>
          <a:p>
            <a:fld id="{D7A3974E-6EC0-7F49-80DE-C6B22F3BD089}" type="slidenum">
              <a:rPr lang="pt-BR" smtClean="0"/>
              <a:t>‹nº›</a:t>
            </a:fld>
            <a:endParaRPr lang="pt-BR"/>
          </a:p>
        </p:txBody>
      </p:sp>
    </p:spTree>
    <p:extLst>
      <p:ext uri="{BB962C8B-B14F-4D97-AF65-F5344CB8AC3E}">
        <p14:creationId xmlns:p14="http://schemas.microsoft.com/office/powerpoint/2010/main" val="372495536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58A6187-71F3-EE41-BD25-D61313D57F25}"/>
              </a:ext>
            </a:extLst>
          </p:cNvPr>
          <p:cNvSpPr>
            <a:spLocks noGrp="1"/>
          </p:cNvSpPr>
          <p:nvPr>
            <p:ph type="title"/>
          </p:nvPr>
        </p:nvSpPr>
        <p:spPr>
          <a:xfrm>
            <a:off x="1259683" y="685800"/>
            <a:ext cx="5898356" cy="2400300"/>
          </a:xfrm>
        </p:spPr>
        <p:txBody>
          <a:bodyPr anchor="b"/>
          <a:lstStyle>
            <a:lvl1pPr>
              <a:defRPr sz="4800"/>
            </a:lvl1pPr>
          </a:lstStyle>
          <a:p>
            <a:r>
              <a:rPr lang="pt-BR"/>
              <a:t>Clique para editar o título Mestre</a:t>
            </a:r>
          </a:p>
        </p:txBody>
      </p:sp>
      <p:sp>
        <p:nvSpPr>
          <p:cNvPr id="3" name="Espaço Reservado para Imagem 2">
            <a:extLst>
              <a:ext uri="{FF2B5EF4-FFF2-40B4-BE49-F238E27FC236}">
                <a16:creationId xmlns:a16="http://schemas.microsoft.com/office/drawing/2014/main" id="{DC624DE3-64AB-BBE7-C2C8-B235F249DECF}"/>
              </a:ext>
            </a:extLst>
          </p:cNvPr>
          <p:cNvSpPr>
            <a:spLocks noGrp="1"/>
          </p:cNvSpPr>
          <p:nvPr>
            <p:ph type="pic" idx="1"/>
          </p:nvPr>
        </p:nvSpPr>
        <p:spPr>
          <a:xfrm>
            <a:off x="7774782" y="1481138"/>
            <a:ext cx="9258300" cy="7310438"/>
          </a:xfrm>
        </p:spPr>
        <p:txBody>
          <a:bodyPr/>
          <a:lstStyle>
            <a:lvl1pPr marL="0" indent="0">
              <a:buNone/>
              <a:defRPr sz="4800"/>
            </a:lvl1pPr>
            <a:lvl2pPr marL="685800" indent="0">
              <a:buNone/>
              <a:defRPr sz="4200"/>
            </a:lvl2pPr>
            <a:lvl3pPr marL="1371600" indent="0">
              <a:buNone/>
              <a:defRPr sz="3600"/>
            </a:lvl3pPr>
            <a:lvl4pPr marL="2057400" indent="0">
              <a:buNone/>
              <a:defRPr sz="3000"/>
            </a:lvl4pPr>
            <a:lvl5pPr marL="2743200" indent="0">
              <a:buNone/>
              <a:defRPr sz="3000"/>
            </a:lvl5pPr>
            <a:lvl6pPr marL="3429000" indent="0">
              <a:buNone/>
              <a:defRPr sz="3000"/>
            </a:lvl6pPr>
            <a:lvl7pPr marL="4114800" indent="0">
              <a:buNone/>
              <a:defRPr sz="3000"/>
            </a:lvl7pPr>
            <a:lvl8pPr marL="4800600" indent="0">
              <a:buNone/>
              <a:defRPr sz="3000"/>
            </a:lvl8pPr>
            <a:lvl9pPr marL="5486400" indent="0">
              <a:buNone/>
              <a:defRPr sz="3000"/>
            </a:lvl9pPr>
          </a:lstStyle>
          <a:p>
            <a:endParaRPr lang="pt-BR"/>
          </a:p>
        </p:txBody>
      </p:sp>
      <p:sp>
        <p:nvSpPr>
          <p:cNvPr id="4" name="Espaço Reservado para Texto 3">
            <a:extLst>
              <a:ext uri="{FF2B5EF4-FFF2-40B4-BE49-F238E27FC236}">
                <a16:creationId xmlns:a16="http://schemas.microsoft.com/office/drawing/2014/main" id="{E0F53A48-7317-A1BB-D24F-96444183725C}"/>
              </a:ext>
            </a:extLst>
          </p:cNvPr>
          <p:cNvSpPr>
            <a:spLocks noGrp="1"/>
          </p:cNvSpPr>
          <p:nvPr>
            <p:ph type="body" sz="half" idx="2"/>
          </p:nvPr>
        </p:nvSpPr>
        <p:spPr>
          <a:xfrm>
            <a:off x="1259683" y="3086100"/>
            <a:ext cx="5898356" cy="5717382"/>
          </a:xfrm>
        </p:spPr>
        <p:txBody>
          <a:bodyPr/>
          <a:lstStyle>
            <a:lvl1pPr marL="0" indent="0">
              <a:buNone/>
              <a:defRPr sz="2400"/>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pt-BR"/>
              <a:t>Clique para editar os estilos de texto Mestres</a:t>
            </a:r>
          </a:p>
        </p:txBody>
      </p:sp>
      <p:sp>
        <p:nvSpPr>
          <p:cNvPr id="5" name="Espaço Reservado para Data 4">
            <a:extLst>
              <a:ext uri="{FF2B5EF4-FFF2-40B4-BE49-F238E27FC236}">
                <a16:creationId xmlns:a16="http://schemas.microsoft.com/office/drawing/2014/main" id="{B4FBD4A7-14BB-9E30-DE8C-1118894CE256}"/>
              </a:ext>
            </a:extLst>
          </p:cNvPr>
          <p:cNvSpPr>
            <a:spLocks noGrp="1"/>
          </p:cNvSpPr>
          <p:nvPr>
            <p:ph type="dt" sz="half" idx="10"/>
          </p:nvPr>
        </p:nvSpPr>
        <p:spPr/>
        <p:txBody>
          <a:bodyPr/>
          <a:lstStyle/>
          <a:p>
            <a:fld id="{5BB1C777-C797-F549-82CD-2B568DC449A6}" type="datetimeFigureOut">
              <a:rPr lang="pt-BR" smtClean="0"/>
              <a:t>09/05/2025</a:t>
            </a:fld>
            <a:endParaRPr lang="pt-BR"/>
          </a:p>
        </p:txBody>
      </p:sp>
      <p:sp>
        <p:nvSpPr>
          <p:cNvPr id="6" name="Espaço Reservado para Rodapé 5">
            <a:extLst>
              <a:ext uri="{FF2B5EF4-FFF2-40B4-BE49-F238E27FC236}">
                <a16:creationId xmlns:a16="http://schemas.microsoft.com/office/drawing/2014/main" id="{57D7991B-9F42-9F17-9538-8B668C0AD18D}"/>
              </a:ext>
            </a:extLst>
          </p:cNvPr>
          <p:cNvSpPr>
            <a:spLocks noGrp="1"/>
          </p:cNvSpPr>
          <p:nvPr>
            <p:ph type="ftr" sz="quarter" idx="11"/>
          </p:nvPr>
        </p:nvSpPr>
        <p:spPr/>
        <p:txBody>
          <a:bodyPr/>
          <a:lstStyle/>
          <a:p>
            <a:endParaRPr lang="pt-BR"/>
          </a:p>
        </p:txBody>
      </p:sp>
      <p:sp>
        <p:nvSpPr>
          <p:cNvPr id="7" name="Espaço Reservado para Número de Slide 6">
            <a:extLst>
              <a:ext uri="{FF2B5EF4-FFF2-40B4-BE49-F238E27FC236}">
                <a16:creationId xmlns:a16="http://schemas.microsoft.com/office/drawing/2014/main" id="{E3E06BE1-7A60-FAC6-5A58-C0CF1C2542D1}"/>
              </a:ext>
            </a:extLst>
          </p:cNvPr>
          <p:cNvSpPr>
            <a:spLocks noGrp="1"/>
          </p:cNvSpPr>
          <p:nvPr>
            <p:ph type="sldNum" sz="quarter" idx="12"/>
          </p:nvPr>
        </p:nvSpPr>
        <p:spPr/>
        <p:txBody>
          <a:bodyPr/>
          <a:lstStyle/>
          <a:p>
            <a:fld id="{D7A3974E-6EC0-7F49-80DE-C6B22F3BD089}" type="slidenum">
              <a:rPr lang="pt-BR" smtClean="0"/>
              <a:t>‹nº›</a:t>
            </a:fld>
            <a:endParaRPr lang="pt-BR"/>
          </a:p>
        </p:txBody>
      </p:sp>
    </p:spTree>
    <p:extLst>
      <p:ext uri="{BB962C8B-B14F-4D97-AF65-F5344CB8AC3E}">
        <p14:creationId xmlns:p14="http://schemas.microsoft.com/office/powerpoint/2010/main" val="37650636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505FF00-EA52-BFEE-2780-891D773B2EA1}"/>
              </a:ext>
            </a:extLst>
          </p:cNvPr>
          <p:cNvSpPr>
            <a:spLocks noGrp="1"/>
          </p:cNvSpPr>
          <p:nvPr>
            <p:ph type="title"/>
          </p:nvPr>
        </p:nvSpPr>
        <p:spPr/>
        <p:txBody>
          <a:bodyPr/>
          <a:lstStyle/>
          <a:p>
            <a:r>
              <a:rPr lang="pt-BR"/>
              <a:t>Clique para editar o título Mestre</a:t>
            </a:r>
          </a:p>
        </p:txBody>
      </p:sp>
      <p:sp>
        <p:nvSpPr>
          <p:cNvPr id="3" name="Espaço Reservado para Texto Vertical 2">
            <a:extLst>
              <a:ext uri="{FF2B5EF4-FFF2-40B4-BE49-F238E27FC236}">
                <a16:creationId xmlns:a16="http://schemas.microsoft.com/office/drawing/2014/main" id="{4C41849D-3CE8-7794-3237-204C18F9C7E5}"/>
              </a:ext>
            </a:extLst>
          </p:cNvPr>
          <p:cNvSpPr>
            <a:spLocks noGrp="1"/>
          </p:cNvSpPr>
          <p:nvPr>
            <p:ph type="body" orient="vert" idx="1"/>
          </p:nvPr>
        </p:nvSpPr>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FA3BEC90-25CC-B334-ED05-F8AFCBC80285}"/>
              </a:ext>
            </a:extLst>
          </p:cNvPr>
          <p:cNvSpPr>
            <a:spLocks noGrp="1"/>
          </p:cNvSpPr>
          <p:nvPr>
            <p:ph type="dt" sz="half" idx="10"/>
          </p:nvPr>
        </p:nvSpPr>
        <p:spPr/>
        <p:txBody>
          <a:bodyPr/>
          <a:lstStyle/>
          <a:p>
            <a:fld id="{5BB1C777-C797-F549-82CD-2B568DC449A6}" type="datetimeFigureOut">
              <a:rPr lang="pt-BR" smtClean="0"/>
              <a:t>09/05/2025</a:t>
            </a:fld>
            <a:endParaRPr lang="pt-BR"/>
          </a:p>
        </p:txBody>
      </p:sp>
      <p:sp>
        <p:nvSpPr>
          <p:cNvPr id="5" name="Espaço Reservado para Rodapé 4">
            <a:extLst>
              <a:ext uri="{FF2B5EF4-FFF2-40B4-BE49-F238E27FC236}">
                <a16:creationId xmlns:a16="http://schemas.microsoft.com/office/drawing/2014/main" id="{237735CD-8B64-C9EC-A4DA-B0F724180BB5}"/>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4FAAABA9-D408-4727-9093-5DED0EF4988A}"/>
              </a:ext>
            </a:extLst>
          </p:cNvPr>
          <p:cNvSpPr>
            <a:spLocks noGrp="1"/>
          </p:cNvSpPr>
          <p:nvPr>
            <p:ph type="sldNum" sz="quarter" idx="12"/>
          </p:nvPr>
        </p:nvSpPr>
        <p:spPr/>
        <p:txBody>
          <a:bodyPr/>
          <a:lstStyle/>
          <a:p>
            <a:fld id="{D7A3974E-6EC0-7F49-80DE-C6B22F3BD089}" type="slidenum">
              <a:rPr lang="pt-BR" smtClean="0"/>
              <a:t>‹nº›</a:t>
            </a:fld>
            <a:endParaRPr lang="pt-BR"/>
          </a:p>
        </p:txBody>
      </p:sp>
    </p:spTree>
    <p:extLst>
      <p:ext uri="{BB962C8B-B14F-4D97-AF65-F5344CB8AC3E}">
        <p14:creationId xmlns:p14="http://schemas.microsoft.com/office/powerpoint/2010/main" val="331969801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vertTitleAndTx" preserve="1">
  <p:cSld name="Texto e Título Vertical">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834BB162-200D-FB2A-402A-2ECCB7A817B8}"/>
              </a:ext>
            </a:extLst>
          </p:cNvPr>
          <p:cNvSpPr>
            <a:spLocks noGrp="1"/>
          </p:cNvSpPr>
          <p:nvPr>
            <p:ph type="title" orient="vert"/>
          </p:nvPr>
        </p:nvSpPr>
        <p:spPr>
          <a:xfrm>
            <a:off x="13087350" y="547688"/>
            <a:ext cx="3943350" cy="8717757"/>
          </a:xfrm>
        </p:spPr>
        <p:txBody>
          <a:bodyPr vert="eaVert"/>
          <a:lstStyle/>
          <a:p>
            <a:r>
              <a:rPr lang="pt-BR"/>
              <a:t>Clique para editar o título Mestre</a:t>
            </a:r>
          </a:p>
        </p:txBody>
      </p:sp>
      <p:sp>
        <p:nvSpPr>
          <p:cNvPr id="3" name="Espaço Reservado para Texto Vertical 2">
            <a:extLst>
              <a:ext uri="{FF2B5EF4-FFF2-40B4-BE49-F238E27FC236}">
                <a16:creationId xmlns:a16="http://schemas.microsoft.com/office/drawing/2014/main" id="{6656612B-5570-0016-2B99-B57C006FEEE4}"/>
              </a:ext>
            </a:extLst>
          </p:cNvPr>
          <p:cNvSpPr>
            <a:spLocks noGrp="1"/>
          </p:cNvSpPr>
          <p:nvPr>
            <p:ph type="body" orient="vert" idx="1"/>
          </p:nvPr>
        </p:nvSpPr>
        <p:spPr>
          <a:xfrm>
            <a:off x="1257300" y="547688"/>
            <a:ext cx="11601450" cy="8717757"/>
          </a:xfrm>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93CDB489-2224-3629-E296-6205BD1A45F1}"/>
              </a:ext>
            </a:extLst>
          </p:cNvPr>
          <p:cNvSpPr>
            <a:spLocks noGrp="1"/>
          </p:cNvSpPr>
          <p:nvPr>
            <p:ph type="dt" sz="half" idx="10"/>
          </p:nvPr>
        </p:nvSpPr>
        <p:spPr/>
        <p:txBody>
          <a:bodyPr/>
          <a:lstStyle/>
          <a:p>
            <a:fld id="{5BB1C777-C797-F549-82CD-2B568DC449A6}" type="datetimeFigureOut">
              <a:rPr lang="pt-BR" smtClean="0"/>
              <a:t>09/05/2025</a:t>
            </a:fld>
            <a:endParaRPr lang="pt-BR"/>
          </a:p>
        </p:txBody>
      </p:sp>
      <p:sp>
        <p:nvSpPr>
          <p:cNvPr id="5" name="Espaço Reservado para Rodapé 4">
            <a:extLst>
              <a:ext uri="{FF2B5EF4-FFF2-40B4-BE49-F238E27FC236}">
                <a16:creationId xmlns:a16="http://schemas.microsoft.com/office/drawing/2014/main" id="{628D9E72-70A8-E74F-63CE-E1E00FE73C0B}"/>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2D15A471-4ECE-B606-8B22-878D88B0D007}"/>
              </a:ext>
            </a:extLst>
          </p:cNvPr>
          <p:cNvSpPr>
            <a:spLocks noGrp="1"/>
          </p:cNvSpPr>
          <p:nvPr>
            <p:ph type="sldNum" sz="quarter" idx="12"/>
          </p:nvPr>
        </p:nvSpPr>
        <p:spPr/>
        <p:txBody>
          <a:bodyPr/>
          <a:lstStyle/>
          <a:p>
            <a:fld id="{D7A3974E-6EC0-7F49-80DE-C6B22F3BD089}" type="slidenum">
              <a:rPr lang="pt-BR" smtClean="0"/>
              <a:t>‹nº›</a:t>
            </a:fld>
            <a:endParaRPr lang="pt-BR"/>
          </a:p>
        </p:txBody>
      </p:sp>
    </p:spTree>
    <p:extLst>
      <p:ext uri="{BB962C8B-B14F-4D97-AF65-F5344CB8AC3E}">
        <p14:creationId xmlns:p14="http://schemas.microsoft.com/office/powerpoint/2010/main" val="237872466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matchingName="Título e corpo 3 1">
  <p:cSld name="Título e corpo 3 1">
    <p:bg>
      <p:bgPr>
        <a:solidFill>
          <a:srgbClr val="FFFFFF"/>
        </a:solidFill>
        <a:effectLst/>
      </p:bgPr>
    </p:bg>
    <p:spTree>
      <p:nvGrpSpPr>
        <p:cNvPr id="1" name="Shape 68"/>
        <p:cNvGrpSpPr/>
        <p:nvPr/>
      </p:nvGrpSpPr>
      <p:grpSpPr>
        <a:xfrm>
          <a:off x="0" y="0"/>
          <a:ext cx="0" cy="0"/>
          <a:chOff x="0" y="0"/>
          <a:chExt cx="0" cy="0"/>
        </a:xfrm>
      </p:grpSpPr>
      <p:sp>
        <p:nvSpPr>
          <p:cNvPr id="69" name="Google Shape;69;p11"/>
          <p:cNvSpPr txBox="1">
            <a:spLocks noGrp="1"/>
          </p:cNvSpPr>
          <p:nvPr>
            <p:ph type="title"/>
          </p:nvPr>
        </p:nvSpPr>
        <p:spPr>
          <a:xfrm>
            <a:off x="1080600" y="1042451"/>
            <a:ext cx="10216200" cy="11454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222222"/>
              </a:buClr>
              <a:buSzPts val="2000"/>
              <a:buNone/>
              <a:defRPr sz="4001">
                <a:solidFill>
                  <a:srgbClr val="222222"/>
                </a:solidFill>
              </a:defRPr>
            </a:lvl1pPr>
            <a:lvl2pPr lvl="1" rtl="0">
              <a:spcBef>
                <a:spcPts val="0"/>
              </a:spcBef>
              <a:spcAft>
                <a:spcPts val="0"/>
              </a:spcAft>
              <a:buClr>
                <a:srgbClr val="222222"/>
              </a:buClr>
              <a:buSzPts val="2000"/>
              <a:buNone/>
              <a:defRPr>
                <a:solidFill>
                  <a:srgbClr val="222222"/>
                </a:solidFill>
              </a:defRPr>
            </a:lvl2pPr>
            <a:lvl3pPr lvl="2" rtl="0">
              <a:spcBef>
                <a:spcPts val="0"/>
              </a:spcBef>
              <a:spcAft>
                <a:spcPts val="0"/>
              </a:spcAft>
              <a:buClr>
                <a:srgbClr val="222222"/>
              </a:buClr>
              <a:buSzPts val="2000"/>
              <a:buNone/>
              <a:defRPr>
                <a:solidFill>
                  <a:srgbClr val="222222"/>
                </a:solidFill>
              </a:defRPr>
            </a:lvl3pPr>
            <a:lvl4pPr lvl="3" rtl="0">
              <a:spcBef>
                <a:spcPts val="0"/>
              </a:spcBef>
              <a:spcAft>
                <a:spcPts val="0"/>
              </a:spcAft>
              <a:buClr>
                <a:srgbClr val="222222"/>
              </a:buClr>
              <a:buSzPts val="2000"/>
              <a:buNone/>
              <a:defRPr>
                <a:solidFill>
                  <a:srgbClr val="222222"/>
                </a:solidFill>
              </a:defRPr>
            </a:lvl4pPr>
            <a:lvl5pPr lvl="4" rtl="0">
              <a:spcBef>
                <a:spcPts val="0"/>
              </a:spcBef>
              <a:spcAft>
                <a:spcPts val="0"/>
              </a:spcAft>
              <a:buClr>
                <a:srgbClr val="222222"/>
              </a:buClr>
              <a:buSzPts val="2000"/>
              <a:buNone/>
              <a:defRPr>
                <a:solidFill>
                  <a:srgbClr val="222222"/>
                </a:solidFill>
              </a:defRPr>
            </a:lvl5pPr>
            <a:lvl6pPr lvl="5" rtl="0">
              <a:spcBef>
                <a:spcPts val="0"/>
              </a:spcBef>
              <a:spcAft>
                <a:spcPts val="0"/>
              </a:spcAft>
              <a:buClr>
                <a:srgbClr val="222222"/>
              </a:buClr>
              <a:buSzPts val="2000"/>
              <a:buNone/>
              <a:defRPr>
                <a:solidFill>
                  <a:srgbClr val="222222"/>
                </a:solidFill>
              </a:defRPr>
            </a:lvl6pPr>
            <a:lvl7pPr lvl="6" rtl="0">
              <a:spcBef>
                <a:spcPts val="0"/>
              </a:spcBef>
              <a:spcAft>
                <a:spcPts val="0"/>
              </a:spcAft>
              <a:buClr>
                <a:srgbClr val="222222"/>
              </a:buClr>
              <a:buSzPts val="2000"/>
              <a:buNone/>
              <a:defRPr>
                <a:solidFill>
                  <a:srgbClr val="222222"/>
                </a:solidFill>
              </a:defRPr>
            </a:lvl7pPr>
            <a:lvl8pPr lvl="7" rtl="0">
              <a:spcBef>
                <a:spcPts val="0"/>
              </a:spcBef>
              <a:spcAft>
                <a:spcPts val="0"/>
              </a:spcAft>
              <a:buClr>
                <a:srgbClr val="222222"/>
              </a:buClr>
              <a:buSzPts val="2000"/>
              <a:buNone/>
              <a:defRPr>
                <a:solidFill>
                  <a:srgbClr val="222222"/>
                </a:solidFill>
              </a:defRPr>
            </a:lvl8pPr>
            <a:lvl9pPr lvl="8" rtl="0">
              <a:spcBef>
                <a:spcPts val="0"/>
              </a:spcBef>
              <a:spcAft>
                <a:spcPts val="0"/>
              </a:spcAft>
              <a:buClr>
                <a:srgbClr val="222222"/>
              </a:buClr>
              <a:buSzPts val="2000"/>
              <a:buNone/>
              <a:defRPr>
                <a:solidFill>
                  <a:srgbClr val="222222"/>
                </a:solidFill>
              </a:defRPr>
            </a:lvl9pPr>
          </a:lstStyle>
          <a:p>
            <a:endParaRPr/>
          </a:p>
        </p:txBody>
      </p:sp>
      <p:sp>
        <p:nvSpPr>
          <p:cNvPr id="70" name="Google Shape;70;p11"/>
          <p:cNvSpPr txBox="1">
            <a:spLocks noGrp="1"/>
          </p:cNvSpPr>
          <p:nvPr>
            <p:ph type="body" idx="1"/>
          </p:nvPr>
        </p:nvSpPr>
        <p:spPr>
          <a:xfrm>
            <a:off x="1080600" y="3130350"/>
            <a:ext cx="12462600" cy="5891400"/>
          </a:xfrm>
          <a:prstGeom prst="rect">
            <a:avLst/>
          </a:prstGeom>
        </p:spPr>
        <p:txBody>
          <a:bodyPr spcFirstLastPara="1" wrap="square" lIns="91425" tIns="91425" rIns="91425" bIns="91425" anchor="t" anchorCtr="0">
            <a:noAutofit/>
          </a:bodyPr>
          <a:lstStyle>
            <a:lvl1pPr marL="914378" lvl="0" indent="-609585" rtl="0">
              <a:spcBef>
                <a:spcPts val="0"/>
              </a:spcBef>
              <a:spcAft>
                <a:spcPts val="0"/>
              </a:spcAft>
              <a:buClr>
                <a:srgbClr val="222222"/>
              </a:buClr>
              <a:buSzPts val="1200"/>
              <a:buChar char="●"/>
              <a:defRPr sz="2400">
                <a:solidFill>
                  <a:srgbClr val="222222"/>
                </a:solidFill>
              </a:defRPr>
            </a:lvl1pPr>
            <a:lvl2pPr marL="1828755" lvl="1" indent="-609585" rtl="0">
              <a:spcBef>
                <a:spcPts val="3200"/>
              </a:spcBef>
              <a:spcAft>
                <a:spcPts val="0"/>
              </a:spcAft>
              <a:buClr>
                <a:srgbClr val="222222"/>
              </a:buClr>
              <a:buSzPts val="1200"/>
              <a:buChar char="○"/>
              <a:defRPr sz="2400">
                <a:solidFill>
                  <a:srgbClr val="222222"/>
                </a:solidFill>
              </a:defRPr>
            </a:lvl2pPr>
            <a:lvl3pPr marL="2743131" lvl="2" indent="-584186" rtl="0">
              <a:spcBef>
                <a:spcPts val="3200"/>
              </a:spcBef>
              <a:spcAft>
                <a:spcPts val="0"/>
              </a:spcAft>
              <a:buClr>
                <a:srgbClr val="222222"/>
              </a:buClr>
              <a:buSzPts val="1000"/>
              <a:buChar char="■"/>
              <a:defRPr sz="2000">
                <a:solidFill>
                  <a:srgbClr val="222222"/>
                </a:solidFill>
              </a:defRPr>
            </a:lvl3pPr>
            <a:lvl4pPr marL="3657509" lvl="3" indent="-584186" rtl="0">
              <a:spcBef>
                <a:spcPts val="3200"/>
              </a:spcBef>
              <a:spcAft>
                <a:spcPts val="0"/>
              </a:spcAft>
              <a:buClr>
                <a:srgbClr val="222222"/>
              </a:buClr>
              <a:buSzPts val="1000"/>
              <a:buChar char="●"/>
              <a:defRPr sz="2000">
                <a:solidFill>
                  <a:srgbClr val="222222"/>
                </a:solidFill>
              </a:defRPr>
            </a:lvl4pPr>
            <a:lvl5pPr marL="4571886" lvl="4" indent="-558786" rtl="0">
              <a:spcBef>
                <a:spcPts val="3200"/>
              </a:spcBef>
              <a:spcAft>
                <a:spcPts val="0"/>
              </a:spcAft>
              <a:buClr>
                <a:srgbClr val="222222"/>
              </a:buClr>
              <a:buSzPts val="800"/>
              <a:buChar char="○"/>
              <a:defRPr sz="1601">
                <a:solidFill>
                  <a:srgbClr val="222222"/>
                </a:solidFill>
              </a:defRPr>
            </a:lvl5pPr>
            <a:lvl6pPr marL="5486264" lvl="5" indent="-558786" rtl="0">
              <a:spcBef>
                <a:spcPts val="3200"/>
              </a:spcBef>
              <a:spcAft>
                <a:spcPts val="0"/>
              </a:spcAft>
              <a:buClr>
                <a:srgbClr val="222222"/>
              </a:buClr>
              <a:buSzPts val="800"/>
              <a:buChar char="■"/>
              <a:defRPr sz="1601">
                <a:solidFill>
                  <a:srgbClr val="222222"/>
                </a:solidFill>
              </a:defRPr>
            </a:lvl6pPr>
            <a:lvl7pPr marL="6400640" lvl="6" indent="-609585" rtl="0">
              <a:spcBef>
                <a:spcPts val="3200"/>
              </a:spcBef>
              <a:spcAft>
                <a:spcPts val="0"/>
              </a:spcAft>
              <a:buClr>
                <a:srgbClr val="222222"/>
              </a:buClr>
              <a:buSzPts val="1200"/>
              <a:buChar char="●"/>
              <a:defRPr>
                <a:solidFill>
                  <a:srgbClr val="222222"/>
                </a:solidFill>
              </a:defRPr>
            </a:lvl7pPr>
            <a:lvl8pPr marL="7315017" lvl="7" indent="-609585" rtl="0">
              <a:spcBef>
                <a:spcPts val="3200"/>
              </a:spcBef>
              <a:spcAft>
                <a:spcPts val="0"/>
              </a:spcAft>
              <a:buClr>
                <a:srgbClr val="222222"/>
              </a:buClr>
              <a:buSzPts val="1200"/>
              <a:buChar char="○"/>
              <a:defRPr>
                <a:solidFill>
                  <a:srgbClr val="222222"/>
                </a:solidFill>
              </a:defRPr>
            </a:lvl8pPr>
            <a:lvl9pPr marL="8229395" lvl="8" indent="-609585" rtl="0">
              <a:spcBef>
                <a:spcPts val="3200"/>
              </a:spcBef>
              <a:spcAft>
                <a:spcPts val="3200"/>
              </a:spcAft>
              <a:buClr>
                <a:srgbClr val="222222"/>
              </a:buClr>
              <a:buSzPts val="1200"/>
              <a:buChar char="■"/>
              <a:defRPr>
                <a:solidFill>
                  <a:srgbClr val="222222"/>
                </a:solidFill>
              </a:defRPr>
            </a:lvl9pPr>
          </a:lstStyle>
          <a:p>
            <a:endParaRPr/>
          </a:p>
        </p:txBody>
      </p:sp>
      <p:sp>
        <p:nvSpPr>
          <p:cNvPr id="71" name="Google Shape;71;p11"/>
          <p:cNvSpPr txBox="1">
            <a:spLocks noGrp="1"/>
          </p:cNvSpPr>
          <p:nvPr>
            <p:ph type="sldNum" idx="12"/>
          </p:nvPr>
        </p:nvSpPr>
        <p:spPr>
          <a:xfrm>
            <a:off x="16944917" y="9326435"/>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defTabSz="1828755">
              <a:defRPr/>
            </a:pPr>
            <a:fld id="{00000000-1234-1234-1234-123412341234}" type="slidenum">
              <a:rPr lang="pt-BR" sz="2000" smtClean="0">
                <a:solidFill>
                  <a:srgbClr val="ADADAD"/>
                </a:solidFill>
              </a:rPr>
              <a:pPr defTabSz="1828755">
                <a:defRPr/>
              </a:pPr>
              <a:t>‹nº›</a:t>
            </a:fld>
            <a:endParaRPr lang="pt-BR" sz="2000">
              <a:solidFill>
                <a:srgbClr val="ADADAD"/>
              </a:solidFill>
            </a:endParaRPr>
          </a:p>
        </p:txBody>
      </p:sp>
      <p:sp>
        <p:nvSpPr>
          <p:cNvPr id="73" name="Google Shape;73;p11"/>
          <p:cNvSpPr txBox="1">
            <a:spLocks noGrp="1"/>
          </p:cNvSpPr>
          <p:nvPr>
            <p:ph type="subTitle" idx="2"/>
          </p:nvPr>
        </p:nvSpPr>
        <p:spPr>
          <a:xfrm>
            <a:off x="8778900" y="8568450"/>
            <a:ext cx="9263400" cy="15852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222222"/>
              </a:buClr>
              <a:buSzPts val="800"/>
              <a:buFont typeface="Montserrat Light"/>
              <a:buNone/>
              <a:defRPr sz="1601">
                <a:solidFill>
                  <a:srgbClr val="222222"/>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222222"/>
              </a:buClr>
              <a:buSzPts val="800"/>
              <a:buFont typeface="Montserrat Light"/>
              <a:buNone/>
              <a:defRPr sz="1601">
                <a:solidFill>
                  <a:srgbClr val="222222"/>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222222"/>
              </a:buClr>
              <a:buSzPts val="800"/>
              <a:buFont typeface="Montserrat Light"/>
              <a:buNone/>
              <a:defRPr sz="1601">
                <a:solidFill>
                  <a:srgbClr val="222222"/>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222222"/>
              </a:buClr>
              <a:buSzPts val="800"/>
              <a:buFont typeface="Montserrat Light"/>
              <a:buNone/>
              <a:defRPr sz="1601">
                <a:solidFill>
                  <a:srgbClr val="222222"/>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222222"/>
              </a:buClr>
              <a:buSzPts val="800"/>
              <a:buFont typeface="Montserrat Light"/>
              <a:buNone/>
              <a:defRPr sz="1601">
                <a:solidFill>
                  <a:srgbClr val="222222"/>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222222"/>
              </a:buClr>
              <a:buSzPts val="800"/>
              <a:buFont typeface="Montserrat Light"/>
              <a:buNone/>
              <a:defRPr sz="1601">
                <a:solidFill>
                  <a:srgbClr val="222222"/>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222222"/>
              </a:buClr>
              <a:buSzPts val="800"/>
              <a:buFont typeface="Montserrat Light"/>
              <a:buNone/>
              <a:defRPr sz="1601">
                <a:solidFill>
                  <a:srgbClr val="222222"/>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222222"/>
              </a:buClr>
              <a:buSzPts val="800"/>
              <a:buFont typeface="Montserrat Light"/>
              <a:buNone/>
              <a:defRPr sz="1601">
                <a:solidFill>
                  <a:srgbClr val="222222"/>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222222"/>
              </a:buClr>
              <a:buSzPts val="800"/>
              <a:buFont typeface="Montserrat Light"/>
              <a:buNone/>
              <a:defRPr sz="1601">
                <a:solidFill>
                  <a:srgbClr val="222222"/>
                </a:solidFill>
                <a:latin typeface="Montserrat Light"/>
                <a:ea typeface="Montserrat Light"/>
                <a:cs typeface="Montserrat Light"/>
                <a:sym typeface="Montserrat Light"/>
              </a:defRPr>
            </a:lvl9pPr>
          </a:lstStyle>
          <a:p>
            <a:endParaRPr/>
          </a:p>
        </p:txBody>
      </p:sp>
    </p:spTree>
    <p:extLst>
      <p:ext uri="{BB962C8B-B14F-4D97-AF65-F5344CB8AC3E}">
        <p14:creationId xmlns:p14="http://schemas.microsoft.com/office/powerpoint/2010/main" val="410883427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matchingName="Custom Layout">
  <p:cSld name="Custom Layout">
    <p:spTree>
      <p:nvGrpSpPr>
        <p:cNvPr id="1" name="Shape 4446"/>
        <p:cNvGrpSpPr/>
        <p:nvPr/>
      </p:nvGrpSpPr>
      <p:grpSpPr>
        <a:xfrm>
          <a:off x="0" y="0"/>
          <a:ext cx="0" cy="0"/>
          <a:chOff x="0" y="0"/>
          <a:chExt cx="0" cy="0"/>
        </a:xfrm>
      </p:grpSpPr>
      <p:sp>
        <p:nvSpPr>
          <p:cNvPr id="4447" name="Google Shape;4447;p54"/>
          <p:cNvSpPr txBox="1">
            <a:spLocks noGrp="1"/>
          </p:cNvSpPr>
          <p:nvPr>
            <p:ph type="title"/>
          </p:nvPr>
        </p:nvSpPr>
        <p:spPr>
          <a:xfrm>
            <a:off x="556916" y="534591"/>
            <a:ext cx="17175150" cy="1611675"/>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6500"/>
              <a:buNone/>
              <a:defRPr>
                <a:solidFill>
                  <a:srgbClr val="2E1745"/>
                </a:solidFill>
                <a:latin typeface="Roboto"/>
                <a:ea typeface="Roboto"/>
                <a:cs typeface="Roboto"/>
                <a:sym typeface="Roboto"/>
              </a:defRPr>
            </a:lvl1pPr>
            <a:lvl2pPr lvl="1" algn="l" rtl="0">
              <a:lnSpc>
                <a:spcPct val="100000"/>
              </a:lnSpc>
              <a:spcBef>
                <a:spcPts val="0"/>
              </a:spcBef>
              <a:spcAft>
                <a:spcPts val="0"/>
              </a:spcAft>
              <a:buSzPts val="6500"/>
              <a:buNone/>
              <a:defRPr/>
            </a:lvl2pPr>
            <a:lvl3pPr lvl="2" algn="l" rtl="0">
              <a:lnSpc>
                <a:spcPct val="100000"/>
              </a:lnSpc>
              <a:spcBef>
                <a:spcPts val="0"/>
              </a:spcBef>
              <a:spcAft>
                <a:spcPts val="0"/>
              </a:spcAft>
              <a:buSzPts val="6500"/>
              <a:buNone/>
              <a:defRPr/>
            </a:lvl3pPr>
            <a:lvl4pPr lvl="3" algn="l" rtl="0">
              <a:lnSpc>
                <a:spcPct val="100000"/>
              </a:lnSpc>
              <a:spcBef>
                <a:spcPts val="0"/>
              </a:spcBef>
              <a:spcAft>
                <a:spcPts val="0"/>
              </a:spcAft>
              <a:buSzPts val="6500"/>
              <a:buNone/>
              <a:defRPr/>
            </a:lvl4pPr>
            <a:lvl5pPr lvl="4" algn="l" rtl="0">
              <a:lnSpc>
                <a:spcPct val="100000"/>
              </a:lnSpc>
              <a:spcBef>
                <a:spcPts val="0"/>
              </a:spcBef>
              <a:spcAft>
                <a:spcPts val="0"/>
              </a:spcAft>
              <a:buSzPts val="6500"/>
              <a:buNone/>
              <a:defRPr/>
            </a:lvl5pPr>
            <a:lvl6pPr lvl="5" algn="l" rtl="0">
              <a:lnSpc>
                <a:spcPct val="100000"/>
              </a:lnSpc>
              <a:spcBef>
                <a:spcPts val="0"/>
              </a:spcBef>
              <a:spcAft>
                <a:spcPts val="0"/>
              </a:spcAft>
              <a:buSzPts val="6500"/>
              <a:buNone/>
              <a:defRPr/>
            </a:lvl6pPr>
            <a:lvl7pPr lvl="6" algn="l" rtl="0">
              <a:lnSpc>
                <a:spcPct val="100000"/>
              </a:lnSpc>
              <a:spcBef>
                <a:spcPts val="0"/>
              </a:spcBef>
              <a:spcAft>
                <a:spcPts val="0"/>
              </a:spcAft>
              <a:buSzPts val="6500"/>
              <a:buNone/>
              <a:defRPr/>
            </a:lvl7pPr>
            <a:lvl8pPr lvl="7" algn="l" rtl="0">
              <a:lnSpc>
                <a:spcPct val="100000"/>
              </a:lnSpc>
              <a:spcBef>
                <a:spcPts val="0"/>
              </a:spcBef>
              <a:spcAft>
                <a:spcPts val="0"/>
              </a:spcAft>
              <a:buSzPts val="6500"/>
              <a:buNone/>
              <a:defRPr/>
            </a:lvl8pPr>
            <a:lvl9pPr lvl="8" algn="l" rtl="0">
              <a:lnSpc>
                <a:spcPct val="100000"/>
              </a:lnSpc>
              <a:spcBef>
                <a:spcPts val="0"/>
              </a:spcBef>
              <a:spcAft>
                <a:spcPts val="0"/>
              </a:spcAft>
              <a:buSzPts val="6500"/>
              <a:buNone/>
              <a:defRPr/>
            </a:lvl9pPr>
          </a:lstStyle>
          <a:p>
            <a:endParaRPr/>
          </a:p>
        </p:txBody>
      </p:sp>
      <p:sp>
        <p:nvSpPr>
          <p:cNvPr id="4448" name="Google Shape;4448;p54"/>
          <p:cNvSpPr txBox="1">
            <a:spLocks noGrp="1"/>
          </p:cNvSpPr>
          <p:nvPr>
            <p:ph type="sldNum" idx="12"/>
          </p:nvPr>
        </p:nvSpPr>
        <p:spPr>
          <a:xfrm>
            <a:off x="8786670" y="9834712"/>
            <a:ext cx="367200" cy="207749"/>
          </a:xfrm>
          <a:prstGeom prst="rect">
            <a:avLst/>
          </a:prstGeom>
          <a:noFill/>
          <a:ln>
            <a:noFill/>
          </a:ln>
        </p:spPr>
        <p:txBody>
          <a:bodyPr spcFirstLastPara="1" wrap="square" lIns="0" tIns="0" rIns="0" bIns="0" anchor="t" anchorCtr="0">
            <a:spAutoFit/>
          </a:bodyPr>
          <a:lstStyle>
            <a:lvl1pPr marL="0" lvl="0" indent="0" algn="r" rtl="0">
              <a:lnSpc>
                <a:spcPct val="100000"/>
              </a:lnSpc>
              <a:spcBef>
                <a:spcPts val="0"/>
              </a:spcBef>
              <a:spcAft>
                <a:spcPts val="0"/>
              </a:spcAft>
              <a:buSzPts val="1800"/>
              <a:buNone/>
              <a:defRPr sz="1350" b="0" i="0" u="none" strike="noStrike" cap="none">
                <a:solidFill>
                  <a:srgbClr val="2E1745"/>
                </a:solidFill>
                <a:latin typeface="Roboto"/>
                <a:ea typeface="Roboto"/>
                <a:cs typeface="Roboto"/>
                <a:sym typeface="Roboto"/>
              </a:defRPr>
            </a:lvl1pPr>
            <a:lvl2pPr marL="0" lvl="1" indent="0" algn="r" rtl="0">
              <a:lnSpc>
                <a:spcPct val="100000"/>
              </a:lnSpc>
              <a:spcBef>
                <a:spcPts val="0"/>
              </a:spcBef>
              <a:spcAft>
                <a:spcPts val="0"/>
              </a:spcAft>
              <a:buSzPts val="1800"/>
              <a:buNone/>
              <a:defRPr sz="1350" b="0" i="0" u="none" strike="noStrike" cap="none">
                <a:solidFill>
                  <a:srgbClr val="2E1745"/>
                </a:solidFill>
                <a:latin typeface="Roboto"/>
                <a:ea typeface="Roboto"/>
                <a:cs typeface="Roboto"/>
                <a:sym typeface="Roboto"/>
              </a:defRPr>
            </a:lvl2pPr>
            <a:lvl3pPr marL="0" lvl="2" indent="0" algn="r" rtl="0">
              <a:lnSpc>
                <a:spcPct val="100000"/>
              </a:lnSpc>
              <a:spcBef>
                <a:spcPts val="0"/>
              </a:spcBef>
              <a:spcAft>
                <a:spcPts val="0"/>
              </a:spcAft>
              <a:buSzPts val="1800"/>
              <a:buNone/>
              <a:defRPr sz="1350" b="0" i="0" u="none" strike="noStrike" cap="none">
                <a:solidFill>
                  <a:srgbClr val="2E1745"/>
                </a:solidFill>
                <a:latin typeface="Roboto"/>
                <a:ea typeface="Roboto"/>
                <a:cs typeface="Roboto"/>
                <a:sym typeface="Roboto"/>
              </a:defRPr>
            </a:lvl3pPr>
            <a:lvl4pPr marL="0" lvl="3" indent="0" algn="r" rtl="0">
              <a:lnSpc>
                <a:spcPct val="100000"/>
              </a:lnSpc>
              <a:spcBef>
                <a:spcPts val="0"/>
              </a:spcBef>
              <a:spcAft>
                <a:spcPts val="0"/>
              </a:spcAft>
              <a:buSzPts val="1800"/>
              <a:buNone/>
              <a:defRPr sz="1350" b="0" i="0" u="none" strike="noStrike" cap="none">
                <a:solidFill>
                  <a:srgbClr val="2E1745"/>
                </a:solidFill>
                <a:latin typeface="Roboto"/>
                <a:ea typeface="Roboto"/>
                <a:cs typeface="Roboto"/>
                <a:sym typeface="Roboto"/>
              </a:defRPr>
            </a:lvl4pPr>
            <a:lvl5pPr marL="0" lvl="4" indent="0" algn="r" rtl="0">
              <a:lnSpc>
                <a:spcPct val="100000"/>
              </a:lnSpc>
              <a:spcBef>
                <a:spcPts val="0"/>
              </a:spcBef>
              <a:spcAft>
                <a:spcPts val="0"/>
              </a:spcAft>
              <a:buSzPts val="1800"/>
              <a:buNone/>
              <a:defRPr sz="1350" b="0" i="0" u="none" strike="noStrike" cap="none">
                <a:solidFill>
                  <a:srgbClr val="2E1745"/>
                </a:solidFill>
                <a:latin typeface="Roboto"/>
                <a:ea typeface="Roboto"/>
                <a:cs typeface="Roboto"/>
                <a:sym typeface="Roboto"/>
              </a:defRPr>
            </a:lvl5pPr>
            <a:lvl6pPr marL="0" lvl="5" indent="0" algn="r" rtl="0">
              <a:lnSpc>
                <a:spcPct val="100000"/>
              </a:lnSpc>
              <a:spcBef>
                <a:spcPts val="0"/>
              </a:spcBef>
              <a:spcAft>
                <a:spcPts val="0"/>
              </a:spcAft>
              <a:buSzPts val="1800"/>
              <a:buNone/>
              <a:defRPr sz="1350" b="0" i="0" u="none" strike="noStrike" cap="none">
                <a:solidFill>
                  <a:srgbClr val="2E1745"/>
                </a:solidFill>
                <a:latin typeface="Roboto"/>
                <a:ea typeface="Roboto"/>
                <a:cs typeface="Roboto"/>
                <a:sym typeface="Roboto"/>
              </a:defRPr>
            </a:lvl6pPr>
            <a:lvl7pPr marL="0" lvl="6" indent="0" algn="r" rtl="0">
              <a:lnSpc>
                <a:spcPct val="100000"/>
              </a:lnSpc>
              <a:spcBef>
                <a:spcPts val="0"/>
              </a:spcBef>
              <a:spcAft>
                <a:spcPts val="0"/>
              </a:spcAft>
              <a:buSzPts val="1800"/>
              <a:buNone/>
              <a:defRPr sz="1350" b="0" i="0" u="none" strike="noStrike" cap="none">
                <a:solidFill>
                  <a:srgbClr val="2E1745"/>
                </a:solidFill>
                <a:latin typeface="Roboto"/>
                <a:ea typeface="Roboto"/>
                <a:cs typeface="Roboto"/>
                <a:sym typeface="Roboto"/>
              </a:defRPr>
            </a:lvl7pPr>
            <a:lvl8pPr marL="0" lvl="7" indent="0" algn="r" rtl="0">
              <a:lnSpc>
                <a:spcPct val="100000"/>
              </a:lnSpc>
              <a:spcBef>
                <a:spcPts val="0"/>
              </a:spcBef>
              <a:spcAft>
                <a:spcPts val="0"/>
              </a:spcAft>
              <a:buSzPts val="1800"/>
              <a:buNone/>
              <a:defRPr sz="1350" b="0" i="0" u="none" strike="noStrike" cap="none">
                <a:solidFill>
                  <a:srgbClr val="2E1745"/>
                </a:solidFill>
                <a:latin typeface="Roboto"/>
                <a:ea typeface="Roboto"/>
                <a:cs typeface="Roboto"/>
                <a:sym typeface="Roboto"/>
              </a:defRPr>
            </a:lvl8pPr>
            <a:lvl9pPr marL="0" lvl="8" indent="0" algn="r" rtl="0">
              <a:lnSpc>
                <a:spcPct val="100000"/>
              </a:lnSpc>
              <a:spcBef>
                <a:spcPts val="0"/>
              </a:spcBef>
              <a:spcAft>
                <a:spcPts val="0"/>
              </a:spcAft>
              <a:buSzPts val="1800"/>
              <a:buNone/>
              <a:defRPr sz="1350" b="0" i="0" u="none" strike="noStrike" cap="none">
                <a:solidFill>
                  <a:srgbClr val="2E1745"/>
                </a:solidFill>
                <a:latin typeface="Roboto"/>
                <a:ea typeface="Roboto"/>
                <a:cs typeface="Roboto"/>
                <a:sym typeface="Roboto"/>
              </a:defRPr>
            </a:lvl9pPr>
          </a:lstStyle>
          <a:p>
            <a:fld id="{00000000-1234-1234-1234-123412341234}" type="slidenum">
              <a:rPr lang="en-US" smtClean="0"/>
              <a:pPr/>
              <a:t>‹nº›</a:t>
            </a:fld>
            <a:endParaRPr lang="en-US" sz="1050"/>
          </a:p>
        </p:txBody>
      </p:sp>
      <p:sp>
        <p:nvSpPr>
          <p:cNvPr id="4449" name="Google Shape;4449;p54"/>
          <p:cNvSpPr txBox="1">
            <a:spLocks noGrp="1"/>
          </p:cNvSpPr>
          <p:nvPr>
            <p:ph type="body" idx="1"/>
          </p:nvPr>
        </p:nvSpPr>
        <p:spPr>
          <a:xfrm>
            <a:off x="575966" y="2675334"/>
            <a:ext cx="16951050" cy="6804900"/>
          </a:xfrm>
          <a:prstGeom prst="rect">
            <a:avLst/>
          </a:prstGeom>
          <a:noFill/>
          <a:ln>
            <a:noFill/>
          </a:ln>
        </p:spPr>
        <p:txBody>
          <a:bodyPr spcFirstLastPara="1" wrap="square" lIns="0" tIns="0" rIns="0" bIns="0" anchor="t" anchorCtr="0">
            <a:noAutofit/>
          </a:bodyPr>
          <a:lstStyle>
            <a:lvl1pPr marL="342900" marR="0" lvl="0" indent="-171450" algn="l" rtl="0">
              <a:lnSpc>
                <a:spcPct val="100000"/>
              </a:lnSpc>
              <a:spcBef>
                <a:spcPts val="1650"/>
              </a:spcBef>
              <a:spcAft>
                <a:spcPts val="0"/>
              </a:spcAft>
              <a:buClr>
                <a:srgbClr val="2E1745"/>
              </a:buClr>
              <a:buSzPts val="3500"/>
              <a:buFont typeface="Arial"/>
              <a:buNone/>
              <a:defRPr sz="2625" b="0" i="0" u="none" strike="noStrike" cap="none">
                <a:solidFill>
                  <a:srgbClr val="2E1745"/>
                </a:solidFill>
                <a:latin typeface="Roboto"/>
                <a:ea typeface="Roboto"/>
                <a:cs typeface="Roboto"/>
                <a:sym typeface="Roboto"/>
              </a:defRPr>
            </a:lvl1pPr>
            <a:lvl2pPr marL="685800" marR="0" lvl="1" indent="-413147" algn="l" rtl="0">
              <a:lnSpc>
                <a:spcPct val="100000"/>
              </a:lnSpc>
              <a:spcBef>
                <a:spcPts val="1650"/>
              </a:spcBef>
              <a:spcAft>
                <a:spcPts val="0"/>
              </a:spcAft>
              <a:buClr>
                <a:srgbClr val="2E1745"/>
              </a:buClr>
              <a:buSzPts val="5075"/>
              <a:buFont typeface="Arial"/>
              <a:buChar char="-"/>
              <a:defRPr sz="2625" b="0" i="0" u="none" strike="noStrike" cap="none">
                <a:solidFill>
                  <a:srgbClr val="2E1745"/>
                </a:solidFill>
                <a:latin typeface="Arial"/>
                <a:ea typeface="Arial"/>
                <a:cs typeface="Arial"/>
                <a:sym typeface="Arial"/>
              </a:defRPr>
            </a:lvl2pPr>
            <a:lvl3pPr marL="1028700" marR="0" lvl="2" indent="-413147" algn="l" rtl="0">
              <a:lnSpc>
                <a:spcPct val="100000"/>
              </a:lnSpc>
              <a:spcBef>
                <a:spcPts val="1650"/>
              </a:spcBef>
              <a:spcAft>
                <a:spcPts val="0"/>
              </a:spcAft>
              <a:buClr>
                <a:srgbClr val="2E1745"/>
              </a:buClr>
              <a:buSzPts val="5075"/>
              <a:buFont typeface="Arial"/>
              <a:buChar char="-"/>
              <a:defRPr sz="2625" b="0" i="0" u="none" strike="noStrike" cap="none">
                <a:solidFill>
                  <a:srgbClr val="2E1745"/>
                </a:solidFill>
                <a:latin typeface="Arial"/>
                <a:ea typeface="Arial"/>
                <a:cs typeface="Arial"/>
                <a:sym typeface="Arial"/>
              </a:defRPr>
            </a:lvl3pPr>
            <a:lvl4pPr marL="1371600" marR="0" lvl="3" indent="-413147" algn="l" rtl="0">
              <a:lnSpc>
                <a:spcPct val="100000"/>
              </a:lnSpc>
              <a:spcBef>
                <a:spcPts val="1650"/>
              </a:spcBef>
              <a:spcAft>
                <a:spcPts val="0"/>
              </a:spcAft>
              <a:buClr>
                <a:srgbClr val="2E1745"/>
              </a:buClr>
              <a:buSzPts val="5075"/>
              <a:buFont typeface="Arial"/>
              <a:buChar char="-"/>
              <a:defRPr sz="2625" b="0" i="0" u="none" strike="noStrike" cap="none">
                <a:solidFill>
                  <a:srgbClr val="2E1745"/>
                </a:solidFill>
                <a:latin typeface="Arial"/>
                <a:ea typeface="Arial"/>
                <a:cs typeface="Arial"/>
                <a:sym typeface="Arial"/>
              </a:defRPr>
            </a:lvl4pPr>
            <a:lvl5pPr marL="1714500" marR="0" lvl="4" indent="-413147" algn="l" rtl="0">
              <a:lnSpc>
                <a:spcPct val="100000"/>
              </a:lnSpc>
              <a:spcBef>
                <a:spcPts val="1650"/>
              </a:spcBef>
              <a:spcAft>
                <a:spcPts val="0"/>
              </a:spcAft>
              <a:buClr>
                <a:srgbClr val="2E1745"/>
              </a:buClr>
              <a:buSzPts val="5075"/>
              <a:buFont typeface="Arial"/>
              <a:buChar char="-"/>
              <a:defRPr sz="2625" b="0" i="0" u="none" strike="noStrike" cap="none">
                <a:solidFill>
                  <a:srgbClr val="2E1745"/>
                </a:solidFill>
                <a:latin typeface="Arial"/>
                <a:ea typeface="Arial"/>
                <a:cs typeface="Arial"/>
                <a:sym typeface="Arial"/>
              </a:defRPr>
            </a:lvl5pPr>
            <a:lvl6pPr marL="2057400" marR="0" lvl="5" indent="-413147" algn="l" rtl="0">
              <a:lnSpc>
                <a:spcPct val="100000"/>
              </a:lnSpc>
              <a:spcBef>
                <a:spcPts val="1650"/>
              </a:spcBef>
              <a:spcAft>
                <a:spcPts val="0"/>
              </a:spcAft>
              <a:buClr>
                <a:srgbClr val="2E1745"/>
              </a:buClr>
              <a:buSzPts val="5075"/>
              <a:buFont typeface="Arial"/>
              <a:buChar char="•"/>
              <a:defRPr sz="2625" b="0" i="0" u="none" strike="noStrike" cap="none">
                <a:solidFill>
                  <a:srgbClr val="2E1745"/>
                </a:solidFill>
                <a:latin typeface="Arial"/>
                <a:ea typeface="Arial"/>
                <a:cs typeface="Arial"/>
                <a:sym typeface="Arial"/>
              </a:defRPr>
            </a:lvl6pPr>
            <a:lvl7pPr marL="2400300" marR="0" lvl="6" indent="-413147" algn="l" rtl="0">
              <a:lnSpc>
                <a:spcPct val="100000"/>
              </a:lnSpc>
              <a:spcBef>
                <a:spcPts val="1650"/>
              </a:spcBef>
              <a:spcAft>
                <a:spcPts val="0"/>
              </a:spcAft>
              <a:buClr>
                <a:srgbClr val="2E1745"/>
              </a:buClr>
              <a:buSzPts val="5075"/>
              <a:buFont typeface="Arial"/>
              <a:buChar char="•"/>
              <a:defRPr sz="2625" b="0" i="0" u="none" strike="noStrike" cap="none">
                <a:solidFill>
                  <a:srgbClr val="2E1745"/>
                </a:solidFill>
                <a:latin typeface="Arial"/>
                <a:ea typeface="Arial"/>
                <a:cs typeface="Arial"/>
                <a:sym typeface="Arial"/>
              </a:defRPr>
            </a:lvl7pPr>
            <a:lvl8pPr marL="2743200" marR="0" lvl="7" indent="-413147" algn="l" rtl="0">
              <a:lnSpc>
                <a:spcPct val="100000"/>
              </a:lnSpc>
              <a:spcBef>
                <a:spcPts val="1650"/>
              </a:spcBef>
              <a:spcAft>
                <a:spcPts val="0"/>
              </a:spcAft>
              <a:buClr>
                <a:srgbClr val="2E1745"/>
              </a:buClr>
              <a:buSzPts val="5075"/>
              <a:buFont typeface="Arial"/>
              <a:buChar char="•"/>
              <a:defRPr sz="2625" b="0" i="0" u="none" strike="noStrike" cap="none">
                <a:solidFill>
                  <a:srgbClr val="2E1745"/>
                </a:solidFill>
                <a:latin typeface="Arial"/>
                <a:ea typeface="Arial"/>
                <a:cs typeface="Arial"/>
                <a:sym typeface="Arial"/>
              </a:defRPr>
            </a:lvl8pPr>
            <a:lvl9pPr marL="3086100" marR="0" lvl="8" indent="-413147" algn="l" rtl="0">
              <a:lnSpc>
                <a:spcPct val="100000"/>
              </a:lnSpc>
              <a:spcBef>
                <a:spcPts val="1650"/>
              </a:spcBef>
              <a:spcAft>
                <a:spcPts val="0"/>
              </a:spcAft>
              <a:buClr>
                <a:srgbClr val="2E1745"/>
              </a:buClr>
              <a:buSzPts val="5075"/>
              <a:buFont typeface="Arial"/>
              <a:buChar char="•"/>
              <a:defRPr sz="2625" b="0" i="0" u="none" strike="noStrike" cap="none">
                <a:solidFill>
                  <a:srgbClr val="2E1745"/>
                </a:solidFill>
                <a:latin typeface="Arial"/>
                <a:ea typeface="Arial"/>
                <a:cs typeface="Arial"/>
                <a:sym typeface="Arial"/>
              </a:defRPr>
            </a:lvl9pPr>
          </a:lstStyle>
          <a:p>
            <a:endParaRPr/>
          </a:p>
        </p:txBody>
      </p:sp>
    </p:spTree>
    <p:extLst>
      <p:ext uri="{BB962C8B-B14F-4D97-AF65-F5344CB8AC3E}">
        <p14:creationId xmlns:p14="http://schemas.microsoft.com/office/powerpoint/2010/main" val="370457419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 preserve="1">
  <p:cSld name="1_Slide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5A5B896-8E30-CD41-A20A-BF5028EC5564}"/>
              </a:ext>
            </a:extLst>
          </p:cNvPr>
          <p:cNvSpPr>
            <a:spLocks noGrp="1"/>
          </p:cNvSpPr>
          <p:nvPr>
            <p:ph type="ctrTitle"/>
          </p:nvPr>
        </p:nvSpPr>
        <p:spPr>
          <a:xfrm>
            <a:off x="2286000" y="1683545"/>
            <a:ext cx="13716000" cy="3581400"/>
          </a:xfrm>
        </p:spPr>
        <p:txBody>
          <a:bodyPr anchor="b"/>
          <a:lstStyle>
            <a:lvl1pPr algn="ctr">
              <a:defRPr sz="9000"/>
            </a:lvl1pPr>
          </a:lstStyle>
          <a:p>
            <a:r>
              <a:rPr lang="pt-BR"/>
              <a:t>Clique para editar o título Mestre</a:t>
            </a:r>
          </a:p>
        </p:txBody>
      </p:sp>
      <p:sp>
        <p:nvSpPr>
          <p:cNvPr id="3" name="Subtítulo 2">
            <a:extLst>
              <a:ext uri="{FF2B5EF4-FFF2-40B4-BE49-F238E27FC236}">
                <a16:creationId xmlns:a16="http://schemas.microsoft.com/office/drawing/2014/main" id="{CE03A585-4AB5-584A-8860-6B973C56B552}"/>
              </a:ext>
            </a:extLst>
          </p:cNvPr>
          <p:cNvSpPr>
            <a:spLocks noGrp="1"/>
          </p:cNvSpPr>
          <p:nvPr>
            <p:ph type="subTitle" idx="1"/>
          </p:nvPr>
        </p:nvSpPr>
        <p:spPr>
          <a:xfrm>
            <a:off x="2286000" y="5403057"/>
            <a:ext cx="13716000" cy="2483643"/>
          </a:xfrm>
        </p:spPr>
        <p:txBody>
          <a:bodyPr/>
          <a:lstStyle>
            <a:lvl1pPr marL="0" indent="0" algn="ctr">
              <a:buNone/>
              <a:defRPr sz="3600"/>
            </a:lvl1pPr>
            <a:lvl2pPr marL="685800" indent="0" algn="ctr">
              <a:buNone/>
              <a:defRPr sz="3000"/>
            </a:lvl2pPr>
            <a:lvl3pPr marL="1371600" indent="0" algn="ctr">
              <a:buNone/>
              <a:defRPr sz="2700"/>
            </a:lvl3pPr>
            <a:lvl4pPr marL="2057400" indent="0" algn="ctr">
              <a:buNone/>
              <a:defRPr sz="2400"/>
            </a:lvl4pPr>
            <a:lvl5pPr marL="2743200" indent="0" algn="ctr">
              <a:buNone/>
              <a:defRPr sz="2400"/>
            </a:lvl5pPr>
            <a:lvl6pPr marL="3429000" indent="0" algn="ctr">
              <a:buNone/>
              <a:defRPr sz="2400"/>
            </a:lvl6pPr>
            <a:lvl7pPr marL="4114800" indent="0" algn="ctr">
              <a:buNone/>
              <a:defRPr sz="2400"/>
            </a:lvl7pPr>
            <a:lvl8pPr marL="4800600" indent="0" algn="ctr">
              <a:buNone/>
              <a:defRPr sz="2400"/>
            </a:lvl8pPr>
            <a:lvl9pPr marL="5486400" indent="0" algn="ctr">
              <a:buNone/>
              <a:defRPr sz="2400"/>
            </a:lvl9pPr>
          </a:lstStyle>
          <a:p>
            <a:r>
              <a:rPr lang="pt-BR"/>
              <a:t>Clique para editar o estilo do subtítulo Mestre</a:t>
            </a:r>
          </a:p>
        </p:txBody>
      </p:sp>
      <p:sp>
        <p:nvSpPr>
          <p:cNvPr id="4" name="Espaço Reservado para Data 3">
            <a:extLst>
              <a:ext uri="{FF2B5EF4-FFF2-40B4-BE49-F238E27FC236}">
                <a16:creationId xmlns:a16="http://schemas.microsoft.com/office/drawing/2014/main" id="{8E63BE57-D392-FC48-88ED-8EBC29C03923}"/>
              </a:ext>
            </a:extLst>
          </p:cNvPr>
          <p:cNvSpPr>
            <a:spLocks noGrp="1"/>
          </p:cNvSpPr>
          <p:nvPr>
            <p:ph type="dt" sz="half" idx="10"/>
          </p:nvPr>
        </p:nvSpPr>
        <p:spPr/>
        <p:txBody>
          <a:bodyPr/>
          <a:lstStyle/>
          <a:p>
            <a:fld id="{36EFB94E-0E4F-944F-A174-C08FE7A8E39E}" type="datetimeFigureOut">
              <a:rPr lang="pt-BR" smtClean="0"/>
              <a:t>09/05/2025</a:t>
            </a:fld>
            <a:endParaRPr lang="pt-BR"/>
          </a:p>
        </p:txBody>
      </p:sp>
      <p:sp>
        <p:nvSpPr>
          <p:cNvPr id="5" name="Espaço Reservado para Rodapé 4">
            <a:extLst>
              <a:ext uri="{FF2B5EF4-FFF2-40B4-BE49-F238E27FC236}">
                <a16:creationId xmlns:a16="http://schemas.microsoft.com/office/drawing/2014/main" id="{C3B53E3A-BF0A-614C-B090-4DAF48F5BC5A}"/>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23A1E31A-1A47-9A43-B42F-576ADA3B29BF}"/>
              </a:ext>
            </a:extLst>
          </p:cNvPr>
          <p:cNvSpPr>
            <a:spLocks noGrp="1"/>
          </p:cNvSpPr>
          <p:nvPr>
            <p:ph type="sldNum" sz="quarter" idx="12"/>
          </p:nvPr>
        </p:nvSpPr>
        <p:spPr/>
        <p:txBody>
          <a:bodyPr/>
          <a:lstStyle/>
          <a:p>
            <a:fld id="{3E6F8420-909B-9F44-82D4-292E52F1B748}" type="slidenum">
              <a:rPr lang="pt-BR" smtClean="0"/>
              <a:t>‹nº›</a:t>
            </a:fld>
            <a:endParaRPr lang="pt-BR"/>
          </a:p>
        </p:txBody>
      </p:sp>
    </p:spTree>
    <p:extLst>
      <p:ext uri="{BB962C8B-B14F-4D97-AF65-F5344CB8AC3E}">
        <p14:creationId xmlns:p14="http://schemas.microsoft.com/office/powerpoint/2010/main" val="314743220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reserve="1">
  <p:cSld name="1_Título e Conteú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C53153C-23D8-3B40-B92F-BFA1A51EE552}"/>
              </a:ext>
            </a:extLst>
          </p:cNvPr>
          <p:cNvSpPr>
            <a:spLocks noGrp="1"/>
          </p:cNvSpPr>
          <p:nvPr>
            <p:ph type="title"/>
          </p:nvPr>
        </p:nvSpPr>
        <p:spPr/>
        <p:txBody>
          <a:bodyPr/>
          <a:lstStyle/>
          <a:p>
            <a:r>
              <a:rPr lang="pt-BR"/>
              <a:t>Clique para editar o título Mestre</a:t>
            </a:r>
          </a:p>
        </p:txBody>
      </p:sp>
      <p:sp>
        <p:nvSpPr>
          <p:cNvPr id="3" name="Espaço Reservado para Conteúdo 2">
            <a:extLst>
              <a:ext uri="{FF2B5EF4-FFF2-40B4-BE49-F238E27FC236}">
                <a16:creationId xmlns:a16="http://schemas.microsoft.com/office/drawing/2014/main" id="{008E044C-6AA0-3C4A-B222-36AE29F1AE6D}"/>
              </a:ext>
            </a:extLst>
          </p:cNvPr>
          <p:cNvSpPr>
            <a:spLocks noGrp="1"/>
          </p:cNvSpPr>
          <p:nvPr>
            <p:ph idx="1"/>
          </p:nvPr>
        </p:nvSpPr>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DC5A7EAB-C18A-FB4B-8F95-ECE9461FD68B}"/>
              </a:ext>
            </a:extLst>
          </p:cNvPr>
          <p:cNvSpPr>
            <a:spLocks noGrp="1"/>
          </p:cNvSpPr>
          <p:nvPr>
            <p:ph type="dt" sz="half" idx="10"/>
          </p:nvPr>
        </p:nvSpPr>
        <p:spPr/>
        <p:txBody>
          <a:bodyPr/>
          <a:lstStyle/>
          <a:p>
            <a:fld id="{36EFB94E-0E4F-944F-A174-C08FE7A8E39E}" type="datetimeFigureOut">
              <a:rPr lang="pt-BR" smtClean="0"/>
              <a:t>09/05/2025</a:t>
            </a:fld>
            <a:endParaRPr lang="pt-BR"/>
          </a:p>
        </p:txBody>
      </p:sp>
      <p:sp>
        <p:nvSpPr>
          <p:cNvPr id="5" name="Espaço Reservado para Rodapé 4">
            <a:extLst>
              <a:ext uri="{FF2B5EF4-FFF2-40B4-BE49-F238E27FC236}">
                <a16:creationId xmlns:a16="http://schemas.microsoft.com/office/drawing/2014/main" id="{415A6EA7-5918-AF41-B8E5-467089B2BDDE}"/>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A19B8AAB-6D3D-B947-A1DF-A849D03F437C}"/>
              </a:ext>
            </a:extLst>
          </p:cNvPr>
          <p:cNvSpPr>
            <a:spLocks noGrp="1"/>
          </p:cNvSpPr>
          <p:nvPr>
            <p:ph type="sldNum" sz="quarter" idx="12"/>
          </p:nvPr>
        </p:nvSpPr>
        <p:spPr/>
        <p:txBody>
          <a:bodyPr/>
          <a:lstStyle/>
          <a:p>
            <a:fld id="{3E6F8420-909B-9F44-82D4-292E52F1B748}" type="slidenum">
              <a:rPr lang="pt-BR" smtClean="0"/>
              <a:t>‹nº›</a:t>
            </a:fld>
            <a:endParaRPr lang="pt-BR"/>
          </a:p>
        </p:txBody>
      </p:sp>
    </p:spTree>
    <p:extLst>
      <p:ext uri="{BB962C8B-B14F-4D97-AF65-F5344CB8AC3E}">
        <p14:creationId xmlns:p14="http://schemas.microsoft.com/office/powerpoint/2010/main" val="382806704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secHead" preserve="1">
  <p:cSld name="1_Cabeçalho da Seçã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7E38350-9497-5043-8CFE-2879D78D7A79}"/>
              </a:ext>
            </a:extLst>
          </p:cNvPr>
          <p:cNvSpPr>
            <a:spLocks noGrp="1"/>
          </p:cNvSpPr>
          <p:nvPr>
            <p:ph type="title"/>
          </p:nvPr>
        </p:nvSpPr>
        <p:spPr>
          <a:xfrm>
            <a:off x="1247775" y="2564608"/>
            <a:ext cx="15773400" cy="4279106"/>
          </a:xfrm>
        </p:spPr>
        <p:txBody>
          <a:bodyPr anchor="b"/>
          <a:lstStyle>
            <a:lvl1pPr>
              <a:defRPr sz="9000"/>
            </a:lvl1pPr>
          </a:lstStyle>
          <a:p>
            <a:r>
              <a:rPr lang="pt-BR"/>
              <a:t>Clique para editar o título Mestre</a:t>
            </a:r>
          </a:p>
        </p:txBody>
      </p:sp>
      <p:sp>
        <p:nvSpPr>
          <p:cNvPr id="3" name="Espaço Reservado para Texto 2">
            <a:extLst>
              <a:ext uri="{FF2B5EF4-FFF2-40B4-BE49-F238E27FC236}">
                <a16:creationId xmlns:a16="http://schemas.microsoft.com/office/drawing/2014/main" id="{B986F0D4-EB9A-A542-9880-AA5618CB7166}"/>
              </a:ext>
            </a:extLst>
          </p:cNvPr>
          <p:cNvSpPr>
            <a:spLocks noGrp="1"/>
          </p:cNvSpPr>
          <p:nvPr>
            <p:ph type="body" idx="1"/>
          </p:nvPr>
        </p:nvSpPr>
        <p:spPr>
          <a:xfrm>
            <a:off x="1247775" y="6884195"/>
            <a:ext cx="15773400" cy="2250281"/>
          </a:xfrm>
        </p:spPr>
        <p:txBody>
          <a:bodyPr/>
          <a:lstStyle>
            <a:lvl1pPr marL="0" indent="0">
              <a:buNone/>
              <a:defRPr sz="3600">
                <a:solidFill>
                  <a:schemeClr val="tx1">
                    <a:tint val="75000"/>
                  </a:schemeClr>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pt-BR"/>
              <a:t>Clique para editar os estilos de texto Mestres</a:t>
            </a:r>
          </a:p>
        </p:txBody>
      </p:sp>
      <p:sp>
        <p:nvSpPr>
          <p:cNvPr id="4" name="Espaço Reservado para Data 3">
            <a:extLst>
              <a:ext uri="{FF2B5EF4-FFF2-40B4-BE49-F238E27FC236}">
                <a16:creationId xmlns:a16="http://schemas.microsoft.com/office/drawing/2014/main" id="{D0BB181F-7DF5-5E43-83D1-4719EC06806F}"/>
              </a:ext>
            </a:extLst>
          </p:cNvPr>
          <p:cNvSpPr>
            <a:spLocks noGrp="1"/>
          </p:cNvSpPr>
          <p:nvPr>
            <p:ph type="dt" sz="half" idx="10"/>
          </p:nvPr>
        </p:nvSpPr>
        <p:spPr/>
        <p:txBody>
          <a:bodyPr/>
          <a:lstStyle/>
          <a:p>
            <a:fld id="{36EFB94E-0E4F-944F-A174-C08FE7A8E39E}" type="datetimeFigureOut">
              <a:rPr lang="pt-BR" smtClean="0"/>
              <a:t>09/05/2025</a:t>
            </a:fld>
            <a:endParaRPr lang="pt-BR"/>
          </a:p>
        </p:txBody>
      </p:sp>
      <p:sp>
        <p:nvSpPr>
          <p:cNvPr id="5" name="Espaço Reservado para Rodapé 4">
            <a:extLst>
              <a:ext uri="{FF2B5EF4-FFF2-40B4-BE49-F238E27FC236}">
                <a16:creationId xmlns:a16="http://schemas.microsoft.com/office/drawing/2014/main" id="{64009CA6-1EF4-8847-9B94-C108737D5D81}"/>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2812209A-7CD2-544C-8C99-C9C084048DF1}"/>
              </a:ext>
            </a:extLst>
          </p:cNvPr>
          <p:cNvSpPr>
            <a:spLocks noGrp="1"/>
          </p:cNvSpPr>
          <p:nvPr>
            <p:ph type="sldNum" sz="quarter" idx="12"/>
          </p:nvPr>
        </p:nvSpPr>
        <p:spPr/>
        <p:txBody>
          <a:bodyPr/>
          <a:lstStyle/>
          <a:p>
            <a:fld id="{3E6F8420-909B-9F44-82D4-292E52F1B748}" type="slidenum">
              <a:rPr lang="pt-BR" smtClean="0"/>
              <a:t>‹nº›</a:t>
            </a:fld>
            <a:endParaRPr lang="pt-BR"/>
          </a:p>
        </p:txBody>
      </p:sp>
    </p:spTree>
    <p:extLst>
      <p:ext uri="{BB962C8B-B14F-4D97-AF65-F5344CB8AC3E}">
        <p14:creationId xmlns:p14="http://schemas.microsoft.com/office/powerpoint/2010/main" val="259957448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ítulo e corpo 1 1" preserve="1">
  <p:cSld name="Título e corpo 1 1">
    <p:bg>
      <p:bgPr>
        <a:solidFill>
          <a:srgbClr val="222222"/>
        </a:solidFill>
        <a:effectLst/>
      </p:bgPr>
    </p:bg>
    <p:spTree>
      <p:nvGrpSpPr>
        <p:cNvPr id="1" name="Shape 104"/>
        <p:cNvGrpSpPr/>
        <p:nvPr/>
      </p:nvGrpSpPr>
      <p:grpSpPr>
        <a:xfrm>
          <a:off x="0" y="0"/>
          <a:ext cx="0" cy="0"/>
          <a:chOff x="0" y="0"/>
          <a:chExt cx="0" cy="0"/>
        </a:xfrm>
      </p:grpSpPr>
      <p:sp>
        <p:nvSpPr>
          <p:cNvPr id="105" name="Google Shape;105;p17"/>
          <p:cNvSpPr txBox="1">
            <a:spLocks noGrp="1"/>
          </p:cNvSpPr>
          <p:nvPr>
            <p:ph type="title"/>
          </p:nvPr>
        </p:nvSpPr>
        <p:spPr>
          <a:xfrm>
            <a:off x="7867650" y="1042450"/>
            <a:ext cx="8492400" cy="11454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FFFFFF"/>
              </a:buClr>
              <a:buSzPts val="2000"/>
              <a:buNone/>
              <a:defRPr>
                <a:solidFill>
                  <a:srgbClr val="FFFFFF"/>
                </a:solidFill>
              </a:defRPr>
            </a:lvl1pPr>
            <a:lvl2pPr lvl="1" rtl="0">
              <a:spcBef>
                <a:spcPts val="0"/>
              </a:spcBef>
              <a:spcAft>
                <a:spcPts val="0"/>
              </a:spcAft>
              <a:buClr>
                <a:srgbClr val="FFFFFF"/>
              </a:buClr>
              <a:buSzPts val="2000"/>
              <a:buNone/>
              <a:defRPr>
                <a:solidFill>
                  <a:srgbClr val="FFFFFF"/>
                </a:solidFill>
              </a:defRPr>
            </a:lvl2pPr>
            <a:lvl3pPr lvl="2" rtl="0">
              <a:spcBef>
                <a:spcPts val="0"/>
              </a:spcBef>
              <a:spcAft>
                <a:spcPts val="0"/>
              </a:spcAft>
              <a:buClr>
                <a:srgbClr val="FFFFFF"/>
              </a:buClr>
              <a:buSzPts val="2000"/>
              <a:buNone/>
              <a:defRPr>
                <a:solidFill>
                  <a:srgbClr val="FFFFFF"/>
                </a:solidFill>
              </a:defRPr>
            </a:lvl3pPr>
            <a:lvl4pPr lvl="3" rtl="0">
              <a:spcBef>
                <a:spcPts val="0"/>
              </a:spcBef>
              <a:spcAft>
                <a:spcPts val="0"/>
              </a:spcAft>
              <a:buClr>
                <a:srgbClr val="FFFFFF"/>
              </a:buClr>
              <a:buSzPts val="2000"/>
              <a:buNone/>
              <a:defRPr>
                <a:solidFill>
                  <a:srgbClr val="FFFFFF"/>
                </a:solidFill>
              </a:defRPr>
            </a:lvl4pPr>
            <a:lvl5pPr lvl="4" rtl="0">
              <a:spcBef>
                <a:spcPts val="0"/>
              </a:spcBef>
              <a:spcAft>
                <a:spcPts val="0"/>
              </a:spcAft>
              <a:buClr>
                <a:srgbClr val="FFFFFF"/>
              </a:buClr>
              <a:buSzPts val="2000"/>
              <a:buNone/>
              <a:defRPr>
                <a:solidFill>
                  <a:srgbClr val="FFFFFF"/>
                </a:solidFill>
              </a:defRPr>
            </a:lvl5pPr>
            <a:lvl6pPr lvl="5" rtl="0">
              <a:spcBef>
                <a:spcPts val="0"/>
              </a:spcBef>
              <a:spcAft>
                <a:spcPts val="0"/>
              </a:spcAft>
              <a:buClr>
                <a:srgbClr val="FFFFFF"/>
              </a:buClr>
              <a:buSzPts val="2000"/>
              <a:buNone/>
              <a:defRPr>
                <a:solidFill>
                  <a:srgbClr val="FFFFFF"/>
                </a:solidFill>
              </a:defRPr>
            </a:lvl6pPr>
            <a:lvl7pPr lvl="6" rtl="0">
              <a:spcBef>
                <a:spcPts val="0"/>
              </a:spcBef>
              <a:spcAft>
                <a:spcPts val="0"/>
              </a:spcAft>
              <a:buClr>
                <a:srgbClr val="FFFFFF"/>
              </a:buClr>
              <a:buSzPts val="2000"/>
              <a:buNone/>
              <a:defRPr>
                <a:solidFill>
                  <a:srgbClr val="FFFFFF"/>
                </a:solidFill>
              </a:defRPr>
            </a:lvl7pPr>
            <a:lvl8pPr lvl="7" rtl="0">
              <a:spcBef>
                <a:spcPts val="0"/>
              </a:spcBef>
              <a:spcAft>
                <a:spcPts val="0"/>
              </a:spcAft>
              <a:buClr>
                <a:srgbClr val="FFFFFF"/>
              </a:buClr>
              <a:buSzPts val="2000"/>
              <a:buNone/>
              <a:defRPr>
                <a:solidFill>
                  <a:srgbClr val="FFFFFF"/>
                </a:solidFill>
              </a:defRPr>
            </a:lvl8pPr>
            <a:lvl9pPr lvl="8" rtl="0">
              <a:spcBef>
                <a:spcPts val="0"/>
              </a:spcBef>
              <a:spcAft>
                <a:spcPts val="0"/>
              </a:spcAft>
              <a:buClr>
                <a:srgbClr val="FFFFFF"/>
              </a:buClr>
              <a:buSzPts val="2000"/>
              <a:buNone/>
              <a:defRPr>
                <a:solidFill>
                  <a:srgbClr val="FFFFFF"/>
                </a:solidFill>
              </a:defRPr>
            </a:lvl9pPr>
          </a:lstStyle>
          <a:p>
            <a:endParaRPr/>
          </a:p>
        </p:txBody>
      </p:sp>
      <p:sp>
        <p:nvSpPr>
          <p:cNvPr id="106" name="Google Shape;106;p17"/>
          <p:cNvSpPr txBox="1">
            <a:spLocks noGrp="1"/>
          </p:cNvSpPr>
          <p:nvPr>
            <p:ph type="body" idx="1"/>
          </p:nvPr>
        </p:nvSpPr>
        <p:spPr>
          <a:xfrm>
            <a:off x="7867650" y="3130350"/>
            <a:ext cx="8686800" cy="5891400"/>
          </a:xfrm>
          <a:prstGeom prst="rect">
            <a:avLst/>
          </a:prstGeom>
        </p:spPr>
        <p:txBody>
          <a:bodyPr spcFirstLastPara="1" wrap="square" lIns="91425" tIns="91425" rIns="91425" bIns="91425" anchor="t" anchorCtr="0">
            <a:noAutofit/>
          </a:bodyPr>
          <a:lstStyle>
            <a:lvl1pPr marL="914400" lvl="0" indent="-609600" rtl="0">
              <a:spcBef>
                <a:spcPts val="0"/>
              </a:spcBef>
              <a:spcAft>
                <a:spcPts val="0"/>
              </a:spcAft>
              <a:buSzPts val="1200"/>
              <a:buChar char="●"/>
              <a:defRPr/>
            </a:lvl1pPr>
            <a:lvl2pPr marL="1828800" lvl="1" indent="-609600" rtl="0">
              <a:spcBef>
                <a:spcPts val="3200"/>
              </a:spcBef>
              <a:spcAft>
                <a:spcPts val="0"/>
              </a:spcAft>
              <a:buSzPts val="1200"/>
              <a:buChar char="○"/>
              <a:defRPr/>
            </a:lvl2pPr>
            <a:lvl3pPr marL="2743200" lvl="2" indent="-609600" rtl="0">
              <a:spcBef>
                <a:spcPts val="3200"/>
              </a:spcBef>
              <a:spcAft>
                <a:spcPts val="0"/>
              </a:spcAft>
              <a:buSzPts val="1200"/>
              <a:buChar char="■"/>
              <a:defRPr/>
            </a:lvl3pPr>
            <a:lvl4pPr marL="3657600" lvl="3" indent="-609600" rtl="0">
              <a:spcBef>
                <a:spcPts val="3200"/>
              </a:spcBef>
              <a:spcAft>
                <a:spcPts val="0"/>
              </a:spcAft>
              <a:buSzPts val="1200"/>
              <a:buChar char="●"/>
              <a:defRPr/>
            </a:lvl4pPr>
            <a:lvl5pPr marL="4572000" lvl="4" indent="-609600" rtl="0">
              <a:spcBef>
                <a:spcPts val="3200"/>
              </a:spcBef>
              <a:spcAft>
                <a:spcPts val="0"/>
              </a:spcAft>
              <a:buSzPts val="1200"/>
              <a:buChar char="○"/>
              <a:defRPr/>
            </a:lvl5pPr>
            <a:lvl6pPr marL="5486400" lvl="5" indent="-609600" rtl="0">
              <a:spcBef>
                <a:spcPts val="3200"/>
              </a:spcBef>
              <a:spcAft>
                <a:spcPts val="0"/>
              </a:spcAft>
              <a:buSzPts val="1200"/>
              <a:buChar char="■"/>
              <a:defRPr/>
            </a:lvl6pPr>
            <a:lvl7pPr marL="6400800" lvl="6" indent="-609600" rtl="0">
              <a:spcBef>
                <a:spcPts val="3200"/>
              </a:spcBef>
              <a:spcAft>
                <a:spcPts val="0"/>
              </a:spcAft>
              <a:buSzPts val="1200"/>
              <a:buChar char="●"/>
              <a:defRPr/>
            </a:lvl7pPr>
            <a:lvl8pPr marL="7315200" lvl="7" indent="-609600" rtl="0">
              <a:spcBef>
                <a:spcPts val="3200"/>
              </a:spcBef>
              <a:spcAft>
                <a:spcPts val="0"/>
              </a:spcAft>
              <a:buSzPts val="1200"/>
              <a:buChar char="○"/>
              <a:defRPr/>
            </a:lvl8pPr>
            <a:lvl9pPr marL="8229600" lvl="8" indent="-609600" rtl="0">
              <a:spcBef>
                <a:spcPts val="3200"/>
              </a:spcBef>
              <a:spcAft>
                <a:spcPts val="3200"/>
              </a:spcAft>
              <a:buSzPts val="1200"/>
              <a:buChar char="■"/>
              <a:defRPr/>
            </a:lvl9pPr>
          </a:lstStyle>
          <a:p>
            <a:endParaRPr/>
          </a:p>
        </p:txBody>
      </p:sp>
      <p:sp>
        <p:nvSpPr>
          <p:cNvPr id="107" name="Google Shape;107;p17"/>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pic>
        <p:nvPicPr>
          <p:cNvPr id="108" name="Google Shape;108;p1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rot="10800000">
            <a:off x="-76199" y="-236791"/>
            <a:ext cx="6551150" cy="10760642"/>
          </a:xfrm>
          <a:prstGeom prst="rect">
            <a:avLst/>
          </a:prstGeom>
          <a:noFill/>
          <a:ln>
            <a:noFill/>
          </a:ln>
        </p:spPr>
      </p:pic>
      <p:pic>
        <p:nvPicPr>
          <p:cNvPr id="109" name="Google Shape;109;p17"/>
          <p:cNvPicPr preferRelativeResize="0"/>
          <p:nvPr/>
        </p:nvPicPr>
        <p:blipFill>
          <a:blip r:embed="rId3" cstate="email">
            <a:alphaModFix/>
            <a:extLst>
              <a:ext uri="{28A0092B-C50C-407E-A947-70E740481C1C}">
                <a14:useLocalDpi xmlns:a14="http://schemas.microsoft.com/office/drawing/2010/main"/>
              </a:ext>
            </a:extLst>
          </a:blip>
          <a:stretch>
            <a:fillRect/>
          </a:stretch>
        </p:blipFill>
        <p:spPr>
          <a:xfrm>
            <a:off x="16183201" y="-304775"/>
            <a:ext cx="1799998" cy="1799998"/>
          </a:xfrm>
          <a:prstGeom prst="rect">
            <a:avLst/>
          </a:prstGeom>
          <a:noFill/>
          <a:ln>
            <a:noFill/>
          </a:ln>
        </p:spPr>
      </p:pic>
      <p:sp>
        <p:nvSpPr>
          <p:cNvPr id="110" name="Google Shape;110;p17"/>
          <p:cNvSpPr txBox="1">
            <a:spLocks noGrp="1"/>
          </p:cNvSpPr>
          <p:nvPr>
            <p:ph type="subTitle" idx="2"/>
          </p:nvPr>
        </p:nvSpPr>
        <p:spPr>
          <a:xfrm>
            <a:off x="8778900" y="8568450"/>
            <a:ext cx="9263400" cy="15852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9pPr>
          </a:lstStyle>
          <a:p>
            <a:endParaRPr/>
          </a:p>
        </p:txBody>
      </p:sp>
    </p:spTree>
    <p:extLst>
      <p:ext uri="{BB962C8B-B14F-4D97-AF65-F5344CB8AC3E}">
        <p14:creationId xmlns:p14="http://schemas.microsoft.com/office/powerpoint/2010/main" val="251892238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type="twoObj" preserve="1">
  <p:cSld name="1_Duas Partes de Conteú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46F7D7E-8727-4B47-993D-4FCD5227D783}"/>
              </a:ext>
            </a:extLst>
          </p:cNvPr>
          <p:cNvSpPr>
            <a:spLocks noGrp="1"/>
          </p:cNvSpPr>
          <p:nvPr>
            <p:ph type="title"/>
          </p:nvPr>
        </p:nvSpPr>
        <p:spPr/>
        <p:txBody>
          <a:bodyPr/>
          <a:lstStyle/>
          <a:p>
            <a:r>
              <a:rPr lang="pt-BR"/>
              <a:t>Clique para editar o título Mestre</a:t>
            </a:r>
          </a:p>
        </p:txBody>
      </p:sp>
      <p:sp>
        <p:nvSpPr>
          <p:cNvPr id="3" name="Espaço Reservado para Conteúdo 2">
            <a:extLst>
              <a:ext uri="{FF2B5EF4-FFF2-40B4-BE49-F238E27FC236}">
                <a16:creationId xmlns:a16="http://schemas.microsoft.com/office/drawing/2014/main" id="{5026434D-D75B-884A-8B4E-E0388D375C89}"/>
              </a:ext>
            </a:extLst>
          </p:cNvPr>
          <p:cNvSpPr>
            <a:spLocks noGrp="1"/>
          </p:cNvSpPr>
          <p:nvPr>
            <p:ph sz="half" idx="1"/>
          </p:nvPr>
        </p:nvSpPr>
        <p:spPr>
          <a:xfrm>
            <a:off x="1257300" y="2738438"/>
            <a:ext cx="7772400" cy="6527007"/>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Conteúdo 3">
            <a:extLst>
              <a:ext uri="{FF2B5EF4-FFF2-40B4-BE49-F238E27FC236}">
                <a16:creationId xmlns:a16="http://schemas.microsoft.com/office/drawing/2014/main" id="{B3C4FE41-69A1-0144-B76C-FB6C53B05F9D}"/>
              </a:ext>
            </a:extLst>
          </p:cNvPr>
          <p:cNvSpPr>
            <a:spLocks noGrp="1"/>
          </p:cNvSpPr>
          <p:nvPr>
            <p:ph sz="half" idx="2"/>
          </p:nvPr>
        </p:nvSpPr>
        <p:spPr>
          <a:xfrm>
            <a:off x="9258300" y="2738438"/>
            <a:ext cx="7772400" cy="6527007"/>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Data 4">
            <a:extLst>
              <a:ext uri="{FF2B5EF4-FFF2-40B4-BE49-F238E27FC236}">
                <a16:creationId xmlns:a16="http://schemas.microsoft.com/office/drawing/2014/main" id="{EF450102-ACF3-F04D-A7BC-BF32867AC4F8}"/>
              </a:ext>
            </a:extLst>
          </p:cNvPr>
          <p:cNvSpPr>
            <a:spLocks noGrp="1"/>
          </p:cNvSpPr>
          <p:nvPr>
            <p:ph type="dt" sz="half" idx="10"/>
          </p:nvPr>
        </p:nvSpPr>
        <p:spPr/>
        <p:txBody>
          <a:bodyPr/>
          <a:lstStyle/>
          <a:p>
            <a:fld id="{36EFB94E-0E4F-944F-A174-C08FE7A8E39E}" type="datetimeFigureOut">
              <a:rPr lang="pt-BR" smtClean="0"/>
              <a:t>09/05/2025</a:t>
            </a:fld>
            <a:endParaRPr lang="pt-BR"/>
          </a:p>
        </p:txBody>
      </p:sp>
      <p:sp>
        <p:nvSpPr>
          <p:cNvPr id="6" name="Espaço Reservado para Rodapé 5">
            <a:extLst>
              <a:ext uri="{FF2B5EF4-FFF2-40B4-BE49-F238E27FC236}">
                <a16:creationId xmlns:a16="http://schemas.microsoft.com/office/drawing/2014/main" id="{B8FB8FC7-00E0-7E44-A085-A69766D5C330}"/>
              </a:ext>
            </a:extLst>
          </p:cNvPr>
          <p:cNvSpPr>
            <a:spLocks noGrp="1"/>
          </p:cNvSpPr>
          <p:nvPr>
            <p:ph type="ftr" sz="quarter" idx="11"/>
          </p:nvPr>
        </p:nvSpPr>
        <p:spPr/>
        <p:txBody>
          <a:bodyPr/>
          <a:lstStyle/>
          <a:p>
            <a:endParaRPr lang="pt-BR"/>
          </a:p>
        </p:txBody>
      </p:sp>
      <p:sp>
        <p:nvSpPr>
          <p:cNvPr id="7" name="Espaço Reservado para Número de Slide 6">
            <a:extLst>
              <a:ext uri="{FF2B5EF4-FFF2-40B4-BE49-F238E27FC236}">
                <a16:creationId xmlns:a16="http://schemas.microsoft.com/office/drawing/2014/main" id="{933A7A51-AFAA-D94A-8BBC-6E1AEBF6E51A}"/>
              </a:ext>
            </a:extLst>
          </p:cNvPr>
          <p:cNvSpPr>
            <a:spLocks noGrp="1"/>
          </p:cNvSpPr>
          <p:nvPr>
            <p:ph type="sldNum" sz="quarter" idx="12"/>
          </p:nvPr>
        </p:nvSpPr>
        <p:spPr/>
        <p:txBody>
          <a:bodyPr/>
          <a:lstStyle/>
          <a:p>
            <a:fld id="{3E6F8420-909B-9F44-82D4-292E52F1B748}" type="slidenum">
              <a:rPr lang="pt-BR" smtClean="0"/>
              <a:t>‹nº›</a:t>
            </a:fld>
            <a:endParaRPr lang="pt-BR"/>
          </a:p>
        </p:txBody>
      </p:sp>
    </p:spTree>
    <p:extLst>
      <p:ext uri="{BB962C8B-B14F-4D97-AF65-F5344CB8AC3E}">
        <p14:creationId xmlns:p14="http://schemas.microsoft.com/office/powerpoint/2010/main" val="26523042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woTxTwoObj" preserve="1">
  <p:cSld name="1_Comparaçã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0BFB78A-829C-AB45-8F64-E9C27E3DE031}"/>
              </a:ext>
            </a:extLst>
          </p:cNvPr>
          <p:cNvSpPr>
            <a:spLocks noGrp="1"/>
          </p:cNvSpPr>
          <p:nvPr>
            <p:ph type="title"/>
          </p:nvPr>
        </p:nvSpPr>
        <p:spPr>
          <a:xfrm>
            <a:off x="1259682" y="547688"/>
            <a:ext cx="15773400" cy="1988345"/>
          </a:xfrm>
        </p:spPr>
        <p:txBody>
          <a:bodyPr/>
          <a:lstStyle/>
          <a:p>
            <a:r>
              <a:rPr lang="pt-BR"/>
              <a:t>Clique para editar o título Mestre</a:t>
            </a:r>
          </a:p>
        </p:txBody>
      </p:sp>
      <p:sp>
        <p:nvSpPr>
          <p:cNvPr id="3" name="Espaço Reservado para Texto 2">
            <a:extLst>
              <a:ext uri="{FF2B5EF4-FFF2-40B4-BE49-F238E27FC236}">
                <a16:creationId xmlns:a16="http://schemas.microsoft.com/office/drawing/2014/main" id="{13B61076-42C6-D448-A67F-C6BA2F6CBB66}"/>
              </a:ext>
            </a:extLst>
          </p:cNvPr>
          <p:cNvSpPr>
            <a:spLocks noGrp="1"/>
          </p:cNvSpPr>
          <p:nvPr>
            <p:ph type="body" idx="1"/>
          </p:nvPr>
        </p:nvSpPr>
        <p:spPr>
          <a:xfrm>
            <a:off x="1259683" y="2521745"/>
            <a:ext cx="7736681" cy="1235868"/>
          </a:xfrm>
        </p:spPr>
        <p:txBody>
          <a:bodyPr anchor="b"/>
          <a:lstStyle>
            <a:lvl1pPr marL="0" indent="0">
              <a:buNone/>
              <a:defRPr sz="3600" b="1"/>
            </a:lvl1pPr>
            <a:lvl2pPr marL="685800" indent="0">
              <a:buNone/>
              <a:defRPr sz="3000" b="1"/>
            </a:lvl2pPr>
            <a:lvl3pPr marL="1371600" indent="0">
              <a:buNone/>
              <a:defRPr sz="2700" b="1"/>
            </a:lvl3pPr>
            <a:lvl4pPr marL="2057400" indent="0">
              <a:buNone/>
              <a:defRPr sz="2400" b="1"/>
            </a:lvl4pPr>
            <a:lvl5pPr marL="2743200" indent="0">
              <a:buNone/>
              <a:defRPr sz="2400" b="1"/>
            </a:lvl5pPr>
            <a:lvl6pPr marL="3429000" indent="0">
              <a:buNone/>
              <a:defRPr sz="2400" b="1"/>
            </a:lvl6pPr>
            <a:lvl7pPr marL="4114800" indent="0">
              <a:buNone/>
              <a:defRPr sz="2400" b="1"/>
            </a:lvl7pPr>
            <a:lvl8pPr marL="4800600" indent="0">
              <a:buNone/>
              <a:defRPr sz="2400" b="1"/>
            </a:lvl8pPr>
            <a:lvl9pPr marL="5486400" indent="0">
              <a:buNone/>
              <a:defRPr sz="2400" b="1"/>
            </a:lvl9pPr>
          </a:lstStyle>
          <a:p>
            <a:pPr lvl="0"/>
            <a:r>
              <a:rPr lang="pt-BR"/>
              <a:t>Clique para editar os estilos de texto Mestres</a:t>
            </a:r>
          </a:p>
        </p:txBody>
      </p:sp>
      <p:sp>
        <p:nvSpPr>
          <p:cNvPr id="4" name="Espaço Reservado para Conteúdo 3">
            <a:extLst>
              <a:ext uri="{FF2B5EF4-FFF2-40B4-BE49-F238E27FC236}">
                <a16:creationId xmlns:a16="http://schemas.microsoft.com/office/drawing/2014/main" id="{8C84ED25-FF28-4149-9E69-F3F99DAB46A2}"/>
              </a:ext>
            </a:extLst>
          </p:cNvPr>
          <p:cNvSpPr>
            <a:spLocks noGrp="1"/>
          </p:cNvSpPr>
          <p:nvPr>
            <p:ph sz="half" idx="2"/>
          </p:nvPr>
        </p:nvSpPr>
        <p:spPr>
          <a:xfrm>
            <a:off x="1259683" y="3757613"/>
            <a:ext cx="7736681" cy="5526882"/>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Texto 4">
            <a:extLst>
              <a:ext uri="{FF2B5EF4-FFF2-40B4-BE49-F238E27FC236}">
                <a16:creationId xmlns:a16="http://schemas.microsoft.com/office/drawing/2014/main" id="{71C1EFE0-A704-CC4E-9E4F-061BC1BD9EA3}"/>
              </a:ext>
            </a:extLst>
          </p:cNvPr>
          <p:cNvSpPr>
            <a:spLocks noGrp="1"/>
          </p:cNvSpPr>
          <p:nvPr>
            <p:ph type="body" sz="quarter" idx="3"/>
          </p:nvPr>
        </p:nvSpPr>
        <p:spPr>
          <a:xfrm>
            <a:off x="9258300" y="2521745"/>
            <a:ext cx="7774782" cy="1235868"/>
          </a:xfrm>
        </p:spPr>
        <p:txBody>
          <a:bodyPr anchor="b"/>
          <a:lstStyle>
            <a:lvl1pPr marL="0" indent="0">
              <a:buNone/>
              <a:defRPr sz="3600" b="1"/>
            </a:lvl1pPr>
            <a:lvl2pPr marL="685800" indent="0">
              <a:buNone/>
              <a:defRPr sz="3000" b="1"/>
            </a:lvl2pPr>
            <a:lvl3pPr marL="1371600" indent="0">
              <a:buNone/>
              <a:defRPr sz="2700" b="1"/>
            </a:lvl3pPr>
            <a:lvl4pPr marL="2057400" indent="0">
              <a:buNone/>
              <a:defRPr sz="2400" b="1"/>
            </a:lvl4pPr>
            <a:lvl5pPr marL="2743200" indent="0">
              <a:buNone/>
              <a:defRPr sz="2400" b="1"/>
            </a:lvl5pPr>
            <a:lvl6pPr marL="3429000" indent="0">
              <a:buNone/>
              <a:defRPr sz="2400" b="1"/>
            </a:lvl6pPr>
            <a:lvl7pPr marL="4114800" indent="0">
              <a:buNone/>
              <a:defRPr sz="2400" b="1"/>
            </a:lvl7pPr>
            <a:lvl8pPr marL="4800600" indent="0">
              <a:buNone/>
              <a:defRPr sz="2400" b="1"/>
            </a:lvl8pPr>
            <a:lvl9pPr marL="5486400" indent="0">
              <a:buNone/>
              <a:defRPr sz="2400" b="1"/>
            </a:lvl9pPr>
          </a:lstStyle>
          <a:p>
            <a:pPr lvl="0"/>
            <a:r>
              <a:rPr lang="pt-BR"/>
              <a:t>Clique para editar os estilos de texto Mestres</a:t>
            </a:r>
          </a:p>
        </p:txBody>
      </p:sp>
      <p:sp>
        <p:nvSpPr>
          <p:cNvPr id="6" name="Espaço Reservado para Conteúdo 5">
            <a:extLst>
              <a:ext uri="{FF2B5EF4-FFF2-40B4-BE49-F238E27FC236}">
                <a16:creationId xmlns:a16="http://schemas.microsoft.com/office/drawing/2014/main" id="{CF91D278-8790-6943-BF18-81EC9162298B}"/>
              </a:ext>
            </a:extLst>
          </p:cNvPr>
          <p:cNvSpPr>
            <a:spLocks noGrp="1"/>
          </p:cNvSpPr>
          <p:nvPr>
            <p:ph sz="quarter" idx="4"/>
          </p:nvPr>
        </p:nvSpPr>
        <p:spPr>
          <a:xfrm>
            <a:off x="9258300" y="3757613"/>
            <a:ext cx="7774782" cy="5526882"/>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7" name="Espaço Reservado para Data 6">
            <a:extLst>
              <a:ext uri="{FF2B5EF4-FFF2-40B4-BE49-F238E27FC236}">
                <a16:creationId xmlns:a16="http://schemas.microsoft.com/office/drawing/2014/main" id="{7FCBB7D7-E08B-974F-AD96-B7517F6F5435}"/>
              </a:ext>
            </a:extLst>
          </p:cNvPr>
          <p:cNvSpPr>
            <a:spLocks noGrp="1"/>
          </p:cNvSpPr>
          <p:nvPr>
            <p:ph type="dt" sz="half" idx="10"/>
          </p:nvPr>
        </p:nvSpPr>
        <p:spPr/>
        <p:txBody>
          <a:bodyPr/>
          <a:lstStyle/>
          <a:p>
            <a:fld id="{36EFB94E-0E4F-944F-A174-C08FE7A8E39E}" type="datetimeFigureOut">
              <a:rPr lang="pt-BR" smtClean="0"/>
              <a:t>09/05/2025</a:t>
            </a:fld>
            <a:endParaRPr lang="pt-BR"/>
          </a:p>
        </p:txBody>
      </p:sp>
      <p:sp>
        <p:nvSpPr>
          <p:cNvPr id="8" name="Espaço Reservado para Rodapé 7">
            <a:extLst>
              <a:ext uri="{FF2B5EF4-FFF2-40B4-BE49-F238E27FC236}">
                <a16:creationId xmlns:a16="http://schemas.microsoft.com/office/drawing/2014/main" id="{920906B9-5B44-6D4A-9562-B4A8D5F9B1FF}"/>
              </a:ext>
            </a:extLst>
          </p:cNvPr>
          <p:cNvSpPr>
            <a:spLocks noGrp="1"/>
          </p:cNvSpPr>
          <p:nvPr>
            <p:ph type="ftr" sz="quarter" idx="11"/>
          </p:nvPr>
        </p:nvSpPr>
        <p:spPr/>
        <p:txBody>
          <a:bodyPr/>
          <a:lstStyle/>
          <a:p>
            <a:endParaRPr lang="pt-BR"/>
          </a:p>
        </p:txBody>
      </p:sp>
      <p:sp>
        <p:nvSpPr>
          <p:cNvPr id="9" name="Espaço Reservado para Número de Slide 8">
            <a:extLst>
              <a:ext uri="{FF2B5EF4-FFF2-40B4-BE49-F238E27FC236}">
                <a16:creationId xmlns:a16="http://schemas.microsoft.com/office/drawing/2014/main" id="{BBB0A83B-EA6A-8C4B-B47E-E31283A11822}"/>
              </a:ext>
            </a:extLst>
          </p:cNvPr>
          <p:cNvSpPr>
            <a:spLocks noGrp="1"/>
          </p:cNvSpPr>
          <p:nvPr>
            <p:ph type="sldNum" sz="quarter" idx="12"/>
          </p:nvPr>
        </p:nvSpPr>
        <p:spPr/>
        <p:txBody>
          <a:bodyPr/>
          <a:lstStyle/>
          <a:p>
            <a:fld id="{3E6F8420-909B-9F44-82D4-292E52F1B748}" type="slidenum">
              <a:rPr lang="pt-BR" smtClean="0"/>
              <a:t>‹nº›</a:t>
            </a:fld>
            <a:endParaRPr lang="pt-BR"/>
          </a:p>
        </p:txBody>
      </p:sp>
    </p:spTree>
    <p:extLst>
      <p:ext uri="{BB962C8B-B14F-4D97-AF65-F5344CB8AC3E}">
        <p14:creationId xmlns:p14="http://schemas.microsoft.com/office/powerpoint/2010/main" val="393620579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itleOnly" preserve="1">
  <p:cSld name="1_Soment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740D372-5B0A-F546-B4DB-B7F149EA8480}"/>
              </a:ext>
            </a:extLst>
          </p:cNvPr>
          <p:cNvSpPr>
            <a:spLocks noGrp="1"/>
          </p:cNvSpPr>
          <p:nvPr>
            <p:ph type="title"/>
          </p:nvPr>
        </p:nvSpPr>
        <p:spPr/>
        <p:txBody>
          <a:bodyPr/>
          <a:lstStyle/>
          <a:p>
            <a:r>
              <a:rPr lang="pt-BR"/>
              <a:t>Clique para editar o título Mestre</a:t>
            </a:r>
          </a:p>
        </p:txBody>
      </p:sp>
      <p:sp>
        <p:nvSpPr>
          <p:cNvPr id="3" name="Espaço Reservado para Data 2">
            <a:extLst>
              <a:ext uri="{FF2B5EF4-FFF2-40B4-BE49-F238E27FC236}">
                <a16:creationId xmlns:a16="http://schemas.microsoft.com/office/drawing/2014/main" id="{12BD34F9-8DF6-C540-BC9E-C03A560C2C78}"/>
              </a:ext>
            </a:extLst>
          </p:cNvPr>
          <p:cNvSpPr>
            <a:spLocks noGrp="1"/>
          </p:cNvSpPr>
          <p:nvPr>
            <p:ph type="dt" sz="half" idx="10"/>
          </p:nvPr>
        </p:nvSpPr>
        <p:spPr/>
        <p:txBody>
          <a:bodyPr/>
          <a:lstStyle/>
          <a:p>
            <a:fld id="{36EFB94E-0E4F-944F-A174-C08FE7A8E39E}" type="datetimeFigureOut">
              <a:rPr lang="pt-BR" smtClean="0"/>
              <a:t>09/05/2025</a:t>
            </a:fld>
            <a:endParaRPr lang="pt-BR"/>
          </a:p>
        </p:txBody>
      </p:sp>
      <p:sp>
        <p:nvSpPr>
          <p:cNvPr id="4" name="Espaço Reservado para Rodapé 3">
            <a:extLst>
              <a:ext uri="{FF2B5EF4-FFF2-40B4-BE49-F238E27FC236}">
                <a16:creationId xmlns:a16="http://schemas.microsoft.com/office/drawing/2014/main" id="{4A00ADBE-4909-1A4B-98CA-81F87A8A68FB}"/>
              </a:ext>
            </a:extLst>
          </p:cNvPr>
          <p:cNvSpPr>
            <a:spLocks noGrp="1"/>
          </p:cNvSpPr>
          <p:nvPr>
            <p:ph type="ftr" sz="quarter" idx="11"/>
          </p:nvPr>
        </p:nvSpPr>
        <p:spPr/>
        <p:txBody>
          <a:bodyPr/>
          <a:lstStyle/>
          <a:p>
            <a:endParaRPr lang="pt-BR"/>
          </a:p>
        </p:txBody>
      </p:sp>
      <p:sp>
        <p:nvSpPr>
          <p:cNvPr id="5" name="Espaço Reservado para Número de Slide 4">
            <a:extLst>
              <a:ext uri="{FF2B5EF4-FFF2-40B4-BE49-F238E27FC236}">
                <a16:creationId xmlns:a16="http://schemas.microsoft.com/office/drawing/2014/main" id="{ED25E534-D434-A149-A199-23032C2ED179}"/>
              </a:ext>
            </a:extLst>
          </p:cNvPr>
          <p:cNvSpPr>
            <a:spLocks noGrp="1"/>
          </p:cNvSpPr>
          <p:nvPr>
            <p:ph type="sldNum" sz="quarter" idx="12"/>
          </p:nvPr>
        </p:nvSpPr>
        <p:spPr/>
        <p:txBody>
          <a:bodyPr/>
          <a:lstStyle/>
          <a:p>
            <a:fld id="{3E6F8420-909B-9F44-82D4-292E52F1B748}" type="slidenum">
              <a:rPr lang="pt-BR" smtClean="0"/>
              <a:t>‹nº›</a:t>
            </a:fld>
            <a:endParaRPr lang="pt-BR"/>
          </a:p>
        </p:txBody>
      </p:sp>
    </p:spTree>
    <p:extLst>
      <p:ext uri="{BB962C8B-B14F-4D97-AF65-F5344CB8AC3E}">
        <p14:creationId xmlns:p14="http://schemas.microsoft.com/office/powerpoint/2010/main" val="427622330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blank" preserve="1">
  <p:cSld name="1_Em Branco">
    <p:spTree>
      <p:nvGrpSpPr>
        <p:cNvPr id="1" name=""/>
        <p:cNvGrpSpPr/>
        <p:nvPr/>
      </p:nvGrpSpPr>
      <p:grpSpPr>
        <a:xfrm>
          <a:off x="0" y="0"/>
          <a:ext cx="0" cy="0"/>
          <a:chOff x="0" y="0"/>
          <a:chExt cx="0" cy="0"/>
        </a:xfrm>
      </p:grpSpPr>
      <p:sp>
        <p:nvSpPr>
          <p:cNvPr id="2" name="Espaço Reservado para Data 1">
            <a:extLst>
              <a:ext uri="{FF2B5EF4-FFF2-40B4-BE49-F238E27FC236}">
                <a16:creationId xmlns:a16="http://schemas.microsoft.com/office/drawing/2014/main" id="{5F69ACFC-F0CC-9441-8ADC-0061B99D682E}"/>
              </a:ext>
            </a:extLst>
          </p:cNvPr>
          <p:cNvSpPr>
            <a:spLocks noGrp="1"/>
          </p:cNvSpPr>
          <p:nvPr>
            <p:ph type="dt" sz="half" idx="10"/>
          </p:nvPr>
        </p:nvSpPr>
        <p:spPr/>
        <p:txBody>
          <a:bodyPr/>
          <a:lstStyle/>
          <a:p>
            <a:fld id="{36EFB94E-0E4F-944F-A174-C08FE7A8E39E}" type="datetimeFigureOut">
              <a:rPr lang="pt-BR" smtClean="0"/>
              <a:t>09/05/2025</a:t>
            </a:fld>
            <a:endParaRPr lang="pt-BR"/>
          </a:p>
        </p:txBody>
      </p:sp>
      <p:sp>
        <p:nvSpPr>
          <p:cNvPr id="3" name="Espaço Reservado para Rodapé 2">
            <a:extLst>
              <a:ext uri="{FF2B5EF4-FFF2-40B4-BE49-F238E27FC236}">
                <a16:creationId xmlns:a16="http://schemas.microsoft.com/office/drawing/2014/main" id="{D64F18DB-31C8-3542-A979-BFA975724320}"/>
              </a:ext>
            </a:extLst>
          </p:cNvPr>
          <p:cNvSpPr>
            <a:spLocks noGrp="1"/>
          </p:cNvSpPr>
          <p:nvPr>
            <p:ph type="ftr" sz="quarter" idx="11"/>
          </p:nvPr>
        </p:nvSpPr>
        <p:spPr/>
        <p:txBody>
          <a:bodyPr/>
          <a:lstStyle/>
          <a:p>
            <a:endParaRPr lang="pt-BR"/>
          </a:p>
        </p:txBody>
      </p:sp>
      <p:sp>
        <p:nvSpPr>
          <p:cNvPr id="4" name="Espaço Reservado para Número de Slide 3">
            <a:extLst>
              <a:ext uri="{FF2B5EF4-FFF2-40B4-BE49-F238E27FC236}">
                <a16:creationId xmlns:a16="http://schemas.microsoft.com/office/drawing/2014/main" id="{939EB6EF-57D9-A345-97E0-C10F68DD3304}"/>
              </a:ext>
            </a:extLst>
          </p:cNvPr>
          <p:cNvSpPr>
            <a:spLocks noGrp="1"/>
          </p:cNvSpPr>
          <p:nvPr>
            <p:ph type="sldNum" sz="quarter" idx="12"/>
          </p:nvPr>
        </p:nvSpPr>
        <p:spPr/>
        <p:txBody>
          <a:bodyPr/>
          <a:lstStyle/>
          <a:p>
            <a:fld id="{3E6F8420-909B-9F44-82D4-292E52F1B748}" type="slidenum">
              <a:rPr lang="pt-BR" smtClean="0"/>
              <a:t>‹nº›</a:t>
            </a:fld>
            <a:endParaRPr lang="pt-BR"/>
          </a:p>
        </p:txBody>
      </p:sp>
    </p:spTree>
    <p:extLst>
      <p:ext uri="{BB962C8B-B14F-4D97-AF65-F5344CB8AC3E}">
        <p14:creationId xmlns:p14="http://schemas.microsoft.com/office/powerpoint/2010/main" val="386059064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objTx" preserve="1">
  <p:cSld name="1_Conteúdo com Legend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1529E60-E688-2A40-82BA-F80C26E28028}"/>
              </a:ext>
            </a:extLst>
          </p:cNvPr>
          <p:cNvSpPr>
            <a:spLocks noGrp="1"/>
          </p:cNvSpPr>
          <p:nvPr>
            <p:ph type="title"/>
          </p:nvPr>
        </p:nvSpPr>
        <p:spPr>
          <a:xfrm>
            <a:off x="1259683" y="685800"/>
            <a:ext cx="5898356" cy="2400300"/>
          </a:xfrm>
        </p:spPr>
        <p:txBody>
          <a:bodyPr anchor="b"/>
          <a:lstStyle>
            <a:lvl1pPr>
              <a:defRPr sz="4800"/>
            </a:lvl1pPr>
          </a:lstStyle>
          <a:p>
            <a:r>
              <a:rPr lang="pt-BR"/>
              <a:t>Clique para editar o título Mestre</a:t>
            </a:r>
          </a:p>
        </p:txBody>
      </p:sp>
      <p:sp>
        <p:nvSpPr>
          <p:cNvPr id="3" name="Espaço Reservado para Conteúdo 2">
            <a:extLst>
              <a:ext uri="{FF2B5EF4-FFF2-40B4-BE49-F238E27FC236}">
                <a16:creationId xmlns:a16="http://schemas.microsoft.com/office/drawing/2014/main" id="{3EB02AFA-E2B6-FA47-8FAB-4B5B1FFFFBBD}"/>
              </a:ext>
            </a:extLst>
          </p:cNvPr>
          <p:cNvSpPr>
            <a:spLocks noGrp="1"/>
          </p:cNvSpPr>
          <p:nvPr>
            <p:ph idx="1"/>
          </p:nvPr>
        </p:nvSpPr>
        <p:spPr>
          <a:xfrm>
            <a:off x="7774782" y="1481138"/>
            <a:ext cx="9258300" cy="7310438"/>
          </a:xfrm>
        </p:spPr>
        <p:txBody>
          <a:bodyPr/>
          <a:lstStyle>
            <a:lvl1pPr>
              <a:defRPr sz="4800"/>
            </a:lvl1pPr>
            <a:lvl2pPr>
              <a:defRPr sz="4200"/>
            </a:lvl2pPr>
            <a:lvl3pPr>
              <a:defRPr sz="3600"/>
            </a:lvl3pPr>
            <a:lvl4pPr>
              <a:defRPr sz="3000"/>
            </a:lvl4pPr>
            <a:lvl5pPr>
              <a:defRPr sz="3000"/>
            </a:lvl5pPr>
            <a:lvl6pPr>
              <a:defRPr sz="3000"/>
            </a:lvl6pPr>
            <a:lvl7pPr>
              <a:defRPr sz="3000"/>
            </a:lvl7pPr>
            <a:lvl8pPr>
              <a:defRPr sz="3000"/>
            </a:lvl8pPr>
            <a:lvl9pPr>
              <a:defRPr sz="3000"/>
            </a:lvl9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Texto 3">
            <a:extLst>
              <a:ext uri="{FF2B5EF4-FFF2-40B4-BE49-F238E27FC236}">
                <a16:creationId xmlns:a16="http://schemas.microsoft.com/office/drawing/2014/main" id="{202167F0-1FC5-F845-A75D-21F168E2AB19}"/>
              </a:ext>
            </a:extLst>
          </p:cNvPr>
          <p:cNvSpPr>
            <a:spLocks noGrp="1"/>
          </p:cNvSpPr>
          <p:nvPr>
            <p:ph type="body" sz="half" idx="2"/>
          </p:nvPr>
        </p:nvSpPr>
        <p:spPr>
          <a:xfrm>
            <a:off x="1259683" y="3086100"/>
            <a:ext cx="5898356" cy="5717382"/>
          </a:xfrm>
        </p:spPr>
        <p:txBody>
          <a:bodyPr/>
          <a:lstStyle>
            <a:lvl1pPr marL="0" indent="0">
              <a:buNone/>
              <a:defRPr sz="2400"/>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pt-BR"/>
              <a:t>Clique para editar os estilos de texto Mestres</a:t>
            </a:r>
          </a:p>
        </p:txBody>
      </p:sp>
      <p:sp>
        <p:nvSpPr>
          <p:cNvPr id="5" name="Espaço Reservado para Data 4">
            <a:extLst>
              <a:ext uri="{FF2B5EF4-FFF2-40B4-BE49-F238E27FC236}">
                <a16:creationId xmlns:a16="http://schemas.microsoft.com/office/drawing/2014/main" id="{034A084B-ED00-364A-863E-C8095BE971F9}"/>
              </a:ext>
            </a:extLst>
          </p:cNvPr>
          <p:cNvSpPr>
            <a:spLocks noGrp="1"/>
          </p:cNvSpPr>
          <p:nvPr>
            <p:ph type="dt" sz="half" idx="10"/>
          </p:nvPr>
        </p:nvSpPr>
        <p:spPr/>
        <p:txBody>
          <a:bodyPr/>
          <a:lstStyle/>
          <a:p>
            <a:fld id="{36EFB94E-0E4F-944F-A174-C08FE7A8E39E}" type="datetimeFigureOut">
              <a:rPr lang="pt-BR" smtClean="0"/>
              <a:t>09/05/2025</a:t>
            </a:fld>
            <a:endParaRPr lang="pt-BR"/>
          </a:p>
        </p:txBody>
      </p:sp>
      <p:sp>
        <p:nvSpPr>
          <p:cNvPr id="6" name="Espaço Reservado para Rodapé 5">
            <a:extLst>
              <a:ext uri="{FF2B5EF4-FFF2-40B4-BE49-F238E27FC236}">
                <a16:creationId xmlns:a16="http://schemas.microsoft.com/office/drawing/2014/main" id="{E53582C7-45B9-CC41-8C04-F0251D67EC5E}"/>
              </a:ext>
            </a:extLst>
          </p:cNvPr>
          <p:cNvSpPr>
            <a:spLocks noGrp="1"/>
          </p:cNvSpPr>
          <p:nvPr>
            <p:ph type="ftr" sz="quarter" idx="11"/>
          </p:nvPr>
        </p:nvSpPr>
        <p:spPr/>
        <p:txBody>
          <a:bodyPr/>
          <a:lstStyle/>
          <a:p>
            <a:endParaRPr lang="pt-BR"/>
          </a:p>
        </p:txBody>
      </p:sp>
      <p:sp>
        <p:nvSpPr>
          <p:cNvPr id="7" name="Espaço Reservado para Número de Slide 6">
            <a:extLst>
              <a:ext uri="{FF2B5EF4-FFF2-40B4-BE49-F238E27FC236}">
                <a16:creationId xmlns:a16="http://schemas.microsoft.com/office/drawing/2014/main" id="{B01A93C1-DCD0-4A40-AE78-1168CCC0116E}"/>
              </a:ext>
            </a:extLst>
          </p:cNvPr>
          <p:cNvSpPr>
            <a:spLocks noGrp="1"/>
          </p:cNvSpPr>
          <p:nvPr>
            <p:ph type="sldNum" sz="quarter" idx="12"/>
          </p:nvPr>
        </p:nvSpPr>
        <p:spPr/>
        <p:txBody>
          <a:bodyPr/>
          <a:lstStyle/>
          <a:p>
            <a:fld id="{3E6F8420-909B-9F44-82D4-292E52F1B748}" type="slidenum">
              <a:rPr lang="pt-BR" smtClean="0"/>
              <a:t>‹nº›</a:t>
            </a:fld>
            <a:endParaRPr lang="pt-BR"/>
          </a:p>
        </p:txBody>
      </p:sp>
    </p:spTree>
    <p:extLst>
      <p:ext uri="{BB962C8B-B14F-4D97-AF65-F5344CB8AC3E}">
        <p14:creationId xmlns:p14="http://schemas.microsoft.com/office/powerpoint/2010/main" val="281075347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picTx" preserve="1">
  <p:cSld name="1_Imagem com Legend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E4D6860-00A6-6C4F-9031-E81260AC5E0A}"/>
              </a:ext>
            </a:extLst>
          </p:cNvPr>
          <p:cNvSpPr>
            <a:spLocks noGrp="1"/>
          </p:cNvSpPr>
          <p:nvPr>
            <p:ph type="title"/>
          </p:nvPr>
        </p:nvSpPr>
        <p:spPr>
          <a:xfrm>
            <a:off x="1259683" y="685800"/>
            <a:ext cx="5898356" cy="2400300"/>
          </a:xfrm>
        </p:spPr>
        <p:txBody>
          <a:bodyPr anchor="b"/>
          <a:lstStyle>
            <a:lvl1pPr>
              <a:defRPr sz="4800"/>
            </a:lvl1pPr>
          </a:lstStyle>
          <a:p>
            <a:r>
              <a:rPr lang="pt-BR"/>
              <a:t>Clique para editar o título Mestre</a:t>
            </a:r>
          </a:p>
        </p:txBody>
      </p:sp>
      <p:sp>
        <p:nvSpPr>
          <p:cNvPr id="3" name="Espaço Reservado para Imagem 2">
            <a:extLst>
              <a:ext uri="{FF2B5EF4-FFF2-40B4-BE49-F238E27FC236}">
                <a16:creationId xmlns:a16="http://schemas.microsoft.com/office/drawing/2014/main" id="{942A70B6-83DE-9840-BE2A-6173C74A10A1}"/>
              </a:ext>
            </a:extLst>
          </p:cNvPr>
          <p:cNvSpPr>
            <a:spLocks noGrp="1"/>
          </p:cNvSpPr>
          <p:nvPr>
            <p:ph type="pic" idx="1"/>
          </p:nvPr>
        </p:nvSpPr>
        <p:spPr>
          <a:xfrm>
            <a:off x="7774782" y="1481138"/>
            <a:ext cx="9258300" cy="7310438"/>
          </a:xfrm>
        </p:spPr>
        <p:txBody>
          <a:bodyPr/>
          <a:lstStyle>
            <a:lvl1pPr marL="0" indent="0">
              <a:buNone/>
              <a:defRPr sz="4800"/>
            </a:lvl1pPr>
            <a:lvl2pPr marL="685800" indent="0">
              <a:buNone/>
              <a:defRPr sz="4200"/>
            </a:lvl2pPr>
            <a:lvl3pPr marL="1371600" indent="0">
              <a:buNone/>
              <a:defRPr sz="3600"/>
            </a:lvl3pPr>
            <a:lvl4pPr marL="2057400" indent="0">
              <a:buNone/>
              <a:defRPr sz="3000"/>
            </a:lvl4pPr>
            <a:lvl5pPr marL="2743200" indent="0">
              <a:buNone/>
              <a:defRPr sz="3000"/>
            </a:lvl5pPr>
            <a:lvl6pPr marL="3429000" indent="0">
              <a:buNone/>
              <a:defRPr sz="3000"/>
            </a:lvl6pPr>
            <a:lvl7pPr marL="4114800" indent="0">
              <a:buNone/>
              <a:defRPr sz="3000"/>
            </a:lvl7pPr>
            <a:lvl8pPr marL="4800600" indent="0">
              <a:buNone/>
              <a:defRPr sz="3000"/>
            </a:lvl8pPr>
            <a:lvl9pPr marL="5486400" indent="0">
              <a:buNone/>
              <a:defRPr sz="3000"/>
            </a:lvl9pPr>
          </a:lstStyle>
          <a:p>
            <a:endParaRPr lang="pt-BR"/>
          </a:p>
        </p:txBody>
      </p:sp>
      <p:sp>
        <p:nvSpPr>
          <p:cNvPr id="4" name="Espaço Reservado para Texto 3">
            <a:extLst>
              <a:ext uri="{FF2B5EF4-FFF2-40B4-BE49-F238E27FC236}">
                <a16:creationId xmlns:a16="http://schemas.microsoft.com/office/drawing/2014/main" id="{4951F38F-EE84-6D42-91D8-C5FBFAEC687C}"/>
              </a:ext>
            </a:extLst>
          </p:cNvPr>
          <p:cNvSpPr>
            <a:spLocks noGrp="1"/>
          </p:cNvSpPr>
          <p:nvPr>
            <p:ph type="body" sz="half" idx="2"/>
          </p:nvPr>
        </p:nvSpPr>
        <p:spPr>
          <a:xfrm>
            <a:off x="1259683" y="3086100"/>
            <a:ext cx="5898356" cy="5717382"/>
          </a:xfrm>
        </p:spPr>
        <p:txBody>
          <a:bodyPr/>
          <a:lstStyle>
            <a:lvl1pPr marL="0" indent="0">
              <a:buNone/>
              <a:defRPr sz="2400"/>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pt-BR"/>
              <a:t>Clique para editar os estilos de texto Mestres</a:t>
            </a:r>
          </a:p>
        </p:txBody>
      </p:sp>
      <p:sp>
        <p:nvSpPr>
          <p:cNvPr id="5" name="Espaço Reservado para Data 4">
            <a:extLst>
              <a:ext uri="{FF2B5EF4-FFF2-40B4-BE49-F238E27FC236}">
                <a16:creationId xmlns:a16="http://schemas.microsoft.com/office/drawing/2014/main" id="{19D45A96-CE57-0C4B-838F-B3EF8544346C}"/>
              </a:ext>
            </a:extLst>
          </p:cNvPr>
          <p:cNvSpPr>
            <a:spLocks noGrp="1"/>
          </p:cNvSpPr>
          <p:nvPr>
            <p:ph type="dt" sz="half" idx="10"/>
          </p:nvPr>
        </p:nvSpPr>
        <p:spPr/>
        <p:txBody>
          <a:bodyPr/>
          <a:lstStyle/>
          <a:p>
            <a:fld id="{36EFB94E-0E4F-944F-A174-C08FE7A8E39E}" type="datetimeFigureOut">
              <a:rPr lang="pt-BR" smtClean="0"/>
              <a:t>09/05/2025</a:t>
            </a:fld>
            <a:endParaRPr lang="pt-BR"/>
          </a:p>
        </p:txBody>
      </p:sp>
      <p:sp>
        <p:nvSpPr>
          <p:cNvPr id="6" name="Espaço Reservado para Rodapé 5">
            <a:extLst>
              <a:ext uri="{FF2B5EF4-FFF2-40B4-BE49-F238E27FC236}">
                <a16:creationId xmlns:a16="http://schemas.microsoft.com/office/drawing/2014/main" id="{232E6DBA-270B-2A4C-A402-CE214E3C4A1C}"/>
              </a:ext>
            </a:extLst>
          </p:cNvPr>
          <p:cNvSpPr>
            <a:spLocks noGrp="1"/>
          </p:cNvSpPr>
          <p:nvPr>
            <p:ph type="ftr" sz="quarter" idx="11"/>
          </p:nvPr>
        </p:nvSpPr>
        <p:spPr/>
        <p:txBody>
          <a:bodyPr/>
          <a:lstStyle/>
          <a:p>
            <a:endParaRPr lang="pt-BR"/>
          </a:p>
        </p:txBody>
      </p:sp>
      <p:sp>
        <p:nvSpPr>
          <p:cNvPr id="7" name="Espaço Reservado para Número de Slide 6">
            <a:extLst>
              <a:ext uri="{FF2B5EF4-FFF2-40B4-BE49-F238E27FC236}">
                <a16:creationId xmlns:a16="http://schemas.microsoft.com/office/drawing/2014/main" id="{08DDF5A6-23C7-A340-AE8B-E0E2966DB9B3}"/>
              </a:ext>
            </a:extLst>
          </p:cNvPr>
          <p:cNvSpPr>
            <a:spLocks noGrp="1"/>
          </p:cNvSpPr>
          <p:nvPr>
            <p:ph type="sldNum" sz="quarter" idx="12"/>
          </p:nvPr>
        </p:nvSpPr>
        <p:spPr/>
        <p:txBody>
          <a:bodyPr/>
          <a:lstStyle/>
          <a:p>
            <a:fld id="{3E6F8420-909B-9F44-82D4-292E52F1B748}" type="slidenum">
              <a:rPr lang="pt-BR" smtClean="0"/>
              <a:t>‹nº›</a:t>
            </a:fld>
            <a:endParaRPr lang="pt-BR"/>
          </a:p>
        </p:txBody>
      </p:sp>
    </p:spTree>
    <p:extLst>
      <p:ext uri="{BB962C8B-B14F-4D97-AF65-F5344CB8AC3E}">
        <p14:creationId xmlns:p14="http://schemas.microsoft.com/office/powerpoint/2010/main" val="233990991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vertTx" preserve="1">
  <p:cSld name="1_Título e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D3C30CE-0193-1242-9026-6B5EF33ADAAE}"/>
              </a:ext>
            </a:extLst>
          </p:cNvPr>
          <p:cNvSpPr>
            <a:spLocks noGrp="1"/>
          </p:cNvSpPr>
          <p:nvPr>
            <p:ph type="title"/>
          </p:nvPr>
        </p:nvSpPr>
        <p:spPr/>
        <p:txBody>
          <a:bodyPr/>
          <a:lstStyle/>
          <a:p>
            <a:r>
              <a:rPr lang="pt-BR"/>
              <a:t>Clique para editar o título Mestre</a:t>
            </a:r>
          </a:p>
        </p:txBody>
      </p:sp>
      <p:sp>
        <p:nvSpPr>
          <p:cNvPr id="3" name="Espaço Reservado para Texto Vertical 2">
            <a:extLst>
              <a:ext uri="{FF2B5EF4-FFF2-40B4-BE49-F238E27FC236}">
                <a16:creationId xmlns:a16="http://schemas.microsoft.com/office/drawing/2014/main" id="{159F59EB-CA89-B346-966D-FA9B1CE7DFC6}"/>
              </a:ext>
            </a:extLst>
          </p:cNvPr>
          <p:cNvSpPr>
            <a:spLocks noGrp="1"/>
          </p:cNvSpPr>
          <p:nvPr>
            <p:ph type="body" orient="vert" idx="1"/>
          </p:nvPr>
        </p:nvSpPr>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35E56C4F-38B2-7249-907A-34B2D117D712}"/>
              </a:ext>
            </a:extLst>
          </p:cNvPr>
          <p:cNvSpPr>
            <a:spLocks noGrp="1"/>
          </p:cNvSpPr>
          <p:nvPr>
            <p:ph type="dt" sz="half" idx="10"/>
          </p:nvPr>
        </p:nvSpPr>
        <p:spPr/>
        <p:txBody>
          <a:bodyPr/>
          <a:lstStyle/>
          <a:p>
            <a:fld id="{36EFB94E-0E4F-944F-A174-C08FE7A8E39E}" type="datetimeFigureOut">
              <a:rPr lang="pt-BR" smtClean="0"/>
              <a:t>09/05/2025</a:t>
            </a:fld>
            <a:endParaRPr lang="pt-BR"/>
          </a:p>
        </p:txBody>
      </p:sp>
      <p:sp>
        <p:nvSpPr>
          <p:cNvPr id="5" name="Espaço Reservado para Rodapé 4">
            <a:extLst>
              <a:ext uri="{FF2B5EF4-FFF2-40B4-BE49-F238E27FC236}">
                <a16:creationId xmlns:a16="http://schemas.microsoft.com/office/drawing/2014/main" id="{4B16CA6D-1CB1-A24C-907E-B4C1EEA12EF3}"/>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FC329B08-B2BC-D644-82E2-09D43CECF042}"/>
              </a:ext>
            </a:extLst>
          </p:cNvPr>
          <p:cNvSpPr>
            <a:spLocks noGrp="1"/>
          </p:cNvSpPr>
          <p:nvPr>
            <p:ph type="sldNum" sz="quarter" idx="12"/>
          </p:nvPr>
        </p:nvSpPr>
        <p:spPr/>
        <p:txBody>
          <a:bodyPr/>
          <a:lstStyle/>
          <a:p>
            <a:fld id="{3E6F8420-909B-9F44-82D4-292E52F1B748}" type="slidenum">
              <a:rPr lang="pt-BR" smtClean="0"/>
              <a:t>‹nº›</a:t>
            </a:fld>
            <a:endParaRPr lang="pt-BR"/>
          </a:p>
        </p:txBody>
      </p:sp>
    </p:spTree>
    <p:extLst>
      <p:ext uri="{BB962C8B-B14F-4D97-AF65-F5344CB8AC3E}">
        <p14:creationId xmlns:p14="http://schemas.microsoft.com/office/powerpoint/2010/main" val="319282745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vertTitleAndTx" preserve="1">
  <p:cSld name="1_Texto e Título Vertical">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87E09105-529E-6440-A201-83924F5A98D3}"/>
              </a:ext>
            </a:extLst>
          </p:cNvPr>
          <p:cNvSpPr>
            <a:spLocks noGrp="1"/>
          </p:cNvSpPr>
          <p:nvPr>
            <p:ph type="title" orient="vert"/>
          </p:nvPr>
        </p:nvSpPr>
        <p:spPr>
          <a:xfrm>
            <a:off x="13087350" y="547688"/>
            <a:ext cx="3943350" cy="8717757"/>
          </a:xfrm>
        </p:spPr>
        <p:txBody>
          <a:bodyPr vert="eaVert"/>
          <a:lstStyle/>
          <a:p>
            <a:r>
              <a:rPr lang="pt-BR"/>
              <a:t>Clique para editar o título Mestre</a:t>
            </a:r>
          </a:p>
        </p:txBody>
      </p:sp>
      <p:sp>
        <p:nvSpPr>
          <p:cNvPr id="3" name="Espaço Reservado para Texto Vertical 2">
            <a:extLst>
              <a:ext uri="{FF2B5EF4-FFF2-40B4-BE49-F238E27FC236}">
                <a16:creationId xmlns:a16="http://schemas.microsoft.com/office/drawing/2014/main" id="{9A2A21C6-8653-0B4B-ADA3-1F5F988EA290}"/>
              </a:ext>
            </a:extLst>
          </p:cNvPr>
          <p:cNvSpPr>
            <a:spLocks noGrp="1"/>
          </p:cNvSpPr>
          <p:nvPr>
            <p:ph type="body" orient="vert" idx="1"/>
          </p:nvPr>
        </p:nvSpPr>
        <p:spPr>
          <a:xfrm>
            <a:off x="1257300" y="547688"/>
            <a:ext cx="11601450" cy="8717757"/>
          </a:xfrm>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B6186993-9240-9F48-B63D-3AB1A9B465E2}"/>
              </a:ext>
            </a:extLst>
          </p:cNvPr>
          <p:cNvSpPr>
            <a:spLocks noGrp="1"/>
          </p:cNvSpPr>
          <p:nvPr>
            <p:ph type="dt" sz="half" idx="10"/>
          </p:nvPr>
        </p:nvSpPr>
        <p:spPr/>
        <p:txBody>
          <a:bodyPr/>
          <a:lstStyle/>
          <a:p>
            <a:fld id="{36EFB94E-0E4F-944F-A174-C08FE7A8E39E}" type="datetimeFigureOut">
              <a:rPr lang="pt-BR" smtClean="0"/>
              <a:t>09/05/2025</a:t>
            </a:fld>
            <a:endParaRPr lang="pt-BR"/>
          </a:p>
        </p:txBody>
      </p:sp>
      <p:sp>
        <p:nvSpPr>
          <p:cNvPr id="5" name="Espaço Reservado para Rodapé 4">
            <a:extLst>
              <a:ext uri="{FF2B5EF4-FFF2-40B4-BE49-F238E27FC236}">
                <a16:creationId xmlns:a16="http://schemas.microsoft.com/office/drawing/2014/main" id="{5D9B6467-6B10-2347-A24D-BFE1BA6EA849}"/>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E53644ED-1191-9846-9429-61B0FEFF4D0F}"/>
              </a:ext>
            </a:extLst>
          </p:cNvPr>
          <p:cNvSpPr>
            <a:spLocks noGrp="1"/>
          </p:cNvSpPr>
          <p:nvPr>
            <p:ph type="sldNum" sz="quarter" idx="12"/>
          </p:nvPr>
        </p:nvSpPr>
        <p:spPr/>
        <p:txBody>
          <a:bodyPr/>
          <a:lstStyle/>
          <a:p>
            <a:fld id="{3E6F8420-909B-9F44-82D4-292E52F1B748}" type="slidenum">
              <a:rPr lang="pt-BR" smtClean="0"/>
              <a:t>‹nº›</a:t>
            </a:fld>
            <a:endParaRPr lang="pt-BR"/>
          </a:p>
        </p:txBody>
      </p:sp>
    </p:spTree>
    <p:extLst>
      <p:ext uri="{BB962C8B-B14F-4D97-AF65-F5344CB8AC3E}">
        <p14:creationId xmlns:p14="http://schemas.microsoft.com/office/powerpoint/2010/main" val="102169803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matchingName="Cabeçalho de seção 1" preserve="1">
  <p:cSld name="Cabeçalho de seção 1">
    <p:spTree>
      <p:nvGrpSpPr>
        <p:cNvPr id="1" name="Shape 65"/>
        <p:cNvGrpSpPr/>
        <p:nvPr/>
      </p:nvGrpSpPr>
      <p:grpSpPr>
        <a:xfrm>
          <a:off x="0" y="0"/>
          <a:ext cx="0" cy="0"/>
          <a:chOff x="0" y="0"/>
          <a:chExt cx="0" cy="0"/>
        </a:xfrm>
      </p:grpSpPr>
      <p:pic>
        <p:nvPicPr>
          <p:cNvPr id="66" name="Google Shape;66;p11"/>
          <p:cNvPicPr preferRelativeResize="0"/>
          <p:nvPr/>
        </p:nvPicPr>
        <p:blipFill>
          <a:blip r:embed="rId2">
            <a:alphaModFix/>
          </a:blip>
          <a:stretch>
            <a:fillRect/>
          </a:stretch>
        </p:blipFill>
        <p:spPr>
          <a:xfrm>
            <a:off x="2" y="18905"/>
            <a:ext cx="18282570" cy="10287002"/>
          </a:xfrm>
          <a:prstGeom prst="rect">
            <a:avLst/>
          </a:prstGeom>
          <a:noFill/>
          <a:ln>
            <a:noFill/>
          </a:ln>
        </p:spPr>
      </p:pic>
      <p:sp>
        <p:nvSpPr>
          <p:cNvPr id="67" name="Google Shape;67;p11"/>
          <p:cNvSpPr txBox="1">
            <a:spLocks noGrp="1"/>
          </p:cNvSpPr>
          <p:nvPr>
            <p:ph type="sldNum" idx="12"/>
          </p:nvPr>
        </p:nvSpPr>
        <p:spPr>
          <a:xfrm>
            <a:off x="16944917" y="9326435"/>
            <a:ext cx="1097400" cy="787200"/>
          </a:xfrm>
          <a:prstGeom prst="rect">
            <a:avLst/>
          </a:prstGeom>
        </p:spPr>
        <p:txBody>
          <a:bodyPr spcFirstLastPara="1" wrap="square" lIns="182850" tIns="182850" rIns="182850" bIns="182850"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defTabSz="1828847"/>
            <a:fld id="{00000000-1234-1234-1234-123412341234}" type="slidenum">
              <a:rPr lang="pt-BR" smtClean="0">
                <a:solidFill>
                  <a:srgbClr val="ADADAD"/>
                </a:solidFill>
              </a:rPr>
              <a:pPr defTabSz="1828847"/>
              <a:t>‹nº›</a:t>
            </a:fld>
            <a:endParaRPr lang="pt-BR">
              <a:solidFill>
                <a:srgbClr val="ADADAD"/>
              </a:solidFill>
            </a:endParaRPr>
          </a:p>
        </p:txBody>
      </p:sp>
    </p:spTree>
    <p:extLst>
      <p:ext uri="{BB962C8B-B14F-4D97-AF65-F5344CB8AC3E}">
        <p14:creationId xmlns:p14="http://schemas.microsoft.com/office/powerpoint/2010/main" val="420925236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matchingName="Section header 1 1" preserve="1">
  <p:cSld name="Section header 1 1">
    <p:spTree>
      <p:nvGrpSpPr>
        <p:cNvPr id="1" name="Shape 126"/>
        <p:cNvGrpSpPr/>
        <p:nvPr/>
      </p:nvGrpSpPr>
      <p:grpSpPr>
        <a:xfrm>
          <a:off x="0" y="0"/>
          <a:ext cx="0" cy="0"/>
          <a:chOff x="0" y="0"/>
          <a:chExt cx="0" cy="0"/>
        </a:xfrm>
      </p:grpSpPr>
      <p:sp>
        <p:nvSpPr>
          <p:cNvPr id="127" name="Google Shape;127;g8cff37a39f_0_546"/>
          <p:cNvSpPr txBox="1">
            <a:spLocks noGrp="1"/>
          </p:cNvSpPr>
          <p:nvPr>
            <p:ph type="sldNum" idx="12"/>
          </p:nvPr>
        </p:nvSpPr>
        <p:spPr>
          <a:xfrm>
            <a:off x="16944917" y="9326435"/>
            <a:ext cx="1097400" cy="787200"/>
          </a:xfrm>
          <a:prstGeom prst="rect">
            <a:avLst/>
          </a:prstGeom>
          <a:noFill/>
          <a:ln>
            <a:noFill/>
          </a:ln>
        </p:spPr>
        <p:txBody>
          <a:bodyPr spcFirstLastPara="1" wrap="square" lIns="182850" tIns="182850" rIns="182850" bIns="182850" anchor="ctr" anchorCtr="0">
            <a:noAutofit/>
          </a:bodyPr>
          <a:lstStyle>
            <a:lvl1pPr marL="0" lvl="0" indent="0" algn="r" rtl="0">
              <a:lnSpc>
                <a:spcPct val="100000"/>
              </a:lnSpc>
              <a:spcBef>
                <a:spcPts val="0"/>
              </a:spcBef>
              <a:spcAft>
                <a:spcPts val="0"/>
              </a:spcAft>
              <a:buSzPts val="1000"/>
              <a:buNone/>
              <a:defRPr sz="2000" b="0" i="0" u="none" strike="noStrike" cap="none">
                <a:solidFill>
                  <a:schemeClr val="lt2"/>
                </a:solidFill>
                <a:latin typeface="Arial"/>
                <a:ea typeface="Arial"/>
                <a:cs typeface="Arial"/>
                <a:sym typeface="Arial"/>
              </a:defRPr>
            </a:lvl1pPr>
            <a:lvl2pPr marL="0" lvl="1" indent="0" algn="r" rtl="0">
              <a:lnSpc>
                <a:spcPct val="100000"/>
              </a:lnSpc>
              <a:spcBef>
                <a:spcPts val="0"/>
              </a:spcBef>
              <a:spcAft>
                <a:spcPts val="0"/>
              </a:spcAft>
              <a:buSzPts val="1000"/>
              <a:buNone/>
              <a:defRPr sz="2000" b="0" i="0" u="none" strike="noStrike" cap="none">
                <a:solidFill>
                  <a:schemeClr val="lt2"/>
                </a:solidFill>
                <a:latin typeface="Arial"/>
                <a:ea typeface="Arial"/>
                <a:cs typeface="Arial"/>
                <a:sym typeface="Arial"/>
              </a:defRPr>
            </a:lvl2pPr>
            <a:lvl3pPr marL="0" lvl="2" indent="0" algn="r" rtl="0">
              <a:lnSpc>
                <a:spcPct val="100000"/>
              </a:lnSpc>
              <a:spcBef>
                <a:spcPts val="0"/>
              </a:spcBef>
              <a:spcAft>
                <a:spcPts val="0"/>
              </a:spcAft>
              <a:buSzPts val="1000"/>
              <a:buNone/>
              <a:defRPr sz="2000" b="0" i="0" u="none" strike="noStrike" cap="none">
                <a:solidFill>
                  <a:schemeClr val="lt2"/>
                </a:solidFill>
                <a:latin typeface="Arial"/>
                <a:ea typeface="Arial"/>
                <a:cs typeface="Arial"/>
                <a:sym typeface="Arial"/>
              </a:defRPr>
            </a:lvl3pPr>
            <a:lvl4pPr marL="0" lvl="3" indent="0" algn="r" rtl="0">
              <a:lnSpc>
                <a:spcPct val="100000"/>
              </a:lnSpc>
              <a:spcBef>
                <a:spcPts val="0"/>
              </a:spcBef>
              <a:spcAft>
                <a:spcPts val="0"/>
              </a:spcAft>
              <a:buSzPts val="1000"/>
              <a:buNone/>
              <a:defRPr sz="2000" b="0" i="0" u="none" strike="noStrike" cap="none">
                <a:solidFill>
                  <a:schemeClr val="lt2"/>
                </a:solidFill>
                <a:latin typeface="Arial"/>
                <a:ea typeface="Arial"/>
                <a:cs typeface="Arial"/>
                <a:sym typeface="Arial"/>
              </a:defRPr>
            </a:lvl4pPr>
            <a:lvl5pPr marL="0" lvl="4" indent="0" algn="r" rtl="0">
              <a:lnSpc>
                <a:spcPct val="100000"/>
              </a:lnSpc>
              <a:spcBef>
                <a:spcPts val="0"/>
              </a:spcBef>
              <a:spcAft>
                <a:spcPts val="0"/>
              </a:spcAft>
              <a:buSzPts val="1000"/>
              <a:buNone/>
              <a:defRPr sz="2000" b="0" i="0" u="none" strike="noStrike" cap="none">
                <a:solidFill>
                  <a:schemeClr val="lt2"/>
                </a:solidFill>
                <a:latin typeface="Arial"/>
                <a:ea typeface="Arial"/>
                <a:cs typeface="Arial"/>
                <a:sym typeface="Arial"/>
              </a:defRPr>
            </a:lvl5pPr>
            <a:lvl6pPr marL="0" lvl="5" indent="0" algn="r" rtl="0">
              <a:lnSpc>
                <a:spcPct val="100000"/>
              </a:lnSpc>
              <a:spcBef>
                <a:spcPts val="0"/>
              </a:spcBef>
              <a:spcAft>
                <a:spcPts val="0"/>
              </a:spcAft>
              <a:buSzPts val="1000"/>
              <a:buNone/>
              <a:defRPr sz="2000" b="0" i="0" u="none" strike="noStrike" cap="none">
                <a:solidFill>
                  <a:schemeClr val="lt2"/>
                </a:solidFill>
                <a:latin typeface="Arial"/>
                <a:ea typeface="Arial"/>
                <a:cs typeface="Arial"/>
                <a:sym typeface="Arial"/>
              </a:defRPr>
            </a:lvl6pPr>
            <a:lvl7pPr marL="0" lvl="6" indent="0" algn="r" rtl="0">
              <a:lnSpc>
                <a:spcPct val="100000"/>
              </a:lnSpc>
              <a:spcBef>
                <a:spcPts val="0"/>
              </a:spcBef>
              <a:spcAft>
                <a:spcPts val="0"/>
              </a:spcAft>
              <a:buSzPts val="1000"/>
              <a:buNone/>
              <a:defRPr sz="2000" b="0" i="0" u="none" strike="noStrike" cap="none">
                <a:solidFill>
                  <a:schemeClr val="lt2"/>
                </a:solidFill>
                <a:latin typeface="Arial"/>
                <a:ea typeface="Arial"/>
                <a:cs typeface="Arial"/>
                <a:sym typeface="Arial"/>
              </a:defRPr>
            </a:lvl7pPr>
            <a:lvl8pPr marL="0" lvl="7" indent="0" algn="r" rtl="0">
              <a:lnSpc>
                <a:spcPct val="100000"/>
              </a:lnSpc>
              <a:spcBef>
                <a:spcPts val="0"/>
              </a:spcBef>
              <a:spcAft>
                <a:spcPts val="0"/>
              </a:spcAft>
              <a:buSzPts val="1000"/>
              <a:buNone/>
              <a:defRPr sz="2000" b="0" i="0" u="none" strike="noStrike" cap="none">
                <a:solidFill>
                  <a:schemeClr val="lt2"/>
                </a:solidFill>
                <a:latin typeface="Arial"/>
                <a:ea typeface="Arial"/>
                <a:cs typeface="Arial"/>
                <a:sym typeface="Arial"/>
              </a:defRPr>
            </a:lvl8pPr>
            <a:lvl9pPr marL="0" lvl="8" indent="0" algn="r" rtl="0">
              <a:lnSpc>
                <a:spcPct val="100000"/>
              </a:lnSpc>
              <a:spcBef>
                <a:spcPts val="0"/>
              </a:spcBef>
              <a:spcAft>
                <a:spcPts val="0"/>
              </a:spcAft>
              <a:buSzPts val="1000"/>
              <a:buNone/>
              <a:defRPr sz="2000" b="0" i="0" u="none" strike="noStrike" cap="none">
                <a:solidFill>
                  <a:schemeClr val="lt2"/>
                </a:solidFill>
                <a:latin typeface="Arial"/>
                <a:ea typeface="Arial"/>
                <a:cs typeface="Arial"/>
                <a:sym typeface="Arial"/>
              </a:defRPr>
            </a:lvl9pPr>
          </a:lstStyle>
          <a:p>
            <a:pPr defTabSz="914490"/>
            <a:fld id="{00000000-1234-1234-1234-123412341234}" type="slidenum">
              <a:rPr lang="en-US" smtClean="0">
                <a:solidFill>
                  <a:srgbClr val="ADADAD"/>
                </a:solidFill>
              </a:rPr>
              <a:pPr defTabSz="914490"/>
              <a:t>‹nº›</a:t>
            </a:fld>
            <a:endParaRPr lang="en-US">
              <a:solidFill>
                <a:srgbClr val="ADADAD"/>
              </a:solidFill>
            </a:endParaRPr>
          </a:p>
        </p:txBody>
      </p:sp>
      <p:cxnSp>
        <p:nvCxnSpPr>
          <p:cNvPr id="11" name="Google Shape;103;p16">
            <a:extLst>
              <a:ext uri="{FF2B5EF4-FFF2-40B4-BE49-F238E27FC236}">
                <a16:creationId xmlns:a16="http://schemas.microsoft.com/office/drawing/2014/main" id="{BE15AFD3-20AF-6B45-A279-005148A3179B}"/>
              </a:ext>
            </a:extLst>
          </p:cNvPr>
          <p:cNvCxnSpPr/>
          <p:nvPr userDrawn="1"/>
        </p:nvCxnSpPr>
        <p:spPr>
          <a:xfrm>
            <a:off x="17774112" y="3365700"/>
            <a:ext cx="0" cy="486900"/>
          </a:xfrm>
          <a:prstGeom prst="straightConnector1">
            <a:avLst/>
          </a:prstGeom>
          <a:noFill/>
          <a:ln w="9525" cap="flat" cmpd="sng">
            <a:solidFill>
              <a:srgbClr val="222222"/>
            </a:solidFill>
            <a:prstDash val="solid"/>
            <a:round/>
            <a:headEnd type="none" w="med" len="med"/>
            <a:tailEnd type="none" w="med" len="med"/>
          </a:ln>
        </p:spPr>
      </p:cxnSp>
      <p:sp>
        <p:nvSpPr>
          <p:cNvPr id="14" name="Google Shape;104;p16">
            <a:extLst>
              <a:ext uri="{FF2B5EF4-FFF2-40B4-BE49-F238E27FC236}">
                <a16:creationId xmlns:a16="http://schemas.microsoft.com/office/drawing/2014/main" id="{48354257-9F41-EC4F-A947-825E2FB5F0E7}"/>
              </a:ext>
            </a:extLst>
          </p:cNvPr>
          <p:cNvSpPr txBox="1"/>
          <p:nvPr userDrawn="1"/>
        </p:nvSpPr>
        <p:spPr>
          <a:xfrm rot="5400000">
            <a:off x="17040350" y="4514700"/>
            <a:ext cx="1596900" cy="272700"/>
          </a:xfrm>
          <a:prstGeom prst="rect">
            <a:avLst/>
          </a:prstGeom>
          <a:noFill/>
          <a:ln>
            <a:noFill/>
          </a:ln>
        </p:spPr>
        <p:txBody>
          <a:bodyPr spcFirstLastPara="1" wrap="square" lIns="91425" tIns="91425" rIns="91425" bIns="91425" anchor="t" anchorCtr="0">
            <a:noAutofit/>
          </a:bodyPr>
          <a:lstStyle/>
          <a:p>
            <a:pPr marL="0" marR="0" lvl="0" indent="0" algn="ctr" defTabSz="914490" rtl="0" eaLnBrk="1" fontAlgn="auto" latinLnBrk="0" hangingPunct="1">
              <a:lnSpc>
                <a:spcPct val="100000"/>
              </a:lnSpc>
              <a:spcBef>
                <a:spcPts val="0"/>
              </a:spcBef>
              <a:spcAft>
                <a:spcPts val="0"/>
              </a:spcAft>
              <a:buClr>
                <a:srgbClr val="000000"/>
              </a:buClr>
              <a:buSzTx/>
              <a:buFont typeface="Arial"/>
              <a:buNone/>
              <a:tabLst/>
              <a:defRPr/>
            </a:pPr>
            <a:r>
              <a:rPr kumimoji="0" lang="pt-BR" sz="1200" b="1" i="0" u="none" strike="noStrike" kern="0" cap="none" spc="0" normalizeH="0" baseline="0" noProof="0">
                <a:ln>
                  <a:noFill/>
                </a:ln>
                <a:solidFill>
                  <a:srgbClr val="222222"/>
                </a:solidFill>
                <a:effectLst/>
                <a:uLnTx/>
                <a:uFillTx/>
                <a:latin typeface="Poppins"/>
                <a:ea typeface="Poppins"/>
                <a:cs typeface="Poppins"/>
                <a:sym typeface="Poppins"/>
              </a:rPr>
              <a:t>qintess.com</a:t>
            </a:r>
            <a:endParaRPr kumimoji="0" sz="1200" b="1" i="0" u="none" strike="noStrike" kern="0" cap="none" spc="0" normalizeH="0" baseline="0" noProof="0">
              <a:ln>
                <a:noFill/>
              </a:ln>
              <a:solidFill>
                <a:srgbClr val="222222"/>
              </a:solidFill>
              <a:effectLst/>
              <a:uLnTx/>
              <a:uFillTx/>
              <a:latin typeface="Poppins"/>
              <a:ea typeface="Poppins"/>
              <a:cs typeface="Poppins"/>
              <a:sym typeface="Poppins"/>
            </a:endParaRPr>
          </a:p>
        </p:txBody>
      </p:sp>
      <p:cxnSp>
        <p:nvCxnSpPr>
          <p:cNvPr id="15" name="Google Shape;105;p16">
            <a:extLst>
              <a:ext uri="{FF2B5EF4-FFF2-40B4-BE49-F238E27FC236}">
                <a16:creationId xmlns:a16="http://schemas.microsoft.com/office/drawing/2014/main" id="{F0A4B971-BFF7-CB41-BD20-AA4256ECECD7}"/>
              </a:ext>
            </a:extLst>
          </p:cNvPr>
          <p:cNvCxnSpPr/>
          <p:nvPr userDrawn="1"/>
        </p:nvCxnSpPr>
        <p:spPr>
          <a:xfrm>
            <a:off x="17774112" y="5449500"/>
            <a:ext cx="0" cy="486900"/>
          </a:xfrm>
          <a:prstGeom prst="straightConnector1">
            <a:avLst/>
          </a:prstGeom>
          <a:noFill/>
          <a:ln w="9525" cap="flat" cmpd="sng">
            <a:solidFill>
              <a:srgbClr val="222222"/>
            </a:solidFill>
            <a:prstDash val="solid"/>
            <a:round/>
            <a:headEnd type="none" w="med" len="med"/>
            <a:tailEnd type="none" w="med" len="med"/>
          </a:ln>
        </p:spPr>
      </p:cxnSp>
      <p:pic>
        <p:nvPicPr>
          <p:cNvPr id="16" name="Google Shape;106;p16">
            <a:extLst>
              <a:ext uri="{FF2B5EF4-FFF2-40B4-BE49-F238E27FC236}">
                <a16:creationId xmlns:a16="http://schemas.microsoft.com/office/drawing/2014/main" id="{AD27EC10-0421-8440-8E5E-CCC1454AEED4}"/>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17248154" y="487500"/>
            <a:ext cx="525950" cy="636750"/>
          </a:xfrm>
          <a:prstGeom prst="rect">
            <a:avLst/>
          </a:prstGeom>
          <a:noFill/>
          <a:ln>
            <a:noFill/>
          </a:ln>
        </p:spPr>
      </p:pic>
    </p:spTree>
    <p:extLst>
      <p:ext uri="{BB962C8B-B14F-4D97-AF65-F5344CB8AC3E}">
        <p14:creationId xmlns:p14="http://schemas.microsoft.com/office/powerpoint/2010/main" val="42012967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and two columns" type="twoColTx" preserve="1">
  <p:cSld name="Title and two columns">
    <p:spTree>
      <p:nvGrpSpPr>
        <p:cNvPr id="1" name="Shape 111"/>
        <p:cNvGrpSpPr/>
        <p:nvPr/>
      </p:nvGrpSpPr>
      <p:grpSpPr>
        <a:xfrm>
          <a:off x="0" y="0"/>
          <a:ext cx="0" cy="0"/>
          <a:chOff x="0" y="0"/>
          <a:chExt cx="0" cy="0"/>
        </a:xfrm>
      </p:grpSpPr>
      <p:pic>
        <p:nvPicPr>
          <p:cNvPr id="112" name="Google Shape;112;p1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rot="-5400000">
            <a:off x="6131679" y="-4453526"/>
            <a:ext cx="5797798" cy="14704852"/>
          </a:xfrm>
          <a:prstGeom prst="rect">
            <a:avLst/>
          </a:prstGeom>
          <a:noFill/>
          <a:ln>
            <a:noFill/>
          </a:ln>
        </p:spPr>
      </p:pic>
      <p:sp>
        <p:nvSpPr>
          <p:cNvPr id="113" name="Google Shape;113;p18"/>
          <p:cNvSpPr txBox="1">
            <a:spLocks noGrp="1"/>
          </p:cNvSpPr>
          <p:nvPr>
            <p:ph type="title"/>
          </p:nvPr>
        </p:nvSpPr>
        <p:spPr>
          <a:xfrm>
            <a:off x="471000" y="432850"/>
            <a:ext cx="17041200" cy="1145400"/>
          </a:xfrm>
          <a:prstGeom prst="rect">
            <a:avLst/>
          </a:prstGeom>
        </p:spPr>
        <p:txBody>
          <a:bodyPr spcFirstLastPara="1" wrap="square" lIns="91425" tIns="91425" rIns="91425" bIns="91425" anchor="t" anchorCtr="0">
            <a:noAutofit/>
          </a:bodyPr>
          <a:lstStyle>
            <a:lvl1pPr lvl="0">
              <a:spcBef>
                <a:spcPts val="0"/>
              </a:spcBef>
              <a:spcAft>
                <a:spcPts val="0"/>
              </a:spcAft>
              <a:buSzPts val="1400"/>
              <a:buNone/>
              <a:defRPr sz="2800"/>
            </a:lvl1pPr>
            <a:lvl2pPr lvl="1">
              <a:spcBef>
                <a:spcPts val="0"/>
              </a:spcBef>
              <a:spcAft>
                <a:spcPts val="0"/>
              </a:spcAft>
              <a:buSzPts val="1400"/>
              <a:buNone/>
              <a:defRPr sz="2800"/>
            </a:lvl2pPr>
            <a:lvl3pPr lvl="2">
              <a:spcBef>
                <a:spcPts val="0"/>
              </a:spcBef>
              <a:spcAft>
                <a:spcPts val="0"/>
              </a:spcAft>
              <a:buSzPts val="1400"/>
              <a:buNone/>
              <a:defRPr sz="2800"/>
            </a:lvl3pPr>
            <a:lvl4pPr lvl="3">
              <a:spcBef>
                <a:spcPts val="0"/>
              </a:spcBef>
              <a:spcAft>
                <a:spcPts val="0"/>
              </a:spcAft>
              <a:buSzPts val="1400"/>
              <a:buNone/>
              <a:defRPr sz="2800"/>
            </a:lvl4pPr>
            <a:lvl5pPr lvl="4">
              <a:spcBef>
                <a:spcPts val="0"/>
              </a:spcBef>
              <a:spcAft>
                <a:spcPts val="0"/>
              </a:spcAft>
              <a:buSzPts val="1400"/>
              <a:buNone/>
              <a:defRPr sz="2800"/>
            </a:lvl5pPr>
            <a:lvl6pPr lvl="5">
              <a:spcBef>
                <a:spcPts val="0"/>
              </a:spcBef>
              <a:spcAft>
                <a:spcPts val="0"/>
              </a:spcAft>
              <a:buSzPts val="1400"/>
              <a:buNone/>
              <a:defRPr sz="2800"/>
            </a:lvl6pPr>
            <a:lvl7pPr lvl="6">
              <a:spcBef>
                <a:spcPts val="0"/>
              </a:spcBef>
              <a:spcAft>
                <a:spcPts val="0"/>
              </a:spcAft>
              <a:buSzPts val="1400"/>
              <a:buNone/>
              <a:defRPr sz="2800"/>
            </a:lvl7pPr>
            <a:lvl8pPr lvl="7">
              <a:spcBef>
                <a:spcPts val="0"/>
              </a:spcBef>
              <a:spcAft>
                <a:spcPts val="0"/>
              </a:spcAft>
              <a:buSzPts val="1400"/>
              <a:buNone/>
              <a:defRPr sz="2800"/>
            </a:lvl8pPr>
            <a:lvl9pPr lvl="8">
              <a:spcBef>
                <a:spcPts val="0"/>
              </a:spcBef>
              <a:spcAft>
                <a:spcPts val="0"/>
              </a:spcAft>
              <a:buSzPts val="1400"/>
              <a:buNone/>
              <a:defRPr sz="2800"/>
            </a:lvl9pPr>
          </a:lstStyle>
          <a:p>
            <a:endParaRPr/>
          </a:p>
        </p:txBody>
      </p:sp>
      <p:sp>
        <p:nvSpPr>
          <p:cNvPr id="114" name="Google Shape;114;p18"/>
          <p:cNvSpPr txBox="1">
            <a:spLocks noGrp="1"/>
          </p:cNvSpPr>
          <p:nvPr>
            <p:ph type="body" idx="1"/>
          </p:nvPr>
        </p:nvSpPr>
        <p:spPr>
          <a:xfrm>
            <a:off x="1190700" y="2914550"/>
            <a:ext cx="7324200" cy="6021600"/>
          </a:xfrm>
          <a:prstGeom prst="rect">
            <a:avLst/>
          </a:prstGeom>
        </p:spPr>
        <p:txBody>
          <a:bodyPr spcFirstLastPara="1" wrap="square" lIns="91425" tIns="91425" rIns="91425" bIns="91425" anchor="t" anchorCtr="0">
            <a:noAutofit/>
          </a:bodyPr>
          <a:lstStyle>
            <a:lvl1pPr marL="914400" lvl="0" indent="-762000">
              <a:spcBef>
                <a:spcPts val="0"/>
              </a:spcBef>
              <a:spcAft>
                <a:spcPts val="0"/>
              </a:spcAft>
              <a:buSzPts val="2400"/>
              <a:buFont typeface="Montserrat"/>
              <a:buChar char="●"/>
              <a:defRPr sz="4800" b="1">
                <a:latin typeface="Montserrat"/>
                <a:ea typeface="Montserrat"/>
                <a:cs typeface="Montserrat"/>
                <a:sym typeface="Montserrat"/>
              </a:defRPr>
            </a:lvl1pPr>
            <a:lvl2pPr marL="1828800" lvl="1" indent="-762000">
              <a:spcBef>
                <a:spcPts val="3200"/>
              </a:spcBef>
              <a:spcAft>
                <a:spcPts val="0"/>
              </a:spcAft>
              <a:buSzPts val="2400"/>
              <a:buFont typeface="Montserrat"/>
              <a:buChar char="○"/>
              <a:defRPr sz="4800" b="1">
                <a:latin typeface="Montserrat"/>
                <a:ea typeface="Montserrat"/>
                <a:cs typeface="Montserrat"/>
                <a:sym typeface="Montserrat"/>
              </a:defRPr>
            </a:lvl2pPr>
            <a:lvl3pPr marL="2743200" lvl="2" indent="-762000">
              <a:spcBef>
                <a:spcPts val="3200"/>
              </a:spcBef>
              <a:spcAft>
                <a:spcPts val="0"/>
              </a:spcAft>
              <a:buSzPts val="2400"/>
              <a:buFont typeface="Montserrat"/>
              <a:buChar char="■"/>
              <a:defRPr sz="4800" b="1">
                <a:latin typeface="Montserrat"/>
                <a:ea typeface="Montserrat"/>
                <a:cs typeface="Montserrat"/>
                <a:sym typeface="Montserrat"/>
              </a:defRPr>
            </a:lvl3pPr>
            <a:lvl4pPr marL="3657600" lvl="3" indent="-762000">
              <a:spcBef>
                <a:spcPts val="3200"/>
              </a:spcBef>
              <a:spcAft>
                <a:spcPts val="0"/>
              </a:spcAft>
              <a:buSzPts val="2400"/>
              <a:buFont typeface="Montserrat"/>
              <a:buChar char="●"/>
              <a:defRPr sz="4800" b="1">
                <a:latin typeface="Montserrat"/>
                <a:ea typeface="Montserrat"/>
                <a:cs typeface="Montserrat"/>
                <a:sym typeface="Montserrat"/>
              </a:defRPr>
            </a:lvl4pPr>
            <a:lvl5pPr marL="4572000" lvl="4" indent="-762000">
              <a:spcBef>
                <a:spcPts val="3200"/>
              </a:spcBef>
              <a:spcAft>
                <a:spcPts val="0"/>
              </a:spcAft>
              <a:buSzPts val="2400"/>
              <a:buFont typeface="Montserrat"/>
              <a:buChar char="○"/>
              <a:defRPr sz="4800" b="1">
                <a:latin typeface="Montserrat"/>
                <a:ea typeface="Montserrat"/>
                <a:cs typeface="Montserrat"/>
                <a:sym typeface="Montserrat"/>
              </a:defRPr>
            </a:lvl5pPr>
            <a:lvl6pPr marL="5486400" lvl="5" indent="-762000">
              <a:spcBef>
                <a:spcPts val="3200"/>
              </a:spcBef>
              <a:spcAft>
                <a:spcPts val="0"/>
              </a:spcAft>
              <a:buSzPts val="2400"/>
              <a:buFont typeface="Montserrat"/>
              <a:buChar char="■"/>
              <a:defRPr sz="4800" b="1">
                <a:latin typeface="Montserrat"/>
                <a:ea typeface="Montserrat"/>
                <a:cs typeface="Montserrat"/>
                <a:sym typeface="Montserrat"/>
              </a:defRPr>
            </a:lvl6pPr>
            <a:lvl7pPr marL="6400800" lvl="6" indent="-762000">
              <a:spcBef>
                <a:spcPts val="3200"/>
              </a:spcBef>
              <a:spcAft>
                <a:spcPts val="0"/>
              </a:spcAft>
              <a:buSzPts val="2400"/>
              <a:buFont typeface="Montserrat"/>
              <a:buChar char="●"/>
              <a:defRPr sz="4800" b="1">
                <a:latin typeface="Montserrat"/>
                <a:ea typeface="Montserrat"/>
                <a:cs typeface="Montserrat"/>
                <a:sym typeface="Montserrat"/>
              </a:defRPr>
            </a:lvl7pPr>
            <a:lvl8pPr marL="7315200" lvl="7" indent="-762000">
              <a:spcBef>
                <a:spcPts val="3200"/>
              </a:spcBef>
              <a:spcAft>
                <a:spcPts val="0"/>
              </a:spcAft>
              <a:buSzPts val="2400"/>
              <a:buFont typeface="Montserrat"/>
              <a:buChar char="○"/>
              <a:defRPr sz="4800" b="1">
                <a:latin typeface="Montserrat"/>
                <a:ea typeface="Montserrat"/>
                <a:cs typeface="Montserrat"/>
                <a:sym typeface="Montserrat"/>
              </a:defRPr>
            </a:lvl8pPr>
            <a:lvl9pPr marL="8229600" lvl="8" indent="-762000">
              <a:spcBef>
                <a:spcPts val="3200"/>
              </a:spcBef>
              <a:spcAft>
                <a:spcPts val="3200"/>
              </a:spcAft>
              <a:buSzPts val="2400"/>
              <a:buFont typeface="Montserrat"/>
              <a:buChar char="■"/>
              <a:defRPr sz="4800" b="1">
                <a:latin typeface="Montserrat"/>
                <a:ea typeface="Montserrat"/>
                <a:cs typeface="Montserrat"/>
                <a:sym typeface="Montserrat"/>
              </a:defRPr>
            </a:lvl9pPr>
          </a:lstStyle>
          <a:p>
            <a:endParaRPr/>
          </a:p>
        </p:txBody>
      </p:sp>
      <p:sp>
        <p:nvSpPr>
          <p:cNvPr id="115" name="Google Shape;115;p18"/>
          <p:cNvSpPr txBox="1">
            <a:spLocks noGrp="1"/>
          </p:cNvSpPr>
          <p:nvPr>
            <p:ph type="body" idx="2"/>
          </p:nvPr>
        </p:nvSpPr>
        <p:spPr>
          <a:xfrm>
            <a:off x="9468410" y="2914550"/>
            <a:ext cx="7324200" cy="6021600"/>
          </a:xfrm>
          <a:prstGeom prst="rect">
            <a:avLst/>
          </a:prstGeom>
        </p:spPr>
        <p:txBody>
          <a:bodyPr spcFirstLastPara="1" wrap="square" lIns="91425" tIns="91425" rIns="91425" bIns="91425" anchor="t" anchorCtr="0">
            <a:noAutofit/>
          </a:bodyPr>
          <a:lstStyle>
            <a:lvl1pPr marL="914400" lvl="0" indent="-609600">
              <a:spcBef>
                <a:spcPts val="0"/>
              </a:spcBef>
              <a:spcAft>
                <a:spcPts val="0"/>
              </a:spcAft>
              <a:buSzPts val="1200"/>
              <a:buChar char="●"/>
              <a:defRPr/>
            </a:lvl1pPr>
            <a:lvl2pPr marL="1828800" lvl="1" indent="-609600">
              <a:spcBef>
                <a:spcPts val="3200"/>
              </a:spcBef>
              <a:spcAft>
                <a:spcPts val="0"/>
              </a:spcAft>
              <a:buSzPts val="1200"/>
              <a:buChar char="○"/>
              <a:defRPr/>
            </a:lvl2pPr>
            <a:lvl3pPr marL="2743200" lvl="2" indent="-609600">
              <a:spcBef>
                <a:spcPts val="3200"/>
              </a:spcBef>
              <a:spcAft>
                <a:spcPts val="0"/>
              </a:spcAft>
              <a:buSzPts val="1200"/>
              <a:buChar char="■"/>
              <a:defRPr sz="2400"/>
            </a:lvl3pPr>
            <a:lvl4pPr marL="3657600" lvl="3" indent="-609600">
              <a:spcBef>
                <a:spcPts val="3200"/>
              </a:spcBef>
              <a:spcAft>
                <a:spcPts val="0"/>
              </a:spcAft>
              <a:buSzPts val="1200"/>
              <a:buChar char="●"/>
              <a:defRPr sz="2400"/>
            </a:lvl4pPr>
            <a:lvl5pPr marL="4572000" lvl="4" indent="-609600">
              <a:spcBef>
                <a:spcPts val="3200"/>
              </a:spcBef>
              <a:spcAft>
                <a:spcPts val="0"/>
              </a:spcAft>
              <a:buSzPts val="1200"/>
              <a:buChar char="○"/>
              <a:defRPr sz="2400"/>
            </a:lvl5pPr>
            <a:lvl6pPr marL="5486400" lvl="5" indent="-609600">
              <a:spcBef>
                <a:spcPts val="3200"/>
              </a:spcBef>
              <a:spcAft>
                <a:spcPts val="0"/>
              </a:spcAft>
              <a:buSzPts val="1200"/>
              <a:buChar char="■"/>
              <a:defRPr sz="2400"/>
            </a:lvl6pPr>
            <a:lvl7pPr marL="6400800" lvl="6" indent="-609600">
              <a:spcBef>
                <a:spcPts val="3200"/>
              </a:spcBef>
              <a:spcAft>
                <a:spcPts val="0"/>
              </a:spcAft>
              <a:buSzPts val="1200"/>
              <a:buChar char="●"/>
              <a:defRPr sz="2400"/>
            </a:lvl7pPr>
            <a:lvl8pPr marL="7315200" lvl="7" indent="-609600">
              <a:spcBef>
                <a:spcPts val="3200"/>
              </a:spcBef>
              <a:spcAft>
                <a:spcPts val="0"/>
              </a:spcAft>
              <a:buSzPts val="1200"/>
              <a:buChar char="○"/>
              <a:defRPr sz="2400"/>
            </a:lvl8pPr>
            <a:lvl9pPr marL="8229600" lvl="8" indent="-609600">
              <a:spcBef>
                <a:spcPts val="3200"/>
              </a:spcBef>
              <a:spcAft>
                <a:spcPts val="3200"/>
              </a:spcAft>
              <a:buSzPts val="1200"/>
              <a:buChar char="■"/>
              <a:defRPr sz="2400"/>
            </a:lvl9pPr>
          </a:lstStyle>
          <a:p>
            <a:endParaRPr/>
          </a:p>
        </p:txBody>
      </p:sp>
      <p:sp>
        <p:nvSpPr>
          <p:cNvPr id="116" name="Google Shape;116;p18"/>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pt-BR" smtClean="0"/>
              <a:pPr/>
              <a:t>‹nº›</a:t>
            </a:fld>
            <a:endParaRPr lang="pt-BR"/>
          </a:p>
        </p:txBody>
      </p:sp>
      <p:pic>
        <p:nvPicPr>
          <p:cNvPr id="117" name="Google Shape;117;p18"/>
          <p:cNvPicPr preferRelativeResize="0"/>
          <p:nvPr/>
        </p:nvPicPr>
        <p:blipFill>
          <a:blip r:embed="rId3" cstate="email">
            <a:alphaModFix/>
            <a:extLst>
              <a:ext uri="{28A0092B-C50C-407E-A947-70E740481C1C}">
                <a14:useLocalDpi xmlns:a14="http://schemas.microsoft.com/office/drawing/2010/main"/>
              </a:ext>
            </a:extLst>
          </a:blip>
          <a:stretch>
            <a:fillRect/>
          </a:stretch>
        </p:blipFill>
        <p:spPr>
          <a:xfrm>
            <a:off x="16183201" y="-304775"/>
            <a:ext cx="1799998" cy="1799998"/>
          </a:xfrm>
          <a:prstGeom prst="rect">
            <a:avLst/>
          </a:prstGeom>
          <a:noFill/>
          <a:ln>
            <a:noFill/>
          </a:ln>
        </p:spPr>
      </p:pic>
      <p:sp>
        <p:nvSpPr>
          <p:cNvPr id="118" name="Google Shape;118;p18"/>
          <p:cNvSpPr txBox="1">
            <a:spLocks noGrp="1"/>
          </p:cNvSpPr>
          <p:nvPr>
            <p:ph type="subTitle" idx="3"/>
          </p:nvPr>
        </p:nvSpPr>
        <p:spPr>
          <a:xfrm>
            <a:off x="8778900" y="8568450"/>
            <a:ext cx="9263400" cy="15852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9pPr>
          </a:lstStyle>
          <a:p>
            <a:endParaRPr/>
          </a:p>
        </p:txBody>
      </p:sp>
    </p:spTree>
    <p:extLst>
      <p:ext uri="{BB962C8B-B14F-4D97-AF65-F5344CB8AC3E}">
        <p14:creationId xmlns:p14="http://schemas.microsoft.com/office/powerpoint/2010/main" val="19839843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matchingName="Section header 1">
  <p:cSld name="Section header 1">
    <p:bg>
      <p:bgPr>
        <a:solidFill>
          <a:srgbClr val="FFFFFF"/>
        </a:solidFill>
        <a:effectLst/>
      </p:bgPr>
    </p:bg>
    <p:spTree>
      <p:nvGrpSpPr>
        <p:cNvPr id="1" name="Shape 101"/>
        <p:cNvGrpSpPr/>
        <p:nvPr/>
      </p:nvGrpSpPr>
      <p:grpSpPr>
        <a:xfrm>
          <a:off x="0" y="0"/>
          <a:ext cx="0" cy="0"/>
          <a:chOff x="0" y="0"/>
          <a:chExt cx="0" cy="0"/>
        </a:xfrm>
      </p:grpSpPr>
      <p:sp>
        <p:nvSpPr>
          <p:cNvPr id="102" name="Google Shape;102;p16"/>
          <p:cNvSpPr txBox="1">
            <a:spLocks noGrp="1"/>
          </p:cNvSpPr>
          <p:nvPr>
            <p:ph type="sldNum" idx="12"/>
          </p:nvPr>
        </p:nvSpPr>
        <p:spPr>
          <a:xfrm>
            <a:off x="16944917" y="9326435"/>
            <a:ext cx="1097400" cy="787200"/>
          </a:xfrm>
          <a:prstGeom prst="rect">
            <a:avLst/>
          </a:prstGeom>
        </p:spPr>
        <p:txBody>
          <a:bodyPr spcFirstLastPara="1" wrap="square" lIns="182850" tIns="182850" rIns="182850" bIns="182850"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cxnSp>
        <p:nvCxnSpPr>
          <p:cNvPr id="103" name="Google Shape;103;p16"/>
          <p:cNvCxnSpPr/>
          <p:nvPr/>
        </p:nvCxnSpPr>
        <p:spPr>
          <a:xfrm>
            <a:off x="17774112" y="3365700"/>
            <a:ext cx="0" cy="486900"/>
          </a:xfrm>
          <a:prstGeom prst="straightConnector1">
            <a:avLst/>
          </a:prstGeom>
          <a:noFill/>
          <a:ln w="9525" cap="flat" cmpd="sng">
            <a:solidFill>
              <a:srgbClr val="222222"/>
            </a:solidFill>
            <a:prstDash val="solid"/>
            <a:round/>
            <a:headEnd type="none" w="med" len="med"/>
            <a:tailEnd type="none" w="med" len="med"/>
          </a:ln>
        </p:spPr>
      </p:cxnSp>
      <p:sp>
        <p:nvSpPr>
          <p:cNvPr id="104" name="Google Shape;104;p16"/>
          <p:cNvSpPr txBox="1"/>
          <p:nvPr/>
        </p:nvSpPr>
        <p:spPr>
          <a:xfrm rot="5400000">
            <a:off x="17040350" y="4514700"/>
            <a:ext cx="1596900" cy="272700"/>
          </a:xfrm>
          <a:prstGeom prst="rect">
            <a:avLst/>
          </a:prstGeom>
          <a:noFill/>
          <a:ln>
            <a:noFill/>
          </a:ln>
        </p:spPr>
        <p:txBody>
          <a:bodyPr spcFirstLastPara="1" wrap="square" lIns="91427" tIns="91427" rIns="91427" bIns="91427" anchor="t" anchorCtr="0">
            <a:noAutofit/>
          </a:bodyPr>
          <a:lstStyle/>
          <a:p>
            <a:pPr marL="0" lvl="0" indent="0" algn="ctr" rtl="0">
              <a:spcBef>
                <a:spcPts val="0"/>
              </a:spcBef>
              <a:spcAft>
                <a:spcPts val="0"/>
              </a:spcAft>
              <a:buNone/>
            </a:pPr>
            <a:r>
              <a:rPr lang="pt-BR" sz="1200" b="1">
                <a:solidFill>
                  <a:srgbClr val="222222"/>
                </a:solidFill>
                <a:latin typeface="Poppins"/>
                <a:ea typeface="Poppins"/>
                <a:cs typeface="Poppins"/>
                <a:sym typeface="Poppins"/>
              </a:rPr>
              <a:t>qintess.com</a:t>
            </a:r>
            <a:endParaRPr sz="1200" b="1">
              <a:solidFill>
                <a:srgbClr val="222222"/>
              </a:solidFill>
              <a:latin typeface="Poppins"/>
              <a:ea typeface="Poppins"/>
              <a:cs typeface="Poppins"/>
              <a:sym typeface="Poppins"/>
            </a:endParaRPr>
          </a:p>
        </p:txBody>
      </p:sp>
      <p:cxnSp>
        <p:nvCxnSpPr>
          <p:cNvPr id="105" name="Google Shape;105;p16"/>
          <p:cNvCxnSpPr/>
          <p:nvPr/>
        </p:nvCxnSpPr>
        <p:spPr>
          <a:xfrm>
            <a:off x="17774112" y="5449500"/>
            <a:ext cx="0" cy="486900"/>
          </a:xfrm>
          <a:prstGeom prst="straightConnector1">
            <a:avLst/>
          </a:prstGeom>
          <a:noFill/>
          <a:ln w="9525" cap="flat" cmpd="sng">
            <a:solidFill>
              <a:srgbClr val="222222"/>
            </a:solidFill>
            <a:prstDash val="solid"/>
            <a:round/>
            <a:headEnd type="none" w="med" len="med"/>
            <a:tailEnd type="none" w="med" len="med"/>
          </a:ln>
        </p:spPr>
      </p:cxnSp>
      <p:pic>
        <p:nvPicPr>
          <p:cNvPr id="106" name="Google Shape;106;p1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7248153" y="487502"/>
            <a:ext cx="525950" cy="636750"/>
          </a:xfrm>
          <a:prstGeom prst="rect">
            <a:avLst/>
          </a:prstGeom>
          <a:noFill/>
          <a:ln>
            <a:noFill/>
          </a:ln>
        </p:spPr>
      </p:pic>
    </p:spTree>
    <p:extLst>
      <p:ext uri="{BB962C8B-B14F-4D97-AF65-F5344CB8AC3E}">
        <p14:creationId xmlns:p14="http://schemas.microsoft.com/office/powerpoint/2010/main" val="4275462409"/>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tx">
  <p:cSld name="1_Section header 1">
    <p:spTree>
      <p:nvGrpSpPr>
        <p:cNvPr id="1" name=""/>
        <p:cNvGrpSpPr/>
        <p:nvPr/>
      </p:nvGrpSpPr>
      <p:grpSpPr>
        <a:xfrm>
          <a:off x="0" y="0"/>
          <a:ext cx="0" cy="0"/>
          <a:chOff x="0" y="0"/>
          <a:chExt cx="0" cy="0"/>
        </a:xfrm>
      </p:grpSpPr>
      <p:sp>
        <p:nvSpPr>
          <p:cNvPr id="117" name="Google Shape;103;p16"/>
          <p:cNvSpPr/>
          <p:nvPr/>
        </p:nvSpPr>
        <p:spPr>
          <a:xfrm>
            <a:off x="17774112" y="3365700"/>
            <a:ext cx="3" cy="486903"/>
          </a:xfrm>
          <a:prstGeom prst="line">
            <a:avLst/>
          </a:prstGeom>
          <a:ln w="12700">
            <a:solidFill>
              <a:srgbClr val="222222"/>
            </a:solidFill>
          </a:ln>
        </p:spPr>
        <p:txBody>
          <a:bodyPr lIns="34289" tIns="34289" rIns="34289" bIns="34289"/>
          <a:lstStyle/>
          <a:p>
            <a:endParaRPr sz="1350"/>
          </a:p>
        </p:txBody>
      </p:sp>
      <p:sp>
        <p:nvSpPr>
          <p:cNvPr id="118" name="Google Shape;104;p16"/>
          <p:cNvSpPr txBox="1"/>
          <p:nvPr/>
        </p:nvSpPr>
        <p:spPr>
          <a:xfrm rot="5400000">
            <a:off x="16947161" y="4454859"/>
            <a:ext cx="1596903" cy="39238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91427" tIns="91427" rIns="91427" bIns="91427">
            <a:spAutoFit/>
          </a:bodyPr>
          <a:lstStyle>
            <a:lvl1pPr defTabSz="1219230">
              <a:defRPr b="1">
                <a:solidFill>
                  <a:srgbClr val="222222"/>
                </a:solidFill>
                <a:latin typeface="Poppins"/>
                <a:ea typeface="Poppins"/>
                <a:cs typeface="Poppins"/>
                <a:sym typeface="Poppins"/>
              </a:defRPr>
            </a:lvl1pPr>
          </a:lstStyle>
          <a:p>
            <a:r>
              <a:rPr sz="1350"/>
              <a:t>qintess.com</a:t>
            </a:r>
          </a:p>
        </p:txBody>
      </p:sp>
      <p:sp>
        <p:nvSpPr>
          <p:cNvPr id="119" name="Google Shape;105;p16"/>
          <p:cNvSpPr/>
          <p:nvPr/>
        </p:nvSpPr>
        <p:spPr>
          <a:xfrm>
            <a:off x="17774112" y="5449500"/>
            <a:ext cx="3" cy="486903"/>
          </a:xfrm>
          <a:prstGeom prst="line">
            <a:avLst/>
          </a:prstGeom>
          <a:ln w="12700">
            <a:solidFill>
              <a:srgbClr val="222222"/>
            </a:solidFill>
          </a:ln>
        </p:spPr>
        <p:txBody>
          <a:bodyPr lIns="34289" tIns="34289" rIns="34289" bIns="34289"/>
          <a:lstStyle/>
          <a:p>
            <a:endParaRPr sz="1350"/>
          </a:p>
        </p:txBody>
      </p:sp>
      <p:pic>
        <p:nvPicPr>
          <p:cNvPr id="120" name="Google Shape;106;p16" descr="Google Shape;106;p16"/>
          <p:cNvPicPr>
            <a:picLocks noChangeAspect="1"/>
          </p:cNvPicPr>
          <p:nvPr/>
        </p:nvPicPr>
        <p:blipFill>
          <a:blip r:embed="rId2"/>
          <a:stretch>
            <a:fillRect/>
          </a:stretch>
        </p:blipFill>
        <p:spPr>
          <a:xfrm>
            <a:off x="17248154" y="487502"/>
            <a:ext cx="525953" cy="636752"/>
          </a:xfrm>
          <a:prstGeom prst="rect">
            <a:avLst/>
          </a:prstGeom>
          <a:ln w="12700">
            <a:miter lim="400000"/>
          </a:ln>
        </p:spPr>
      </p:pic>
      <p:sp>
        <p:nvSpPr>
          <p:cNvPr id="121" name="Número do Slide"/>
          <p:cNvSpPr txBox="1">
            <a:spLocks noGrp="1"/>
          </p:cNvSpPr>
          <p:nvPr>
            <p:ph type="sldNum" sz="quarter" idx="2"/>
          </p:nvPr>
        </p:nvSpPr>
        <p:spPr>
          <a:xfrm>
            <a:off x="17208783" y="9302174"/>
            <a:ext cx="833535" cy="835722"/>
          </a:xfrm>
          <a:prstGeom prst="rect">
            <a:avLst/>
          </a:prstGeom>
        </p:spPr>
        <p:txBody>
          <a:bodyPr lIns="365698" tIns="365698" rIns="365698" bIns="365698" anchor="ctr"/>
          <a:lstStyle>
            <a:lvl1pPr algn="r" defTabSz="914423">
              <a:lnSpc>
                <a:spcPct val="100000"/>
              </a:lnSpc>
              <a:defRPr>
                <a:solidFill>
                  <a:srgbClr val="ADADAD"/>
                </a:solidFill>
                <a:latin typeface="Arial"/>
                <a:ea typeface="Arial"/>
                <a:cs typeface="Arial"/>
                <a:sym typeface="Arial"/>
              </a:defRPr>
            </a:lvl1pPr>
          </a:lstStyle>
          <a:p>
            <a:fld id="{86CB4B4D-7CA3-9044-876B-883B54F8677D}" type="slidenum">
              <a:t>‹nº›</a:t>
            </a:fld>
            <a:endParaRPr/>
          </a:p>
        </p:txBody>
      </p:sp>
    </p:spTree>
    <p:extLst>
      <p:ext uri="{BB962C8B-B14F-4D97-AF65-F5344CB8AC3E}">
        <p14:creationId xmlns:p14="http://schemas.microsoft.com/office/powerpoint/2010/main" val="3460454291"/>
      </p:ext>
    </p:extLst>
  </p:cSld>
  <p:clrMapOvr>
    <a:masterClrMapping/>
  </p:clrMapOvr>
  <p:transition spd="med"/>
</p:sldLayout>
</file>

<file path=ppt/slideLayouts/slideLayout142.xml><?xml version="1.0" encoding="utf-8"?>
<p:sldLayout xmlns:a="http://schemas.openxmlformats.org/drawingml/2006/main" xmlns:r="http://schemas.openxmlformats.org/officeDocument/2006/relationships" xmlns:p="http://schemas.openxmlformats.org/presentationml/2006/main" matchingName="Title slide" type="title" preserve="1">
  <p:cSld name="Title slide">
    <p:spTree>
      <p:nvGrpSpPr>
        <p:cNvPr id="1" name="Shape 9"/>
        <p:cNvGrpSpPr/>
        <p:nvPr/>
      </p:nvGrpSpPr>
      <p:grpSpPr>
        <a:xfrm>
          <a:off x="0" y="0"/>
          <a:ext cx="0" cy="0"/>
          <a:chOff x="0" y="0"/>
          <a:chExt cx="0" cy="0"/>
        </a:xfrm>
      </p:grpSpPr>
      <p:pic>
        <p:nvPicPr>
          <p:cNvPr id="10" name="Google Shape;10;p2"/>
          <p:cNvPicPr preferRelativeResize="0"/>
          <p:nvPr/>
        </p:nvPicPr>
        <p:blipFill>
          <a:blip r:embed="rId2">
            <a:alphaModFix/>
          </a:blip>
          <a:stretch>
            <a:fillRect/>
          </a:stretch>
        </p:blipFill>
        <p:spPr>
          <a:xfrm rot="10800000">
            <a:off x="375057" y="590553"/>
            <a:ext cx="10661894" cy="9129298"/>
          </a:xfrm>
          <a:prstGeom prst="rect">
            <a:avLst/>
          </a:prstGeom>
          <a:noFill/>
          <a:ln>
            <a:noFill/>
          </a:ln>
        </p:spPr>
      </p:pic>
      <p:pic>
        <p:nvPicPr>
          <p:cNvPr id="11" name="Google Shape;11;p2"/>
          <p:cNvPicPr preferRelativeResize="0"/>
          <p:nvPr/>
        </p:nvPicPr>
        <p:blipFill>
          <a:blip r:embed="rId3">
            <a:alphaModFix/>
          </a:blip>
          <a:stretch>
            <a:fillRect/>
          </a:stretch>
        </p:blipFill>
        <p:spPr>
          <a:xfrm>
            <a:off x="2217500" y="1038050"/>
            <a:ext cx="2668348" cy="2668348"/>
          </a:xfrm>
          <a:prstGeom prst="rect">
            <a:avLst/>
          </a:prstGeom>
          <a:noFill/>
          <a:ln>
            <a:noFill/>
          </a:ln>
        </p:spPr>
      </p:pic>
      <p:sp>
        <p:nvSpPr>
          <p:cNvPr id="12" name="Google Shape;12;p2"/>
          <p:cNvSpPr txBox="1">
            <a:spLocks noGrp="1"/>
          </p:cNvSpPr>
          <p:nvPr>
            <p:ph type="ctrTitle"/>
          </p:nvPr>
        </p:nvSpPr>
        <p:spPr>
          <a:xfrm>
            <a:off x="2162310" y="3102600"/>
            <a:ext cx="9263400" cy="4105200"/>
          </a:xfrm>
          <a:prstGeom prst="rect">
            <a:avLst/>
          </a:prstGeom>
        </p:spPr>
        <p:txBody>
          <a:bodyPr spcFirstLastPara="1" wrap="square" lIns="91425" tIns="91425" rIns="91425" bIns="91425" anchor="t" anchorCtr="0">
            <a:noAutofit/>
          </a:bodyPr>
          <a:lstStyle>
            <a:lvl1pPr lvl="0" rtl="0">
              <a:spcBef>
                <a:spcPts val="0"/>
              </a:spcBef>
              <a:spcAft>
                <a:spcPts val="0"/>
              </a:spcAft>
              <a:buSzPts val="3600"/>
              <a:buFont typeface="Montserrat"/>
              <a:buNone/>
              <a:defRPr sz="7200" b="1">
                <a:latin typeface="Montserrat"/>
                <a:ea typeface="Montserrat"/>
                <a:cs typeface="Montserrat"/>
                <a:sym typeface="Montserrat"/>
              </a:defRPr>
            </a:lvl1pPr>
            <a:lvl2pPr lvl="1" rtl="0">
              <a:spcBef>
                <a:spcPts val="0"/>
              </a:spcBef>
              <a:spcAft>
                <a:spcPts val="0"/>
              </a:spcAft>
              <a:buSzPts val="3600"/>
              <a:buFont typeface="Montserrat"/>
              <a:buNone/>
              <a:defRPr sz="7200" b="1">
                <a:latin typeface="Montserrat"/>
                <a:ea typeface="Montserrat"/>
                <a:cs typeface="Montserrat"/>
                <a:sym typeface="Montserrat"/>
              </a:defRPr>
            </a:lvl2pPr>
            <a:lvl3pPr lvl="2" rtl="0">
              <a:spcBef>
                <a:spcPts val="0"/>
              </a:spcBef>
              <a:spcAft>
                <a:spcPts val="0"/>
              </a:spcAft>
              <a:buSzPts val="3600"/>
              <a:buFont typeface="Montserrat"/>
              <a:buNone/>
              <a:defRPr sz="7200" b="1">
                <a:latin typeface="Montserrat"/>
                <a:ea typeface="Montserrat"/>
                <a:cs typeface="Montserrat"/>
                <a:sym typeface="Montserrat"/>
              </a:defRPr>
            </a:lvl3pPr>
            <a:lvl4pPr lvl="3" rtl="0">
              <a:spcBef>
                <a:spcPts val="0"/>
              </a:spcBef>
              <a:spcAft>
                <a:spcPts val="0"/>
              </a:spcAft>
              <a:buSzPts val="3600"/>
              <a:buFont typeface="Montserrat"/>
              <a:buNone/>
              <a:defRPr sz="7200" b="1">
                <a:latin typeface="Montserrat"/>
                <a:ea typeface="Montserrat"/>
                <a:cs typeface="Montserrat"/>
                <a:sym typeface="Montserrat"/>
              </a:defRPr>
            </a:lvl4pPr>
            <a:lvl5pPr lvl="4" rtl="0">
              <a:spcBef>
                <a:spcPts val="0"/>
              </a:spcBef>
              <a:spcAft>
                <a:spcPts val="0"/>
              </a:spcAft>
              <a:buSzPts val="3600"/>
              <a:buFont typeface="Montserrat"/>
              <a:buNone/>
              <a:defRPr sz="7200" b="1">
                <a:latin typeface="Montserrat"/>
                <a:ea typeface="Montserrat"/>
                <a:cs typeface="Montserrat"/>
                <a:sym typeface="Montserrat"/>
              </a:defRPr>
            </a:lvl5pPr>
            <a:lvl6pPr lvl="5" rtl="0">
              <a:spcBef>
                <a:spcPts val="0"/>
              </a:spcBef>
              <a:spcAft>
                <a:spcPts val="0"/>
              </a:spcAft>
              <a:buSzPts val="3600"/>
              <a:buFont typeface="Montserrat"/>
              <a:buNone/>
              <a:defRPr sz="7200" b="1">
                <a:latin typeface="Montserrat"/>
                <a:ea typeface="Montserrat"/>
                <a:cs typeface="Montserrat"/>
                <a:sym typeface="Montserrat"/>
              </a:defRPr>
            </a:lvl6pPr>
            <a:lvl7pPr lvl="6" rtl="0">
              <a:spcBef>
                <a:spcPts val="0"/>
              </a:spcBef>
              <a:spcAft>
                <a:spcPts val="0"/>
              </a:spcAft>
              <a:buSzPts val="3600"/>
              <a:buFont typeface="Montserrat"/>
              <a:buNone/>
              <a:defRPr sz="7200" b="1">
                <a:latin typeface="Montserrat"/>
                <a:ea typeface="Montserrat"/>
                <a:cs typeface="Montserrat"/>
                <a:sym typeface="Montserrat"/>
              </a:defRPr>
            </a:lvl7pPr>
            <a:lvl8pPr lvl="7" rtl="0">
              <a:spcBef>
                <a:spcPts val="0"/>
              </a:spcBef>
              <a:spcAft>
                <a:spcPts val="0"/>
              </a:spcAft>
              <a:buSzPts val="3600"/>
              <a:buFont typeface="Montserrat"/>
              <a:buNone/>
              <a:defRPr sz="7200" b="1">
                <a:latin typeface="Montserrat"/>
                <a:ea typeface="Montserrat"/>
                <a:cs typeface="Montserrat"/>
                <a:sym typeface="Montserrat"/>
              </a:defRPr>
            </a:lvl8pPr>
            <a:lvl9pPr lvl="8" rtl="0">
              <a:spcBef>
                <a:spcPts val="0"/>
              </a:spcBef>
              <a:spcAft>
                <a:spcPts val="0"/>
              </a:spcAft>
              <a:buSzPts val="3600"/>
              <a:buFont typeface="Montserrat"/>
              <a:buNone/>
              <a:defRPr sz="7200" b="1">
                <a:latin typeface="Montserrat"/>
                <a:ea typeface="Montserrat"/>
                <a:cs typeface="Montserrat"/>
                <a:sym typeface="Montserrat"/>
              </a:defRPr>
            </a:lvl9pPr>
          </a:lstStyle>
          <a:p>
            <a:endParaRPr/>
          </a:p>
        </p:txBody>
      </p:sp>
      <p:sp>
        <p:nvSpPr>
          <p:cNvPr id="14" name="Google Shape;14;p2"/>
          <p:cNvSpPr txBox="1">
            <a:spLocks noGrp="1"/>
          </p:cNvSpPr>
          <p:nvPr>
            <p:ph type="subTitle" idx="1"/>
          </p:nvPr>
        </p:nvSpPr>
        <p:spPr>
          <a:xfrm>
            <a:off x="8719800" y="304800"/>
            <a:ext cx="9263400" cy="15852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9pPr>
          </a:lstStyle>
          <a:p>
            <a:endParaRPr/>
          </a:p>
        </p:txBody>
      </p:sp>
    </p:spTree>
    <p:extLst>
      <p:ext uri="{BB962C8B-B14F-4D97-AF65-F5344CB8AC3E}">
        <p14:creationId xmlns:p14="http://schemas.microsoft.com/office/powerpoint/2010/main" val="2958388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matchingName="Slide de título 1" preserve="1">
  <p:cSld name="Slide de título 1">
    <p:spTree>
      <p:nvGrpSpPr>
        <p:cNvPr id="1" name="Shape 15"/>
        <p:cNvGrpSpPr/>
        <p:nvPr/>
      </p:nvGrpSpPr>
      <p:grpSpPr>
        <a:xfrm>
          <a:off x="0" y="0"/>
          <a:ext cx="0" cy="0"/>
          <a:chOff x="0" y="0"/>
          <a:chExt cx="0" cy="0"/>
        </a:xfrm>
      </p:grpSpPr>
      <p:pic>
        <p:nvPicPr>
          <p:cNvPr id="16" name="Google Shape;16;p3"/>
          <p:cNvPicPr preferRelativeResize="0"/>
          <p:nvPr/>
        </p:nvPicPr>
        <p:blipFill>
          <a:blip r:embed="rId2">
            <a:alphaModFix/>
          </a:blip>
          <a:stretch>
            <a:fillRect/>
          </a:stretch>
        </p:blipFill>
        <p:spPr>
          <a:xfrm>
            <a:off x="1760300" y="1038050"/>
            <a:ext cx="2668348" cy="2668348"/>
          </a:xfrm>
          <a:prstGeom prst="rect">
            <a:avLst/>
          </a:prstGeom>
          <a:noFill/>
          <a:ln>
            <a:noFill/>
          </a:ln>
        </p:spPr>
      </p:pic>
      <p:sp>
        <p:nvSpPr>
          <p:cNvPr id="17" name="Google Shape;17;p3"/>
          <p:cNvSpPr txBox="1">
            <a:spLocks noGrp="1"/>
          </p:cNvSpPr>
          <p:nvPr>
            <p:ph type="ctrTitle"/>
          </p:nvPr>
        </p:nvSpPr>
        <p:spPr>
          <a:xfrm>
            <a:off x="1705100" y="4202600"/>
            <a:ext cx="12988800" cy="2668200"/>
          </a:xfrm>
          <a:prstGeom prst="rect">
            <a:avLst/>
          </a:prstGeom>
        </p:spPr>
        <p:txBody>
          <a:bodyPr spcFirstLastPara="1" wrap="square" lIns="91425" tIns="91425" rIns="91425" bIns="91425" anchor="t" anchorCtr="0">
            <a:noAutofit/>
          </a:bodyPr>
          <a:lstStyle>
            <a:lvl1pPr lvl="0" rtl="0">
              <a:spcBef>
                <a:spcPts val="0"/>
              </a:spcBef>
              <a:spcAft>
                <a:spcPts val="0"/>
              </a:spcAft>
              <a:buSzPts val="3600"/>
              <a:buFont typeface="Montserrat"/>
              <a:buNone/>
              <a:defRPr sz="7200" b="1">
                <a:latin typeface="Montserrat"/>
                <a:ea typeface="Montserrat"/>
                <a:cs typeface="Montserrat"/>
                <a:sym typeface="Montserrat"/>
              </a:defRPr>
            </a:lvl1pPr>
            <a:lvl2pPr lvl="1" rtl="0">
              <a:spcBef>
                <a:spcPts val="0"/>
              </a:spcBef>
              <a:spcAft>
                <a:spcPts val="0"/>
              </a:spcAft>
              <a:buSzPts val="3600"/>
              <a:buFont typeface="Montserrat"/>
              <a:buNone/>
              <a:defRPr sz="7200" b="1">
                <a:latin typeface="Montserrat"/>
                <a:ea typeface="Montserrat"/>
                <a:cs typeface="Montserrat"/>
                <a:sym typeface="Montserrat"/>
              </a:defRPr>
            </a:lvl2pPr>
            <a:lvl3pPr lvl="2" rtl="0">
              <a:spcBef>
                <a:spcPts val="0"/>
              </a:spcBef>
              <a:spcAft>
                <a:spcPts val="0"/>
              </a:spcAft>
              <a:buSzPts val="3600"/>
              <a:buFont typeface="Montserrat"/>
              <a:buNone/>
              <a:defRPr sz="7200" b="1">
                <a:latin typeface="Montserrat"/>
                <a:ea typeface="Montserrat"/>
                <a:cs typeface="Montserrat"/>
                <a:sym typeface="Montserrat"/>
              </a:defRPr>
            </a:lvl3pPr>
            <a:lvl4pPr lvl="3" rtl="0">
              <a:spcBef>
                <a:spcPts val="0"/>
              </a:spcBef>
              <a:spcAft>
                <a:spcPts val="0"/>
              </a:spcAft>
              <a:buSzPts val="3600"/>
              <a:buFont typeface="Montserrat"/>
              <a:buNone/>
              <a:defRPr sz="7200" b="1">
                <a:latin typeface="Montserrat"/>
                <a:ea typeface="Montserrat"/>
                <a:cs typeface="Montserrat"/>
                <a:sym typeface="Montserrat"/>
              </a:defRPr>
            </a:lvl4pPr>
            <a:lvl5pPr lvl="4" rtl="0">
              <a:spcBef>
                <a:spcPts val="0"/>
              </a:spcBef>
              <a:spcAft>
                <a:spcPts val="0"/>
              </a:spcAft>
              <a:buSzPts val="3600"/>
              <a:buFont typeface="Montserrat"/>
              <a:buNone/>
              <a:defRPr sz="7200" b="1">
                <a:latin typeface="Montserrat"/>
                <a:ea typeface="Montserrat"/>
                <a:cs typeface="Montserrat"/>
                <a:sym typeface="Montserrat"/>
              </a:defRPr>
            </a:lvl5pPr>
            <a:lvl6pPr lvl="5" rtl="0">
              <a:spcBef>
                <a:spcPts val="0"/>
              </a:spcBef>
              <a:spcAft>
                <a:spcPts val="0"/>
              </a:spcAft>
              <a:buSzPts val="3600"/>
              <a:buFont typeface="Montserrat"/>
              <a:buNone/>
              <a:defRPr sz="7200" b="1">
                <a:latin typeface="Montserrat"/>
                <a:ea typeface="Montserrat"/>
                <a:cs typeface="Montserrat"/>
                <a:sym typeface="Montserrat"/>
              </a:defRPr>
            </a:lvl6pPr>
            <a:lvl7pPr lvl="6" rtl="0">
              <a:spcBef>
                <a:spcPts val="0"/>
              </a:spcBef>
              <a:spcAft>
                <a:spcPts val="0"/>
              </a:spcAft>
              <a:buSzPts val="3600"/>
              <a:buFont typeface="Montserrat"/>
              <a:buNone/>
              <a:defRPr sz="7200" b="1">
                <a:latin typeface="Montserrat"/>
                <a:ea typeface="Montserrat"/>
                <a:cs typeface="Montserrat"/>
                <a:sym typeface="Montserrat"/>
              </a:defRPr>
            </a:lvl7pPr>
            <a:lvl8pPr lvl="7" rtl="0">
              <a:spcBef>
                <a:spcPts val="0"/>
              </a:spcBef>
              <a:spcAft>
                <a:spcPts val="0"/>
              </a:spcAft>
              <a:buSzPts val="3600"/>
              <a:buFont typeface="Montserrat"/>
              <a:buNone/>
              <a:defRPr sz="7200" b="1">
                <a:latin typeface="Montserrat"/>
                <a:ea typeface="Montserrat"/>
                <a:cs typeface="Montserrat"/>
                <a:sym typeface="Montserrat"/>
              </a:defRPr>
            </a:lvl8pPr>
            <a:lvl9pPr lvl="8" rtl="0">
              <a:spcBef>
                <a:spcPts val="0"/>
              </a:spcBef>
              <a:spcAft>
                <a:spcPts val="0"/>
              </a:spcAft>
              <a:buSzPts val="3600"/>
              <a:buFont typeface="Montserrat"/>
              <a:buNone/>
              <a:defRPr sz="7200" b="1">
                <a:latin typeface="Montserrat"/>
                <a:ea typeface="Montserrat"/>
                <a:cs typeface="Montserrat"/>
                <a:sym typeface="Montserrat"/>
              </a:defRPr>
            </a:lvl9pPr>
          </a:lstStyle>
          <a:p>
            <a:endParaRPr/>
          </a:p>
        </p:txBody>
      </p:sp>
      <p:sp>
        <p:nvSpPr>
          <p:cNvPr id="19" name="Google Shape;19;p3"/>
          <p:cNvSpPr txBox="1">
            <a:spLocks noGrp="1"/>
          </p:cNvSpPr>
          <p:nvPr>
            <p:ph type="subTitle" idx="1"/>
          </p:nvPr>
        </p:nvSpPr>
        <p:spPr>
          <a:xfrm>
            <a:off x="8719800" y="304800"/>
            <a:ext cx="9263400" cy="15852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9pPr>
          </a:lstStyle>
          <a:p>
            <a:endParaRPr/>
          </a:p>
        </p:txBody>
      </p:sp>
      <p:sp>
        <p:nvSpPr>
          <p:cNvPr id="20" name="Google Shape;20;p3"/>
          <p:cNvSpPr/>
          <p:nvPr/>
        </p:nvSpPr>
        <p:spPr>
          <a:xfrm rot="10800000" flipH="1">
            <a:off x="1945550" y="3041200"/>
            <a:ext cx="16342200" cy="10200"/>
          </a:xfrm>
          <a:prstGeom prst="rect">
            <a:avLst/>
          </a:prstGeom>
          <a:gradFill>
            <a:gsLst>
              <a:gs pos="0">
                <a:srgbClr val="FF2C34"/>
              </a:gs>
              <a:gs pos="100000">
                <a:srgbClr val="6800FF"/>
              </a:gs>
            </a:gsLst>
            <a:lin ang="2698631" scaled="0"/>
          </a:gra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sz="2800"/>
          </a:p>
        </p:txBody>
      </p:sp>
      <p:sp>
        <p:nvSpPr>
          <p:cNvPr id="21" name="Google Shape;21;p3"/>
          <p:cNvSpPr txBox="1">
            <a:spLocks noGrp="1"/>
          </p:cNvSpPr>
          <p:nvPr>
            <p:ph type="body" idx="2"/>
          </p:nvPr>
        </p:nvSpPr>
        <p:spPr>
          <a:xfrm>
            <a:off x="1705100" y="6973200"/>
            <a:ext cx="12133800" cy="1822800"/>
          </a:xfrm>
          <a:prstGeom prst="rect">
            <a:avLst/>
          </a:prstGeom>
        </p:spPr>
        <p:txBody>
          <a:bodyPr spcFirstLastPara="1" wrap="square" lIns="91425" tIns="91425" rIns="91425" bIns="91425" anchor="t" anchorCtr="0">
            <a:noAutofit/>
          </a:bodyPr>
          <a:lstStyle>
            <a:lvl1pPr marL="914400" lvl="0" indent="-609600" rtl="0">
              <a:spcBef>
                <a:spcPts val="0"/>
              </a:spcBef>
              <a:spcAft>
                <a:spcPts val="0"/>
              </a:spcAft>
              <a:buSzPts val="1200"/>
              <a:buChar char="●"/>
              <a:defRPr/>
            </a:lvl1pPr>
            <a:lvl2pPr marL="1828800" lvl="1" indent="-609600" rtl="0">
              <a:spcBef>
                <a:spcPts val="3200"/>
              </a:spcBef>
              <a:spcAft>
                <a:spcPts val="0"/>
              </a:spcAft>
              <a:buSzPts val="1200"/>
              <a:buChar char="○"/>
              <a:defRPr/>
            </a:lvl2pPr>
            <a:lvl3pPr marL="2743200" lvl="2" indent="-609600" rtl="0">
              <a:spcBef>
                <a:spcPts val="3200"/>
              </a:spcBef>
              <a:spcAft>
                <a:spcPts val="0"/>
              </a:spcAft>
              <a:buSzPts val="1200"/>
              <a:buChar char="■"/>
              <a:defRPr/>
            </a:lvl3pPr>
            <a:lvl4pPr marL="3657600" lvl="3" indent="-609600" rtl="0">
              <a:spcBef>
                <a:spcPts val="3200"/>
              </a:spcBef>
              <a:spcAft>
                <a:spcPts val="0"/>
              </a:spcAft>
              <a:buSzPts val="1200"/>
              <a:buChar char="●"/>
              <a:defRPr/>
            </a:lvl4pPr>
            <a:lvl5pPr marL="4572000" lvl="4" indent="-609600" rtl="0">
              <a:spcBef>
                <a:spcPts val="3200"/>
              </a:spcBef>
              <a:spcAft>
                <a:spcPts val="0"/>
              </a:spcAft>
              <a:buSzPts val="1200"/>
              <a:buChar char="○"/>
              <a:defRPr/>
            </a:lvl5pPr>
            <a:lvl6pPr marL="5486400" lvl="5" indent="-609600" rtl="0">
              <a:spcBef>
                <a:spcPts val="3200"/>
              </a:spcBef>
              <a:spcAft>
                <a:spcPts val="0"/>
              </a:spcAft>
              <a:buSzPts val="1200"/>
              <a:buChar char="■"/>
              <a:defRPr/>
            </a:lvl6pPr>
            <a:lvl7pPr marL="6400800" lvl="6" indent="-609600" rtl="0">
              <a:spcBef>
                <a:spcPts val="3200"/>
              </a:spcBef>
              <a:spcAft>
                <a:spcPts val="0"/>
              </a:spcAft>
              <a:buSzPts val="1200"/>
              <a:buChar char="●"/>
              <a:defRPr/>
            </a:lvl7pPr>
            <a:lvl8pPr marL="7315200" lvl="7" indent="-609600" rtl="0">
              <a:spcBef>
                <a:spcPts val="3200"/>
              </a:spcBef>
              <a:spcAft>
                <a:spcPts val="0"/>
              </a:spcAft>
              <a:buSzPts val="1200"/>
              <a:buChar char="○"/>
              <a:defRPr/>
            </a:lvl8pPr>
            <a:lvl9pPr marL="8229600" lvl="8" indent="-609600" rtl="0">
              <a:spcBef>
                <a:spcPts val="3200"/>
              </a:spcBef>
              <a:spcAft>
                <a:spcPts val="3200"/>
              </a:spcAft>
              <a:buSzPts val="1200"/>
              <a:buChar char="■"/>
              <a:defRPr/>
            </a:lvl9pPr>
          </a:lstStyle>
          <a:p>
            <a:endParaRPr/>
          </a:p>
        </p:txBody>
      </p:sp>
    </p:spTree>
    <p:extLst>
      <p:ext uri="{BB962C8B-B14F-4D97-AF65-F5344CB8AC3E}">
        <p14:creationId xmlns:p14="http://schemas.microsoft.com/office/powerpoint/2010/main" val="29887982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matchingName="Slide de título 1 2" preserve="1">
  <p:cSld name="Slide de título 1 2">
    <p:spTree>
      <p:nvGrpSpPr>
        <p:cNvPr id="1" name="Shape 22"/>
        <p:cNvGrpSpPr/>
        <p:nvPr/>
      </p:nvGrpSpPr>
      <p:grpSpPr>
        <a:xfrm>
          <a:off x="0" y="0"/>
          <a:ext cx="0" cy="0"/>
          <a:chOff x="0" y="0"/>
          <a:chExt cx="0" cy="0"/>
        </a:xfrm>
      </p:grpSpPr>
      <p:pic>
        <p:nvPicPr>
          <p:cNvPr id="23" name="Google Shape;23;p4"/>
          <p:cNvPicPr preferRelativeResize="0"/>
          <p:nvPr/>
        </p:nvPicPr>
        <p:blipFill>
          <a:blip r:embed="rId2">
            <a:alphaModFix/>
          </a:blip>
          <a:stretch>
            <a:fillRect/>
          </a:stretch>
        </p:blipFill>
        <p:spPr>
          <a:xfrm>
            <a:off x="1760300" y="1038050"/>
            <a:ext cx="2668348" cy="2668348"/>
          </a:xfrm>
          <a:prstGeom prst="rect">
            <a:avLst/>
          </a:prstGeom>
          <a:noFill/>
          <a:ln>
            <a:noFill/>
          </a:ln>
        </p:spPr>
      </p:pic>
      <p:sp>
        <p:nvSpPr>
          <p:cNvPr id="24" name="Google Shape;24;p4"/>
          <p:cNvSpPr txBox="1">
            <a:spLocks noGrp="1"/>
          </p:cNvSpPr>
          <p:nvPr>
            <p:ph type="ctrTitle"/>
          </p:nvPr>
        </p:nvSpPr>
        <p:spPr>
          <a:xfrm>
            <a:off x="1705100" y="4202600"/>
            <a:ext cx="12988800" cy="2668200"/>
          </a:xfrm>
          <a:prstGeom prst="rect">
            <a:avLst/>
          </a:prstGeom>
        </p:spPr>
        <p:txBody>
          <a:bodyPr spcFirstLastPara="1" wrap="square" lIns="91425" tIns="91425" rIns="91425" bIns="91425" anchor="t" anchorCtr="0">
            <a:noAutofit/>
          </a:bodyPr>
          <a:lstStyle>
            <a:lvl1pPr lvl="0" rtl="0">
              <a:spcBef>
                <a:spcPts val="0"/>
              </a:spcBef>
              <a:spcAft>
                <a:spcPts val="0"/>
              </a:spcAft>
              <a:buSzPts val="3600"/>
              <a:buFont typeface="Montserrat"/>
              <a:buNone/>
              <a:defRPr sz="7200" b="1">
                <a:latin typeface="Montserrat"/>
                <a:ea typeface="Montserrat"/>
                <a:cs typeface="Montserrat"/>
                <a:sym typeface="Montserrat"/>
              </a:defRPr>
            </a:lvl1pPr>
            <a:lvl2pPr lvl="1" rtl="0">
              <a:spcBef>
                <a:spcPts val="0"/>
              </a:spcBef>
              <a:spcAft>
                <a:spcPts val="0"/>
              </a:spcAft>
              <a:buSzPts val="3600"/>
              <a:buFont typeface="Montserrat"/>
              <a:buNone/>
              <a:defRPr sz="7200" b="1">
                <a:latin typeface="Montserrat"/>
                <a:ea typeface="Montserrat"/>
                <a:cs typeface="Montserrat"/>
                <a:sym typeface="Montserrat"/>
              </a:defRPr>
            </a:lvl2pPr>
            <a:lvl3pPr lvl="2" rtl="0">
              <a:spcBef>
                <a:spcPts val="0"/>
              </a:spcBef>
              <a:spcAft>
                <a:spcPts val="0"/>
              </a:spcAft>
              <a:buSzPts val="3600"/>
              <a:buFont typeface="Montserrat"/>
              <a:buNone/>
              <a:defRPr sz="7200" b="1">
                <a:latin typeface="Montserrat"/>
                <a:ea typeface="Montserrat"/>
                <a:cs typeface="Montserrat"/>
                <a:sym typeface="Montserrat"/>
              </a:defRPr>
            </a:lvl3pPr>
            <a:lvl4pPr lvl="3" rtl="0">
              <a:spcBef>
                <a:spcPts val="0"/>
              </a:spcBef>
              <a:spcAft>
                <a:spcPts val="0"/>
              </a:spcAft>
              <a:buSzPts val="3600"/>
              <a:buFont typeface="Montserrat"/>
              <a:buNone/>
              <a:defRPr sz="7200" b="1">
                <a:latin typeface="Montserrat"/>
                <a:ea typeface="Montserrat"/>
                <a:cs typeface="Montserrat"/>
                <a:sym typeface="Montserrat"/>
              </a:defRPr>
            </a:lvl4pPr>
            <a:lvl5pPr lvl="4" rtl="0">
              <a:spcBef>
                <a:spcPts val="0"/>
              </a:spcBef>
              <a:spcAft>
                <a:spcPts val="0"/>
              </a:spcAft>
              <a:buSzPts val="3600"/>
              <a:buFont typeface="Montserrat"/>
              <a:buNone/>
              <a:defRPr sz="7200" b="1">
                <a:latin typeface="Montserrat"/>
                <a:ea typeface="Montserrat"/>
                <a:cs typeface="Montserrat"/>
                <a:sym typeface="Montserrat"/>
              </a:defRPr>
            </a:lvl5pPr>
            <a:lvl6pPr lvl="5" rtl="0">
              <a:spcBef>
                <a:spcPts val="0"/>
              </a:spcBef>
              <a:spcAft>
                <a:spcPts val="0"/>
              </a:spcAft>
              <a:buSzPts val="3600"/>
              <a:buFont typeface="Montserrat"/>
              <a:buNone/>
              <a:defRPr sz="7200" b="1">
                <a:latin typeface="Montserrat"/>
                <a:ea typeface="Montserrat"/>
                <a:cs typeface="Montserrat"/>
                <a:sym typeface="Montserrat"/>
              </a:defRPr>
            </a:lvl6pPr>
            <a:lvl7pPr lvl="6" rtl="0">
              <a:spcBef>
                <a:spcPts val="0"/>
              </a:spcBef>
              <a:spcAft>
                <a:spcPts val="0"/>
              </a:spcAft>
              <a:buSzPts val="3600"/>
              <a:buFont typeface="Montserrat"/>
              <a:buNone/>
              <a:defRPr sz="7200" b="1">
                <a:latin typeface="Montserrat"/>
                <a:ea typeface="Montserrat"/>
                <a:cs typeface="Montserrat"/>
                <a:sym typeface="Montserrat"/>
              </a:defRPr>
            </a:lvl7pPr>
            <a:lvl8pPr lvl="7" rtl="0">
              <a:spcBef>
                <a:spcPts val="0"/>
              </a:spcBef>
              <a:spcAft>
                <a:spcPts val="0"/>
              </a:spcAft>
              <a:buSzPts val="3600"/>
              <a:buFont typeface="Montserrat"/>
              <a:buNone/>
              <a:defRPr sz="7200" b="1">
                <a:latin typeface="Montserrat"/>
                <a:ea typeface="Montserrat"/>
                <a:cs typeface="Montserrat"/>
                <a:sym typeface="Montserrat"/>
              </a:defRPr>
            </a:lvl8pPr>
            <a:lvl9pPr lvl="8" rtl="0">
              <a:spcBef>
                <a:spcPts val="0"/>
              </a:spcBef>
              <a:spcAft>
                <a:spcPts val="0"/>
              </a:spcAft>
              <a:buSzPts val="3600"/>
              <a:buFont typeface="Montserrat"/>
              <a:buNone/>
              <a:defRPr sz="7200" b="1">
                <a:latin typeface="Montserrat"/>
                <a:ea typeface="Montserrat"/>
                <a:cs typeface="Montserrat"/>
                <a:sym typeface="Montserrat"/>
              </a:defRPr>
            </a:lvl9pPr>
          </a:lstStyle>
          <a:p>
            <a:endParaRPr/>
          </a:p>
        </p:txBody>
      </p:sp>
      <p:sp>
        <p:nvSpPr>
          <p:cNvPr id="26" name="Google Shape;26;p4"/>
          <p:cNvSpPr txBox="1">
            <a:spLocks noGrp="1"/>
          </p:cNvSpPr>
          <p:nvPr>
            <p:ph type="subTitle" idx="1"/>
          </p:nvPr>
        </p:nvSpPr>
        <p:spPr>
          <a:xfrm>
            <a:off x="8719800" y="304800"/>
            <a:ext cx="9263400" cy="15852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9pPr>
          </a:lstStyle>
          <a:p>
            <a:endParaRPr/>
          </a:p>
        </p:txBody>
      </p:sp>
      <p:sp>
        <p:nvSpPr>
          <p:cNvPr id="27" name="Google Shape;27;p4"/>
          <p:cNvSpPr/>
          <p:nvPr/>
        </p:nvSpPr>
        <p:spPr>
          <a:xfrm rot="10800000" flipH="1">
            <a:off x="1945550" y="3041200"/>
            <a:ext cx="16342200" cy="10200"/>
          </a:xfrm>
          <a:prstGeom prst="rect">
            <a:avLst/>
          </a:prstGeom>
          <a:gradFill>
            <a:gsLst>
              <a:gs pos="0">
                <a:srgbClr val="FF2C34"/>
              </a:gs>
              <a:gs pos="100000">
                <a:srgbClr val="6800FF"/>
              </a:gs>
            </a:gsLst>
            <a:lin ang="2698631" scaled="0"/>
          </a:gra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sz="2800"/>
          </a:p>
        </p:txBody>
      </p:sp>
      <p:sp>
        <p:nvSpPr>
          <p:cNvPr id="28" name="Google Shape;28;p4"/>
          <p:cNvSpPr txBox="1">
            <a:spLocks noGrp="1"/>
          </p:cNvSpPr>
          <p:nvPr>
            <p:ph type="body" idx="2"/>
          </p:nvPr>
        </p:nvSpPr>
        <p:spPr>
          <a:xfrm>
            <a:off x="1705100" y="6973200"/>
            <a:ext cx="12133800" cy="1822800"/>
          </a:xfrm>
          <a:prstGeom prst="rect">
            <a:avLst/>
          </a:prstGeom>
        </p:spPr>
        <p:txBody>
          <a:bodyPr spcFirstLastPara="1" wrap="square" lIns="91425" tIns="91425" rIns="91425" bIns="91425" anchor="t" anchorCtr="0">
            <a:noAutofit/>
          </a:bodyPr>
          <a:lstStyle>
            <a:lvl1pPr marL="914400" lvl="0" indent="-609600" rtl="0">
              <a:spcBef>
                <a:spcPts val="0"/>
              </a:spcBef>
              <a:spcAft>
                <a:spcPts val="0"/>
              </a:spcAft>
              <a:buSzPts val="1200"/>
              <a:buChar char="●"/>
              <a:defRPr/>
            </a:lvl1pPr>
            <a:lvl2pPr marL="1828800" lvl="1" indent="-609600" rtl="0">
              <a:spcBef>
                <a:spcPts val="3200"/>
              </a:spcBef>
              <a:spcAft>
                <a:spcPts val="0"/>
              </a:spcAft>
              <a:buSzPts val="1200"/>
              <a:buChar char="○"/>
              <a:defRPr/>
            </a:lvl2pPr>
            <a:lvl3pPr marL="2743200" lvl="2" indent="-609600" rtl="0">
              <a:spcBef>
                <a:spcPts val="3200"/>
              </a:spcBef>
              <a:spcAft>
                <a:spcPts val="0"/>
              </a:spcAft>
              <a:buSzPts val="1200"/>
              <a:buChar char="■"/>
              <a:defRPr/>
            </a:lvl3pPr>
            <a:lvl4pPr marL="3657600" lvl="3" indent="-609600" rtl="0">
              <a:spcBef>
                <a:spcPts val="3200"/>
              </a:spcBef>
              <a:spcAft>
                <a:spcPts val="0"/>
              </a:spcAft>
              <a:buSzPts val="1200"/>
              <a:buChar char="●"/>
              <a:defRPr/>
            </a:lvl4pPr>
            <a:lvl5pPr marL="4572000" lvl="4" indent="-609600" rtl="0">
              <a:spcBef>
                <a:spcPts val="3200"/>
              </a:spcBef>
              <a:spcAft>
                <a:spcPts val="0"/>
              </a:spcAft>
              <a:buSzPts val="1200"/>
              <a:buChar char="○"/>
              <a:defRPr/>
            </a:lvl5pPr>
            <a:lvl6pPr marL="5486400" lvl="5" indent="-609600" rtl="0">
              <a:spcBef>
                <a:spcPts val="3200"/>
              </a:spcBef>
              <a:spcAft>
                <a:spcPts val="0"/>
              </a:spcAft>
              <a:buSzPts val="1200"/>
              <a:buChar char="■"/>
              <a:defRPr/>
            </a:lvl6pPr>
            <a:lvl7pPr marL="6400800" lvl="6" indent="-609600" rtl="0">
              <a:spcBef>
                <a:spcPts val="3200"/>
              </a:spcBef>
              <a:spcAft>
                <a:spcPts val="0"/>
              </a:spcAft>
              <a:buSzPts val="1200"/>
              <a:buChar char="●"/>
              <a:defRPr/>
            </a:lvl7pPr>
            <a:lvl8pPr marL="7315200" lvl="7" indent="-609600" rtl="0">
              <a:spcBef>
                <a:spcPts val="3200"/>
              </a:spcBef>
              <a:spcAft>
                <a:spcPts val="0"/>
              </a:spcAft>
              <a:buSzPts val="1200"/>
              <a:buChar char="○"/>
              <a:defRPr/>
            </a:lvl8pPr>
            <a:lvl9pPr marL="8229600" lvl="8" indent="-609600" rtl="0">
              <a:spcBef>
                <a:spcPts val="3200"/>
              </a:spcBef>
              <a:spcAft>
                <a:spcPts val="3200"/>
              </a:spcAft>
              <a:buSzPts val="1200"/>
              <a:buChar char="■"/>
              <a:defRPr/>
            </a:lvl9pPr>
          </a:lstStyle>
          <a:p>
            <a:endParaRPr/>
          </a:p>
        </p:txBody>
      </p:sp>
    </p:spTree>
    <p:extLst>
      <p:ext uri="{BB962C8B-B14F-4D97-AF65-F5344CB8AC3E}">
        <p14:creationId xmlns:p14="http://schemas.microsoft.com/office/powerpoint/2010/main" val="6207998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matchingName="Slide de título 1 1" preserve="1">
  <p:cSld name="Slide de título 1 1">
    <p:bg>
      <p:bgPr>
        <a:gradFill>
          <a:gsLst>
            <a:gs pos="0">
              <a:srgbClr val="FF2C34"/>
            </a:gs>
            <a:gs pos="100000">
              <a:srgbClr val="6800FF"/>
            </a:gs>
          </a:gsLst>
          <a:lin ang="2698631" scaled="0"/>
        </a:gradFill>
        <a:effectLst/>
      </p:bgPr>
    </p:bg>
    <p:spTree>
      <p:nvGrpSpPr>
        <p:cNvPr id="1" name="Shape 29"/>
        <p:cNvGrpSpPr/>
        <p:nvPr/>
      </p:nvGrpSpPr>
      <p:grpSpPr>
        <a:xfrm>
          <a:off x="0" y="0"/>
          <a:ext cx="0" cy="0"/>
          <a:chOff x="0" y="0"/>
          <a:chExt cx="0" cy="0"/>
        </a:xfrm>
      </p:grpSpPr>
      <p:pic>
        <p:nvPicPr>
          <p:cNvPr id="30" name="Google Shape;30;p5"/>
          <p:cNvPicPr preferRelativeResize="0"/>
          <p:nvPr/>
        </p:nvPicPr>
        <p:blipFill>
          <a:blip r:embed="rId2">
            <a:alphaModFix/>
          </a:blip>
          <a:stretch>
            <a:fillRect/>
          </a:stretch>
        </p:blipFill>
        <p:spPr>
          <a:xfrm>
            <a:off x="1760300" y="1038050"/>
            <a:ext cx="2668348" cy="2668348"/>
          </a:xfrm>
          <a:prstGeom prst="rect">
            <a:avLst/>
          </a:prstGeom>
          <a:noFill/>
          <a:ln>
            <a:noFill/>
          </a:ln>
        </p:spPr>
      </p:pic>
      <p:sp>
        <p:nvSpPr>
          <p:cNvPr id="32" name="Google Shape;32;p5"/>
          <p:cNvSpPr txBox="1">
            <a:spLocks noGrp="1"/>
          </p:cNvSpPr>
          <p:nvPr>
            <p:ph type="subTitle" idx="1"/>
          </p:nvPr>
        </p:nvSpPr>
        <p:spPr>
          <a:xfrm>
            <a:off x="8719800" y="304800"/>
            <a:ext cx="9263400" cy="15852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9pPr>
          </a:lstStyle>
          <a:p>
            <a:endParaRPr/>
          </a:p>
        </p:txBody>
      </p:sp>
      <p:sp>
        <p:nvSpPr>
          <p:cNvPr id="33" name="Google Shape;33;p5"/>
          <p:cNvSpPr/>
          <p:nvPr/>
        </p:nvSpPr>
        <p:spPr>
          <a:xfrm rot="10800000" flipH="1">
            <a:off x="1945550" y="3041200"/>
            <a:ext cx="16342200" cy="10200"/>
          </a:xfrm>
          <a:prstGeom prst="rect">
            <a:avLst/>
          </a:prstGeom>
          <a:solidFill>
            <a:srgbClr val="222222"/>
          </a:soli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sz="2800"/>
          </a:p>
        </p:txBody>
      </p:sp>
      <p:sp>
        <p:nvSpPr>
          <p:cNvPr id="34" name="Google Shape;34;p5"/>
          <p:cNvSpPr txBox="1">
            <a:spLocks noGrp="1"/>
          </p:cNvSpPr>
          <p:nvPr>
            <p:ph type="ctrTitle"/>
          </p:nvPr>
        </p:nvSpPr>
        <p:spPr>
          <a:xfrm>
            <a:off x="1705100" y="4202600"/>
            <a:ext cx="12988800" cy="2668200"/>
          </a:xfrm>
          <a:prstGeom prst="rect">
            <a:avLst/>
          </a:prstGeom>
        </p:spPr>
        <p:txBody>
          <a:bodyPr spcFirstLastPara="1" wrap="square" lIns="91425" tIns="91425" rIns="91425" bIns="91425" anchor="t" anchorCtr="0">
            <a:noAutofit/>
          </a:bodyPr>
          <a:lstStyle>
            <a:lvl1pPr lvl="0" rtl="0">
              <a:spcBef>
                <a:spcPts val="0"/>
              </a:spcBef>
              <a:spcAft>
                <a:spcPts val="0"/>
              </a:spcAft>
              <a:buSzPts val="3600"/>
              <a:buFont typeface="Montserrat"/>
              <a:buNone/>
              <a:defRPr sz="7200" b="1">
                <a:latin typeface="Montserrat"/>
                <a:ea typeface="Montserrat"/>
                <a:cs typeface="Montserrat"/>
                <a:sym typeface="Montserrat"/>
              </a:defRPr>
            </a:lvl1pPr>
            <a:lvl2pPr lvl="1" rtl="0">
              <a:spcBef>
                <a:spcPts val="0"/>
              </a:spcBef>
              <a:spcAft>
                <a:spcPts val="0"/>
              </a:spcAft>
              <a:buSzPts val="3600"/>
              <a:buFont typeface="Montserrat"/>
              <a:buNone/>
              <a:defRPr sz="7200" b="1">
                <a:latin typeface="Montserrat"/>
                <a:ea typeface="Montserrat"/>
                <a:cs typeface="Montserrat"/>
                <a:sym typeface="Montserrat"/>
              </a:defRPr>
            </a:lvl2pPr>
            <a:lvl3pPr lvl="2" rtl="0">
              <a:spcBef>
                <a:spcPts val="0"/>
              </a:spcBef>
              <a:spcAft>
                <a:spcPts val="0"/>
              </a:spcAft>
              <a:buSzPts val="3600"/>
              <a:buFont typeface="Montserrat"/>
              <a:buNone/>
              <a:defRPr sz="7200" b="1">
                <a:latin typeface="Montserrat"/>
                <a:ea typeface="Montserrat"/>
                <a:cs typeface="Montserrat"/>
                <a:sym typeface="Montserrat"/>
              </a:defRPr>
            </a:lvl3pPr>
            <a:lvl4pPr lvl="3" rtl="0">
              <a:spcBef>
                <a:spcPts val="0"/>
              </a:spcBef>
              <a:spcAft>
                <a:spcPts val="0"/>
              </a:spcAft>
              <a:buSzPts val="3600"/>
              <a:buFont typeface="Montserrat"/>
              <a:buNone/>
              <a:defRPr sz="7200" b="1">
                <a:latin typeface="Montserrat"/>
                <a:ea typeface="Montserrat"/>
                <a:cs typeface="Montserrat"/>
                <a:sym typeface="Montserrat"/>
              </a:defRPr>
            </a:lvl4pPr>
            <a:lvl5pPr lvl="4" rtl="0">
              <a:spcBef>
                <a:spcPts val="0"/>
              </a:spcBef>
              <a:spcAft>
                <a:spcPts val="0"/>
              </a:spcAft>
              <a:buSzPts val="3600"/>
              <a:buFont typeface="Montserrat"/>
              <a:buNone/>
              <a:defRPr sz="7200" b="1">
                <a:latin typeface="Montserrat"/>
                <a:ea typeface="Montserrat"/>
                <a:cs typeface="Montserrat"/>
                <a:sym typeface="Montserrat"/>
              </a:defRPr>
            </a:lvl5pPr>
            <a:lvl6pPr lvl="5" rtl="0">
              <a:spcBef>
                <a:spcPts val="0"/>
              </a:spcBef>
              <a:spcAft>
                <a:spcPts val="0"/>
              </a:spcAft>
              <a:buSzPts val="3600"/>
              <a:buFont typeface="Montserrat"/>
              <a:buNone/>
              <a:defRPr sz="7200" b="1">
                <a:latin typeface="Montserrat"/>
                <a:ea typeface="Montserrat"/>
                <a:cs typeface="Montserrat"/>
                <a:sym typeface="Montserrat"/>
              </a:defRPr>
            </a:lvl6pPr>
            <a:lvl7pPr lvl="6" rtl="0">
              <a:spcBef>
                <a:spcPts val="0"/>
              </a:spcBef>
              <a:spcAft>
                <a:spcPts val="0"/>
              </a:spcAft>
              <a:buSzPts val="3600"/>
              <a:buFont typeface="Montserrat"/>
              <a:buNone/>
              <a:defRPr sz="7200" b="1">
                <a:latin typeface="Montserrat"/>
                <a:ea typeface="Montserrat"/>
                <a:cs typeface="Montserrat"/>
                <a:sym typeface="Montserrat"/>
              </a:defRPr>
            </a:lvl7pPr>
            <a:lvl8pPr lvl="7" rtl="0">
              <a:spcBef>
                <a:spcPts val="0"/>
              </a:spcBef>
              <a:spcAft>
                <a:spcPts val="0"/>
              </a:spcAft>
              <a:buSzPts val="3600"/>
              <a:buFont typeface="Montserrat"/>
              <a:buNone/>
              <a:defRPr sz="7200" b="1">
                <a:latin typeface="Montserrat"/>
                <a:ea typeface="Montserrat"/>
                <a:cs typeface="Montserrat"/>
                <a:sym typeface="Montserrat"/>
              </a:defRPr>
            </a:lvl8pPr>
            <a:lvl9pPr lvl="8" rtl="0">
              <a:spcBef>
                <a:spcPts val="0"/>
              </a:spcBef>
              <a:spcAft>
                <a:spcPts val="0"/>
              </a:spcAft>
              <a:buSzPts val="3600"/>
              <a:buFont typeface="Montserrat"/>
              <a:buNone/>
              <a:defRPr sz="7200" b="1">
                <a:latin typeface="Montserrat"/>
                <a:ea typeface="Montserrat"/>
                <a:cs typeface="Montserrat"/>
                <a:sym typeface="Montserrat"/>
              </a:defRPr>
            </a:lvl9pPr>
          </a:lstStyle>
          <a:p>
            <a:endParaRPr/>
          </a:p>
        </p:txBody>
      </p:sp>
      <p:sp>
        <p:nvSpPr>
          <p:cNvPr id="35" name="Google Shape;35;p5"/>
          <p:cNvSpPr txBox="1">
            <a:spLocks noGrp="1"/>
          </p:cNvSpPr>
          <p:nvPr>
            <p:ph type="body" idx="2"/>
          </p:nvPr>
        </p:nvSpPr>
        <p:spPr>
          <a:xfrm>
            <a:off x="1705100" y="6973200"/>
            <a:ext cx="12133800" cy="1822800"/>
          </a:xfrm>
          <a:prstGeom prst="rect">
            <a:avLst/>
          </a:prstGeom>
        </p:spPr>
        <p:txBody>
          <a:bodyPr spcFirstLastPara="1" wrap="square" lIns="91425" tIns="91425" rIns="91425" bIns="91425" anchor="t" anchorCtr="0">
            <a:noAutofit/>
          </a:bodyPr>
          <a:lstStyle>
            <a:lvl1pPr marL="914400" lvl="0" indent="-609600" rtl="0">
              <a:spcBef>
                <a:spcPts val="0"/>
              </a:spcBef>
              <a:spcAft>
                <a:spcPts val="0"/>
              </a:spcAft>
              <a:buSzPts val="1200"/>
              <a:buChar char="●"/>
              <a:defRPr/>
            </a:lvl1pPr>
            <a:lvl2pPr marL="1828800" lvl="1" indent="-609600" rtl="0">
              <a:spcBef>
                <a:spcPts val="3200"/>
              </a:spcBef>
              <a:spcAft>
                <a:spcPts val="0"/>
              </a:spcAft>
              <a:buSzPts val="1200"/>
              <a:buChar char="○"/>
              <a:defRPr/>
            </a:lvl2pPr>
            <a:lvl3pPr marL="2743200" lvl="2" indent="-609600" rtl="0">
              <a:spcBef>
                <a:spcPts val="3200"/>
              </a:spcBef>
              <a:spcAft>
                <a:spcPts val="0"/>
              </a:spcAft>
              <a:buSzPts val="1200"/>
              <a:buChar char="■"/>
              <a:defRPr/>
            </a:lvl3pPr>
            <a:lvl4pPr marL="3657600" lvl="3" indent="-609600" rtl="0">
              <a:spcBef>
                <a:spcPts val="3200"/>
              </a:spcBef>
              <a:spcAft>
                <a:spcPts val="0"/>
              </a:spcAft>
              <a:buSzPts val="1200"/>
              <a:buChar char="●"/>
              <a:defRPr/>
            </a:lvl4pPr>
            <a:lvl5pPr marL="4572000" lvl="4" indent="-609600" rtl="0">
              <a:spcBef>
                <a:spcPts val="3200"/>
              </a:spcBef>
              <a:spcAft>
                <a:spcPts val="0"/>
              </a:spcAft>
              <a:buSzPts val="1200"/>
              <a:buChar char="○"/>
              <a:defRPr/>
            </a:lvl5pPr>
            <a:lvl6pPr marL="5486400" lvl="5" indent="-609600" rtl="0">
              <a:spcBef>
                <a:spcPts val="3200"/>
              </a:spcBef>
              <a:spcAft>
                <a:spcPts val="0"/>
              </a:spcAft>
              <a:buSzPts val="1200"/>
              <a:buChar char="■"/>
              <a:defRPr/>
            </a:lvl6pPr>
            <a:lvl7pPr marL="6400800" lvl="6" indent="-609600" rtl="0">
              <a:spcBef>
                <a:spcPts val="3200"/>
              </a:spcBef>
              <a:spcAft>
                <a:spcPts val="0"/>
              </a:spcAft>
              <a:buSzPts val="1200"/>
              <a:buChar char="●"/>
              <a:defRPr/>
            </a:lvl7pPr>
            <a:lvl8pPr marL="7315200" lvl="7" indent="-609600" rtl="0">
              <a:spcBef>
                <a:spcPts val="3200"/>
              </a:spcBef>
              <a:spcAft>
                <a:spcPts val="0"/>
              </a:spcAft>
              <a:buSzPts val="1200"/>
              <a:buChar char="○"/>
              <a:defRPr/>
            </a:lvl8pPr>
            <a:lvl9pPr marL="8229600" lvl="8" indent="-609600" rtl="0">
              <a:spcBef>
                <a:spcPts val="3200"/>
              </a:spcBef>
              <a:spcAft>
                <a:spcPts val="3200"/>
              </a:spcAft>
              <a:buSzPts val="1200"/>
              <a:buChar char="■"/>
              <a:defRPr/>
            </a:lvl9pPr>
          </a:lstStyle>
          <a:p>
            <a:endParaRPr/>
          </a:p>
        </p:txBody>
      </p:sp>
    </p:spTree>
    <p:extLst>
      <p:ext uri="{BB962C8B-B14F-4D97-AF65-F5344CB8AC3E}">
        <p14:creationId xmlns:p14="http://schemas.microsoft.com/office/powerpoint/2010/main" val="94340930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matchingName="Section header" preserve="1" userDrawn="1">
  <p:cSld name="Section header">
    <p:spTree>
      <p:nvGrpSpPr>
        <p:cNvPr id="1" name="Shape 36"/>
        <p:cNvGrpSpPr/>
        <p:nvPr/>
      </p:nvGrpSpPr>
      <p:grpSpPr>
        <a:xfrm>
          <a:off x="0" y="0"/>
          <a:ext cx="0" cy="0"/>
          <a:chOff x="0" y="0"/>
          <a:chExt cx="0" cy="0"/>
        </a:xfrm>
      </p:grpSpPr>
      <p:sp>
        <p:nvSpPr>
          <p:cNvPr id="37" name="Google Shape;37;p6"/>
          <p:cNvSpPr txBox="1">
            <a:spLocks noGrp="1"/>
          </p:cNvSpPr>
          <p:nvPr>
            <p:ph type="title"/>
          </p:nvPr>
        </p:nvSpPr>
        <p:spPr>
          <a:xfrm>
            <a:off x="1747350" y="3996900"/>
            <a:ext cx="10482600" cy="1683600"/>
          </a:xfrm>
          <a:prstGeom prst="rect">
            <a:avLst/>
          </a:prstGeom>
        </p:spPr>
        <p:txBody>
          <a:bodyPr spcFirstLastPara="1" wrap="square" lIns="91425" tIns="91425" rIns="91425" bIns="91425" anchor="ctr" anchorCtr="0">
            <a:noAutofit/>
          </a:bodyPr>
          <a:lstStyle>
            <a:lvl1pPr lvl="0">
              <a:spcBef>
                <a:spcPts val="0"/>
              </a:spcBef>
              <a:spcAft>
                <a:spcPts val="0"/>
              </a:spcAft>
              <a:buSzPts val="3600"/>
              <a:buFont typeface="Montserrat"/>
              <a:buNone/>
              <a:defRPr sz="7200" b="1">
                <a:latin typeface="Montserrat"/>
                <a:ea typeface="Montserrat"/>
                <a:cs typeface="Montserrat"/>
                <a:sym typeface="Montserrat"/>
              </a:defRPr>
            </a:lvl1pPr>
            <a:lvl2pPr lvl="1">
              <a:spcBef>
                <a:spcPts val="0"/>
              </a:spcBef>
              <a:spcAft>
                <a:spcPts val="0"/>
              </a:spcAft>
              <a:buSzPts val="3600"/>
              <a:buFont typeface="Montserrat"/>
              <a:buNone/>
              <a:defRPr sz="7200" b="1">
                <a:latin typeface="Montserrat"/>
                <a:ea typeface="Montserrat"/>
                <a:cs typeface="Montserrat"/>
                <a:sym typeface="Montserrat"/>
              </a:defRPr>
            </a:lvl2pPr>
            <a:lvl3pPr lvl="2">
              <a:spcBef>
                <a:spcPts val="0"/>
              </a:spcBef>
              <a:spcAft>
                <a:spcPts val="0"/>
              </a:spcAft>
              <a:buSzPts val="3600"/>
              <a:buFont typeface="Montserrat"/>
              <a:buNone/>
              <a:defRPr sz="7200" b="1">
                <a:latin typeface="Montserrat"/>
                <a:ea typeface="Montserrat"/>
                <a:cs typeface="Montserrat"/>
                <a:sym typeface="Montserrat"/>
              </a:defRPr>
            </a:lvl3pPr>
            <a:lvl4pPr lvl="3">
              <a:spcBef>
                <a:spcPts val="0"/>
              </a:spcBef>
              <a:spcAft>
                <a:spcPts val="0"/>
              </a:spcAft>
              <a:buSzPts val="3600"/>
              <a:buFont typeface="Montserrat"/>
              <a:buNone/>
              <a:defRPr sz="7200" b="1">
                <a:latin typeface="Montserrat"/>
                <a:ea typeface="Montserrat"/>
                <a:cs typeface="Montserrat"/>
                <a:sym typeface="Montserrat"/>
              </a:defRPr>
            </a:lvl4pPr>
            <a:lvl5pPr lvl="4">
              <a:spcBef>
                <a:spcPts val="0"/>
              </a:spcBef>
              <a:spcAft>
                <a:spcPts val="0"/>
              </a:spcAft>
              <a:buSzPts val="3600"/>
              <a:buFont typeface="Montserrat"/>
              <a:buNone/>
              <a:defRPr sz="7200" b="1">
                <a:latin typeface="Montserrat"/>
                <a:ea typeface="Montserrat"/>
                <a:cs typeface="Montserrat"/>
                <a:sym typeface="Montserrat"/>
              </a:defRPr>
            </a:lvl5pPr>
            <a:lvl6pPr lvl="5">
              <a:spcBef>
                <a:spcPts val="0"/>
              </a:spcBef>
              <a:spcAft>
                <a:spcPts val="0"/>
              </a:spcAft>
              <a:buSzPts val="3600"/>
              <a:buFont typeface="Montserrat"/>
              <a:buNone/>
              <a:defRPr sz="7200" b="1">
                <a:latin typeface="Montserrat"/>
                <a:ea typeface="Montserrat"/>
                <a:cs typeface="Montserrat"/>
                <a:sym typeface="Montserrat"/>
              </a:defRPr>
            </a:lvl6pPr>
            <a:lvl7pPr lvl="6">
              <a:spcBef>
                <a:spcPts val="0"/>
              </a:spcBef>
              <a:spcAft>
                <a:spcPts val="0"/>
              </a:spcAft>
              <a:buSzPts val="3600"/>
              <a:buFont typeface="Montserrat"/>
              <a:buNone/>
              <a:defRPr sz="7200" b="1">
                <a:latin typeface="Montserrat"/>
                <a:ea typeface="Montserrat"/>
                <a:cs typeface="Montserrat"/>
                <a:sym typeface="Montserrat"/>
              </a:defRPr>
            </a:lvl7pPr>
            <a:lvl8pPr lvl="7">
              <a:spcBef>
                <a:spcPts val="0"/>
              </a:spcBef>
              <a:spcAft>
                <a:spcPts val="0"/>
              </a:spcAft>
              <a:buSzPts val="3600"/>
              <a:buFont typeface="Montserrat"/>
              <a:buNone/>
              <a:defRPr sz="7200" b="1">
                <a:latin typeface="Montserrat"/>
                <a:ea typeface="Montserrat"/>
                <a:cs typeface="Montserrat"/>
                <a:sym typeface="Montserrat"/>
              </a:defRPr>
            </a:lvl8pPr>
            <a:lvl9pPr lvl="8">
              <a:spcBef>
                <a:spcPts val="0"/>
              </a:spcBef>
              <a:spcAft>
                <a:spcPts val="0"/>
              </a:spcAft>
              <a:buSzPts val="3600"/>
              <a:buFont typeface="Montserrat"/>
              <a:buNone/>
              <a:defRPr sz="7200" b="1">
                <a:latin typeface="Montserrat"/>
                <a:ea typeface="Montserrat"/>
                <a:cs typeface="Montserrat"/>
                <a:sym typeface="Montserrat"/>
              </a:defRPr>
            </a:lvl9pPr>
          </a:lstStyle>
          <a:p>
            <a:endParaRPr/>
          </a:p>
        </p:txBody>
      </p:sp>
      <p:pic>
        <p:nvPicPr>
          <p:cNvPr id="39" name="Google Shape;39;p6"/>
          <p:cNvPicPr preferRelativeResize="0"/>
          <p:nvPr/>
        </p:nvPicPr>
        <p:blipFill rotWithShape="1">
          <a:blip r:embed="rId2">
            <a:alphaModFix/>
          </a:blip>
          <a:srcRect l="9379" t="53115"/>
          <a:stretch/>
        </p:blipFill>
        <p:spPr>
          <a:xfrm rot="10800000">
            <a:off x="6918953" y="5260953"/>
            <a:ext cx="11388098" cy="5045098"/>
          </a:xfrm>
          <a:prstGeom prst="rect">
            <a:avLst/>
          </a:prstGeom>
          <a:noFill/>
          <a:ln>
            <a:noFill/>
          </a:ln>
        </p:spPr>
      </p:pic>
      <p:pic>
        <p:nvPicPr>
          <p:cNvPr id="40" name="Google Shape;40;p6"/>
          <p:cNvPicPr preferRelativeResize="0"/>
          <p:nvPr/>
        </p:nvPicPr>
        <p:blipFill>
          <a:blip r:embed="rId3">
            <a:alphaModFix/>
          </a:blip>
          <a:stretch>
            <a:fillRect/>
          </a:stretch>
        </p:blipFill>
        <p:spPr>
          <a:xfrm>
            <a:off x="16183201" y="-304775"/>
            <a:ext cx="1799998" cy="1799998"/>
          </a:xfrm>
          <a:prstGeom prst="rect">
            <a:avLst/>
          </a:prstGeom>
          <a:noFill/>
          <a:ln>
            <a:noFill/>
          </a:ln>
        </p:spPr>
      </p:pic>
    </p:spTree>
    <p:extLst>
      <p:ext uri="{BB962C8B-B14F-4D97-AF65-F5344CB8AC3E}">
        <p14:creationId xmlns:p14="http://schemas.microsoft.com/office/powerpoint/2010/main" val="13650574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matchingName="Cabeçalho de seção 1" preserve="1" userDrawn="1">
  <p:cSld name="Cabeçalho de seção 1">
    <p:spTree>
      <p:nvGrpSpPr>
        <p:cNvPr id="1" name="Shape 42"/>
        <p:cNvGrpSpPr/>
        <p:nvPr/>
      </p:nvGrpSpPr>
      <p:grpSpPr>
        <a:xfrm>
          <a:off x="0" y="0"/>
          <a:ext cx="0" cy="0"/>
          <a:chOff x="0" y="0"/>
          <a:chExt cx="0" cy="0"/>
        </a:xfrm>
      </p:grpSpPr>
      <p:sp>
        <p:nvSpPr>
          <p:cNvPr id="43" name="Google Shape;43;p7"/>
          <p:cNvSpPr txBox="1">
            <a:spLocks noGrp="1"/>
          </p:cNvSpPr>
          <p:nvPr>
            <p:ph type="title"/>
          </p:nvPr>
        </p:nvSpPr>
        <p:spPr>
          <a:xfrm>
            <a:off x="1747350" y="3996900"/>
            <a:ext cx="10482600" cy="1683600"/>
          </a:xfrm>
          <a:prstGeom prst="rect">
            <a:avLst/>
          </a:prstGeom>
        </p:spPr>
        <p:txBody>
          <a:bodyPr spcFirstLastPara="1" wrap="square" lIns="91425" tIns="91425" rIns="91425" bIns="91425" anchor="ctr" anchorCtr="0">
            <a:noAutofit/>
          </a:bodyPr>
          <a:lstStyle>
            <a:lvl1pPr lvl="0" rtl="0">
              <a:spcBef>
                <a:spcPts val="0"/>
              </a:spcBef>
              <a:spcAft>
                <a:spcPts val="0"/>
              </a:spcAft>
              <a:buSzPts val="3600"/>
              <a:buFont typeface="Montserrat"/>
              <a:buNone/>
              <a:defRPr sz="7200" b="1">
                <a:latin typeface="Montserrat"/>
                <a:ea typeface="Montserrat"/>
                <a:cs typeface="Montserrat"/>
                <a:sym typeface="Montserrat"/>
              </a:defRPr>
            </a:lvl1pPr>
            <a:lvl2pPr lvl="1" rtl="0">
              <a:spcBef>
                <a:spcPts val="0"/>
              </a:spcBef>
              <a:spcAft>
                <a:spcPts val="0"/>
              </a:spcAft>
              <a:buSzPts val="3600"/>
              <a:buFont typeface="Montserrat"/>
              <a:buNone/>
              <a:defRPr sz="7200" b="1">
                <a:latin typeface="Montserrat"/>
                <a:ea typeface="Montserrat"/>
                <a:cs typeface="Montserrat"/>
                <a:sym typeface="Montserrat"/>
              </a:defRPr>
            </a:lvl2pPr>
            <a:lvl3pPr lvl="2" rtl="0">
              <a:spcBef>
                <a:spcPts val="0"/>
              </a:spcBef>
              <a:spcAft>
                <a:spcPts val="0"/>
              </a:spcAft>
              <a:buSzPts val="3600"/>
              <a:buFont typeface="Montserrat"/>
              <a:buNone/>
              <a:defRPr sz="7200" b="1">
                <a:latin typeface="Montserrat"/>
                <a:ea typeface="Montserrat"/>
                <a:cs typeface="Montserrat"/>
                <a:sym typeface="Montserrat"/>
              </a:defRPr>
            </a:lvl3pPr>
            <a:lvl4pPr lvl="3" rtl="0">
              <a:spcBef>
                <a:spcPts val="0"/>
              </a:spcBef>
              <a:spcAft>
                <a:spcPts val="0"/>
              </a:spcAft>
              <a:buSzPts val="3600"/>
              <a:buFont typeface="Montserrat"/>
              <a:buNone/>
              <a:defRPr sz="7200" b="1">
                <a:latin typeface="Montserrat"/>
                <a:ea typeface="Montserrat"/>
                <a:cs typeface="Montserrat"/>
                <a:sym typeface="Montserrat"/>
              </a:defRPr>
            </a:lvl4pPr>
            <a:lvl5pPr lvl="4" rtl="0">
              <a:spcBef>
                <a:spcPts val="0"/>
              </a:spcBef>
              <a:spcAft>
                <a:spcPts val="0"/>
              </a:spcAft>
              <a:buSzPts val="3600"/>
              <a:buFont typeface="Montserrat"/>
              <a:buNone/>
              <a:defRPr sz="7200" b="1">
                <a:latin typeface="Montserrat"/>
                <a:ea typeface="Montserrat"/>
                <a:cs typeface="Montserrat"/>
                <a:sym typeface="Montserrat"/>
              </a:defRPr>
            </a:lvl5pPr>
            <a:lvl6pPr lvl="5" rtl="0">
              <a:spcBef>
                <a:spcPts val="0"/>
              </a:spcBef>
              <a:spcAft>
                <a:spcPts val="0"/>
              </a:spcAft>
              <a:buSzPts val="3600"/>
              <a:buFont typeface="Montserrat"/>
              <a:buNone/>
              <a:defRPr sz="7200" b="1">
                <a:latin typeface="Montserrat"/>
                <a:ea typeface="Montserrat"/>
                <a:cs typeface="Montserrat"/>
                <a:sym typeface="Montserrat"/>
              </a:defRPr>
            </a:lvl6pPr>
            <a:lvl7pPr lvl="6" rtl="0">
              <a:spcBef>
                <a:spcPts val="0"/>
              </a:spcBef>
              <a:spcAft>
                <a:spcPts val="0"/>
              </a:spcAft>
              <a:buSzPts val="3600"/>
              <a:buFont typeface="Montserrat"/>
              <a:buNone/>
              <a:defRPr sz="7200" b="1">
                <a:latin typeface="Montserrat"/>
                <a:ea typeface="Montserrat"/>
                <a:cs typeface="Montserrat"/>
                <a:sym typeface="Montserrat"/>
              </a:defRPr>
            </a:lvl7pPr>
            <a:lvl8pPr lvl="7" rtl="0">
              <a:spcBef>
                <a:spcPts val="0"/>
              </a:spcBef>
              <a:spcAft>
                <a:spcPts val="0"/>
              </a:spcAft>
              <a:buSzPts val="3600"/>
              <a:buFont typeface="Montserrat"/>
              <a:buNone/>
              <a:defRPr sz="7200" b="1">
                <a:latin typeface="Montserrat"/>
                <a:ea typeface="Montserrat"/>
                <a:cs typeface="Montserrat"/>
                <a:sym typeface="Montserrat"/>
              </a:defRPr>
            </a:lvl8pPr>
            <a:lvl9pPr lvl="8" rtl="0">
              <a:spcBef>
                <a:spcPts val="0"/>
              </a:spcBef>
              <a:spcAft>
                <a:spcPts val="0"/>
              </a:spcAft>
              <a:buSzPts val="3600"/>
              <a:buFont typeface="Montserrat"/>
              <a:buNone/>
              <a:defRPr sz="7200" b="1">
                <a:latin typeface="Montserrat"/>
                <a:ea typeface="Montserrat"/>
                <a:cs typeface="Montserrat"/>
                <a:sym typeface="Montserrat"/>
              </a:defRPr>
            </a:lvl9pPr>
          </a:lstStyle>
          <a:p>
            <a:endParaRPr/>
          </a:p>
        </p:txBody>
      </p:sp>
      <p:pic>
        <p:nvPicPr>
          <p:cNvPr id="45" name="Google Shape;45;p7"/>
          <p:cNvPicPr preferRelativeResize="0"/>
          <p:nvPr/>
        </p:nvPicPr>
        <p:blipFill>
          <a:blip r:embed="rId2">
            <a:alphaModFix/>
          </a:blip>
          <a:stretch>
            <a:fillRect/>
          </a:stretch>
        </p:blipFill>
        <p:spPr>
          <a:xfrm>
            <a:off x="16183201" y="-304775"/>
            <a:ext cx="1799998" cy="1799998"/>
          </a:xfrm>
          <a:prstGeom prst="rect">
            <a:avLst/>
          </a:prstGeom>
          <a:noFill/>
          <a:ln>
            <a:noFill/>
          </a:ln>
        </p:spPr>
      </p:pic>
      <p:sp>
        <p:nvSpPr>
          <p:cNvPr id="47" name="Google Shape;47;p7"/>
          <p:cNvSpPr/>
          <p:nvPr/>
        </p:nvSpPr>
        <p:spPr>
          <a:xfrm>
            <a:off x="1976250" y="5403666"/>
            <a:ext cx="16311600" cy="14400"/>
          </a:xfrm>
          <a:prstGeom prst="rect">
            <a:avLst/>
          </a:prstGeom>
          <a:gradFill>
            <a:gsLst>
              <a:gs pos="0">
                <a:srgbClr val="FF2C34"/>
              </a:gs>
              <a:gs pos="100000">
                <a:srgbClr val="6800FF"/>
              </a:gs>
            </a:gsLst>
            <a:lin ang="2698631" scaled="0"/>
          </a:gra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sz="2800"/>
          </a:p>
        </p:txBody>
      </p:sp>
    </p:spTree>
    <p:extLst>
      <p:ext uri="{BB962C8B-B14F-4D97-AF65-F5344CB8AC3E}">
        <p14:creationId xmlns:p14="http://schemas.microsoft.com/office/powerpoint/2010/main" val="39504224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matchingName="Cabeçalho de seção 1 1" preserve="1" userDrawn="1">
  <p:cSld name="Cabeçalho de seção 1 1">
    <p:bg>
      <p:bgPr>
        <a:gradFill>
          <a:gsLst>
            <a:gs pos="0">
              <a:srgbClr val="FF2C34"/>
            </a:gs>
            <a:gs pos="100000">
              <a:srgbClr val="6800FF"/>
            </a:gs>
          </a:gsLst>
          <a:lin ang="2698631" scaled="0"/>
        </a:gradFill>
        <a:effectLst/>
      </p:bgPr>
    </p:bg>
    <p:spTree>
      <p:nvGrpSpPr>
        <p:cNvPr id="1" name="Shape 48"/>
        <p:cNvGrpSpPr/>
        <p:nvPr/>
      </p:nvGrpSpPr>
      <p:grpSpPr>
        <a:xfrm>
          <a:off x="0" y="0"/>
          <a:ext cx="0" cy="0"/>
          <a:chOff x="0" y="0"/>
          <a:chExt cx="0" cy="0"/>
        </a:xfrm>
      </p:grpSpPr>
      <p:sp>
        <p:nvSpPr>
          <p:cNvPr id="49" name="Google Shape;49;p8"/>
          <p:cNvSpPr txBox="1">
            <a:spLocks noGrp="1"/>
          </p:cNvSpPr>
          <p:nvPr>
            <p:ph type="title"/>
          </p:nvPr>
        </p:nvSpPr>
        <p:spPr>
          <a:xfrm>
            <a:off x="1747350" y="3996900"/>
            <a:ext cx="10482600" cy="1683600"/>
          </a:xfrm>
          <a:prstGeom prst="rect">
            <a:avLst/>
          </a:prstGeom>
        </p:spPr>
        <p:txBody>
          <a:bodyPr spcFirstLastPara="1" wrap="square" lIns="91425" tIns="91425" rIns="91425" bIns="91425" anchor="ctr" anchorCtr="0">
            <a:noAutofit/>
          </a:bodyPr>
          <a:lstStyle>
            <a:lvl1pPr lvl="0" rtl="0">
              <a:spcBef>
                <a:spcPts val="0"/>
              </a:spcBef>
              <a:spcAft>
                <a:spcPts val="0"/>
              </a:spcAft>
              <a:buSzPts val="3600"/>
              <a:buFont typeface="Montserrat"/>
              <a:buNone/>
              <a:defRPr sz="7200" b="1">
                <a:latin typeface="Montserrat"/>
                <a:ea typeface="Montserrat"/>
                <a:cs typeface="Montserrat"/>
                <a:sym typeface="Montserrat"/>
              </a:defRPr>
            </a:lvl1pPr>
            <a:lvl2pPr lvl="1" rtl="0">
              <a:spcBef>
                <a:spcPts val="0"/>
              </a:spcBef>
              <a:spcAft>
                <a:spcPts val="0"/>
              </a:spcAft>
              <a:buSzPts val="3600"/>
              <a:buFont typeface="Montserrat"/>
              <a:buNone/>
              <a:defRPr sz="7200" b="1">
                <a:latin typeface="Montserrat"/>
                <a:ea typeface="Montserrat"/>
                <a:cs typeface="Montserrat"/>
                <a:sym typeface="Montserrat"/>
              </a:defRPr>
            </a:lvl2pPr>
            <a:lvl3pPr lvl="2" rtl="0">
              <a:spcBef>
                <a:spcPts val="0"/>
              </a:spcBef>
              <a:spcAft>
                <a:spcPts val="0"/>
              </a:spcAft>
              <a:buSzPts val="3600"/>
              <a:buFont typeface="Montserrat"/>
              <a:buNone/>
              <a:defRPr sz="7200" b="1">
                <a:latin typeface="Montserrat"/>
                <a:ea typeface="Montserrat"/>
                <a:cs typeface="Montserrat"/>
                <a:sym typeface="Montserrat"/>
              </a:defRPr>
            </a:lvl3pPr>
            <a:lvl4pPr lvl="3" rtl="0">
              <a:spcBef>
                <a:spcPts val="0"/>
              </a:spcBef>
              <a:spcAft>
                <a:spcPts val="0"/>
              </a:spcAft>
              <a:buSzPts val="3600"/>
              <a:buFont typeface="Montserrat"/>
              <a:buNone/>
              <a:defRPr sz="7200" b="1">
                <a:latin typeface="Montserrat"/>
                <a:ea typeface="Montserrat"/>
                <a:cs typeface="Montserrat"/>
                <a:sym typeface="Montserrat"/>
              </a:defRPr>
            </a:lvl4pPr>
            <a:lvl5pPr lvl="4" rtl="0">
              <a:spcBef>
                <a:spcPts val="0"/>
              </a:spcBef>
              <a:spcAft>
                <a:spcPts val="0"/>
              </a:spcAft>
              <a:buSzPts val="3600"/>
              <a:buFont typeface="Montserrat"/>
              <a:buNone/>
              <a:defRPr sz="7200" b="1">
                <a:latin typeface="Montserrat"/>
                <a:ea typeface="Montserrat"/>
                <a:cs typeface="Montserrat"/>
                <a:sym typeface="Montserrat"/>
              </a:defRPr>
            </a:lvl5pPr>
            <a:lvl6pPr lvl="5" rtl="0">
              <a:spcBef>
                <a:spcPts val="0"/>
              </a:spcBef>
              <a:spcAft>
                <a:spcPts val="0"/>
              </a:spcAft>
              <a:buSzPts val="3600"/>
              <a:buFont typeface="Montserrat"/>
              <a:buNone/>
              <a:defRPr sz="7200" b="1">
                <a:latin typeface="Montserrat"/>
                <a:ea typeface="Montserrat"/>
                <a:cs typeface="Montserrat"/>
                <a:sym typeface="Montserrat"/>
              </a:defRPr>
            </a:lvl6pPr>
            <a:lvl7pPr lvl="6" rtl="0">
              <a:spcBef>
                <a:spcPts val="0"/>
              </a:spcBef>
              <a:spcAft>
                <a:spcPts val="0"/>
              </a:spcAft>
              <a:buSzPts val="3600"/>
              <a:buFont typeface="Montserrat"/>
              <a:buNone/>
              <a:defRPr sz="7200" b="1">
                <a:latin typeface="Montserrat"/>
                <a:ea typeface="Montserrat"/>
                <a:cs typeface="Montserrat"/>
                <a:sym typeface="Montserrat"/>
              </a:defRPr>
            </a:lvl7pPr>
            <a:lvl8pPr lvl="7" rtl="0">
              <a:spcBef>
                <a:spcPts val="0"/>
              </a:spcBef>
              <a:spcAft>
                <a:spcPts val="0"/>
              </a:spcAft>
              <a:buSzPts val="3600"/>
              <a:buFont typeface="Montserrat"/>
              <a:buNone/>
              <a:defRPr sz="7200" b="1">
                <a:latin typeface="Montserrat"/>
                <a:ea typeface="Montserrat"/>
                <a:cs typeface="Montserrat"/>
                <a:sym typeface="Montserrat"/>
              </a:defRPr>
            </a:lvl8pPr>
            <a:lvl9pPr lvl="8" rtl="0">
              <a:spcBef>
                <a:spcPts val="0"/>
              </a:spcBef>
              <a:spcAft>
                <a:spcPts val="0"/>
              </a:spcAft>
              <a:buSzPts val="3600"/>
              <a:buFont typeface="Montserrat"/>
              <a:buNone/>
              <a:defRPr sz="7200" b="1">
                <a:latin typeface="Montserrat"/>
                <a:ea typeface="Montserrat"/>
                <a:cs typeface="Montserrat"/>
                <a:sym typeface="Montserrat"/>
              </a:defRPr>
            </a:lvl9pPr>
          </a:lstStyle>
          <a:p>
            <a:endParaRPr/>
          </a:p>
        </p:txBody>
      </p:sp>
      <p:pic>
        <p:nvPicPr>
          <p:cNvPr id="51" name="Google Shape;51;p8"/>
          <p:cNvPicPr preferRelativeResize="0"/>
          <p:nvPr/>
        </p:nvPicPr>
        <p:blipFill>
          <a:blip r:embed="rId2">
            <a:alphaModFix/>
          </a:blip>
          <a:stretch>
            <a:fillRect/>
          </a:stretch>
        </p:blipFill>
        <p:spPr>
          <a:xfrm>
            <a:off x="16183201" y="-304775"/>
            <a:ext cx="1799998" cy="1799998"/>
          </a:xfrm>
          <a:prstGeom prst="rect">
            <a:avLst/>
          </a:prstGeom>
          <a:noFill/>
          <a:ln>
            <a:noFill/>
          </a:ln>
        </p:spPr>
      </p:pic>
      <p:sp>
        <p:nvSpPr>
          <p:cNvPr id="53" name="Google Shape;53;p8"/>
          <p:cNvSpPr/>
          <p:nvPr/>
        </p:nvSpPr>
        <p:spPr>
          <a:xfrm>
            <a:off x="1976250" y="5403666"/>
            <a:ext cx="16311600" cy="14400"/>
          </a:xfrm>
          <a:prstGeom prst="rect">
            <a:avLst/>
          </a:prstGeom>
          <a:solidFill>
            <a:srgbClr val="222222"/>
          </a:soli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sz="2800"/>
          </a:p>
        </p:txBody>
      </p:sp>
    </p:spTree>
    <p:extLst>
      <p:ext uri="{BB962C8B-B14F-4D97-AF65-F5344CB8AC3E}">
        <p14:creationId xmlns:p14="http://schemas.microsoft.com/office/powerpoint/2010/main" val="36700646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matchingName="Title and body" preserve="1" userDrawn="1">
  <p:cSld name="Title and body">
    <p:bg>
      <p:bgPr>
        <a:solidFill>
          <a:srgbClr val="FFFFFF"/>
        </a:solidFill>
        <a:effectLst/>
      </p:bgPr>
    </p:bg>
    <p:spTree>
      <p:nvGrpSpPr>
        <p:cNvPr id="1" name="Shape 54"/>
        <p:cNvGrpSpPr/>
        <p:nvPr/>
      </p:nvGrpSpPr>
      <p:grpSpPr>
        <a:xfrm>
          <a:off x="0" y="0"/>
          <a:ext cx="0" cy="0"/>
          <a:chOff x="0" y="0"/>
          <a:chExt cx="0" cy="0"/>
        </a:xfrm>
      </p:grpSpPr>
      <p:sp>
        <p:nvSpPr>
          <p:cNvPr id="55" name="Google Shape;55;p9"/>
          <p:cNvSpPr txBox="1">
            <a:spLocks noGrp="1"/>
          </p:cNvSpPr>
          <p:nvPr>
            <p:ph type="title"/>
          </p:nvPr>
        </p:nvSpPr>
        <p:spPr>
          <a:xfrm>
            <a:off x="1080600" y="1042450"/>
            <a:ext cx="10216200" cy="1145400"/>
          </a:xfrm>
          <a:prstGeom prst="rect">
            <a:avLst/>
          </a:prstGeom>
        </p:spPr>
        <p:txBody>
          <a:bodyPr spcFirstLastPara="1" wrap="square" lIns="91425" tIns="91425" rIns="91425" bIns="91425" anchor="t" anchorCtr="0">
            <a:noAutofit/>
          </a:bodyPr>
          <a:lstStyle>
            <a:lvl1pPr lvl="0">
              <a:spcBef>
                <a:spcPts val="0"/>
              </a:spcBef>
              <a:spcAft>
                <a:spcPts val="0"/>
              </a:spcAft>
              <a:buClr>
                <a:srgbClr val="222222"/>
              </a:buClr>
              <a:buSzPts val="2000"/>
              <a:buNone/>
              <a:defRPr sz="4000">
                <a:solidFill>
                  <a:srgbClr val="222222"/>
                </a:solidFill>
              </a:defRPr>
            </a:lvl1pPr>
            <a:lvl2pPr lvl="1">
              <a:spcBef>
                <a:spcPts val="0"/>
              </a:spcBef>
              <a:spcAft>
                <a:spcPts val="0"/>
              </a:spcAft>
              <a:buClr>
                <a:srgbClr val="222222"/>
              </a:buClr>
              <a:buSzPts val="2000"/>
              <a:buNone/>
              <a:defRPr>
                <a:solidFill>
                  <a:srgbClr val="222222"/>
                </a:solidFill>
              </a:defRPr>
            </a:lvl2pPr>
            <a:lvl3pPr lvl="2">
              <a:spcBef>
                <a:spcPts val="0"/>
              </a:spcBef>
              <a:spcAft>
                <a:spcPts val="0"/>
              </a:spcAft>
              <a:buClr>
                <a:srgbClr val="222222"/>
              </a:buClr>
              <a:buSzPts val="2000"/>
              <a:buNone/>
              <a:defRPr>
                <a:solidFill>
                  <a:srgbClr val="222222"/>
                </a:solidFill>
              </a:defRPr>
            </a:lvl3pPr>
            <a:lvl4pPr lvl="3">
              <a:spcBef>
                <a:spcPts val="0"/>
              </a:spcBef>
              <a:spcAft>
                <a:spcPts val="0"/>
              </a:spcAft>
              <a:buClr>
                <a:srgbClr val="222222"/>
              </a:buClr>
              <a:buSzPts val="2000"/>
              <a:buNone/>
              <a:defRPr>
                <a:solidFill>
                  <a:srgbClr val="222222"/>
                </a:solidFill>
              </a:defRPr>
            </a:lvl4pPr>
            <a:lvl5pPr lvl="4">
              <a:spcBef>
                <a:spcPts val="0"/>
              </a:spcBef>
              <a:spcAft>
                <a:spcPts val="0"/>
              </a:spcAft>
              <a:buClr>
                <a:srgbClr val="222222"/>
              </a:buClr>
              <a:buSzPts val="2000"/>
              <a:buNone/>
              <a:defRPr>
                <a:solidFill>
                  <a:srgbClr val="222222"/>
                </a:solidFill>
              </a:defRPr>
            </a:lvl5pPr>
            <a:lvl6pPr lvl="5">
              <a:spcBef>
                <a:spcPts val="0"/>
              </a:spcBef>
              <a:spcAft>
                <a:spcPts val="0"/>
              </a:spcAft>
              <a:buClr>
                <a:srgbClr val="222222"/>
              </a:buClr>
              <a:buSzPts val="2000"/>
              <a:buNone/>
              <a:defRPr>
                <a:solidFill>
                  <a:srgbClr val="222222"/>
                </a:solidFill>
              </a:defRPr>
            </a:lvl6pPr>
            <a:lvl7pPr lvl="6">
              <a:spcBef>
                <a:spcPts val="0"/>
              </a:spcBef>
              <a:spcAft>
                <a:spcPts val="0"/>
              </a:spcAft>
              <a:buClr>
                <a:srgbClr val="222222"/>
              </a:buClr>
              <a:buSzPts val="2000"/>
              <a:buNone/>
              <a:defRPr>
                <a:solidFill>
                  <a:srgbClr val="222222"/>
                </a:solidFill>
              </a:defRPr>
            </a:lvl7pPr>
            <a:lvl8pPr lvl="7">
              <a:spcBef>
                <a:spcPts val="0"/>
              </a:spcBef>
              <a:spcAft>
                <a:spcPts val="0"/>
              </a:spcAft>
              <a:buClr>
                <a:srgbClr val="222222"/>
              </a:buClr>
              <a:buSzPts val="2000"/>
              <a:buNone/>
              <a:defRPr>
                <a:solidFill>
                  <a:srgbClr val="222222"/>
                </a:solidFill>
              </a:defRPr>
            </a:lvl8pPr>
            <a:lvl9pPr lvl="8">
              <a:spcBef>
                <a:spcPts val="0"/>
              </a:spcBef>
              <a:spcAft>
                <a:spcPts val="0"/>
              </a:spcAft>
              <a:buClr>
                <a:srgbClr val="222222"/>
              </a:buClr>
              <a:buSzPts val="2000"/>
              <a:buNone/>
              <a:defRPr>
                <a:solidFill>
                  <a:srgbClr val="222222"/>
                </a:solidFill>
              </a:defRPr>
            </a:lvl9pPr>
          </a:lstStyle>
          <a:p>
            <a:endParaRPr/>
          </a:p>
        </p:txBody>
      </p:sp>
      <p:sp>
        <p:nvSpPr>
          <p:cNvPr id="56" name="Google Shape;56;p9"/>
          <p:cNvSpPr txBox="1">
            <a:spLocks noGrp="1"/>
          </p:cNvSpPr>
          <p:nvPr>
            <p:ph type="body" idx="1"/>
          </p:nvPr>
        </p:nvSpPr>
        <p:spPr>
          <a:xfrm>
            <a:off x="1080600" y="3130350"/>
            <a:ext cx="12462600" cy="5891400"/>
          </a:xfrm>
          <a:prstGeom prst="rect">
            <a:avLst/>
          </a:prstGeom>
        </p:spPr>
        <p:txBody>
          <a:bodyPr spcFirstLastPara="1" wrap="square" lIns="91425" tIns="91425" rIns="91425" bIns="91425" anchor="t" anchorCtr="0">
            <a:noAutofit/>
          </a:bodyPr>
          <a:lstStyle>
            <a:lvl1pPr marL="914400" lvl="0" indent="-609600">
              <a:spcBef>
                <a:spcPts val="0"/>
              </a:spcBef>
              <a:spcAft>
                <a:spcPts val="0"/>
              </a:spcAft>
              <a:buClr>
                <a:srgbClr val="222222"/>
              </a:buClr>
              <a:buSzPts val="1200"/>
              <a:buChar char="●"/>
              <a:defRPr sz="2400">
                <a:solidFill>
                  <a:srgbClr val="222222"/>
                </a:solidFill>
              </a:defRPr>
            </a:lvl1pPr>
            <a:lvl2pPr marL="1828800" lvl="1" indent="-609600">
              <a:spcBef>
                <a:spcPts val="3200"/>
              </a:spcBef>
              <a:spcAft>
                <a:spcPts val="0"/>
              </a:spcAft>
              <a:buClr>
                <a:srgbClr val="222222"/>
              </a:buClr>
              <a:buSzPts val="1200"/>
              <a:buChar char="○"/>
              <a:defRPr sz="2400">
                <a:solidFill>
                  <a:srgbClr val="222222"/>
                </a:solidFill>
              </a:defRPr>
            </a:lvl2pPr>
            <a:lvl3pPr marL="2743200" lvl="2" indent="-584200">
              <a:spcBef>
                <a:spcPts val="3200"/>
              </a:spcBef>
              <a:spcAft>
                <a:spcPts val="0"/>
              </a:spcAft>
              <a:buClr>
                <a:srgbClr val="222222"/>
              </a:buClr>
              <a:buSzPts val="1000"/>
              <a:buChar char="■"/>
              <a:defRPr sz="2000">
                <a:solidFill>
                  <a:srgbClr val="222222"/>
                </a:solidFill>
              </a:defRPr>
            </a:lvl3pPr>
            <a:lvl4pPr marL="3657600" lvl="3" indent="-584200">
              <a:spcBef>
                <a:spcPts val="3200"/>
              </a:spcBef>
              <a:spcAft>
                <a:spcPts val="0"/>
              </a:spcAft>
              <a:buClr>
                <a:srgbClr val="222222"/>
              </a:buClr>
              <a:buSzPts val="1000"/>
              <a:buChar char="●"/>
              <a:defRPr sz="2000">
                <a:solidFill>
                  <a:srgbClr val="222222"/>
                </a:solidFill>
              </a:defRPr>
            </a:lvl4pPr>
            <a:lvl5pPr marL="4572000" lvl="4" indent="-558800">
              <a:spcBef>
                <a:spcPts val="3200"/>
              </a:spcBef>
              <a:spcAft>
                <a:spcPts val="0"/>
              </a:spcAft>
              <a:buClr>
                <a:srgbClr val="222222"/>
              </a:buClr>
              <a:buSzPts val="800"/>
              <a:buChar char="○"/>
              <a:defRPr sz="1600">
                <a:solidFill>
                  <a:srgbClr val="222222"/>
                </a:solidFill>
              </a:defRPr>
            </a:lvl5pPr>
            <a:lvl6pPr marL="5486400" lvl="5" indent="-558800">
              <a:spcBef>
                <a:spcPts val="3200"/>
              </a:spcBef>
              <a:spcAft>
                <a:spcPts val="0"/>
              </a:spcAft>
              <a:buClr>
                <a:srgbClr val="222222"/>
              </a:buClr>
              <a:buSzPts val="800"/>
              <a:buChar char="■"/>
              <a:defRPr sz="1600">
                <a:solidFill>
                  <a:srgbClr val="222222"/>
                </a:solidFill>
              </a:defRPr>
            </a:lvl6pPr>
            <a:lvl7pPr marL="6400800" lvl="6" indent="-609600">
              <a:spcBef>
                <a:spcPts val="3200"/>
              </a:spcBef>
              <a:spcAft>
                <a:spcPts val="0"/>
              </a:spcAft>
              <a:buClr>
                <a:srgbClr val="222222"/>
              </a:buClr>
              <a:buSzPts val="1200"/>
              <a:buChar char="●"/>
              <a:defRPr>
                <a:solidFill>
                  <a:srgbClr val="222222"/>
                </a:solidFill>
              </a:defRPr>
            </a:lvl7pPr>
            <a:lvl8pPr marL="7315200" lvl="7" indent="-609600">
              <a:spcBef>
                <a:spcPts val="3200"/>
              </a:spcBef>
              <a:spcAft>
                <a:spcPts val="0"/>
              </a:spcAft>
              <a:buClr>
                <a:srgbClr val="222222"/>
              </a:buClr>
              <a:buSzPts val="1200"/>
              <a:buChar char="○"/>
              <a:defRPr>
                <a:solidFill>
                  <a:srgbClr val="222222"/>
                </a:solidFill>
              </a:defRPr>
            </a:lvl8pPr>
            <a:lvl9pPr marL="8229600" lvl="8" indent="-609600">
              <a:spcBef>
                <a:spcPts val="3200"/>
              </a:spcBef>
              <a:spcAft>
                <a:spcPts val="3200"/>
              </a:spcAft>
              <a:buClr>
                <a:srgbClr val="222222"/>
              </a:buClr>
              <a:buSzPts val="1200"/>
              <a:buChar char="■"/>
              <a:defRPr>
                <a:solidFill>
                  <a:srgbClr val="222222"/>
                </a:solidFill>
              </a:defRPr>
            </a:lvl9pPr>
          </a:lstStyle>
          <a:p>
            <a:endParaRPr/>
          </a:p>
        </p:txBody>
      </p:sp>
      <p:pic>
        <p:nvPicPr>
          <p:cNvPr id="58" name="Google Shape;58;p9"/>
          <p:cNvPicPr preferRelativeResize="0"/>
          <p:nvPr/>
        </p:nvPicPr>
        <p:blipFill rotWithShape="1">
          <a:blip r:embed="rId2">
            <a:alphaModFix/>
          </a:blip>
          <a:srcRect t="49794" r="50171"/>
          <a:stretch/>
        </p:blipFill>
        <p:spPr>
          <a:xfrm>
            <a:off x="13543251" y="0"/>
            <a:ext cx="4744754" cy="4093548"/>
          </a:xfrm>
          <a:prstGeom prst="rect">
            <a:avLst/>
          </a:prstGeom>
          <a:noFill/>
          <a:ln>
            <a:noFill/>
          </a:ln>
        </p:spPr>
      </p:pic>
      <p:pic>
        <p:nvPicPr>
          <p:cNvPr id="59" name="Google Shape;59;p9"/>
          <p:cNvPicPr preferRelativeResize="0"/>
          <p:nvPr/>
        </p:nvPicPr>
        <p:blipFill>
          <a:blip r:embed="rId3">
            <a:alphaModFix/>
          </a:blip>
          <a:stretch>
            <a:fillRect/>
          </a:stretch>
        </p:blipFill>
        <p:spPr>
          <a:xfrm>
            <a:off x="16183201" y="-304799"/>
            <a:ext cx="1799998" cy="1799998"/>
          </a:xfrm>
          <a:prstGeom prst="rect">
            <a:avLst/>
          </a:prstGeom>
          <a:noFill/>
          <a:ln>
            <a:noFill/>
          </a:ln>
        </p:spPr>
      </p:pic>
    </p:spTree>
    <p:extLst>
      <p:ext uri="{BB962C8B-B14F-4D97-AF65-F5344CB8AC3E}">
        <p14:creationId xmlns:p14="http://schemas.microsoft.com/office/powerpoint/2010/main" val="20315185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ítulo e duas colunas 1" preserve="1">
  <p:cSld name="Título e duas colunas 1">
    <p:bg>
      <p:bgPr>
        <a:solidFill>
          <a:srgbClr val="FFFFFF"/>
        </a:solidFill>
        <a:effectLst/>
      </p:bgPr>
    </p:bg>
    <p:spTree>
      <p:nvGrpSpPr>
        <p:cNvPr id="1" name="Shape 119"/>
        <p:cNvGrpSpPr/>
        <p:nvPr/>
      </p:nvGrpSpPr>
      <p:grpSpPr>
        <a:xfrm>
          <a:off x="0" y="0"/>
          <a:ext cx="0" cy="0"/>
          <a:chOff x="0" y="0"/>
          <a:chExt cx="0" cy="0"/>
        </a:xfrm>
      </p:grpSpPr>
      <p:pic>
        <p:nvPicPr>
          <p:cNvPr id="120" name="Google Shape;120;p1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rot="-5400000">
            <a:off x="90431" y="-128528"/>
            <a:ext cx="3521198" cy="3740156"/>
          </a:xfrm>
          <a:prstGeom prst="rect">
            <a:avLst/>
          </a:prstGeom>
          <a:noFill/>
          <a:ln>
            <a:noFill/>
          </a:ln>
        </p:spPr>
      </p:pic>
      <p:sp>
        <p:nvSpPr>
          <p:cNvPr id="121" name="Google Shape;121;p19"/>
          <p:cNvSpPr txBox="1">
            <a:spLocks noGrp="1"/>
          </p:cNvSpPr>
          <p:nvPr>
            <p:ph type="title"/>
          </p:nvPr>
        </p:nvSpPr>
        <p:spPr>
          <a:xfrm>
            <a:off x="1001100" y="1083262"/>
            <a:ext cx="17041200" cy="11454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222222"/>
              </a:buClr>
              <a:buSzPts val="1800"/>
              <a:buNone/>
              <a:defRPr sz="3600">
                <a:solidFill>
                  <a:srgbClr val="222222"/>
                </a:solidFill>
              </a:defRPr>
            </a:lvl1pPr>
            <a:lvl2pPr lvl="1" rtl="0">
              <a:spcBef>
                <a:spcPts val="0"/>
              </a:spcBef>
              <a:spcAft>
                <a:spcPts val="0"/>
              </a:spcAft>
              <a:buClr>
                <a:srgbClr val="222222"/>
              </a:buClr>
              <a:buSzPts val="1800"/>
              <a:buNone/>
              <a:defRPr sz="3600">
                <a:solidFill>
                  <a:srgbClr val="222222"/>
                </a:solidFill>
              </a:defRPr>
            </a:lvl2pPr>
            <a:lvl3pPr lvl="2" rtl="0">
              <a:spcBef>
                <a:spcPts val="0"/>
              </a:spcBef>
              <a:spcAft>
                <a:spcPts val="0"/>
              </a:spcAft>
              <a:buClr>
                <a:srgbClr val="222222"/>
              </a:buClr>
              <a:buSzPts val="1800"/>
              <a:buNone/>
              <a:defRPr sz="3600">
                <a:solidFill>
                  <a:srgbClr val="222222"/>
                </a:solidFill>
              </a:defRPr>
            </a:lvl3pPr>
            <a:lvl4pPr lvl="3" rtl="0">
              <a:spcBef>
                <a:spcPts val="0"/>
              </a:spcBef>
              <a:spcAft>
                <a:spcPts val="0"/>
              </a:spcAft>
              <a:buClr>
                <a:srgbClr val="222222"/>
              </a:buClr>
              <a:buSzPts val="1800"/>
              <a:buNone/>
              <a:defRPr sz="3600">
                <a:solidFill>
                  <a:srgbClr val="222222"/>
                </a:solidFill>
              </a:defRPr>
            </a:lvl4pPr>
            <a:lvl5pPr lvl="4" rtl="0">
              <a:spcBef>
                <a:spcPts val="0"/>
              </a:spcBef>
              <a:spcAft>
                <a:spcPts val="0"/>
              </a:spcAft>
              <a:buClr>
                <a:srgbClr val="222222"/>
              </a:buClr>
              <a:buSzPts val="1800"/>
              <a:buNone/>
              <a:defRPr sz="3600">
                <a:solidFill>
                  <a:srgbClr val="222222"/>
                </a:solidFill>
              </a:defRPr>
            </a:lvl5pPr>
            <a:lvl6pPr lvl="5" rtl="0">
              <a:spcBef>
                <a:spcPts val="0"/>
              </a:spcBef>
              <a:spcAft>
                <a:spcPts val="0"/>
              </a:spcAft>
              <a:buClr>
                <a:srgbClr val="222222"/>
              </a:buClr>
              <a:buSzPts val="1800"/>
              <a:buNone/>
              <a:defRPr sz="3600">
                <a:solidFill>
                  <a:srgbClr val="222222"/>
                </a:solidFill>
              </a:defRPr>
            </a:lvl6pPr>
            <a:lvl7pPr lvl="6" rtl="0">
              <a:spcBef>
                <a:spcPts val="0"/>
              </a:spcBef>
              <a:spcAft>
                <a:spcPts val="0"/>
              </a:spcAft>
              <a:buClr>
                <a:srgbClr val="222222"/>
              </a:buClr>
              <a:buSzPts val="1800"/>
              <a:buNone/>
              <a:defRPr sz="3600">
                <a:solidFill>
                  <a:srgbClr val="222222"/>
                </a:solidFill>
              </a:defRPr>
            </a:lvl7pPr>
            <a:lvl8pPr lvl="7" rtl="0">
              <a:spcBef>
                <a:spcPts val="0"/>
              </a:spcBef>
              <a:spcAft>
                <a:spcPts val="0"/>
              </a:spcAft>
              <a:buClr>
                <a:srgbClr val="222222"/>
              </a:buClr>
              <a:buSzPts val="1800"/>
              <a:buNone/>
              <a:defRPr sz="3600">
                <a:solidFill>
                  <a:srgbClr val="222222"/>
                </a:solidFill>
              </a:defRPr>
            </a:lvl8pPr>
            <a:lvl9pPr lvl="8" rtl="0">
              <a:spcBef>
                <a:spcPts val="0"/>
              </a:spcBef>
              <a:spcAft>
                <a:spcPts val="0"/>
              </a:spcAft>
              <a:buClr>
                <a:srgbClr val="222222"/>
              </a:buClr>
              <a:buSzPts val="1800"/>
              <a:buNone/>
              <a:defRPr sz="3600">
                <a:solidFill>
                  <a:srgbClr val="222222"/>
                </a:solidFill>
              </a:defRPr>
            </a:lvl9pPr>
          </a:lstStyle>
          <a:p>
            <a:endParaRPr/>
          </a:p>
        </p:txBody>
      </p:sp>
      <p:sp>
        <p:nvSpPr>
          <p:cNvPr id="122" name="Google Shape;122;p19"/>
          <p:cNvSpPr txBox="1">
            <a:spLocks noGrp="1"/>
          </p:cNvSpPr>
          <p:nvPr>
            <p:ph type="body" idx="1"/>
          </p:nvPr>
        </p:nvSpPr>
        <p:spPr>
          <a:xfrm>
            <a:off x="1126750" y="2914550"/>
            <a:ext cx="4598400" cy="6021600"/>
          </a:xfrm>
          <a:prstGeom prst="rect">
            <a:avLst/>
          </a:prstGeom>
        </p:spPr>
        <p:txBody>
          <a:bodyPr spcFirstLastPara="1" wrap="square" lIns="91425" tIns="91425" rIns="91425" bIns="91425" anchor="t" anchorCtr="0">
            <a:noAutofit/>
          </a:bodyPr>
          <a:lstStyle>
            <a:lvl1pPr marL="914400" lvl="0" indent="-571500" rtl="0">
              <a:spcBef>
                <a:spcPts val="0"/>
              </a:spcBef>
              <a:spcAft>
                <a:spcPts val="0"/>
              </a:spcAft>
              <a:buClr>
                <a:srgbClr val="222222"/>
              </a:buClr>
              <a:buSzPts val="900"/>
              <a:buChar char="●"/>
              <a:defRPr sz="1800">
                <a:solidFill>
                  <a:srgbClr val="222222"/>
                </a:solidFill>
              </a:defRPr>
            </a:lvl1pPr>
            <a:lvl2pPr marL="1828800" lvl="1" indent="-571500" rtl="0">
              <a:spcBef>
                <a:spcPts val="3200"/>
              </a:spcBef>
              <a:spcAft>
                <a:spcPts val="0"/>
              </a:spcAft>
              <a:buClr>
                <a:srgbClr val="222222"/>
              </a:buClr>
              <a:buSzPts val="900"/>
              <a:buChar char="○"/>
              <a:defRPr sz="1800">
                <a:solidFill>
                  <a:srgbClr val="222222"/>
                </a:solidFill>
              </a:defRPr>
            </a:lvl2pPr>
            <a:lvl3pPr marL="2743200" lvl="2" indent="-571500" rtl="0">
              <a:spcBef>
                <a:spcPts val="3200"/>
              </a:spcBef>
              <a:spcAft>
                <a:spcPts val="0"/>
              </a:spcAft>
              <a:buClr>
                <a:srgbClr val="222222"/>
              </a:buClr>
              <a:buSzPts val="900"/>
              <a:buChar char="■"/>
              <a:defRPr sz="1800">
                <a:solidFill>
                  <a:srgbClr val="222222"/>
                </a:solidFill>
              </a:defRPr>
            </a:lvl3pPr>
            <a:lvl4pPr marL="3657600" lvl="3" indent="-571500" rtl="0">
              <a:spcBef>
                <a:spcPts val="3200"/>
              </a:spcBef>
              <a:spcAft>
                <a:spcPts val="0"/>
              </a:spcAft>
              <a:buClr>
                <a:srgbClr val="222222"/>
              </a:buClr>
              <a:buSzPts val="900"/>
              <a:buChar char="●"/>
              <a:defRPr sz="1800">
                <a:solidFill>
                  <a:srgbClr val="222222"/>
                </a:solidFill>
              </a:defRPr>
            </a:lvl4pPr>
            <a:lvl5pPr marL="4572000" lvl="4" indent="-571500" rtl="0">
              <a:spcBef>
                <a:spcPts val="3200"/>
              </a:spcBef>
              <a:spcAft>
                <a:spcPts val="0"/>
              </a:spcAft>
              <a:buClr>
                <a:srgbClr val="222222"/>
              </a:buClr>
              <a:buSzPts val="900"/>
              <a:buChar char="○"/>
              <a:defRPr sz="1800">
                <a:solidFill>
                  <a:srgbClr val="222222"/>
                </a:solidFill>
              </a:defRPr>
            </a:lvl5pPr>
            <a:lvl6pPr marL="5486400" lvl="5" indent="-571500" rtl="0">
              <a:spcBef>
                <a:spcPts val="3200"/>
              </a:spcBef>
              <a:spcAft>
                <a:spcPts val="0"/>
              </a:spcAft>
              <a:buClr>
                <a:srgbClr val="222222"/>
              </a:buClr>
              <a:buSzPts val="900"/>
              <a:buChar char="■"/>
              <a:defRPr sz="1800">
                <a:solidFill>
                  <a:srgbClr val="222222"/>
                </a:solidFill>
              </a:defRPr>
            </a:lvl6pPr>
            <a:lvl7pPr marL="6400800" lvl="6" indent="-571500" rtl="0">
              <a:spcBef>
                <a:spcPts val="3200"/>
              </a:spcBef>
              <a:spcAft>
                <a:spcPts val="0"/>
              </a:spcAft>
              <a:buClr>
                <a:srgbClr val="222222"/>
              </a:buClr>
              <a:buSzPts val="900"/>
              <a:buChar char="●"/>
              <a:defRPr sz="1800">
                <a:solidFill>
                  <a:srgbClr val="222222"/>
                </a:solidFill>
              </a:defRPr>
            </a:lvl7pPr>
            <a:lvl8pPr marL="7315200" lvl="7" indent="-571500" rtl="0">
              <a:spcBef>
                <a:spcPts val="3200"/>
              </a:spcBef>
              <a:spcAft>
                <a:spcPts val="0"/>
              </a:spcAft>
              <a:buClr>
                <a:srgbClr val="222222"/>
              </a:buClr>
              <a:buSzPts val="900"/>
              <a:buChar char="○"/>
              <a:defRPr sz="1800">
                <a:solidFill>
                  <a:srgbClr val="222222"/>
                </a:solidFill>
              </a:defRPr>
            </a:lvl8pPr>
            <a:lvl9pPr marL="8229600" lvl="8" indent="-571500" rtl="0">
              <a:spcBef>
                <a:spcPts val="3200"/>
              </a:spcBef>
              <a:spcAft>
                <a:spcPts val="3200"/>
              </a:spcAft>
              <a:buClr>
                <a:srgbClr val="222222"/>
              </a:buClr>
              <a:buSzPts val="900"/>
              <a:buChar char="■"/>
              <a:defRPr sz="1800">
                <a:solidFill>
                  <a:srgbClr val="222222"/>
                </a:solidFill>
              </a:defRPr>
            </a:lvl9pPr>
          </a:lstStyle>
          <a:p>
            <a:endParaRPr/>
          </a:p>
        </p:txBody>
      </p:sp>
      <p:sp>
        <p:nvSpPr>
          <p:cNvPr id="123" name="Google Shape;123;p19"/>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sp>
        <p:nvSpPr>
          <p:cNvPr id="124" name="Google Shape;124;p19"/>
          <p:cNvSpPr txBox="1">
            <a:spLocks noGrp="1"/>
          </p:cNvSpPr>
          <p:nvPr>
            <p:ph type="body" idx="2"/>
          </p:nvPr>
        </p:nvSpPr>
        <p:spPr>
          <a:xfrm>
            <a:off x="6731378" y="2914550"/>
            <a:ext cx="4598400" cy="6021600"/>
          </a:xfrm>
          <a:prstGeom prst="rect">
            <a:avLst/>
          </a:prstGeom>
        </p:spPr>
        <p:txBody>
          <a:bodyPr spcFirstLastPara="1" wrap="square" lIns="91425" tIns="91425" rIns="91425" bIns="91425" anchor="t" anchorCtr="0">
            <a:noAutofit/>
          </a:bodyPr>
          <a:lstStyle>
            <a:lvl1pPr marL="914400" lvl="0" indent="-571500" rtl="0">
              <a:spcBef>
                <a:spcPts val="0"/>
              </a:spcBef>
              <a:spcAft>
                <a:spcPts val="0"/>
              </a:spcAft>
              <a:buClr>
                <a:srgbClr val="222222"/>
              </a:buClr>
              <a:buSzPts val="900"/>
              <a:buChar char="●"/>
              <a:defRPr sz="1800">
                <a:solidFill>
                  <a:srgbClr val="222222"/>
                </a:solidFill>
              </a:defRPr>
            </a:lvl1pPr>
            <a:lvl2pPr marL="1828800" lvl="1" indent="-571500" rtl="0">
              <a:spcBef>
                <a:spcPts val="3200"/>
              </a:spcBef>
              <a:spcAft>
                <a:spcPts val="0"/>
              </a:spcAft>
              <a:buClr>
                <a:srgbClr val="222222"/>
              </a:buClr>
              <a:buSzPts val="900"/>
              <a:buChar char="○"/>
              <a:defRPr sz="1800">
                <a:solidFill>
                  <a:srgbClr val="222222"/>
                </a:solidFill>
              </a:defRPr>
            </a:lvl2pPr>
            <a:lvl3pPr marL="2743200" lvl="2" indent="-571500" rtl="0">
              <a:spcBef>
                <a:spcPts val="3200"/>
              </a:spcBef>
              <a:spcAft>
                <a:spcPts val="0"/>
              </a:spcAft>
              <a:buClr>
                <a:srgbClr val="222222"/>
              </a:buClr>
              <a:buSzPts val="900"/>
              <a:buChar char="■"/>
              <a:defRPr sz="1800">
                <a:solidFill>
                  <a:srgbClr val="222222"/>
                </a:solidFill>
              </a:defRPr>
            </a:lvl3pPr>
            <a:lvl4pPr marL="3657600" lvl="3" indent="-571500" rtl="0">
              <a:spcBef>
                <a:spcPts val="3200"/>
              </a:spcBef>
              <a:spcAft>
                <a:spcPts val="0"/>
              </a:spcAft>
              <a:buClr>
                <a:srgbClr val="222222"/>
              </a:buClr>
              <a:buSzPts val="900"/>
              <a:buChar char="●"/>
              <a:defRPr sz="1800">
                <a:solidFill>
                  <a:srgbClr val="222222"/>
                </a:solidFill>
              </a:defRPr>
            </a:lvl4pPr>
            <a:lvl5pPr marL="4572000" lvl="4" indent="-571500" rtl="0">
              <a:spcBef>
                <a:spcPts val="3200"/>
              </a:spcBef>
              <a:spcAft>
                <a:spcPts val="0"/>
              </a:spcAft>
              <a:buClr>
                <a:srgbClr val="222222"/>
              </a:buClr>
              <a:buSzPts val="900"/>
              <a:buChar char="○"/>
              <a:defRPr sz="1800">
                <a:solidFill>
                  <a:srgbClr val="222222"/>
                </a:solidFill>
              </a:defRPr>
            </a:lvl5pPr>
            <a:lvl6pPr marL="5486400" lvl="5" indent="-571500" rtl="0">
              <a:spcBef>
                <a:spcPts val="3200"/>
              </a:spcBef>
              <a:spcAft>
                <a:spcPts val="0"/>
              </a:spcAft>
              <a:buClr>
                <a:srgbClr val="222222"/>
              </a:buClr>
              <a:buSzPts val="900"/>
              <a:buChar char="■"/>
              <a:defRPr sz="1800">
                <a:solidFill>
                  <a:srgbClr val="222222"/>
                </a:solidFill>
              </a:defRPr>
            </a:lvl6pPr>
            <a:lvl7pPr marL="6400800" lvl="6" indent="-571500" rtl="0">
              <a:spcBef>
                <a:spcPts val="3200"/>
              </a:spcBef>
              <a:spcAft>
                <a:spcPts val="0"/>
              </a:spcAft>
              <a:buClr>
                <a:srgbClr val="222222"/>
              </a:buClr>
              <a:buSzPts val="900"/>
              <a:buChar char="●"/>
              <a:defRPr sz="1800">
                <a:solidFill>
                  <a:srgbClr val="222222"/>
                </a:solidFill>
              </a:defRPr>
            </a:lvl7pPr>
            <a:lvl8pPr marL="7315200" lvl="7" indent="-571500" rtl="0">
              <a:spcBef>
                <a:spcPts val="3200"/>
              </a:spcBef>
              <a:spcAft>
                <a:spcPts val="0"/>
              </a:spcAft>
              <a:buClr>
                <a:srgbClr val="222222"/>
              </a:buClr>
              <a:buSzPts val="900"/>
              <a:buChar char="○"/>
              <a:defRPr sz="1800">
                <a:solidFill>
                  <a:srgbClr val="222222"/>
                </a:solidFill>
              </a:defRPr>
            </a:lvl8pPr>
            <a:lvl9pPr marL="8229600" lvl="8" indent="-571500" rtl="0">
              <a:spcBef>
                <a:spcPts val="3200"/>
              </a:spcBef>
              <a:spcAft>
                <a:spcPts val="3200"/>
              </a:spcAft>
              <a:buClr>
                <a:srgbClr val="222222"/>
              </a:buClr>
              <a:buSzPts val="900"/>
              <a:buChar char="■"/>
              <a:defRPr sz="1800">
                <a:solidFill>
                  <a:srgbClr val="222222"/>
                </a:solidFill>
              </a:defRPr>
            </a:lvl9pPr>
          </a:lstStyle>
          <a:p>
            <a:endParaRPr/>
          </a:p>
        </p:txBody>
      </p:sp>
      <p:sp>
        <p:nvSpPr>
          <p:cNvPr id="125" name="Google Shape;125;p19"/>
          <p:cNvSpPr txBox="1">
            <a:spLocks noGrp="1"/>
          </p:cNvSpPr>
          <p:nvPr>
            <p:ph type="body" idx="3"/>
          </p:nvPr>
        </p:nvSpPr>
        <p:spPr>
          <a:xfrm>
            <a:off x="12336006" y="2914550"/>
            <a:ext cx="4598400" cy="6021600"/>
          </a:xfrm>
          <a:prstGeom prst="rect">
            <a:avLst/>
          </a:prstGeom>
        </p:spPr>
        <p:txBody>
          <a:bodyPr spcFirstLastPara="1" wrap="square" lIns="91425" tIns="91425" rIns="91425" bIns="91425" anchor="t" anchorCtr="0">
            <a:noAutofit/>
          </a:bodyPr>
          <a:lstStyle>
            <a:lvl1pPr marL="914400" lvl="0" indent="-571500" rtl="0">
              <a:spcBef>
                <a:spcPts val="0"/>
              </a:spcBef>
              <a:spcAft>
                <a:spcPts val="0"/>
              </a:spcAft>
              <a:buClr>
                <a:srgbClr val="222222"/>
              </a:buClr>
              <a:buSzPts val="900"/>
              <a:buChar char="●"/>
              <a:defRPr sz="1800">
                <a:solidFill>
                  <a:srgbClr val="222222"/>
                </a:solidFill>
              </a:defRPr>
            </a:lvl1pPr>
            <a:lvl2pPr marL="1828800" lvl="1" indent="-571500" rtl="0">
              <a:spcBef>
                <a:spcPts val="3200"/>
              </a:spcBef>
              <a:spcAft>
                <a:spcPts val="0"/>
              </a:spcAft>
              <a:buClr>
                <a:srgbClr val="222222"/>
              </a:buClr>
              <a:buSzPts val="900"/>
              <a:buChar char="○"/>
              <a:defRPr sz="1800">
                <a:solidFill>
                  <a:srgbClr val="222222"/>
                </a:solidFill>
              </a:defRPr>
            </a:lvl2pPr>
            <a:lvl3pPr marL="2743200" lvl="2" indent="-571500" rtl="0">
              <a:spcBef>
                <a:spcPts val="3200"/>
              </a:spcBef>
              <a:spcAft>
                <a:spcPts val="0"/>
              </a:spcAft>
              <a:buClr>
                <a:srgbClr val="222222"/>
              </a:buClr>
              <a:buSzPts val="900"/>
              <a:buChar char="■"/>
              <a:defRPr sz="1800">
                <a:solidFill>
                  <a:srgbClr val="222222"/>
                </a:solidFill>
              </a:defRPr>
            </a:lvl3pPr>
            <a:lvl4pPr marL="3657600" lvl="3" indent="-571500" rtl="0">
              <a:spcBef>
                <a:spcPts val="3200"/>
              </a:spcBef>
              <a:spcAft>
                <a:spcPts val="0"/>
              </a:spcAft>
              <a:buClr>
                <a:srgbClr val="222222"/>
              </a:buClr>
              <a:buSzPts val="900"/>
              <a:buChar char="●"/>
              <a:defRPr sz="1800">
                <a:solidFill>
                  <a:srgbClr val="222222"/>
                </a:solidFill>
              </a:defRPr>
            </a:lvl4pPr>
            <a:lvl5pPr marL="4572000" lvl="4" indent="-571500" rtl="0">
              <a:spcBef>
                <a:spcPts val="3200"/>
              </a:spcBef>
              <a:spcAft>
                <a:spcPts val="0"/>
              </a:spcAft>
              <a:buClr>
                <a:srgbClr val="222222"/>
              </a:buClr>
              <a:buSzPts val="900"/>
              <a:buChar char="○"/>
              <a:defRPr sz="1800">
                <a:solidFill>
                  <a:srgbClr val="222222"/>
                </a:solidFill>
              </a:defRPr>
            </a:lvl5pPr>
            <a:lvl6pPr marL="5486400" lvl="5" indent="-571500" rtl="0">
              <a:spcBef>
                <a:spcPts val="3200"/>
              </a:spcBef>
              <a:spcAft>
                <a:spcPts val="0"/>
              </a:spcAft>
              <a:buClr>
                <a:srgbClr val="222222"/>
              </a:buClr>
              <a:buSzPts val="900"/>
              <a:buChar char="■"/>
              <a:defRPr sz="1800">
                <a:solidFill>
                  <a:srgbClr val="222222"/>
                </a:solidFill>
              </a:defRPr>
            </a:lvl6pPr>
            <a:lvl7pPr marL="6400800" lvl="6" indent="-571500" rtl="0">
              <a:spcBef>
                <a:spcPts val="3200"/>
              </a:spcBef>
              <a:spcAft>
                <a:spcPts val="0"/>
              </a:spcAft>
              <a:buClr>
                <a:srgbClr val="222222"/>
              </a:buClr>
              <a:buSzPts val="900"/>
              <a:buChar char="●"/>
              <a:defRPr sz="1800">
                <a:solidFill>
                  <a:srgbClr val="222222"/>
                </a:solidFill>
              </a:defRPr>
            </a:lvl7pPr>
            <a:lvl8pPr marL="7315200" lvl="7" indent="-571500" rtl="0">
              <a:spcBef>
                <a:spcPts val="3200"/>
              </a:spcBef>
              <a:spcAft>
                <a:spcPts val="0"/>
              </a:spcAft>
              <a:buClr>
                <a:srgbClr val="222222"/>
              </a:buClr>
              <a:buSzPts val="900"/>
              <a:buChar char="○"/>
              <a:defRPr sz="1800">
                <a:solidFill>
                  <a:srgbClr val="222222"/>
                </a:solidFill>
              </a:defRPr>
            </a:lvl8pPr>
            <a:lvl9pPr marL="8229600" lvl="8" indent="-571500" rtl="0">
              <a:spcBef>
                <a:spcPts val="3200"/>
              </a:spcBef>
              <a:spcAft>
                <a:spcPts val="3200"/>
              </a:spcAft>
              <a:buClr>
                <a:srgbClr val="222222"/>
              </a:buClr>
              <a:buSzPts val="900"/>
              <a:buChar char="■"/>
              <a:defRPr sz="1800">
                <a:solidFill>
                  <a:srgbClr val="222222"/>
                </a:solidFill>
              </a:defRPr>
            </a:lvl9pPr>
          </a:lstStyle>
          <a:p>
            <a:endParaRPr/>
          </a:p>
        </p:txBody>
      </p:sp>
      <p:sp>
        <p:nvSpPr>
          <p:cNvPr id="127" name="Google Shape;127;p19"/>
          <p:cNvSpPr txBox="1">
            <a:spLocks noGrp="1"/>
          </p:cNvSpPr>
          <p:nvPr>
            <p:ph type="subTitle" idx="4"/>
          </p:nvPr>
        </p:nvSpPr>
        <p:spPr>
          <a:xfrm>
            <a:off x="8778900" y="8568450"/>
            <a:ext cx="9263400" cy="15852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9pPr>
          </a:lstStyle>
          <a:p>
            <a:endParaRPr/>
          </a:p>
        </p:txBody>
      </p:sp>
      <p:pic>
        <p:nvPicPr>
          <p:cNvPr id="2" name="Google Shape;72;p11">
            <a:extLst>
              <a:ext uri="{FF2B5EF4-FFF2-40B4-BE49-F238E27FC236}">
                <a16:creationId xmlns:a16="http://schemas.microsoft.com/office/drawing/2014/main" id="{36A6BB56-C0DA-9CD7-CC91-0F2D1B1BB104}"/>
              </a:ext>
            </a:extLst>
          </p:cNvPr>
          <p:cNvPicPr preferRelativeResize="0"/>
          <p:nvPr userDrawn="1"/>
        </p:nvPicPr>
        <p:blipFill>
          <a:blip r:embed="rId3">
            <a:alphaModFix/>
          </a:blip>
          <a:stretch>
            <a:fillRect/>
          </a:stretch>
        </p:blipFill>
        <p:spPr>
          <a:xfrm>
            <a:off x="16471378" y="-232756"/>
            <a:ext cx="1800000" cy="1800000"/>
          </a:xfrm>
          <a:prstGeom prst="rect">
            <a:avLst/>
          </a:prstGeom>
          <a:noFill/>
          <a:ln>
            <a:noFill/>
          </a:ln>
        </p:spPr>
      </p:pic>
    </p:spTree>
    <p:extLst>
      <p:ext uri="{BB962C8B-B14F-4D97-AF65-F5344CB8AC3E}">
        <p14:creationId xmlns:p14="http://schemas.microsoft.com/office/powerpoint/2010/main" val="8775181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matchingName="Título e corpo 3" preserve="1" userDrawn="1">
  <p:cSld name="1_Título e corpo 3">
    <p:bg>
      <p:bgPr>
        <a:solidFill>
          <a:srgbClr val="FFFFFF"/>
        </a:solidFill>
        <a:effectLst/>
      </p:bgPr>
    </p:bg>
    <p:spTree>
      <p:nvGrpSpPr>
        <p:cNvPr id="1" name="Shape 61"/>
        <p:cNvGrpSpPr/>
        <p:nvPr/>
      </p:nvGrpSpPr>
      <p:grpSpPr>
        <a:xfrm>
          <a:off x="0" y="0"/>
          <a:ext cx="0" cy="0"/>
          <a:chOff x="0" y="0"/>
          <a:chExt cx="0" cy="0"/>
        </a:xfrm>
      </p:grpSpPr>
      <p:sp>
        <p:nvSpPr>
          <p:cNvPr id="62" name="Google Shape;62;p10"/>
          <p:cNvSpPr txBox="1">
            <a:spLocks noGrp="1"/>
          </p:cNvSpPr>
          <p:nvPr>
            <p:ph type="title"/>
          </p:nvPr>
        </p:nvSpPr>
        <p:spPr>
          <a:xfrm>
            <a:off x="1080600" y="1042450"/>
            <a:ext cx="10216200" cy="11454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222222"/>
              </a:buClr>
              <a:buSzPts val="2000"/>
              <a:buNone/>
              <a:defRPr sz="4000">
                <a:solidFill>
                  <a:srgbClr val="222222"/>
                </a:solidFill>
              </a:defRPr>
            </a:lvl1pPr>
            <a:lvl2pPr lvl="1" rtl="0">
              <a:spcBef>
                <a:spcPts val="0"/>
              </a:spcBef>
              <a:spcAft>
                <a:spcPts val="0"/>
              </a:spcAft>
              <a:buClr>
                <a:srgbClr val="222222"/>
              </a:buClr>
              <a:buSzPts val="2000"/>
              <a:buNone/>
              <a:defRPr>
                <a:solidFill>
                  <a:srgbClr val="222222"/>
                </a:solidFill>
              </a:defRPr>
            </a:lvl2pPr>
            <a:lvl3pPr lvl="2" rtl="0">
              <a:spcBef>
                <a:spcPts val="0"/>
              </a:spcBef>
              <a:spcAft>
                <a:spcPts val="0"/>
              </a:spcAft>
              <a:buClr>
                <a:srgbClr val="222222"/>
              </a:buClr>
              <a:buSzPts val="2000"/>
              <a:buNone/>
              <a:defRPr>
                <a:solidFill>
                  <a:srgbClr val="222222"/>
                </a:solidFill>
              </a:defRPr>
            </a:lvl3pPr>
            <a:lvl4pPr lvl="3" rtl="0">
              <a:spcBef>
                <a:spcPts val="0"/>
              </a:spcBef>
              <a:spcAft>
                <a:spcPts val="0"/>
              </a:spcAft>
              <a:buClr>
                <a:srgbClr val="222222"/>
              </a:buClr>
              <a:buSzPts val="2000"/>
              <a:buNone/>
              <a:defRPr>
                <a:solidFill>
                  <a:srgbClr val="222222"/>
                </a:solidFill>
              </a:defRPr>
            </a:lvl4pPr>
            <a:lvl5pPr lvl="4" rtl="0">
              <a:spcBef>
                <a:spcPts val="0"/>
              </a:spcBef>
              <a:spcAft>
                <a:spcPts val="0"/>
              </a:spcAft>
              <a:buClr>
                <a:srgbClr val="222222"/>
              </a:buClr>
              <a:buSzPts val="2000"/>
              <a:buNone/>
              <a:defRPr>
                <a:solidFill>
                  <a:srgbClr val="222222"/>
                </a:solidFill>
              </a:defRPr>
            </a:lvl5pPr>
            <a:lvl6pPr lvl="5" rtl="0">
              <a:spcBef>
                <a:spcPts val="0"/>
              </a:spcBef>
              <a:spcAft>
                <a:spcPts val="0"/>
              </a:spcAft>
              <a:buClr>
                <a:srgbClr val="222222"/>
              </a:buClr>
              <a:buSzPts val="2000"/>
              <a:buNone/>
              <a:defRPr>
                <a:solidFill>
                  <a:srgbClr val="222222"/>
                </a:solidFill>
              </a:defRPr>
            </a:lvl6pPr>
            <a:lvl7pPr lvl="6" rtl="0">
              <a:spcBef>
                <a:spcPts val="0"/>
              </a:spcBef>
              <a:spcAft>
                <a:spcPts val="0"/>
              </a:spcAft>
              <a:buClr>
                <a:srgbClr val="222222"/>
              </a:buClr>
              <a:buSzPts val="2000"/>
              <a:buNone/>
              <a:defRPr>
                <a:solidFill>
                  <a:srgbClr val="222222"/>
                </a:solidFill>
              </a:defRPr>
            </a:lvl7pPr>
            <a:lvl8pPr lvl="7" rtl="0">
              <a:spcBef>
                <a:spcPts val="0"/>
              </a:spcBef>
              <a:spcAft>
                <a:spcPts val="0"/>
              </a:spcAft>
              <a:buClr>
                <a:srgbClr val="222222"/>
              </a:buClr>
              <a:buSzPts val="2000"/>
              <a:buNone/>
              <a:defRPr>
                <a:solidFill>
                  <a:srgbClr val="222222"/>
                </a:solidFill>
              </a:defRPr>
            </a:lvl8pPr>
            <a:lvl9pPr lvl="8" rtl="0">
              <a:spcBef>
                <a:spcPts val="0"/>
              </a:spcBef>
              <a:spcAft>
                <a:spcPts val="0"/>
              </a:spcAft>
              <a:buClr>
                <a:srgbClr val="222222"/>
              </a:buClr>
              <a:buSzPts val="2000"/>
              <a:buNone/>
              <a:defRPr>
                <a:solidFill>
                  <a:srgbClr val="222222"/>
                </a:solidFill>
              </a:defRPr>
            </a:lvl9pPr>
          </a:lstStyle>
          <a:p>
            <a:endParaRPr/>
          </a:p>
        </p:txBody>
      </p:sp>
      <p:sp>
        <p:nvSpPr>
          <p:cNvPr id="63" name="Google Shape;63;p10"/>
          <p:cNvSpPr txBox="1">
            <a:spLocks noGrp="1"/>
          </p:cNvSpPr>
          <p:nvPr>
            <p:ph type="body" idx="1"/>
          </p:nvPr>
        </p:nvSpPr>
        <p:spPr>
          <a:xfrm>
            <a:off x="1080600" y="3130350"/>
            <a:ext cx="12462600" cy="5891400"/>
          </a:xfrm>
          <a:prstGeom prst="rect">
            <a:avLst/>
          </a:prstGeom>
        </p:spPr>
        <p:txBody>
          <a:bodyPr spcFirstLastPara="1" wrap="square" lIns="91425" tIns="91425" rIns="91425" bIns="91425" anchor="t" anchorCtr="0">
            <a:noAutofit/>
          </a:bodyPr>
          <a:lstStyle>
            <a:lvl1pPr marL="914400" lvl="0" indent="-609600" rtl="0">
              <a:spcBef>
                <a:spcPts val="0"/>
              </a:spcBef>
              <a:spcAft>
                <a:spcPts val="0"/>
              </a:spcAft>
              <a:buClr>
                <a:srgbClr val="222222"/>
              </a:buClr>
              <a:buSzPts val="1200"/>
              <a:buChar char="●"/>
              <a:defRPr sz="2400">
                <a:solidFill>
                  <a:srgbClr val="222222"/>
                </a:solidFill>
              </a:defRPr>
            </a:lvl1pPr>
            <a:lvl2pPr marL="1828800" lvl="1" indent="-609600" rtl="0">
              <a:spcBef>
                <a:spcPts val="3200"/>
              </a:spcBef>
              <a:spcAft>
                <a:spcPts val="0"/>
              </a:spcAft>
              <a:buClr>
                <a:srgbClr val="222222"/>
              </a:buClr>
              <a:buSzPts val="1200"/>
              <a:buChar char="○"/>
              <a:defRPr sz="2400">
                <a:solidFill>
                  <a:srgbClr val="222222"/>
                </a:solidFill>
              </a:defRPr>
            </a:lvl2pPr>
            <a:lvl3pPr marL="2743200" lvl="2" indent="-584200" rtl="0">
              <a:spcBef>
                <a:spcPts val="3200"/>
              </a:spcBef>
              <a:spcAft>
                <a:spcPts val="0"/>
              </a:spcAft>
              <a:buClr>
                <a:srgbClr val="222222"/>
              </a:buClr>
              <a:buSzPts val="1000"/>
              <a:buChar char="■"/>
              <a:defRPr sz="2000">
                <a:solidFill>
                  <a:srgbClr val="222222"/>
                </a:solidFill>
              </a:defRPr>
            </a:lvl3pPr>
            <a:lvl4pPr marL="3657600" lvl="3" indent="-584200" rtl="0">
              <a:spcBef>
                <a:spcPts val="3200"/>
              </a:spcBef>
              <a:spcAft>
                <a:spcPts val="0"/>
              </a:spcAft>
              <a:buClr>
                <a:srgbClr val="222222"/>
              </a:buClr>
              <a:buSzPts val="1000"/>
              <a:buChar char="●"/>
              <a:defRPr sz="2000">
                <a:solidFill>
                  <a:srgbClr val="222222"/>
                </a:solidFill>
              </a:defRPr>
            </a:lvl4pPr>
            <a:lvl5pPr marL="4572000" lvl="4" indent="-558800" rtl="0">
              <a:spcBef>
                <a:spcPts val="3200"/>
              </a:spcBef>
              <a:spcAft>
                <a:spcPts val="0"/>
              </a:spcAft>
              <a:buClr>
                <a:srgbClr val="222222"/>
              </a:buClr>
              <a:buSzPts val="800"/>
              <a:buChar char="○"/>
              <a:defRPr sz="1600">
                <a:solidFill>
                  <a:srgbClr val="222222"/>
                </a:solidFill>
              </a:defRPr>
            </a:lvl5pPr>
            <a:lvl6pPr marL="5486400" lvl="5" indent="-558800" rtl="0">
              <a:spcBef>
                <a:spcPts val="3200"/>
              </a:spcBef>
              <a:spcAft>
                <a:spcPts val="0"/>
              </a:spcAft>
              <a:buClr>
                <a:srgbClr val="222222"/>
              </a:buClr>
              <a:buSzPts val="800"/>
              <a:buChar char="■"/>
              <a:defRPr sz="1600">
                <a:solidFill>
                  <a:srgbClr val="222222"/>
                </a:solidFill>
              </a:defRPr>
            </a:lvl6pPr>
            <a:lvl7pPr marL="6400800" lvl="6" indent="-609600" rtl="0">
              <a:spcBef>
                <a:spcPts val="3200"/>
              </a:spcBef>
              <a:spcAft>
                <a:spcPts val="0"/>
              </a:spcAft>
              <a:buClr>
                <a:srgbClr val="222222"/>
              </a:buClr>
              <a:buSzPts val="1200"/>
              <a:buChar char="●"/>
              <a:defRPr>
                <a:solidFill>
                  <a:srgbClr val="222222"/>
                </a:solidFill>
              </a:defRPr>
            </a:lvl7pPr>
            <a:lvl8pPr marL="7315200" lvl="7" indent="-609600" rtl="0">
              <a:spcBef>
                <a:spcPts val="3200"/>
              </a:spcBef>
              <a:spcAft>
                <a:spcPts val="0"/>
              </a:spcAft>
              <a:buClr>
                <a:srgbClr val="222222"/>
              </a:buClr>
              <a:buSzPts val="1200"/>
              <a:buChar char="○"/>
              <a:defRPr>
                <a:solidFill>
                  <a:srgbClr val="222222"/>
                </a:solidFill>
              </a:defRPr>
            </a:lvl8pPr>
            <a:lvl9pPr marL="8229600" lvl="8" indent="-609600" rtl="0">
              <a:spcBef>
                <a:spcPts val="3200"/>
              </a:spcBef>
              <a:spcAft>
                <a:spcPts val="3200"/>
              </a:spcAft>
              <a:buClr>
                <a:srgbClr val="222222"/>
              </a:buClr>
              <a:buSzPts val="1200"/>
              <a:buChar char="■"/>
              <a:defRPr>
                <a:solidFill>
                  <a:srgbClr val="222222"/>
                </a:solidFill>
              </a:defRPr>
            </a:lvl9pPr>
          </a:lstStyle>
          <a:p>
            <a:endParaRPr/>
          </a:p>
        </p:txBody>
      </p:sp>
      <p:pic>
        <p:nvPicPr>
          <p:cNvPr id="65" name="Google Shape;65;p10"/>
          <p:cNvPicPr preferRelativeResize="0"/>
          <p:nvPr/>
        </p:nvPicPr>
        <p:blipFill>
          <a:blip r:embed="rId2">
            <a:alphaModFix/>
          </a:blip>
          <a:stretch>
            <a:fillRect/>
          </a:stretch>
        </p:blipFill>
        <p:spPr>
          <a:xfrm>
            <a:off x="16183201" y="-304799"/>
            <a:ext cx="1799998" cy="1799998"/>
          </a:xfrm>
          <a:prstGeom prst="rect">
            <a:avLst/>
          </a:prstGeom>
          <a:noFill/>
          <a:ln>
            <a:noFill/>
          </a:ln>
        </p:spPr>
      </p:pic>
      <p:sp>
        <p:nvSpPr>
          <p:cNvPr id="67" name="Google Shape;67;p10"/>
          <p:cNvSpPr/>
          <p:nvPr/>
        </p:nvSpPr>
        <p:spPr>
          <a:xfrm>
            <a:off x="0" y="600300"/>
            <a:ext cx="15748800" cy="14400"/>
          </a:xfrm>
          <a:prstGeom prst="rect">
            <a:avLst/>
          </a:prstGeom>
          <a:gradFill>
            <a:gsLst>
              <a:gs pos="0">
                <a:srgbClr val="FF2C34"/>
              </a:gs>
              <a:gs pos="100000">
                <a:srgbClr val="6800FF"/>
              </a:gs>
            </a:gsLst>
            <a:lin ang="2698631" scaled="0"/>
          </a:gra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sz="2800"/>
          </a:p>
        </p:txBody>
      </p:sp>
    </p:spTree>
    <p:extLst>
      <p:ext uri="{BB962C8B-B14F-4D97-AF65-F5344CB8AC3E}">
        <p14:creationId xmlns:p14="http://schemas.microsoft.com/office/powerpoint/2010/main" val="33719849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matchingName="Título e corpo 3" preserve="1" userDrawn="1">
  <p:cSld name="Título e corpo 3">
    <p:bg>
      <p:bgPr>
        <a:solidFill>
          <a:srgbClr val="FFFFFF"/>
        </a:solidFill>
        <a:effectLst/>
      </p:bgPr>
    </p:bg>
    <p:spTree>
      <p:nvGrpSpPr>
        <p:cNvPr id="1" name="Shape 61"/>
        <p:cNvGrpSpPr/>
        <p:nvPr/>
      </p:nvGrpSpPr>
      <p:grpSpPr>
        <a:xfrm>
          <a:off x="0" y="0"/>
          <a:ext cx="0" cy="0"/>
          <a:chOff x="0" y="0"/>
          <a:chExt cx="0" cy="0"/>
        </a:xfrm>
      </p:grpSpPr>
      <p:pic>
        <p:nvPicPr>
          <p:cNvPr id="3" name="Google Shape;158;p24">
            <a:extLst>
              <a:ext uri="{FF2B5EF4-FFF2-40B4-BE49-F238E27FC236}">
                <a16:creationId xmlns:a16="http://schemas.microsoft.com/office/drawing/2014/main" id="{5021FAD6-0D90-14ED-4A34-246DD23C1BA6}"/>
              </a:ext>
            </a:extLst>
          </p:cNvPr>
          <p:cNvPicPr preferRelativeResize="0"/>
          <p:nvPr userDrawn="1"/>
        </p:nvPicPr>
        <p:blipFill>
          <a:blip r:embed="rId2" cstate="email">
            <a:alphaModFix/>
            <a:extLst>
              <a:ext uri="{28A0092B-C50C-407E-A947-70E740481C1C}">
                <a14:useLocalDpi xmlns:a14="http://schemas.microsoft.com/office/drawing/2010/main"/>
              </a:ext>
            </a:extLst>
          </a:blip>
          <a:stretch>
            <a:fillRect/>
          </a:stretch>
        </p:blipFill>
        <p:spPr>
          <a:xfrm>
            <a:off x="16306501" y="250710"/>
            <a:ext cx="1806780" cy="1267113"/>
          </a:xfrm>
          <a:prstGeom prst="rect">
            <a:avLst/>
          </a:prstGeom>
          <a:noFill/>
          <a:ln>
            <a:noFill/>
          </a:ln>
        </p:spPr>
      </p:pic>
    </p:spTree>
    <p:extLst>
      <p:ext uri="{BB962C8B-B14F-4D97-AF65-F5344CB8AC3E}">
        <p14:creationId xmlns:p14="http://schemas.microsoft.com/office/powerpoint/2010/main" val="10665665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matchingName="Título e corpo 3 1" preserve="1" userDrawn="1">
  <p:cSld name="Título e corpo 3 1">
    <p:bg>
      <p:bgPr>
        <a:solidFill>
          <a:srgbClr val="FFFFFF"/>
        </a:solidFill>
        <a:effectLst/>
      </p:bgPr>
    </p:bg>
    <p:spTree>
      <p:nvGrpSpPr>
        <p:cNvPr id="1" name="Shape 68"/>
        <p:cNvGrpSpPr/>
        <p:nvPr/>
      </p:nvGrpSpPr>
      <p:grpSpPr>
        <a:xfrm>
          <a:off x="0" y="0"/>
          <a:ext cx="0" cy="0"/>
          <a:chOff x="0" y="0"/>
          <a:chExt cx="0" cy="0"/>
        </a:xfrm>
      </p:grpSpPr>
      <p:sp>
        <p:nvSpPr>
          <p:cNvPr id="69" name="Google Shape;69;p11"/>
          <p:cNvSpPr txBox="1">
            <a:spLocks noGrp="1"/>
          </p:cNvSpPr>
          <p:nvPr>
            <p:ph type="title"/>
          </p:nvPr>
        </p:nvSpPr>
        <p:spPr>
          <a:xfrm>
            <a:off x="1080600" y="1042450"/>
            <a:ext cx="10216200" cy="11454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222222"/>
              </a:buClr>
              <a:buSzPts val="2000"/>
              <a:buNone/>
              <a:defRPr sz="4000">
                <a:solidFill>
                  <a:srgbClr val="222222"/>
                </a:solidFill>
              </a:defRPr>
            </a:lvl1pPr>
            <a:lvl2pPr lvl="1" rtl="0">
              <a:spcBef>
                <a:spcPts val="0"/>
              </a:spcBef>
              <a:spcAft>
                <a:spcPts val="0"/>
              </a:spcAft>
              <a:buClr>
                <a:srgbClr val="222222"/>
              </a:buClr>
              <a:buSzPts val="2000"/>
              <a:buNone/>
              <a:defRPr>
                <a:solidFill>
                  <a:srgbClr val="222222"/>
                </a:solidFill>
              </a:defRPr>
            </a:lvl2pPr>
            <a:lvl3pPr lvl="2" rtl="0">
              <a:spcBef>
                <a:spcPts val="0"/>
              </a:spcBef>
              <a:spcAft>
                <a:spcPts val="0"/>
              </a:spcAft>
              <a:buClr>
                <a:srgbClr val="222222"/>
              </a:buClr>
              <a:buSzPts val="2000"/>
              <a:buNone/>
              <a:defRPr>
                <a:solidFill>
                  <a:srgbClr val="222222"/>
                </a:solidFill>
              </a:defRPr>
            </a:lvl3pPr>
            <a:lvl4pPr lvl="3" rtl="0">
              <a:spcBef>
                <a:spcPts val="0"/>
              </a:spcBef>
              <a:spcAft>
                <a:spcPts val="0"/>
              </a:spcAft>
              <a:buClr>
                <a:srgbClr val="222222"/>
              </a:buClr>
              <a:buSzPts val="2000"/>
              <a:buNone/>
              <a:defRPr>
                <a:solidFill>
                  <a:srgbClr val="222222"/>
                </a:solidFill>
              </a:defRPr>
            </a:lvl4pPr>
            <a:lvl5pPr lvl="4" rtl="0">
              <a:spcBef>
                <a:spcPts val="0"/>
              </a:spcBef>
              <a:spcAft>
                <a:spcPts val="0"/>
              </a:spcAft>
              <a:buClr>
                <a:srgbClr val="222222"/>
              </a:buClr>
              <a:buSzPts val="2000"/>
              <a:buNone/>
              <a:defRPr>
                <a:solidFill>
                  <a:srgbClr val="222222"/>
                </a:solidFill>
              </a:defRPr>
            </a:lvl5pPr>
            <a:lvl6pPr lvl="5" rtl="0">
              <a:spcBef>
                <a:spcPts val="0"/>
              </a:spcBef>
              <a:spcAft>
                <a:spcPts val="0"/>
              </a:spcAft>
              <a:buClr>
                <a:srgbClr val="222222"/>
              </a:buClr>
              <a:buSzPts val="2000"/>
              <a:buNone/>
              <a:defRPr>
                <a:solidFill>
                  <a:srgbClr val="222222"/>
                </a:solidFill>
              </a:defRPr>
            </a:lvl6pPr>
            <a:lvl7pPr lvl="6" rtl="0">
              <a:spcBef>
                <a:spcPts val="0"/>
              </a:spcBef>
              <a:spcAft>
                <a:spcPts val="0"/>
              </a:spcAft>
              <a:buClr>
                <a:srgbClr val="222222"/>
              </a:buClr>
              <a:buSzPts val="2000"/>
              <a:buNone/>
              <a:defRPr>
                <a:solidFill>
                  <a:srgbClr val="222222"/>
                </a:solidFill>
              </a:defRPr>
            </a:lvl7pPr>
            <a:lvl8pPr lvl="7" rtl="0">
              <a:spcBef>
                <a:spcPts val="0"/>
              </a:spcBef>
              <a:spcAft>
                <a:spcPts val="0"/>
              </a:spcAft>
              <a:buClr>
                <a:srgbClr val="222222"/>
              </a:buClr>
              <a:buSzPts val="2000"/>
              <a:buNone/>
              <a:defRPr>
                <a:solidFill>
                  <a:srgbClr val="222222"/>
                </a:solidFill>
              </a:defRPr>
            </a:lvl8pPr>
            <a:lvl9pPr lvl="8" rtl="0">
              <a:spcBef>
                <a:spcPts val="0"/>
              </a:spcBef>
              <a:spcAft>
                <a:spcPts val="0"/>
              </a:spcAft>
              <a:buClr>
                <a:srgbClr val="222222"/>
              </a:buClr>
              <a:buSzPts val="2000"/>
              <a:buNone/>
              <a:defRPr>
                <a:solidFill>
                  <a:srgbClr val="222222"/>
                </a:solidFill>
              </a:defRPr>
            </a:lvl9pPr>
          </a:lstStyle>
          <a:p>
            <a:endParaRPr/>
          </a:p>
        </p:txBody>
      </p:sp>
      <p:sp>
        <p:nvSpPr>
          <p:cNvPr id="70" name="Google Shape;70;p11"/>
          <p:cNvSpPr txBox="1">
            <a:spLocks noGrp="1"/>
          </p:cNvSpPr>
          <p:nvPr>
            <p:ph type="body" idx="1"/>
          </p:nvPr>
        </p:nvSpPr>
        <p:spPr>
          <a:xfrm>
            <a:off x="1080600" y="3130350"/>
            <a:ext cx="12462600" cy="5891400"/>
          </a:xfrm>
          <a:prstGeom prst="rect">
            <a:avLst/>
          </a:prstGeom>
        </p:spPr>
        <p:txBody>
          <a:bodyPr spcFirstLastPara="1" wrap="square" lIns="91425" tIns="91425" rIns="91425" bIns="91425" anchor="t" anchorCtr="0">
            <a:noAutofit/>
          </a:bodyPr>
          <a:lstStyle>
            <a:lvl1pPr marL="914400" lvl="0" indent="-609600" rtl="0">
              <a:spcBef>
                <a:spcPts val="0"/>
              </a:spcBef>
              <a:spcAft>
                <a:spcPts val="0"/>
              </a:spcAft>
              <a:buClr>
                <a:srgbClr val="222222"/>
              </a:buClr>
              <a:buSzPts val="1200"/>
              <a:buChar char="●"/>
              <a:defRPr sz="2400">
                <a:solidFill>
                  <a:srgbClr val="222222"/>
                </a:solidFill>
              </a:defRPr>
            </a:lvl1pPr>
            <a:lvl2pPr marL="1828800" lvl="1" indent="-609600" rtl="0">
              <a:spcBef>
                <a:spcPts val="3200"/>
              </a:spcBef>
              <a:spcAft>
                <a:spcPts val="0"/>
              </a:spcAft>
              <a:buClr>
                <a:srgbClr val="222222"/>
              </a:buClr>
              <a:buSzPts val="1200"/>
              <a:buChar char="○"/>
              <a:defRPr sz="2400">
                <a:solidFill>
                  <a:srgbClr val="222222"/>
                </a:solidFill>
              </a:defRPr>
            </a:lvl2pPr>
            <a:lvl3pPr marL="2743200" lvl="2" indent="-584200" rtl="0">
              <a:spcBef>
                <a:spcPts val="3200"/>
              </a:spcBef>
              <a:spcAft>
                <a:spcPts val="0"/>
              </a:spcAft>
              <a:buClr>
                <a:srgbClr val="222222"/>
              </a:buClr>
              <a:buSzPts val="1000"/>
              <a:buChar char="■"/>
              <a:defRPr sz="2000">
                <a:solidFill>
                  <a:srgbClr val="222222"/>
                </a:solidFill>
              </a:defRPr>
            </a:lvl3pPr>
            <a:lvl4pPr marL="3657600" lvl="3" indent="-584200" rtl="0">
              <a:spcBef>
                <a:spcPts val="3200"/>
              </a:spcBef>
              <a:spcAft>
                <a:spcPts val="0"/>
              </a:spcAft>
              <a:buClr>
                <a:srgbClr val="222222"/>
              </a:buClr>
              <a:buSzPts val="1000"/>
              <a:buChar char="●"/>
              <a:defRPr sz="2000">
                <a:solidFill>
                  <a:srgbClr val="222222"/>
                </a:solidFill>
              </a:defRPr>
            </a:lvl4pPr>
            <a:lvl5pPr marL="4572000" lvl="4" indent="-558800" rtl="0">
              <a:spcBef>
                <a:spcPts val="3200"/>
              </a:spcBef>
              <a:spcAft>
                <a:spcPts val="0"/>
              </a:spcAft>
              <a:buClr>
                <a:srgbClr val="222222"/>
              </a:buClr>
              <a:buSzPts val="800"/>
              <a:buChar char="○"/>
              <a:defRPr sz="1600">
                <a:solidFill>
                  <a:srgbClr val="222222"/>
                </a:solidFill>
              </a:defRPr>
            </a:lvl5pPr>
            <a:lvl6pPr marL="5486400" lvl="5" indent="-558800" rtl="0">
              <a:spcBef>
                <a:spcPts val="3200"/>
              </a:spcBef>
              <a:spcAft>
                <a:spcPts val="0"/>
              </a:spcAft>
              <a:buClr>
                <a:srgbClr val="222222"/>
              </a:buClr>
              <a:buSzPts val="800"/>
              <a:buChar char="■"/>
              <a:defRPr sz="1600">
                <a:solidFill>
                  <a:srgbClr val="222222"/>
                </a:solidFill>
              </a:defRPr>
            </a:lvl6pPr>
            <a:lvl7pPr marL="6400800" lvl="6" indent="-609600" rtl="0">
              <a:spcBef>
                <a:spcPts val="3200"/>
              </a:spcBef>
              <a:spcAft>
                <a:spcPts val="0"/>
              </a:spcAft>
              <a:buClr>
                <a:srgbClr val="222222"/>
              </a:buClr>
              <a:buSzPts val="1200"/>
              <a:buChar char="●"/>
              <a:defRPr>
                <a:solidFill>
                  <a:srgbClr val="222222"/>
                </a:solidFill>
              </a:defRPr>
            </a:lvl7pPr>
            <a:lvl8pPr marL="7315200" lvl="7" indent="-609600" rtl="0">
              <a:spcBef>
                <a:spcPts val="3200"/>
              </a:spcBef>
              <a:spcAft>
                <a:spcPts val="0"/>
              </a:spcAft>
              <a:buClr>
                <a:srgbClr val="222222"/>
              </a:buClr>
              <a:buSzPts val="1200"/>
              <a:buChar char="○"/>
              <a:defRPr>
                <a:solidFill>
                  <a:srgbClr val="222222"/>
                </a:solidFill>
              </a:defRPr>
            </a:lvl8pPr>
            <a:lvl9pPr marL="8229600" lvl="8" indent="-609600" rtl="0">
              <a:spcBef>
                <a:spcPts val="3200"/>
              </a:spcBef>
              <a:spcAft>
                <a:spcPts val="3200"/>
              </a:spcAft>
              <a:buClr>
                <a:srgbClr val="222222"/>
              </a:buClr>
              <a:buSzPts val="1200"/>
              <a:buChar char="■"/>
              <a:defRPr>
                <a:solidFill>
                  <a:srgbClr val="222222"/>
                </a:solidFill>
              </a:defRPr>
            </a:lvl9pPr>
          </a:lstStyle>
          <a:p>
            <a:endParaRPr/>
          </a:p>
        </p:txBody>
      </p:sp>
      <p:pic>
        <p:nvPicPr>
          <p:cNvPr id="72" name="Google Shape;72;p11"/>
          <p:cNvPicPr preferRelativeResize="0"/>
          <p:nvPr/>
        </p:nvPicPr>
        <p:blipFill>
          <a:blip r:embed="rId2">
            <a:alphaModFix/>
          </a:blip>
          <a:stretch>
            <a:fillRect/>
          </a:stretch>
        </p:blipFill>
        <p:spPr>
          <a:xfrm>
            <a:off x="16183201" y="-304799"/>
            <a:ext cx="1799998" cy="1799998"/>
          </a:xfrm>
          <a:prstGeom prst="rect">
            <a:avLst/>
          </a:prstGeom>
          <a:noFill/>
          <a:ln>
            <a:noFill/>
          </a:ln>
        </p:spPr>
      </p:pic>
    </p:spTree>
    <p:extLst>
      <p:ext uri="{BB962C8B-B14F-4D97-AF65-F5344CB8AC3E}">
        <p14:creationId xmlns:p14="http://schemas.microsoft.com/office/powerpoint/2010/main" val="381497240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matchingName="Title and body 1" preserve="1">
  <p:cSld name="Title and body 1">
    <p:bg>
      <p:bgPr>
        <a:solidFill>
          <a:srgbClr val="222222"/>
        </a:solidFill>
        <a:effectLst/>
      </p:bgPr>
    </p:bg>
    <p:spTree>
      <p:nvGrpSpPr>
        <p:cNvPr id="1" name="Shape 80"/>
        <p:cNvGrpSpPr/>
        <p:nvPr/>
      </p:nvGrpSpPr>
      <p:grpSpPr>
        <a:xfrm>
          <a:off x="0" y="0"/>
          <a:ext cx="0" cy="0"/>
          <a:chOff x="0" y="0"/>
          <a:chExt cx="0" cy="0"/>
        </a:xfrm>
      </p:grpSpPr>
      <p:sp>
        <p:nvSpPr>
          <p:cNvPr id="81" name="Google Shape;81;p13"/>
          <p:cNvSpPr txBox="1">
            <a:spLocks noGrp="1"/>
          </p:cNvSpPr>
          <p:nvPr>
            <p:ph type="title"/>
          </p:nvPr>
        </p:nvSpPr>
        <p:spPr>
          <a:xfrm>
            <a:off x="1080600" y="1042450"/>
            <a:ext cx="10216200" cy="11454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FFFFFF"/>
              </a:buClr>
              <a:buSzPts val="2000"/>
              <a:buNone/>
              <a:defRPr sz="4000">
                <a:solidFill>
                  <a:srgbClr val="FFFFFF"/>
                </a:solidFill>
              </a:defRPr>
            </a:lvl1pPr>
            <a:lvl2pPr lvl="1" rtl="0">
              <a:spcBef>
                <a:spcPts val="0"/>
              </a:spcBef>
              <a:spcAft>
                <a:spcPts val="0"/>
              </a:spcAft>
              <a:buClr>
                <a:srgbClr val="FFFFFF"/>
              </a:buClr>
              <a:buSzPts val="2000"/>
              <a:buNone/>
              <a:defRPr>
                <a:solidFill>
                  <a:srgbClr val="FFFFFF"/>
                </a:solidFill>
              </a:defRPr>
            </a:lvl2pPr>
            <a:lvl3pPr lvl="2" rtl="0">
              <a:spcBef>
                <a:spcPts val="0"/>
              </a:spcBef>
              <a:spcAft>
                <a:spcPts val="0"/>
              </a:spcAft>
              <a:buClr>
                <a:srgbClr val="FFFFFF"/>
              </a:buClr>
              <a:buSzPts val="2000"/>
              <a:buNone/>
              <a:defRPr>
                <a:solidFill>
                  <a:srgbClr val="FFFFFF"/>
                </a:solidFill>
              </a:defRPr>
            </a:lvl3pPr>
            <a:lvl4pPr lvl="3" rtl="0">
              <a:spcBef>
                <a:spcPts val="0"/>
              </a:spcBef>
              <a:spcAft>
                <a:spcPts val="0"/>
              </a:spcAft>
              <a:buClr>
                <a:srgbClr val="FFFFFF"/>
              </a:buClr>
              <a:buSzPts val="2000"/>
              <a:buNone/>
              <a:defRPr>
                <a:solidFill>
                  <a:srgbClr val="FFFFFF"/>
                </a:solidFill>
              </a:defRPr>
            </a:lvl4pPr>
            <a:lvl5pPr lvl="4" rtl="0">
              <a:spcBef>
                <a:spcPts val="0"/>
              </a:spcBef>
              <a:spcAft>
                <a:spcPts val="0"/>
              </a:spcAft>
              <a:buClr>
                <a:srgbClr val="FFFFFF"/>
              </a:buClr>
              <a:buSzPts val="2000"/>
              <a:buNone/>
              <a:defRPr>
                <a:solidFill>
                  <a:srgbClr val="FFFFFF"/>
                </a:solidFill>
              </a:defRPr>
            </a:lvl5pPr>
            <a:lvl6pPr lvl="5" rtl="0">
              <a:spcBef>
                <a:spcPts val="0"/>
              </a:spcBef>
              <a:spcAft>
                <a:spcPts val="0"/>
              </a:spcAft>
              <a:buClr>
                <a:srgbClr val="FFFFFF"/>
              </a:buClr>
              <a:buSzPts val="2000"/>
              <a:buNone/>
              <a:defRPr>
                <a:solidFill>
                  <a:srgbClr val="FFFFFF"/>
                </a:solidFill>
              </a:defRPr>
            </a:lvl6pPr>
            <a:lvl7pPr lvl="6" rtl="0">
              <a:spcBef>
                <a:spcPts val="0"/>
              </a:spcBef>
              <a:spcAft>
                <a:spcPts val="0"/>
              </a:spcAft>
              <a:buClr>
                <a:srgbClr val="FFFFFF"/>
              </a:buClr>
              <a:buSzPts val="2000"/>
              <a:buNone/>
              <a:defRPr>
                <a:solidFill>
                  <a:srgbClr val="FFFFFF"/>
                </a:solidFill>
              </a:defRPr>
            </a:lvl7pPr>
            <a:lvl8pPr lvl="7" rtl="0">
              <a:spcBef>
                <a:spcPts val="0"/>
              </a:spcBef>
              <a:spcAft>
                <a:spcPts val="0"/>
              </a:spcAft>
              <a:buClr>
                <a:srgbClr val="FFFFFF"/>
              </a:buClr>
              <a:buSzPts val="2000"/>
              <a:buNone/>
              <a:defRPr>
                <a:solidFill>
                  <a:srgbClr val="FFFFFF"/>
                </a:solidFill>
              </a:defRPr>
            </a:lvl8pPr>
            <a:lvl9pPr lvl="8" rtl="0">
              <a:spcBef>
                <a:spcPts val="0"/>
              </a:spcBef>
              <a:spcAft>
                <a:spcPts val="0"/>
              </a:spcAft>
              <a:buClr>
                <a:srgbClr val="FFFFFF"/>
              </a:buClr>
              <a:buSzPts val="2000"/>
              <a:buNone/>
              <a:defRPr>
                <a:solidFill>
                  <a:srgbClr val="FFFFFF"/>
                </a:solidFill>
              </a:defRPr>
            </a:lvl9pPr>
          </a:lstStyle>
          <a:p>
            <a:endParaRPr/>
          </a:p>
        </p:txBody>
      </p:sp>
      <p:sp>
        <p:nvSpPr>
          <p:cNvPr id="82" name="Google Shape;82;p13"/>
          <p:cNvSpPr txBox="1">
            <a:spLocks noGrp="1"/>
          </p:cNvSpPr>
          <p:nvPr>
            <p:ph type="body" idx="1"/>
          </p:nvPr>
        </p:nvSpPr>
        <p:spPr>
          <a:xfrm>
            <a:off x="490000" y="5128700"/>
            <a:ext cx="12462600" cy="5891400"/>
          </a:xfrm>
          <a:prstGeom prst="rect">
            <a:avLst/>
          </a:prstGeom>
        </p:spPr>
        <p:txBody>
          <a:bodyPr spcFirstLastPara="1" wrap="square" lIns="91425" tIns="91425" rIns="91425" bIns="91425" anchor="t" anchorCtr="0">
            <a:noAutofit/>
          </a:bodyPr>
          <a:lstStyle>
            <a:lvl1pPr marL="914400" lvl="0" indent="-609600" rtl="0">
              <a:spcBef>
                <a:spcPts val="0"/>
              </a:spcBef>
              <a:spcAft>
                <a:spcPts val="0"/>
              </a:spcAft>
              <a:buClr>
                <a:srgbClr val="FFFFFF"/>
              </a:buClr>
              <a:buSzPts val="1200"/>
              <a:buChar char="●"/>
              <a:defRPr sz="2400">
                <a:solidFill>
                  <a:srgbClr val="FFFFFF"/>
                </a:solidFill>
              </a:defRPr>
            </a:lvl1pPr>
            <a:lvl2pPr marL="1828800" lvl="1" indent="-609600" rtl="0">
              <a:spcBef>
                <a:spcPts val="3200"/>
              </a:spcBef>
              <a:spcAft>
                <a:spcPts val="0"/>
              </a:spcAft>
              <a:buClr>
                <a:srgbClr val="FFFFFF"/>
              </a:buClr>
              <a:buSzPts val="1200"/>
              <a:buChar char="○"/>
              <a:defRPr sz="2400">
                <a:solidFill>
                  <a:srgbClr val="FFFFFF"/>
                </a:solidFill>
              </a:defRPr>
            </a:lvl2pPr>
            <a:lvl3pPr marL="2743200" lvl="2" indent="-584200" rtl="0">
              <a:spcBef>
                <a:spcPts val="3200"/>
              </a:spcBef>
              <a:spcAft>
                <a:spcPts val="0"/>
              </a:spcAft>
              <a:buClr>
                <a:srgbClr val="FFFFFF"/>
              </a:buClr>
              <a:buSzPts val="1000"/>
              <a:buChar char="■"/>
              <a:defRPr sz="2000">
                <a:solidFill>
                  <a:srgbClr val="FFFFFF"/>
                </a:solidFill>
              </a:defRPr>
            </a:lvl3pPr>
            <a:lvl4pPr marL="3657600" lvl="3" indent="-584200" rtl="0">
              <a:spcBef>
                <a:spcPts val="3200"/>
              </a:spcBef>
              <a:spcAft>
                <a:spcPts val="0"/>
              </a:spcAft>
              <a:buClr>
                <a:srgbClr val="FFFFFF"/>
              </a:buClr>
              <a:buSzPts val="1000"/>
              <a:buChar char="●"/>
              <a:defRPr sz="2000">
                <a:solidFill>
                  <a:srgbClr val="FFFFFF"/>
                </a:solidFill>
              </a:defRPr>
            </a:lvl4pPr>
            <a:lvl5pPr marL="4572000" lvl="4" indent="-558800" rtl="0">
              <a:spcBef>
                <a:spcPts val="3200"/>
              </a:spcBef>
              <a:spcAft>
                <a:spcPts val="0"/>
              </a:spcAft>
              <a:buClr>
                <a:srgbClr val="FFFFFF"/>
              </a:buClr>
              <a:buSzPts val="800"/>
              <a:buChar char="○"/>
              <a:defRPr sz="1600">
                <a:solidFill>
                  <a:srgbClr val="FFFFFF"/>
                </a:solidFill>
              </a:defRPr>
            </a:lvl5pPr>
            <a:lvl6pPr marL="5486400" lvl="5" indent="-558800" rtl="0">
              <a:spcBef>
                <a:spcPts val="3200"/>
              </a:spcBef>
              <a:spcAft>
                <a:spcPts val="0"/>
              </a:spcAft>
              <a:buClr>
                <a:srgbClr val="FFFFFF"/>
              </a:buClr>
              <a:buSzPts val="800"/>
              <a:buChar char="■"/>
              <a:defRPr sz="1600">
                <a:solidFill>
                  <a:srgbClr val="FFFFFF"/>
                </a:solidFill>
              </a:defRPr>
            </a:lvl6pPr>
            <a:lvl7pPr marL="6400800" lvl="6" indent="-609600" rtl="0">
              <a:spcBef>
                <a:spcPts val="3200"/>
              </a:spcBef>
              <a:spcAft>
                <a:spcPts val="0"/>
              </a:spcAft>
              <a:buClr>
                <a:srgbClr val="FFFFFF"/>
              </a:buClr>
              <a:buSzPts val="1200"/>
              <a:buChar char="●"/>
              <a:defRPr>
                <a:solidFill>
                  <a:srgbClr val="FFFFFF"/>
                </a:solidFill>
              </a:defRPr>
            </a:lvl7pPr>
            <a:lvl8pPr marL="7315200" lvl="7" indent="-609600" rtl="0">
              <a:spcBef>
                <a:spcPts val="3200"/>
              </a:spcBef>
              <a:spcAft>
                <a:spcPts val="0"/>
              </a:spcAft>
              <a:buClr>
                <a:srgbClr val="FFFFFF"/>
              </a:buClr>
              <a:buSzPts val="1200"/>
              <a:buChar char="○"/>
              <a:defRPr>
                <a:solidFill>
                  <a:srgbClr val="FFFFFF"/>
                </a:solidFill>
              </a:defRPr>
            </a:lvl8pPr>
            <a:lvl9pPr marL="8229600" lvl="8" indent="-609600" rtl="0">
              <a:spcBef>
                <a:spcPts val="3200"/>
              </a:spcBef>
              <a:spcAft>
                <a:spcPts val="3200"/>
              </a:spcAft>
              <a:buClr>
                <a:srgbClr val="FFFFFF"/>
              </a:buClr>
              <a:buSzPts val="1200"/>
              <a:buChar char="■"/>
              <a:defRPr>
                <a:solidFill>
                  <a:srgbClr val="FFFFFF"/>
                </a:solidFill>
              </a:defRPr>
            </a:lvl9pPr>
          </a:lstStyle>
          <a:p>
            <a:endParaRPr/>
          </a:p>
        </p:txBody>
      </p:sp>
      <p:sp>
        <p:nvSpPr>
          <p:cNvPr id="83" name="Google Shape;83;p13"/>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pic>
        <p:nvPicPr>
          <p:cNvPr id="84" name="Google Shape;84;p13"/>
          <p:cNvPicPr preferRelativeResize="0"/>
          <p:nvPr/>
        </p:nvPicPr>
        <p:blipFill rotWithShape="1">
          <a:blip r:embed="rId2">
            <a:alphaModFix/>
          </a:blip>
          <a:srcRect t="49794" r="62751"/>
          <a:stretch/>
        </p:blipFill>
        <p:spPr>
          <a:xfrm>
            <a:off x="14741150" y="0"/>
            <a:ext cx="3546850" cy="4093548"/>
          </a:xfrm>
          <a:prstGeom prst="rect">
            <a:avLst/>
          </a:prstGeom>
          <a:noFill/>
          <a:ln>
            <a:noFill/>
          </a:ln>
        </p:spPr>
      </p:pic>
      <p:pic>
        <p:nvPicPr>
          <p:cNvPr id="85" name="Google Shape;85;p13"/>
          <p:cNvPicPr preferRelativeResize="0"/>
          <p:nvPr/>
        </p:nvPicPr>
        <p:blipFill>
          <a:blip r:embed="rId3">
            <a:alphaModFix/>
          </a:blip>
          <a:stretch>
            <a:fillRect/>
          </a:stretch>
        </p:blipFill>
        <p:spPr>
          <a:xfrm>
            <a:off x="16183201" y="-304775"/>
            <a:ext cx="1799998" cy="1799998"/>
          </a:xfrm>
          <a:prstGeom prst="rect">
            <a:avLst/>
          </a:prstGeom>
          <a:noFill/>
          <a:ln>
            <a:noFill/>
          </a:ln>
        </p:spPr>
      </p:pic>
      <p:sp>
        <p:nvSpPr>
          <p:cNvPr id="86" name="Google Shape;86;p13"/>
          <p:cNvSpPr txBox="1">
            <a:spLocks noGrp="1"/>
          </p:cNvSpPr>
          <p:nvPr>
            <p:ph type="subTitle" idx="2"/>
          </p:nvPr>
        </p:nvSpPr>
        <p:spPr>
          <a:xfrm>
            <a:off x="8778900" y="8568450"/>
            <a:ext cx="9263400" cy="15852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9pPr>
          </a:lstStyle>
          <a:p>
            <a:endParaRPr/>
          </a:p>
        </p:txBody>
      </p:sp>
    </p:spTree>
    <p:extLst>
      <p:ext uri="{BB962C8B-B14F-4D97-AF65-F5344CB8AC3E}">
        <p14:creationId xmlns:p14="http://schemas.microsoft.com/office/powerpoint/2010/main" val="28828247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matchingName="Título e corpo 2" preserve="1" userDrawn="1">
  <p:cSld name="Título e corpo 2">
    <p:bg>
      <p:bgPr>
        <a:solidFill>
          <a:srgbClr val="FFFFFF"/>
        </a:solidFill>
        <a:effectLst/>
      </p:bgPr>
    </p:bg>
    <p:spTree>
      <p:nvGrpSpPr>
        <p:cNvPr id="1" name="Shape 93"/>
        <p:cNvGrpSpPr/>
        <p:nvPr/>
      </p:nvGrpSpPr>
      <p:grpSpPr>
        <a:xfrm>
          <a:off x="0" y="0"/>
          <a:ext cx="0" cy="0"/>
          <a:chOff x="0" y="0"/>
          <a:chExt cx="0" cy="0"/>
        </a:xfrm>
      </p:grpSpPr>
      <p:pic>
        <p:nvPicPr>
          <p:cNvPr id="95" name="Google Shape;95;p15"/>
          <p:cNvPicPr preferRelativeResize="0"/>
          <p:nvPr userDrawn="1"/>
        </p:nvPicPr>
        <p:blipFill rotWithShape="1">
          <a:blip r:embed="rId2">
            <a:alphaModFix/>
          </a:blip>
          <a:srcRect l="49857" t="49874"/>
          <a:stretch/>
        </p:blipFill>
        <p:spPr>
          <a:xfrm rot="10800000">
            <a:off x="11544296" y="4487852"/>
            <a:ext cx="6819900" cy="5837248"/>
          </a:xfrm>
          <a:prstGeom prst="rect">
            <a:avLst/>
          </a:prstGeom>
          <a:noFill/>
          <a:ln>
            <a:noFill/>
          </a:ln>
        </p:spPr>
      </p:pic>
      <p:sp>
        <p:nvSpPr>
          <p:cNvPr id="96" name="Google Shape;96;p15"/>
          <p:cNvSpPr txBox="1">
            <a:spLocks noGrp="1"/>
          </p:cNvSpPr>
          <p:nvPr>
            <p:ph type="title"/>
          </p:nvPr>
        </p:nvSpPr>
        <p:spPr>
          <a:xfrm>
            <a:off x="1080600" y="1042450"/>
            <a:ext cx="10216200" cy="11454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222222"/>
              </a:buClr>
              <a:buSzPts val="2000"/>
              <a:buNone/>
              <a:defRPr sz="4000">
                <a:solidFill>
                  <a:srgbClr val="222222"/>
                </a:solidFill>
              </a:defRPr>
            </a:lvl1pPr>
            <a:lvl2pPr lvl="1" rtl="0">
              <a:spcBef>
                <a:spcPts val="0"/>
              </a:spcBef>
              <a:spcAft>
                <a:spcPts val="0"/>
              </a:spcAft>
              <a:buClr>
                <a:srgbClr val="222222"/>
              </a:buClr>
              <a:buSzPts val="2000"/>
              <a:buNone/>
              <a:defRPr>
                <a:solidFill>
                  <a:srgbClr val="222222"/>
                </a:solidFill>
              </a:defRPr>
            </a:lvl2pPr>
            <a:lvl3pPr lvl="2" rtl="0">
              <a:spcBef>
                <a:spcPts val="0"/>
              </a:spcBef>
              <a:spcAft>
                <a:spcPts val="0"/>
              </a:spcAft>
              <a:buClr>
                <a:srgbClr val="222222"/>
              </a:buClr>
              <a:buSzPts val="2000"/>
              <a:buNone/>
              <a:defRPr>
                <a:solidFill>
                  <a:srgbClr val="222222"/>
                </a:solidFill>
              </a:defRPr>
            </a:lvl3pPr>
            <a:lvl4pPr lvl="3" rtl="0">
              <a:spcBef>
                <a:spcPts val="0"/>
              </a:spcBef>
              <a:spcAft>
                <a:spcPts val="0"/>
              </a:spcAft>
              <a:buClr>
                <a:srgbClr val="222222"/>
              </a:buClr>
              <a:buSzPts val="2000"/>
              <a:buNone/>
              <a:defRPr>
                <a:solidFill>
                  <a:srgbClr val="222222"/>
                </a:solidFill>
              </a:defRPr>
            </a:lvl4pPr>
            <a:lvl5pPr lvl="4" rtl="0">
              <a:spcBef>
                <a:spcPts val="0"/>
              </a:spcBef>
              <a:spcAft>
                <a:spcPts val="0"/>
              </a:spcAft>
              <a:buClr>
                <a:srgbClr val="222222"/>
              </a:buClr>
              <a:buSzPts val="2000"/>
              <a:buNone/>
              <a:defRPr>
                <a:solidFill>
                  <a:srgbClr val="222222"/>
                </a:solidFill>
              </a:defRPr>
            </a:lvl5pPr>
            <a:lvl6pPr lvl="5" rtl="0">
              <a:spcBef>
                <a:spcPts val="0"/>
              </a:spcBef>
              <a:spcAft>
                <a:spcPts val="0"/>
              </a:spcAft>
              <a:buClr>
                <a:srgbClr val="222222"/>
              </a:buClr>
              <a:buSzPts val="2000"/>
              <a:buNone/>
              <a:defRPr>
                <a:solidFill>
                  <a:srgbClr val="222222"/>
                </a:solidFill>
              </a:defRPr>
            </a:lvl6pPr>
            <a:lvl7pPr lvl="6" rtl="0">
              <a:spcBef>
                <a:spcPts val="0"/>
              </a:spcBef>
              <a:spcAft>
                <a:spcPts val="0"/>
              </a:spcAft>
              <a:buClr>
                <a:srgbClr val="222222"/>
              </a:buClr>
              <a:buSzPts val="2000"/>
              <a:buNone/>
              <a:defRPr>
                <a:solidFill>
                  <a:srgbClr val="222222"/>
                </a:solidFill>
              </a:defRPr>
            </a:lvl7pPr>
            <a:lvl8pPr lvl="7" rtl="0">
              <a:spcBef>
                <a:spcPts val="0"/>
              </a:spcBef>
              <a:spcAft>
                <a:spcPts val="0"/>
              </a:spcAft>
              <a:buClr>
                <a:srgbClr val="222222"/>
              </a:buClr>
              <a:buSzPts val="2000"/>
              <a:buNone/>
              <a:defRPr>
                <a:solidFill>
                  <a:srgbClr val="222222"/>
                </a:solidFill>
              </a:defRPr>
            </a:lvl8pPr>
            <a:lvl9pPr lvl="8" rtl="0">
              <a:spcBef>
                <a:spcPts val="0"/>
              </a:spcBef>
              <a:spcAft>
                <a:spcPts val="0"/>
              </a:spcAft>
              <a:buClr>
                <a:srgbClr val="222222"/>
              </a:buClr>
              <a:buSzPts val="2000"/>
              <a:buNone/>
              <a:defRPr>
                <a:solidFill>
                  <a:srgbClr val="222222"/>
                </a:solidFill>
              </a:defRPr>
            </a:lvl9pPr>
          </a:lstStyle>
          <a:p>
            <a:endParaRPr/>
          </a:p>
        </p:txBody>
      </p:sp>
      <p:sp>
        <p:nvSpPr>
          <p:cNvPr id="97" name="Google Shape;97;p15"/>
          <p:cNvSpPr txBox="1">
            <a:spLocks noGrp="1"/>
          </p:cNvSpPr>
          <p:nvPr>
            <p:ph type="body" idx="1"/>
          </p:nvPr>
        </p:nvSpPr>
        <p:spPr>
          <a:xfrm>
            <a:off x="1080600" y="3130350"/>
            <a:ext cx="12462600" cy="5891400"/>
          </a:xfrm>
          <a:prstGeom prst="rect">
            <a:avLst/>
          </a:prstGeom>
        </p:spPr>
        <p:txBody>
          <a:bodyPr spcFirstLastPara="1" wrap="square" lIns="91425" tIns="91425" rIns="91425" bIns="91425" anchor="t" anchorCtr="0">
            <a:noAutofit/>
          </a:bodyPr>
          <a:lstStyle>
            <a:lvl1pPr marL="914400" lvl="0" indent="-609600" rtl="0">
              <a:spcBef>
                <a:spcPts val="0"/>
              </a:spcBef>
              <a:spcAft>
                <a:spcPts val="0"/>
              </a:spcAft>
              <a:buClr>
                <a:srgbClr val="222222"/>
              </a:buClr>
              <a:buSzPts val="1200"/>
              <a:buChar char="●"/>
              <a:defRPr sz="2400">
                <a:solidFill>
                  <a:srgbClr val="222222"/>
                </a:solidFill>
              </a:defRPr>
            </a:lvl1pPr>
            <a:lvl2pPr marL="1828800" lvl="1" indent="-609600" rtl="0">
              <a:spcBef>
                <a:spcPts val="3200"/>
              </a:spcBef>
              <a:spcAft>
                <a:spcPts val="0"/>
              </a:spcAft>
              <a:buClr>
                <a:srgbClr val="222222"/>
              </a:buClr>
              <a:buSzPts val="1200"/>
              <a:buChar char="○"/>
              <a:defRPr sz="2400">
                <a:solidFill>
                  <a:srgbClr val="222222"/>
                </a:solidFill>
              </a:defRPr>
            </a:lvl2pPr>
            <a:lvl3pPr marL="2743200" lvl="2" indent="-584200" rtl="0">
              <a:spcBef>
                <a:spcPts val="3200"/>
              </a:spcBef>
              <a:spcAft>
                <a:spcPts val="0"/>
              </a:spcAft>
              <a:buClr>
                <a:srgbClr val="222222"/>
              </a:buClr>
              <a:buSzPts val="1000"/>
              <a:buChar char="■"/>
              <a:defRPr sz="2000">
                <a:solidFill>
                  <a:srgbClr val="222222"/>
                </a:solidFill>
              </a:defRPr>
            </a:lvl3pPr>
            <a:lvl4pPr marL="3657600" lvl="3" indent="-584200" rtl="0">
              <a:spcBef>
                <a:spcPts val="3200"/>
              </a:spcBef>
              <a:spcAft>
                <a:spcPts val="0"/>
              </a:spcAft>
              <a:buClr>
                <a:srgbClr val="222222"/>
              </a:buClr>
              <a:buSzPts val="1000"/>
              <a:buChar char="●"/>
              <a:defRPr sz="2000">
                <a:solidFill>
                  <a:srgbClr val="222222"/>
                </a:solidFill>
              </a:defRPr>
            </a:lvl4pPr>
            <a:lvl5pPr marL="4572000" lvl="4" indent="-558800" rtl="0">
              <a:spcBef>
                <a:spcPts val="3200"/>
              </a:spcBef>
              <a:spcAft>
                <a:spcPts val="0"/>
              </a:spcAft>
              <a:buClr>
                <a:srgbClr val="222222"/>
              </a:buClr>
              <a:buSzPts val="800"/>
              <a:buChar char="○"/>
              <a:defRPr sz="1600">
                <a:solidFill>
                  <a:srgbClr val="222222"/>
                </a:solidFill>
              </a:defRPr>
            </a:lvl5pPr>
            <a:lvl6pPr marL="5486400" lvl="5" indent="-558800" rtl="0">
              <a:spcBef>
                <a:spcPts val="3200"/>
              </a:spcBef>
              <a:spcAft>
                <a:spcPts val="0"/>
              </a:spcAft>
              <a:buClr>
                <a:srgbClr val="222222"/>
              </a:buClr>
              <a:buSzPts val="800"/>
              <a:buChar char="■"/>
              <a:defRPr sz="1600">
                <a:solidFill>
                  <a:srgbClr val="222222"/>
                </a:solidFill>
              </a:defRPr>
            </a:lvl6pPr>
            <a:lvl7pPr marL="6400800" lvl="6" indent="-609600" rtl="0">
              <a:spcBef>
                <a:spcPts val="3200"/>
              </a:spcBef>
              <a:spcAft>
                <a:spcPts val="0"/>
              </a:spcAft>
              <a:buClr>
                <a:srgbClr val="222222"/>
              </a:buClr>
              <a:buSzPts val="1200"/>
              <a:buChar char="●"/>
              <a:defRPr>
                <a:solidFill>
                  <a:srgbClr val="222222"/>
                </a:solidFill>
              </a:defRPr>
            </a:lvl7pPr>
            <a:lvl8pPr marL="7315200" lvl="7" indent="-609600" rtl="0">
              <a:spcBef>
                <a:spcPts val="3200"/>
              </a:spcBef>
              <a:spcAft>
                <a:spcPts val="0"/>
              </a:spcAft>
              <a:buClr>
                <a:srgbClr val="222222"/>
              </a:buClr>
              <a:buSzPts val="1200"/>
              <a:buChar char="○"/>
              <a:defRPr>
                <a:solidFill>
                  <a:srgbClr val="222222"/>
                </a:solidFill>
              </a:defRPr>
            </a:lvl8pPr>
            <a:lvl9pPr marL="8229600" lvl="8" indent="-609600" rtl="0">
              <a:spcBef>
                <a:spcPts val="3200"/>
              </a:spcBef>
              <a:spcAft>
                <a:spcPts val="3200"/>
              </a:spcAft>
              <a:buClr>
                <a:srgbClr val="222222"/>
              </a:buClr>
              <a:buSzPts val="1200"/>
              <a:buChar char="■"/>
              <a:defRPr>
                <a:solidFill>
                  <a:srgbClr val="222222"/>
                </a:solidFill>
              </a:defRPr>
            </a:lvl9pPr>
          </a:lstStyle>
          <a:p>
            <a:endParaRPr/>
          </a:p>
        </p:txBody>
      </p:sp>
      <p:pic>
        <p:nvPicPr>
          <p:cNvPr id="98" name="Google Shape;98;p15"/>
          <p:cNvPicPr preferRelativeResize="0"/>
          <p:nvPr/>
        </p:nvPicPr>
        <p:blipFill>
          <a:blip r:embed="rId3">
            <a:alphaModFix/>
          </a:blip>
          <a:stretch>
            <a:fillRect/>
          </a:stretch>
        </p:blipFill>
        <p:spPr>
          <a:xfrm>
            <a:off x="16183201" y="-304799"/>
            <a:ext cx="1799998" cy="1799998"/>
          </a:xfrm>
          <a:prstGeom prst="rect">
            <a:avLst/>
          </a:prstGeom>
          <a:noFill/>
          <a:ln>
            <a:noFill/>
          </a:ln>
        </p:spPr>
      </p:pic>
    </p:spTree>
    <p:extLst>
      <p:ext uri="{BB962C8B-B14F-4D97-AF65-F5344CB8AC3E}">
        <p14:creationId xmlns:p14="http://schemas.microsoft.com/office/powerpoint/2010/main" val="24469474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matchingName="Título e corpo 1 1" preserve="1" userDrawn="1">
  <p:cSld name="Título e corpo 1 1">
    <p:bg>
      <p:bgPr>
        <a:solidFill>
          <a:srgbClr val="222222"/>
        </a:solidFill>
        <a:effectLst/>
      </p:bgPr>
    </p:bg>
    <p:spTree>
      <p:nvGrpSpPr>
        <p:cNvPr id="1" name="Shape 104"/>
        <p:cNvGrpSpPr/>
        <p:nvPr/>
      </p:nvGrpSpPr>
      <p:grpSpPr>
        <a:xfrm>
          <a:off x="0" y="0"/>
          <a:ext cx="0" cy="0"/>
          <a:chOff x="0" y="0"/>
          <a:chExt cx="0" cy="0"/>
        </a:xfrm>
      </p:grpSpPr>
      <p:sp>
        <p:nvSpPr>
          <p:cNvPr id="105" name="Google Shape;105;p17"/>
          <p:cNvSpPr txBox="1">
            <a:spLocks noGrp="1"/>
          </p:cNvSpPr>
          <p:nvPr>
            <p:ph type="title"/>
          </p:nvPr>
        </p:nvSpPr>
        <p:spPr>
          <a:xfrm>
            <a:off x="7867650" y="1042450"/>
            <a:ext cx="8492400" cy="11454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FFFFFF"/>
              </a:buClr>
              <a:buSzPts val="2000"/>
              <a:buNone/>
              <a:defRPr>
                <a:solidFill>
                  <a:srgbClr val="FFFFFF"/>
                </a:solidFill>
              </a:defRPr>
            </a:lvl1pPr>
            <a:lvl2pPr lvl="1" rtl="0">
              <a:spcBef>
                <a:spcPts val="0"/>
              </a:spcBef>
              <a:spcAft>
                <a:spcPts val="0"/>
              </a:spcAft>
              <a:buClr>
                <a:srgbClr val="FFFFFF"/>
              </a:buClr>
              <a:buSzPts val="2000"/>
              <a:buNone/>
              <a:defRPr>
                <a:solidFill>
                  <a:srgbClr val="FFFFFF"/>
                </a:solidFill>
              </a:defRPr>
            </a:lvl2pPr>
            <a:lvl3pPr lvl="2" rtl="0">
              <a:spcBef>
                <a:spcPts val="0"/>
              </a:spcBef>
              <a:spcAft>
                <a:spcPts val="0"/>
              </a:spcAft>
              <a:buClr>
                <a:srgbClr val="FFFFFF"/>
              </a:buClr>
              <a:buSzPts val="2000"/>
              <a:buNone/>
              <a:defRPr>
                <a:solidFill>
                  <a:srgbClr val="FFFFFF"/>
                </a:solidFill>
              </a:defRPr>
            </a:lvl3pPr>
            <a:lvl4pPr lvl="3" rtl="0">
              <a:spcBef>
                <a:spcPts val="0"/>
              </a:spcBef>
              <a:spcAft>
                <a:spcPts val="0"/>
              </a:spcAft>
              <a:buClr>
                <a:srgbClr val="FFFFFF"/>
              </a:buClr>
              <a:buSzPts val="2000"/>
              <a:buNone/>
              <a:defRPr>
                <a:solidFill>
                  <a:srgbClr val="FFFFFF"/>
                </a:solidFill>
              </a:defRPr>
            </a:lvl4pPr>
            <a:lvl5pPr lvl="4" rtl="0">
              <a:spcBef>
                <a:spcPts val="0"/>
              </a:spcBef>
              <a:spcAft>
                <a:spcPts val="0"/>
              </a:spcAft>
              <a:buClr>
                <a:srgbClr val="FFFFFF"/>
              </a:buClr>
              <a:buSzPts val="2000"/>
              <a:buNone/>
              <a:defRPr>
                <a:solidFill>
                  <a:srgbClr val="FFFFFF"/>
                </a:solidFill>
              </a:defRPr>
            </a:lvl5pPr>
            <a:lvl6pPr lvl="5" rtl="0">
              <a:spcBef>
                <a:spcPts val="0"/>
              </a:spcBef>
              <a:spcAft>
                <a:spcPts val="0"/>
              </a:spcAft>
              <a:buClr>
                <a:srgbClr val="FFFFFF"/>
              </a:buClr>
              <a:buSzPts val="2000"/>
              <a:buNone/>
              <a:defRPr>
                <a:solidFill>
                  <a:srgbClr val="FFFFFF"/>
                </a:solidFill>
              </a:defRPr>
            </a:lvl6pPr>
            <a:lvl7pPr lvl="6" rtl="0">
              <a:spcBef>
                <a:spcPts val="0"/>
              </a:spcBef>
              <a:spcAft>
                <a:spcPts val="0"/>
              </a:spcAft>
              <a:buClr>
                <a:srgbClr val="FFFFFF"/>
              </a:buClr>
              <a:buSzPts val="2000"/>
              <a:buNone/>
              <a:defRPr>
                <a:solidFill>
                  <a:srgbClr val="FFFFFF"/>
                </a:solidFill>
              </a:defRPr>
            </a:lvl7pPr>
            <a:lvl8pPr lvl="7" rtl="0">
              <a:spcBef>
                <a:spcPts val="0"/>
              </a:spcBef>
              <a:spcAft>
                <a:spcPts val="0"/>
              </a:spcAft>
              <a:buClr>
                <a:srgbClr val="FFFFFF"/>
              </a:buClr>
              <a:buSzPts val="2000"/>
              <a:buNone/>
              <a:defRPr>
                <a:solidFill>
                  <a:srgbClr val="FFFFFF"/>
                </a:solidFill>
              </a:defRPr>
            </a:lvl8pPr>
            <a:lvl9pPr lvl="8" rtl="0">
              <a:spcBef>
                <a:spcPts val="0"/>
              </a:spcBef>
              <a:spcAft>
                <a:spcPts val="0"/>
              </a:spcAft>
              <a:buClr>
                <a:srgbClr val="FFFFFF"/>
              </a:buClr>
              <a:buSzPts val="2000"/>
              <a:buNone/>
              <a:defRPr>
                <a:solidFill>
                  <a:srgbClr val="FFFFFF"/>
                </a:solidFill>
              </a:defRPr>
            </a:lvl9pPr>
          </a:lstStyle>
          <a:p>
            <a:endParaRPr/>
          </a:p>
        </p:txBody>
      </p:sp>
      <p:sp>
        <p:nvSpPr>
          <p:cNvPr id="106" name="Google Shape;106;p17"/>
          <p:cNvSpPr txBox="1">
            <a:spLocks noGrp="1"/>
          </p:cNvSpPr>
          <p:nvPr>
            <p:ph type="body" idx="1"/>
          </p:nvPr>
        </p:nvSpPr>
        <p:spPr>
          <a:xfrm>
            <a:off x="7867650" y="3130350"/>
            <a:ext cx="8686800" cy="5891400"/>
          </a:xfrm>
          <a:prstGeom prst="rect">
            <a:avLst/>
          </a:prstGeom>
        </p:spPr>
        <p:txBody>
          <a:bodyPr spcFirstLastPara="1" wrap="square" lIns="91425" tIns="91425" rIns="91425" bIns="91425" anchor="t" anchorCtr="0">
            <a:noAutofit/>
          </a:bodyPr>
          <a:lstStyle>
            <a:lvl1pPr marL="914400" lvl="0" indent="-609600" rtl="0">
              <a:spcBef>
                <a:spcPts val="0"/>
              </a:spcBef>
              <a:spcAft>
                <a:spcPts val="0"/>
              </a:spcAft>
              <a:buSzPts val="1200"/>
              <a:buChar char="●"/>
              <a:defRPr/>
            </a:lvl1pPr>
            <a:lvl2pPr marL="1828800" lvl="1" indent="-609600" rtl="0">
              <a:spcBef>
                <a:spcPts val="3200"/>
              </a:spcBef>
              <a:spcAft>
                <a:spcPts val="0"/>
              </a:spcAft>
              <a:buSzPts val="1200"/>
              <a:buChar char="○"/>
              <a:defRPr/>
            </a:lvl2pPr>
            <a:lvl3pPr marL="2743200" lvl="2" indent="-609600" rtl="0">
              <a:spcBef>
                <a:spcPts val="3200"/>
              </a:spcBef>
              <a:spcAft>
                <a:spcPts val="0"/>
              </a:spcAft>
              <a:buSzPts val="1200"/>
              <a:buChar char="■"/>
              <a:defRPr/>
            </a:lvl3pPr>
            <a:lvl4pPr marL="3657600" lvl="3" indent="-609600" rtl="0">
              <a:spcBef>
                <a:spcPts val="3200"/>
              </a:spcBef>
              <a:spcAft>
                <a:spcPts val="0"/>
              </a:spcAft>
              <a:buSzPts val="1200"/>
              <a:buChar char="●"/>
              <a:defRPr/>
            </a:lvl4pPr>
            <a:lvl5pPr marL="4572000" lvl="4" indent="-609600" rtl="0">
              <a:spcBef>
                <a:spcPts val="3200"/>
              </a:spcBef>
              <a:spcAft>
                <a:spcPts val="0"/>
              </a:spcAft>
              <a:buSzPts val="1200"/>
              <a:buChar char="○"/>
              <a:defRPr/>
            </a:lvl5pPr>
            <a:lvl6pPr marL="5486400" lvl="5" indent="-609600" rtl="0">
              <a:spcBef>
                <a:spcPts val="3200"/>
              </a:spcBef>
              <a:spcAft>
                <a:spcPts val="0"/>
              </a:spcAft>
              <a:buSzPts val="1200"/>
              <a:buChar char="■"/>
              <a:defRPr/>
            </a:lvl6pPr>
            <a:lvl7pPr marL="6400800" lvl="6" indent="-609600" rtl="0">
              <a:spcBef>
                <a:spcPts val="3200"/>
              </a:spcBef>
              <a:spcAft>
                <a:spcPts val="0"/>
              </a:spcAft>
              <a:buSzPts val="1200"/>
              <a:buChar char="●"/>
              <a:defRPr/>
            </a:lvl7pPr>
            <a:lvl8pPr marL="7315200" lvl="7" indent="-609600" rtl="0">
              <a:spcBef>
                <a:spcPts val="3200"/>
              </a:spcBef>
              <a:spcAft>
                <a:spcPts val="0"/>
              </a:spcAft>
              <a:buSzPts val="1200"/>
              <a:buChar char="○"/>
              <a:defRPr/>
            </a:lvl8pPr>
            <a:lvl9pPr marL="8229600" lvl="8" indent="-609600" rtl="0">
              <a:spcBef>
                <a:spcPts val="3200"/>
              </a:spcBef>
              <a:spcAft>
                <a:spcPts val="3200"/>
              </a:spcAft>
              <a:buSzPts val="1200"/>
              <a:buChar char="■"/>
              <a:defRPr/>
            </a:lvl9pPr>
          </a:lstStyle>
          <a:p>
            <a:endParaRPr/>
          </a:p>
        </p:txBody>
      </p:sp>
      <p:pic>
        <p:nvPicPr>
          <p:cNvPr id="108" name="Google Shape;108;p17"/>
          <p:cNvPicPr preferRelativeResize="0"/>
          <p:nvPr/>
        </p:nvPicPr>
        <p:blipFill rotWithShape="1">
          <a:blip r:embed="rId2">
            <a:alphaModFix/>
          </a:blip>
          <a:srcRect r="47870"/>
          <a:stretch/>
        </p:blipFill>
        <p:spPr>
          <a:xfrm rot="10800000">
            <a:off x="-76199" y="-236791"/>
            <a:ext cx="6551150" cy="10760642"/>
          </a:xfrm>
          <a:prstGeom prst="rect">
            <a:avLst/>
          </a:prstGeom>
          <a:noFill/>
          <a:ln>
            <a:noFill/>
          </a:ln>
        </p:spPr>
      </p:pic>
      <p:pic>
        <p:nvPicPr>
          <p:cNvPr id="109" name="Google Shape;109;p17"/>
          <p:cNvPicPr preferRelativeResize="0"/>
          <p:nvPr/>
        </p:nvPicPr>
        <p:blipFill>
          <a:blip r:embed="rId3">
            <a:alphaModFix/>
          </a:blip>
          <a:stretch>
            <a:fillRect/>
          </a:stretch>
        </p:blipFill>
        <p:spPr>
          <a:xfrm>
            <a:off x="16183201" y="-304775"/>
            <a:ext cx="1799998" cy="1799998"/>
          </a:xfrm>
          <a:prstGeom prst="rect">
            <a:avLst/>
          </a:prstGeom>
          <a:noFill/>
          <a:ln>
            <a:noFill/>
          </a:ln>
        </p:spPr>
      </p:pic>
    </p:spTree>
    <p:extLst>
      <p:ext uri="{BB962C8B-B14F-4D97-AF65-F5344CB8AC3E}">
        <p14:creationId xmlns:p14="http://schemas.microsoft.com/office/powerpoint/2010/main" val="251892238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matchingName="Title and two columns" preserve="1" userDrawn="1">
  <p:cSld name="Title and two columns">
    <p:spTree>
      <p:nvGrpSpPr>
        <p:cNvPr id="1" name="Shape 111"/>
        <p:cNvGrpSpPr/>
        <p:nvPr/>
      </p:nvGrpSpPr>
      <p:grpSpPr>
        <a:xfrm>
          <a:off x="0" y="0"/>
          <a:ext cx="0" cy="0"/>
          <a:chOff x="0" y="0"/>
          <a:chExt cx="0" cy="0"/>
        </a:xfrm>
      </p:grpSpPr>
      <p:pic>
        <p:nvPicPr>
          <p:cNvPr id="112" name="Google Shape;112;p18"/>
          <p:cNvPicPr preferRelativeResize="0"/>
          <p:nvPr/>
        </p:nvPicPr>
        <p:blipFill rotWithShape="1">
          <a:blip r:embed="rId2">
            <a:alphaModFix/>
          </a:blip>
          <a:srcRect r="66240"/>
          <a:stretch/>
        </p:blipFill>
        <p:spPr>
          <a:xfrm rot="-5400000">
            <a:off x="6131679" y="-4453526"/>
            <a:ext cx="5797798" cy="14704852"/>
          </a:xfrm>
          <a:prstGeom prst="rect">
            <a:avLst/>
          </a:prstGeom>
          <a:noFill/>
          <a:ln>
            <a:noFill/>
          </a:ln>
        </p:spPr>
      </p:pic>
      <p:sp>
        <p:nvSpPr>
          <p:cNvPr id="113" name="Google Shape;113;p18"/>
          <p:cNvSpPr txBox="1">
            <a:spLocks noGrp="1"/>
          </p:cNvSpPr>
          <p:nvPr>
            <p:ph type="title"/>
          </p:nvPr>
        </p:nvSpPr>
        <p:spPr>
          <a:xfrm>
            <a:off x="471000" y="432850"/>
            <a:ext cx="17041200" cy="1145400"/>
          </a:xfrm>
          <a:prstGeom prst="rect">
            <a:avLst/>
          </a:prstGeom>
        </p:spPr>
        <p:txBody>
          <a:bodyPr spcFirstLastPara="1" wrap="square" lIns="91425" tIns="91425" rIns="91425" bIns="91425" anchor="t" anchorCtr="0">
            <a:noAutofit/>
          </a:bodyPr>
          <a:lstStyle>
            <a:lvl1pPr lvl="0">
              <a:spcBef>
                <a:spcPts val="0"/>
              </a:spcBef>
              <a:spcAft>
                <a:spcPts val="0"/>
              </a:spcAft>
              <a:buSzPts val="1400"/>
              <a:buNone/>
              <a:defRPr sz="2800"/>
            </a:lvl1pPr>
            <a:lvl2pPr lvl="1">
              <a:spcBef>
                <a:spcPts val="0"/>
              </a:spcBef>
              <a:spcAft>
                <a:spcPts val="0"/>
              </a:spcAft>
              <a:buSzPts val="1400"/>
              <a:buNone/>
              <a:defRPr sz="2800"/>
            </a:lvl2pPr>
            <a:lvl3pPr lvl="2">
              <a:spcBef>
                <a:spcPts val="0"/>
              </a:spcBef>
              <a:spcAft>
                <a:spcPts val="0"/>
              </a:spcAft>
              <a:buSzPts val="1400"/>
              <a:buNone/>
              <a:defRPr sz="2800"/>
            </a:lvl3pPr>
            <a:lvl4pPr lvl="3">
              <a:spcBef>
                <a:spcPts val="0"/>
              </a:spcBef>
              <a:spcAft>
                <a:spcPts val="0"/>
              </a:spcAft>
              <a:buSzPts val="1400"/>
              <a:buNone/>
              <a:defRPr sz="2800"/>
            </a:lvl4pPr>
            <a:lvl5pPr lvl="4">
              <a:spcBef>
                <a:spcPts val="0"/>
              </a:spcBef>
              <a:spcAft>
                <a:spcPts val="0"/>
              </a:spcAft>
              <a:buSzPts val="1400"/>
              <a:buNone/>
              <a:defRPr sz="2800"/>
            </a:lvl5pPr>
            <a:lvl6pPr lvl="5">
              <a:spcBef>
                <a:spcPts val="0"/>
              </a:spcBef>
              <a:spcAft>
                <a:spcPts val="0"/>
              </a:spcAft>
              <a:buSzPts val="1400"/>
              <a:buNone/>
              <a:defRPr sz="2800"/>
            </a:lvl6pPr>
            <a:lvl7pPr lvl="6">
              <a:spcBef>
                <a:spcPts val="0"/>
              </a:spcBef>
              <a:spcAft>
                <a:spcPts val="0"/>
              </a:spcAft>
              <a:buSzPts val="1400"/>
              <a:buNone/>
              <a:defRPr sz="2800"/>
            </a:lvl7pPr>
            <a:lvl8pPr lvl="7">
              <a:spcBef>
                <a:spcPts val="0"/>
              </a:spcBef>
              <a:spcAft>
                <a:spcPts val="0"/>
              </a:spcAft>
              <a:buSzPts val="1400"/>
              <a:buNone/>
              <a:defRPr sz="2800"/>
            </a:lvl8pPr>
            <a:lvl9pPr lvl="8">
              <a:spcBef>
                <a:spcPts val="0"/>
              </a:spcBef>
              <a:spcAft>
                <a:spcPts val="0"/>
              </a:spcAft>
              <a:buSzPts val="1400"/>
              <a:buNone/>
              <a:defRPr sz="2800"/>
            </a:lvl9pPr>
          </a:lstStyle>
          <a:p>
            <a:endParaRPr/>
          </a:p>
        </p:txBody>
      </p:sp>
      <p:sp>
        <p:nvSpPr>
          <p:cNvPr id="114" name="Google Shape;114;p18"/>
          <p:cNvSpPr txBox="1">
            <a:spLocks noGrp="1"/>
          </p:cNvSpPr>
          <p:nvPr>
            <p:ph type="body" idx="1"/>
          </p:nvPr>
        </p:nvSpPr>
        <p:spPr>
          <a:xfrm>
            <a:off x="1190700" y="2914550"/>
            <a:ext cx="7324200" cy="6021600"/>
          </a:xfrm>
          <a:prstGeom prst="rect">
            <a:avLst/>
          </a:prstGeom>
        </p:spPr>
        <p:txBody>
          <a:bodyPr spcFirstLastPara="1" wrap="square" lIns="91425" tIns="91425" rIns="91425" bIns="91425" anchor="t" anchorCtr="0">
            <a:noAutofit/>
          </a:bodyPr>
          <a:lstStyle>
            <a:lvl1pPr marL="914400" lvl="0" indent="-762000">
              <a:spcBef>
                <a:spcPts val="0"/>
              </a:spcBef>
              <a:spcAft>
                <a:spcPts val="0"/>
              </a:spcAft>
              <a:buSzPts val="2400"/>
              <a:buFont typeface="Montserrat"/>
              <a:buChar char="●"/>
              <a:defRPr sz="4800" b="1">
                <a:latin typeface="Montserrat"/>
                <a:ea typeface="Montserrat"/>
                <a:cs typeface="Montserrat"/>
                <a:sym typeface="Montserrat"/>
              </a:defRPr>
            </a:lvl1pPr>
            <a:lvl2pPr marL="1828800" lvl="1" indent="-762000">
              <a:spcBef>
                <a:spcPts val="3200"/>
              </a:spcBef>
              <a:spcAft>
                <a:spcPts val="0"/>
              </a:spcAft>
              <a:buSzPts val="2400"/>
              <a:buFont typeface="Montserrat"/>
              <a:buChar char="○"/>
              <a:defRPr sz="4800" b="1">
                <a:latin typeface="Montserrat"/>
                <a:ea typeface="Montserrat"/>
                <a:cs typeface="Montserrat"/>
                <a:sym typeface="Montserrat"/>
              </a:defRPr>
            </a:lvl2pPr>
            <a:lvl3pPr marL="2743200" lvl="2" indent="-762000">
              <a:spcBef>
                <a:spcPts val="3200"/>
              </a:spcBef>
              <a:spcAft>
                <a:spcPts val="0"/>
              </a:spcAft>
              <a:buSzPts val="2400"/>
              <a:buFont typeface="Montserrat"/>
              <a:buChar char="■"/>
              <a:defRPr sz="4800" b="1">
                <a:latin typeface="Montserrat"/>
                <a:ea typeface="Montserrat"/>
                <a:cs typeface="Montserrat"/>
                <a:sym typeface="Montserrat"/>
              </a:defRPr>
            </a:lvl3pPr>
            <a:lvl4pPr marL="3657600" lvl="3" indent="-762000">
              <a:spcBef>
                <a:spcPts val="3200"/>
              </a:spcBef>
              <a:spcAft>
                <a:spcPts val="0"/>
              </a:spcAft>
              <a:buSzPts val="2400"/>
              <a:buFont typeface="Montserrat"/>
              <a:buChar char="●"/>
              <a:defRPr sz="4800" b="1">
                <a:latin typeface="Montserrat"/>
                <a:ea typeface="Montserrat"/>
                <a:cs typeface="Montserrat"/>
                <a:sym typeface="Montserrat"/>
              </a:defRPr>
            </a:lvl4pPr>
            <a:lvl5pPr marL="4572000" lvl="4" indent="-762000">
              <a:spcBef>
                <a:spcPts val="3200"/>
              </a:spcBef>
              <a:spcAft>
                <a:spcPts val="0"/>
              </a:spcAft>
              <a:buSzPts val="2400"/>
              <a:buFont typeface="Montserrat"/>
              <a:buChar char="○"/>
              <a:defRPr sz="4800" b="1">
                <a:latin typeface="Montserrat"/>
                <a:ea typeface="Montserrat"/>
                <a:cs typeface="Montserrat"/>
                <a:sym typeface="Montserrat"/>
              </a:defRPr>
            </a:lvl5pPr>
            <a:lvl6pPr marL="5486400" lvl="5" indent="-762000">
              <a:spcBef>
                <a:spcPts val="3200"/>
              </a:spcBef>
              <a:spcAft>
                <a:spcPts val="0"/>
              </a:spcAft>
              <a:buSzPts val="2400"/>
              <a:buFont typeface="Montserrat"/>
              <a:buChar char="■"/>
              <a:defRPr sz="4800" b="1">
                <a:latin typeface="Montserrat"/>
                <a:ea typeface="Montserrat"/>
                <a:cs typeface="Montserrat"/>
                <a:sym typeface="Montserrat"/>
              </a:defRPr>
            </a:lvl6pPr>
            <a:lvl7pPr marL="6400800" lvl="6" indent="-762000">
              <a:spcBef>
                <a:spcPts val="3200"/>
              </a:spcBef>
              <a:spcAft>
                <a:spcPts val="0"/>
              </a:spcAft>
              <a:buSzPts val="2400"/>
              <a:buFont typeface="Montserrat"/>
              <a:buChar char="●"/>
              <a:defRPr sz="4800" b="1">
                <a:latin typeface="Montserrat"/>
                <a:ea typeface="Montserrat"/>
                <a:cs typeface="Montserrat"/>
                <a:sym typeface="Montserrat"/>
              </a:defRPr>
            </a:lvl7pPr>
            <a:lvl8pPr marL="7315200" lvl="7" indent="-762000">
              <a:spcBef>
                <a:spcPts val="3200"/>
              </a:spcBef>
              <a:spcAft>
                <a:spcPts val="0"/>
              </a:spcAft>
              <a:buSzPts val="2400"/>
              <a:buFont typeface="Montserrat"/>
              <a:buChar char="○"/>
              <a:defRPr sz="4800" b="1">
                <a:latin typeface="Montserrat"/>
                <a:ea typeface="Montserrat"/>
                <a:cs typeface="Montserrat"/>
                <a:sym typeface="Montserrat"/>
              </a:defRPr>
            </a:lvl8pPr>
            <a:lvl9pPr marL="8229600" lvl="8" indent="-762000">
              <a:spcBef>
                <a:spcPts val="3200"/>
              </a:spcBef>
              <a:spcAft>
                <a:spcPts val="3200"/>
              </a:spcAft>
              <a:buSzPts val="2400"/>
              <a:buFont typeface="Montserrat"/>
              <a:buChar char="■"/>
              <a:defRPr sz="4800" b="1">
                <a:latin typeface="Montserrat"/>
                <a:ea typeface="Montserrat"/>
                <a:cs typeface="Montserrat"/>
                <a:sym typeface="Montserrat"/>
              </a:defRPr>
            </a:lvl9pPr>
          </a:lstStyle>
          <a:p>
            <a:endParaRPr/>
          </a:p>
        </p:txBody>
      </p:sp>
      <p:sp>
        <p:nvSpPr>
          <p:cNvPr id="115" name="Google Shape;115;p18"/>
          <p:cNvSpPr txBox="1">
            <a:spLocks noGrp="1"/>
          </p:cNvSpPr>
          <p:nvPr>
            <p:ph type="body" idx="2"/>
          </p:nvPr>
        </p:nvSpPr>
        <p:spPr>
          <a:xfrm>
            <a:off x="9468410" y="2914550"/>
            <a:ext cx="7324200" cy="6021600"/>
          </a:xfrm>
          <a:prstGeom prst="rect">
            <a:avLst/>
          </a:prstGeom>
        </p:spPr>
        <p:txBody>
          <a:bodyPr spcFirstLastPara="1" wrap="square" lIns="91425" tIns="91425" rIns="91425" bIns="91425" anchor="t" anchorCtr="0">
            <a:noAutofit/>
          </a:bodyPr>
          <a:lstStyle>
            <a:lvl1pPr marL="914400" lvl="0" indent="-609600">
              <a:spcBef>
                <a:spcPts val="0"/>
              </a:spcBef>
              <a:spcAft>
                <a:spcPts val="0"/>
              </a:spcAft>
              <a:buSzPts val="1200"/>
              <a:buChar char="●"/>
              <a:defRPr/>
            </a:lvl1pPr>
            <a:lvl2pPr marL="1828800" lvl="1" indent="-609600">
              <a:spcBef>
                <a:spcPts val="3200"/>
              </a:spcBef>
              <a:spcAft>
                <a:spcPts val="0"/>
              </a:spcAft>
              <a:buSzPts val="1200"/>
              <a:buChar char="○"/>
              <a:defRPr/>
            </a:lvl2pPr>
            <a:lvl3pPr marL="2743200" lvl="2" indent="-609600">
              <a:spcBef>
                <a:spcPts val="3200"/>
              </a:spcBef>
              <a:spcAft>
                <a:spcPts val="0"/>
              </a:spcAft>
              <a:buSzPts val="1200"/>
              <a:buChar char="■"/>
              <a:defRPr sz="2400"/>
            </a:lvl3pPr>
            <a:lvl4pPr marL="3657600" lvl="3" indent="-609600">
              <a:spcBef>
                <a:spcPts val="3200"/>
              </a:spcBef>
              <a:spcAft>
                <a:spcPts val="0"/>
              </a:spcAft>
              <a:buSzPts val="1200"/>
              <a:buChar char="●"/>
              <a:defRPr sz="2400"/>
            </a:lvl4pPr>
            <a:lvl5pPr marL="4572000" lvl="4" indent="-609600">
              <a:spcBef>
                <a:spcPts val="3200"/>
              </a:spcBef>
              <a:spcAft>
                <a:spcPts val="0"/>
              </a:spcAft>
              <a:buSzPts val="1200"/>
              <a:buChar char="○"/>
              <a:defRPr sz="2400"/>
            </a:lvl5pPr>
            <a:lvl6pPr marL="5486400" lvl="5" indent="-609600">
              <a:spcBef>
                <a:spcPts val="3200"/>
              </a:spcBef>
              <a:spcAft>
                <a:spcPts val="0"/>
              </a:spcAft>
              <a:buSzPts val="1200"/>
              <a:buChar char="■"/>
              <a:defRPr sz="2400"/>
            </a:lvl6pPr>
            <a:lvl7pPr marL="6400800" lvl="6" indent="-609600">
              <a:spcBef>
                <a:spcPts val="3200"/>
              </a:spcBef>
              <a:spcAft>
                <a:spcPts val="0"/>
              </a:spcAft>
              <a:buSzPts val="1200"/>
              <a:buChar char="●"/>
              <a:defRPr sz="2400"/>
            </a:lvl7pPr>
            <a:lvl8pPr marL="7315200" lvl="7" indent="-609600">
              <a:spcBef>
                <a:spcPts val="3200"/>
              </a:spcBef>
              <a:spcAft>
                <a:spcPts val="0"/>
              </a:spcAft>
              <a:buSzPts val="1200"/>
              <a:buChar char="○"/>
              <a:defRPr sz="2400"/>
            </a:lvl8pPr>
            <a:lvl9pPr marL="8229600" lvl="8" indent="-609600">
              <a:spcBef>
                <a:spcPts val="3200"/>
              </a:spcBef>
              <a:spcAft>
                <a:spcPts val="3200"/>
              </a:spcAft>
              <a:buSzPts val="1200"/>
              <a:buChar char="■"/>
              <a:defRPr sz="2400"/>
            </a:lvl9pPr>
          </a:lstStyle>
          <a:p>
            <a:endParaRPr/>
          </a:p>
        </p:txBody>
      </p:sp>
      <p:pic>
        <p:nvPicPr>
          <p:cNvPr id="117" name="Google Shape;117;p18"/>
          <p:cNvPicPr preferRelativeResize="0"/>
          <p:nvPr/>
        </p:nvPicPr>
        <p:blipFill>
          <a:blip r:embed="rId3">
            <a:alphaModFix/>
          </a:blip>
          <a:stretch>
            <a:fillRect/>
          </a:stretch>
        </p:blipFill>
        <p:spPr>
          <a:xfrm>
            <a:off x="16183201" y="-304775"/>
            <a:ext cx="1799998" cy="1799998"/>
          </a:xfrm>
          <a:prstGeom prst="rect">
            <a:avLst/>
          </a:prstGeom>
          <a:noFill/>
          <a:ln>
            <a:noFill/>
          </a:ln>
        </p:spPr>
      </p:pic>
    </p:spTree>
    <p:extLst>
      <p:ext uri="{BB962C8B-B14F-4D97-AF65-F5344CB8AC3E}">
        <p14:creationId xmlns:p14="http://schemas.microsoft.com/office/powerpoint/2010/main" val="19839843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matchingName="Título e duas colunas 1" preserve="1" userDrawn="1">
  <p:cSld name="Título e duas colunas 1">
    <p:bg>
      <p:bgPr>
        <a:solidFill>
          <a:srgbClr val="FFFFFF"/>
        </a:solidFill>
        <a:effectLst/>
      </p:bgPr>
    </p:bg>
    <p:spTree>
      <p:nvGrpSpPr>
        <p:cNvPr id="1" name="Shape 119"/>
        <p:cNvGrpSpPr/>
        <p:nvPr/>
      </p:nvGrpSpPr>
      <p:grpSpPr>
        <a:xfrm>
          <a:off x="0" y="0"/>
          <a:ext cx="0" cy="0"/>
          <a:chOff x="0" y="0"/>
          <a:chExt cx="0" cy="0"/>
        </a:xfrm>
      </p:grpSpPr>
      <p:pic>
        <p:nvPicPr>
          <p:cNvPr id="120" name="Google Shape;120;p19"/>
          <p:cNvPicPr preferRelativeResize="0"/>
          <p:nvPr/>
        </p:nvPicPr>
        <p:blipFill rotWithShape="1">
          <a:blip r:embed="rId2">
            <a:alphaModFix/>
          </a:blip>
          <a:srcRect t="52100" r="61386"/>
          <a:stretch/>
        </p:blipFill>
        <p:spPr>
          <a:xfrm rot="-5400000">
            <a:off x="90431" y="-128528"/>
            <a:ext cx="3521198" cy="3740156"/>
          </a:xfrm>
          <a:prstGeom prst="rect">
            <a:avLst/>
          </a:prstGeom>
          <a:noFill/>
          <a:ln>
            <a:noFill/>
          </a:ln>
        </p:spPr>
      </p:pic>
      <p:sp>
        <p:nvSpPr>
          <p:cNvPr id="121" name="Google Shape;121;p19"/>
          <p:cNvSpPr txBox="1">
            <a:spLocks noGrp="1"/>
          </p:cNvSpPr>
          <p:nvPr>
            <p:ph type="title"/>
          </p:nvPr>
        </p:nvSpPr>
        <p:spPr>
          <a:xfrm>
            <a:off x="1001100" y="1083262"/>
            <a:ext cx="17041200" cy="11454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222222"/>
              </a:buClr>
              <a:buSzPts val="1800"/>
              <a:buNone/>
              <a:defRPr sz="3600">
                <a:solidFill>
                  <a:srgbClr val="222222"/>
                </a:solidFill>
              </a:defRPr>
            </a:lvl1pPr>
            <a:lvl2pPr lvl="1" rtl="0">
              <a:spcBef>
                <a:spcPts val="0"/>
              </a:spcBef>
              <a:spcAft>
                <a:spcPts val="0"/>
              </a:spcAft>
              <a:buClr>
                <a:srgbClr val="222222"/>
              </a:buClr>
              <a:buSzPts val="1800"/>
              <a:buNone/>
              <a:defRPr sz="3600">
                <a:solidFill>
                  <a:srgbClr val="222222"/>
                </a:solidFill>
              </a:defRPr>
            </a:lvl2pPr>
            <a:lvl3pPr lvl="2" rtl="0">
              <a:spcBef>
                <a:spcPts val="0"/>
              </a:spcBef>
              <a:spcAft>
                <a:spcPts val="0"/>
              </a:spcAft>
              <a:buClr>
                <a:srgbClr val="222222"/>
              </a:buClr>
              <a:buSzPts val="1800"/>
              <a:buNone/>
              <a:defRPr sz="3600">
                <a:solidFill>
                  <a:srgbClr val="222222"/>
                </a:solidFill>
              </a:defRPr>
            </a:lvl3pPr>
            <a:lvl4pPr lvl="3" rtl="0">
              <a:spcBef>
                <a:spcPts val="0"/>
              </a:spcBef>
              <a:spcAft>
                <a:spcPts val="0"/>
              </a:spcAft>
              <a:buClr>
                <a:srgbClr val="222222"/>
              </a:buClr>
              <a:buSzPts val="1800"/>
              <a:buNone/>
              <a:defRPr sz="3600">
                <a:solidFill>
                  <a:srgbClr val="222222"/>
                </a:solidFill>
              </a:defRPr>
            </a:lvl4pPr>
            <a:lvl5pPr lvl="4" rtl="0">
              <a:spcBef>
                <a:spcPts val="0"/>
              </a:spcBef>
              <a:spcAft>
                <a:spcPts val="0"/>
              </a:spcAft>
              <a:buClr>
                <a:srgbClr val="222222"/>
              </a:buClr>
              <a:buSzPts val="1800"/>
              <a:buNone/>
              <a:defRPr sz="3600">
                <a:solidFill>
                  <a:srgbClr val="222222"/>
                </a:solidFill>
              </a:defRPr>
            </a:lvl5pPr>
            <a:lvl6pPr lvl="5" rtl="0">
              <a:spcBef>
                <a:spcPts val="0"/>
              </a:spcBef>
              <a:spcAft>
                <a:spcPts val="0"/>
              </a:spcAft>
              <a:buClr>
                <a:srgbClr val="222222"/>
              </a:buClr>
              <a:buSzPts val="1800"/>
              <a:buNone/>
              <a:defRPr sz="3600">
                <a:solidFill>
                  <a:srgbClr val="222222"/>
                </a:solidFill>
              </a:defRPr>
            </a:lvl6pPr>
            <a:lvl7pPr lvl="6" rtl="0">
              <a:spcBef>
                <a:spcPts val="0"/>
              </a:spcBef>
              <a:spcAft>
                <a:spcPts val="0"/>
              </a:spcAft>
              <a:buClr>
                <a:srgbClr val="222222"/>
              </a:buClr>
              <a:buSzPts val="1800"/>
              <a:buNone/>
              <a:defRPr sz="3600">
                <a:solidFill>
                  <a:srgbClr val="222222"/>
                </a:solidFill>
              </a:defRPr>
            </a:lvl7pPr>
            <a:lvl8pPr lvl="7" rtl="0">
              <a:spcBef>
                <a:spcPts val="0"/>
              </a:spcBef>
              <a:spcAft>
                <a:spcPts val="0"/>
              </a:spcAft>
              <a:buClr>
                <a:srgbClr val="222222"/>
              </a:buClr>
              <a:buSzPts val="1800"/>
              <a:buNone/>
              <a:defRPr sz="3600">
                <a:solidFill>
                  <a:srgbClr val="222222"/>
                </a:solidFill>
              </a:defRPr>
            </a:lvl8pPr>
            <a:lvl9pPr lvl="8" rtl="0">
              <a:spcBef>
                <a:spcPts val="0"/>
              </a:spcBef>
              <a:spcAft>
                <a:spcPts val="0"/>
              </a:spcAft>
              <a:buClr>
                <a:srgbClr val="222222"/>
              </a:buClr>
              <a:buSzPts val="1800"/>
              <a:buNone/>
              <a:defRPr sz="3600">
                <a:solidFill>
                  <a:srgbClr val="222222"/>
                </a:solidFill>
              </a:defRPr>
            </a:lvl9pPr>
          </a:lstStyle>
          <a:p>
            <a:endParaRPr/>
          </a:p>
        </p:txBody>
      </p:sp>
      <p:sp>
        <p:nvSpPr>
          <p:cNvPr id="122" name="Google Shape;122;p19"/>
          <p:cNvSpPr txBox="1">
            <a:spLocks noGrp="1"/>
          </p:cNvSpPr>
          <p:nvPr>
            <p:ph type="body" idx="1"/>
          </p:nvPr>
        </p:nvSpPr>
        <p:spPr>
          <a:xfrm>
            <a:off x="1126750" y="2914550"/>
            <a:ext cx="4598400" cy="6021600"/>
          </a:xfrm>
          <a:prstGeom prst="rect">
            <a:avLst/>
          </a:prstGeom>
        </p:spPr>
        <p:txBody>
          <a:bodyPr spcFirstLastPara="1" wrap="square" lIns="91425" tIns="91425" rIns="91425" bIns="91425" anchor="t" anchorCtr="0">
            <a:noAutofit/>
          </a:bodyPr>
          <a:lstStyle>
            <a:lvl1pPr marL="914400" lvl="0" indent="-571500" rtl="0">
              <a:spcBef>
                <a:spcPts val="0"/>
              </a:spcBef>
              <a:spcAft>
                <a:spcPts val="0"/>
              </a:spcAft>
              <a:buClr>
                <a:srgbClr val="222222"/>
              </a:buClr>
              <a:buSzPts val="900"/>
              <a:buChar char="●"/>
              <a:defRPr sz="1800">
                <a:solidFill>
                  <a:srgbClr val="222222"/>
                </a:solidFill>
              </a:defRPr>
            </a:lvl1pPr>
            <a:lvl2pPr marL="1828800" lvl="1" indent="-571500" rtl="0">
              <a:spcBef>
                <a:spcPts val="3200"/>
              </a:spcBef>
              <a:spcAft>
                <a:spcPts val="0"/>
              </a:spcAft>
              <a:buClr>
                <a:srgbClr val="222222"/>
              </a:buClr>
              <a:buSzPts val="900"/>
              <a:buChar char="○"/>
              <a:defRPr sz="1800">
                <a:solidFill>
                  <a:srgbClr val="222222"/>
                </a:solidFill>
              </a:defRPr>
            </a:lvl2pPr>
            <a:lvl3pPr marL="2743200" lvl="2" indent="-571500" rtl="0">
              <a:spcBef>
                <a:spcPts val="3200"/>
              </a:spcBef>
              <a:spcAft>
                <a:spcPts val="0"/>
              </a:spcAft>
              <a:buClr>
                <a:srgbClr val="222222"/>
              </a:buClr>
              <a:buSzPts val="900"/>
              <a:buChar char="■"/>
              <a:defRPr sz="1800">
                <a:solidFill>
                  <a:srgbClr val="222222"/>
                </a:solidFill>
              </a:defRPr>
            </a:lvl3pPr>
            <a:lvl4pPr marL="3657600" lvl="3" indent="-571500" rtl="0">
              <a:spcBef>
                <a:spcPts val="3200"/>
              </a:spcBef>
              <a:spcAft>
                <a:spcPts val="0"/>
              </a:spcAft>
              <a:buClr>
                <a:srgbClr val="222222"/>
              </a:buClr>
              <a:buSzPts val="900"/>
              <a:buChar char="●"/>
              <a:defRPr sz="1800">
                <a:solidFill>
                  <a:srgbClr val="222222"/>
                </a:solidFill>
              </a:defRPr>
            </a:lvl4pPr>
            <a:lvl5pPr marL="4572000" lvl="4" indent="-571500" rtl="0">
              <a:spcBef>
                <a:spcPts val="3200"/>
              </a:spcBef>
              <a:spcAft>
                <a:spcPts val="0"/>
              </a:spcAft>
              <a:buClr>
                <a:srgbClr val="222222"/>
              </a:buClr>
              <a:buSzPts val="900"/>
              <a:buChar char="○"/>
              <a:defRPr sz="1800">
                <a:solidFill>
                  <a:srgbClr val="222222"/>
                </a:solidFill>
              </a:defRPr>
            </a:lvl5pPr>
            <a:lvl6pPr marL="5486400" lvl="5" indent="-571500" rtl="0">
              <a:spcBef>
                <a:spcPts val="3200"/>
              </a:spcBef>
              <a:spcAft>
                <a:spcPts val="0"/>
              </a:spcAft>
              <a:buClr>
                <a:srgbClr val="222222"/>
              </a:buClr>
              <a:buSzPts val="900"/>
              <a:buChar char="■"/>
              <a:defRPr sz="1800">
                <a:solidFill>
                  <a:srgbClr val="222222"/>
                </a:solidFill>
              </a:defRPr>
            </a:lvl6pPr>
            <a:lvl7pPr marL="6400800" lvl="6" indent="-571500" rtl="0">
              <a:spcBef>
                <a:spcPts val="3200"/>
              </a:spcBef>
              <a:spcAft>
                <a:spcPts val="0"/>
              </a:spcAft>
              <a:buClr>
                <a:srgbClr val="222222"/>
              </a:buClr>
              <a:buSzPts val="900"/>
              <a:buChar char="●"/>
              <a:defRPr sz="1800">
                <a:solidFill>
                  <a:srgbClr val="222222"/>
                </a:solidFill>
              </a:defRPr>
            </a:lvl7pPr>
            <a:lvl8pPr marL="7315200" lvl="7" indent="-571500" rtl="0">
              <a:spcBef>
                <a:spcPts val="3200"/>
              </a:spcBef>
              <a:spcAft>
                <a:spcPts val="0"/>
              </a:spcAft>
              <a:buClr>
                <a:srgbClr val="222222"/>
              </a:buClr>
              <a:buSzPts val="900"/>
              <a:buChar char="○"/>
              <a:defRPr sz="1800">
                <a:solidFill>
                  <a:srgbClr val="222222"/>
                </a:solidFill>
              </a:defRPr>
            </a:lvl8pPr>
            <a:lvl9pPr marL="8229600" lvl="8" indent="-571500" rtl="0">
              <a:spcBef>
                <a:spcPts val="3200"/>
              </a:spcBef>
              <a:spcAft>
                <a:spcPts val="3200"/>
              </a:spcAft>
              <a:buClr>
                <a:srgbClr val="222222"/>
              </a:buClr>
              <a:buSzPts val="900"/>
              <a:buChar char="■"/>
              <a:defRPr sz="1800">
                <a:solidFill>
                  <a:srgbClr val="222222"/>
                </a:solidFill>
              </a:defRPr>
            </a:lvl9pPr>
          </a:lstStyle>
          <a:p>
            <a:endParaRPr/>
          </a:p>
        </p:txBody>
      </p:sp>
      <p:sp>
        <p:nvSpPr>
          <p:cNvPr id="124" name="Google Shape;124;p19"/>
          <p:cNvSpPr txBox="1">
            <a:spLocks noGrp="1"/>
          </p:cNvSpPr>
          <p:nvPr>
            <p:ph type="body" idx="2"/>
          </p:nvPr>
        </p:nvSpPr>
        <p:spPr>
          <a:xfrm>
            <a:off x="6731378" y="2914550"/>
            <a:ext cx="4598400" cy="6021600"/>
          </a:xfrm>
          <a:prstGeom prst="rect">
            <a:avLst/>
          </a:prstGeom>
        </p:spPr>
        <p:txBody>
          <a:bodyPr spcFirstLastPara="1" wrap="square" lIns="91425" tIns="91425" rIns="91425" bIns="91425" anchor="t" anchorCtr="0">
            <a:noAutofit/>
          </a:bodyPr>
          <a:lstStyle>
            <a:lvl1pPr marL="914400" lvl="0" indent="-571500" rtl="0">
              <a:spcBef>
                <a:spcPts val="0"/>
              </a:spcBef>
              <a:spcAft>
                <a:spcPts val="0"/>
              </a:spcAft>
              <a:buClr>
                <a:srgbClr val="222222"/>
              </a:buClr>
              <a:buSzPts val="900"/>
              <a:buChar char="●"/>
              <a:defRPr sz="1800">
                <a:solidFill>
                  <a:srgbClr val="222222"/>
                </a:solidFill>
              </a:defRPr>
            </a:lvl1pPr>
            <a:lvl2pPr marL="1828800" lvl="1" indent="-571500" rtl="0">
              <a:spcBef>
                <a:spcPts val="3200"/>
              </a:spcBef>
              <a:spcAft>
                <a:spcPts val="0"/>
              </a:spcAft>
              <a:buClr>
                <a:srgbClr val="222222"/>
              </a:buClr>
              <a:buSzPts val="900"/>
              <a:buChar char="○"/>
              <a:defRPr sz="1800">
                <a:solidFill>
                  <a:srgbClr val="222222"/>
                </a:solidFill>
              </a:defRPr>
            </a:lvl2pPr>
            <a:lvl3pPr marL="2743200" lvl="2" indent="-571500" rtl="0">
              <a:spcBef>
                <a:spcPts val="3200"/>
              </a:spcBef>
              <a:spcAft>
                <a:spcPts val="0"/>
              </a:spcAft>
              <a:buClr>
                <a:srgbClr val="222222"/>
              </a:buClr>
              <a:buSzPts val="900"/>
              <a:buChar char="■"/>
              <a:defRPr sz="1800">
                <a:solidFill>
                  <a:srgbClr val="222222"/>
                </a:solidFill>
              </a:defRPr>
            </a:lvl3pPr>
            <a:lvl4pPr marL="3657600" lvl="3" indent="-571500" rtl="0">
              <a:spcBef>
                <a:spcPts val="3200"/>
              </a:spcBef>
              <a:spcAft>
                <a:spcPts val="0"/>
              </a:spcAft>
              <a:buClr>
                <a:srgbClr val="222222"/>
              </a:buClr>
              <a:buSzPts val="900"/>
              <a:buChar char="●"/>
              <a:defRPr sz="1800">
                <a:solidFill>
                  <a:srgbClr val="222222"/>
                </a:solidFill>
              </a:defRPr>
            </a:lvl4pPr>
            <a:lvl5pPr marL="4572000" lvl="4" indent="-571500" rtl="0">
              <a:spcBef>
                <a:spcPts val="3200"/>
              </a:spcBef>
              <a:spcAft>
                <a:spcPts val="0"/>
              </a:spcAft>
              <a:buClr>
                <a:srgbClr val="222222"/>
              </a:buClr>
              <a:buSzPts val="900"/>
              <a:buChar char="○"/>
              <a:defRPr sz="1800">
                <a:solidFill>
                  <a:srgbClr val="222222"/>
                </a:solidFill>
              </a:defRPr>
            </a:lvl5pPr>
            <a:lvl6pPr marL="5486400" lvl="5" indent="-571500" rtl="0">
              <a:spcBef>
                <a:spcPts val="3200"/>
              </a:spcBef>
              <a:spcAft>
                <a:spcPts val="0"/>
              </a:spcAft>
              <a:buClr>
                <a:srgbClr val="222222"/>
              </a:buClr>
              <a:buSzPts val="900"/>
              <a:buChar char="■"/>
              <a:defRPr sz="1800">
                <a:solidFill>
                  <a:srgbClr val="222222"/>
                </a:solidFill>
              </a:defRPr>
            </a:lvl6pPr>
            <a:lvl7pPr marL="6400800" lvl="6" indent="-571500" rtl="0">
              <a:spcBef>
                <a:spcPts val="3200"/>
              </a:spcBef>
              <a:spcAft>
                <a:spcPts val="0"/>
              </a:spcAft>
              <a:buClr>
                <a:srgbClr val="222222"/>
              </a:buClr>
              <a:buSzPts val="900"/>
              <a:buChar char="●"/>
              <a:defRPr sz="1800">
                <a:solidFill>
                  <a:srgbClr val="222222"/>
                </a:solidFill>
              </a:defRPr>
            </a:lvl7pPr>
            <a:lvl8pPr marL="7315200" lvl="7" indent="-571500" rtl="0">
              <a:spcBef>
                <a:spcPts val="3200"/>
              </a:spcBef>
              <a:spcAft>
                <a:spcPts val="0"/>
              </a:spcAft>
              <a:buClr>
                <a:srgbClr val="222222"/>
              </a:buClr>
              <a:buSzPts val="900"/>
              <a:buChar char="○"/>
              <a:defRPr sz="1800">
                <a:solidFill>
                  <a:srgbClr val="222222"/>
                </a:solidFill>
              </a:defRPr>
            </a:lvl8pPr>
            <a:lvl9pPr marL="8229600" lvl="8" indent="-571500" rtl="0">
              <a:spcBef>
                <a:spcPts val="3200"/>
              </a:spcBef>
              <a:spcAft>
                <a:spcPts val="3200"/>
              </a:spcAft>
              <a:buClr>
                <a:srgbClr val="222222"/>
              </a:buClr>
              <a:buSzPts val="900"/>
              <a:buChar char="■"/>
              <a:defRPr sz="1800">
                <a:solidFill>
                  <a:srgbClr val="222222"/>
                </a:solidFill>
              </a:defRPr>
            </a:lvl9pPr>
          </a:lstStyle>
          <a:p>
            <a:endParaRPr/>
          </a:p>
        </p:txBody>
      </p:sp>
      <p:sp>
        <p:nvSpPr>
          <p:cNvPr id="125" name="Google Shape;125;p19"/>
          <p:cNvSpPr txBox="1">
            <a:spLocks noGrp="1"/>
          </p:cNvSpPr>
          <p:nvPr>
            <p:ph type="body" idx="3"/>
          </p:nvPr>
        </p:nvSpPr>
        <p:spPr>
          <a:xfrm>
            <a:off x="12336006" y="2914550"/>
            <a:ext cx="4598400" cy="6021600"/>
          </a:xfrm>
          <a:prstGeom prst="rect">
            <a:avLst/>
          </a:prstGeom>
        </p:spPr>
        <p:txBody>
          <a:bodyPr spcFirstLastPara="1" wrap="square" lIns="91425" tIns="91425" rIns="91425" bIns="91425" anchor="t" anchorCtr="0">
            <a:noAutofit/>
          </a:bodyPr>
          <a:lstStyle>
            <a:lvl1pPr marL="914400" lvl="0" indent="-571500" rtl="0">
              <a:spcBef>
                <a:spcPts val="0"/>
              </a:spcBef>
              <a:spcAft>
                <a:spcPts val="0"/>
              </a:spcAft>
              <a:buClr>
                <a:srgbClr val="222222"/>
              </a:buClr>
              <a:buSzPts val="900"/>
              <a:buChar char="●"/>
              <a:defRPr sz="1800">
                <a:solidFill>
                  <a:srgbClr val="222222"/>
                </a:solidFill>
              </a:defRPr>
            </a:lvl1pPr>
            <a:lvl2pPr marL="1828800" lvl="1" indent="-571500" rtl="0">
              <a:spcBef>
                <a:spcPts val="3200"/>
              </a:spcBef>
              <a:spcAft>
                <a:spcPts val="0"/>
              </a:spcAft>
              <a:buClr>
                <a:srgbClr val="222222"/>
              </a:buClr>
              <a:buSzPts val="900"/>
              <a:buChar char="○"/>
              <a:defRPr sz="1800">
                <a:solidFill>
                  <a:srgbClr val="222222"/>
                </a:solidFill>
              </a:defRPr>
            </a:lvl2pPr>
            <a:lvl3pPr marL="2743200" lvl="2" indent="-571500" rtl="0">
              <a:spcBef>
                <a:spcPts val="3200"/>
              </a:spcBef>
              <a:spcAft>
                <a:spcPts val="0"/>
              </a:spcAft>
              <a:buClr>
                <a:srgbClr val="222222"/>
              </a:buClr>
              <a:buSzPts val="900"/>
              <a:buChar char="■"/>
              <a:defRPr sz="1800">
                <a:solidFill>
                  <a:srgbClr val="222222"/>
                </a:solidFill>
              </a:defRPr>
            </a:lvl3pPr>
            <a:lvl4pPr marL="3657600" lvl="3" indent="-571500" rtl="0">
              <a:spcBef>
                <a:spcPts val="3200"/>
              </a:spcBef>
              <a:spcAft>
                <a:spcPts val="0"/>
              </a:spcAft>
              <a:buClr>
                <a:srgbClr val="222222"/>
              </a:buClr>
              <a:buSzPts val="900"/>
              <a:buChar char="●"/>
              <a:defRPr sz="1800">
                <a:solidFill>
                  <a:srgbClr val="222222"/>
                </a:solidFill>
              </a:defRPr>
            </a:lvl4pPr>
            <a:lvl5pPr marL="4572000" lvl="4" indent="-571500" rtl="0">
              <a:spcBef>
                <a:spcPts val="3200"/>
              </a:spcBef>
              <a:spcAft>
                <a:spcPts val="0"/>
              </a:spcAft>
              <a:buClr>
                <a:srgbClr val="222222"/>
              </a:buClr>
              <a:buSzPts val="900"/>
              <a:buChar char="○"/>
              <a:defRPr sz="1800">
                <a:solidFill>
                  <a:srgbClr val="222222"/>
                </a:solidFill>
              </a:defRPr>
            </a:lvl5pPr>
            <a:lvl6pPr marL="5486400" lvl="5" indent="-571500" rtl="0">
              <a:spcBef>
                <a:spcPts val="3200"/>
              </a:spcBef>
              <a:spcAft>
                <a:spcPts val="0"/>
              </a:spcAft>
              <a:buClr>
                <a:srgbClr val="222222"/>
              </a:buClr>
              <a:buSzPts val="900"/>
              <a:buChar char="■"/>
              <a:defRPr sz="1800">
                <a:solidFill>
                  <a:srgbClr val="222222"/>
                </a:solidFill>
              </a:defRPr>
            </a:lvl6pPr>
            <a:lvl7pPr marL="6400800" lvl="6" indent="-571500" rtl="0">
              <a:spcBef>
                <a:spcPts val="3200"/>
              </a:spcBef>
              <a:spcAft>
                <a:spcPts val="0"/>
              </a:spcAft>
              <a:buClr>
                <a:srgbClr val="222222"/>
              </a:buClr>
              <a:buSzPts val="900"/>
              <a:buChar char="●"/>
              <a:defRPr sz="1800">
                <a:solidFill>
                  <a:srgbClr val="222222"/>
                </a:solidFill>
              </a:defRPr>
            </a:lvl7pPr>
            <a:lvl8pPr marL="7315200" lvl="7" indent="-571500" rtl="0">
              <a:spcBef>
                <a:spcPts val="3200"/>
              </a:spcBef>
              <a:spcAft>
                <a:spcPts val="0"/>
              </a:spcAft>
              <a:buClr>
                <a:srgbClr val="222222"/>
              </a:buClr>
              <a:buSzPts val="900"/>
              <a:buChar char="○"/>
              <a:defRPr sz="1800">
                <a:solidFill>
                  <a:srgbClr val="222222"/>
                </a:solidFill>
              </a:defRPr>
            </a:lvl8pPr>
            <a:lvl9pPr marL="8229600" lvl="8" indent="-571500" rtl="0">
              <a:spcBef>
                <a:spcPts val="3200"/>
              </a:spcBef>
              <a:spcAft>
                <a:spcPts val="3200"/>
              </a:spcAft>
              <a:buClr>
                <a:srgbClr val="222222"/>
              </a:buClr>
              <a:buSzPts val="900"/>
              <a:buChar char="■"/>
              <a:defRPr sz="1800">
                <a:solidFill>
                  <a:srgbClr val="222222"/>
                </a:solidFill>
              </a:defRPr>
            </a:lvl9pPr>
          </a:lstStyle>
          <a:p>
            <a:endParaRPr/>
          </a:p>
        </p:txBody>
      </p:sp>
      <p:pic>
        <p:nvPicPr>
          <p:cNvPr id="126" name="Google Shape;126;p19"/>
          <p:cNvPicPr preferRelativeResize="0"/>
          <p:nvPr/>
        </p:nvPicPr>
        <p:blipFill>
          <a:blip r:embed="rId3">
            <a:alphaModFix/>
          </a:blip>
          <a:stretch>
            <a:fillRect/>
          </a:stretch>
        </p:blipFill>
        <p:spPr>
          <a:xfrm>
            <a:off x="16183201" y="-304799"/>
            <a:ext cx="1799998" cy="1799998"/>
          </a:xfrm>
          <a:prstGeom prst="rect">
            <a:avLst/>
          </a:prstGeom>
          <a:noFill/>
          <a:ln>
            <a:noFill/>
          </a:ln>
        </p:spPr>
      </p:pic>
    </p:spTree>
    <p:extLst>
      <p:ext uri="{BB962C8B-B14F-4D97-AF65-F5344CB8AC3E}">
        <p14:creationId xmlns:p14="http://schemas.microsoft.com/office/powerpoint/2010/main" val="8775181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matchingName="Título e duas colunas 1 1" preserve="1" userDrawn="1">
  <p:cSld name="Título e duas colunas 1 1">
    <p:bg>
      <p:bgPr>
        <a:solidFill>
          <a:srgbClr val="FFFFFF"/>
        </a:solidFill>
        <a:effectLst/>
      </p:bgPr>
    </p:bg>
    <p:spTree>
      <p:nvGrpSpPr>
        <p:cNvPr id="1" name="Shape 136"/>
        <p:cNvGrpSpPr/>
        <p:nvPr/>
      </p:nvGrpSpPr>
      <p:grpSpPr>
        <a:xfrm>
          <a:off x="0" y="0"/>
          <a:ext cx="0" cy="0"/>
          <a:chOff x="0" y="0"/>
          <a:chExt cx="0" cy="0"/>
        </a:xfrm>
      </p:grpSpPr>
      <p:sp>
        <p:nvSpPr>
          <p:cNvPr id="137" name="Google Shape;137;p21"/>
          <p:cNvSpPr txBox="1">
            <a:spLocks noGrp="1"/>
          </p:cNvSpPr>
          <p:nvPr>
            <p:ph type="title"/>
          </p:nvPr>
        </p:nvSpPr>
        <p:spPr>
          <a:xfrm>
            <a:off x="1001100" y="1083262"/>
            <a:ext cx="17041200" cy="11454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222222"/>
              </a:buClr>
              <a:buSzPts val="1800"/>
              <a:buNone/>
              <a:defRPr sz="3600">
                <a:solidFill>
                  <a:srgbClr val="222222"/>
                </a:solidFill>
              </a:defRPr>
            </a:lvl1pPr>
            <a:lvl2pPr lvl="1" rtl="0">
              <a:spcBef>
                <a:spcPts val="0"/>
              </a:spcBef>
              <a:spcAft>
                <a:spcPts val="0"/>
              </a:spcAft>
              <a:buClr>
                <a:srgbClr val="222222"/>
              </a:buClr>
              <a:buSzPts val="1800"/>
              <a:buNone/>
              <a:defRPr sz="3600">
                <a:solidFill>
                  <a:srgbClr val="222222"/>
                </a:solidFill>
              </a:defRPr>
            </a:lvl2pPr>
            <a:lvl3pPr lvl="2" rtl="0">
              <a:spcBef>
                <a:spcPts val="0"/>
              </a:spcBef>
              <a:spcAft>
                <a:spcPts val="0"/>
              </a:spcAft>
              <a:buClr>
                <a:srgbClr val="222222"/>
              </a:buClr>
              <a:buSzPts val="1800"/>
              <a:buNone/>
              <a:defRPr sz="3600">
                <a:solidFill>
                  <a:srgbClr val="222222"/>
                </a:solidFill>
              </a:defRPr>
            </a:lvl3pPr>
            <a:lvl4pPr lvl="3" rtl="0">
              <a:spcBef>
                <a:spcPts val="0"/>
              </a:spcBef>
              <a:spcAft>
                <a:spcPts val="0"/>
              </a:spcAft>
              <a:buClr>
                <a:srgbClr val="222222"/>
              </a:buClr>
              <a:buSzPts val="1800"/>
              <a:buNone/>
              <a:defRPr sz="3600">
                <a:solidFill>
                  <a:srgbClr val="222222"/>
                </a:solidFill>
              </a:defRPr>
            </a:lvl4pPr>
            <a:lvl5pPr lvl="4" rtl="0">
              <a:spcBef>
                <a:spcPts val="0"/>
              </a:spcBef>
              <a:spcAft>
                <a:spcPts val="0"/>
              </a:spcAft>
              <a:buClr>
                <a:srgbClr val="222222"/>
              </a:buClr>
              <a:buSzPts val="1800"/>
              <a:buNone/>
              <a:defRPr sz="3600">
                <a:solidFill>
                  <a:srgbClr val="222222"/>
                </a:solidFill>
              </a:defRPr>
            </a:lvl5pPr>
            <a:lvl6pPr lvl="5" rtl="0">
              <a:spcBef>
                <a:spcPts val="0"/>
              </a:spcBef>
              <a:spcAft>
                <a:spcPts val="0"/>
              </a:spcAft>
              <a:buClr>
                <a:srgbClr val="222222"/>
              </a:buClr>
              <a:buSzPts val="1800"/>
              <a:buNone/>
              <a:defRPr sz="3600">
                <a:solidFill>
                  <a:srgbClr val="222222"/>
                </a:solidFill>
              </a:defRPr>
            </a:lvl6pPr>
            <a:lvl7pPr lvl="6" rtl="0">
              <a:spcBef>
                <a:spcPts val="0"/>
              </a:spcBef>
              <a:spcAft>
                <a:spcPts val="0"/>
              </a:spcAft>
              <a:buClr>
                <a:srgbClr val="222222"/>
              </a:buClr>
              <a:buSzPts val="1800"/>
              <a:buNone/>
              <a:defRPr sz="3600">
                <a:solidFill>
                  <a:srgbClr val="222222"/>
                </a:solidFill>
              </a:defRPr>
            </a:lvl7pPr>
            <a:lvl8pPr lvl="7" rtl="0">
              <a:spcBef>
                <a:spcPts val="0"/>
              </a:spcBef>
              <a:spcAft>
                <a:spcPts val="0"/>
              </a:spcAft>
              <a:buClr>
                <a:srgbClr val="222222"/>
              </a:buClr>
              <a:buSzPts val="1800"/>
              <a:buNone/>
              <a:defRPr sz="3600">
                <a:solidFill>
                  <a:srgbClr val="222222"/>
                </a:solidFill>
              </a:defRPr>
            </a:lvl8pPr>
            <a:lvl9pPr lvl="8" rtl="0">
              <a:spcBef>
                <a:spcPts val="0"/>
              </a:spcBef>
              <a:spcAft>
                <a:spcPts val="0"/>
              </a:spcAft>
              <a:buClr>
                <a:srgbClr val="222222"/>
              </a:buClr>
              <a:buSzPts val="1800"/>
              <a:buNone/>
              <a:defRPr sz="3600">
                <a:solidFill>
                  <a:srgbClr val="222222"/>
                </a:solidFill>
              </a:defRPr>
            </a:lvl9pPr>
          </a:lstStyle>
          <a:p>
            <a:endParaRPr/>
          </a:p>
        </p:txBody>
      </p:sp>
      <p:sp>
        <p:nvSpPr>
          <p:cNvPr id="138" name="Google Shape;138;p21"/>
          <p:cNvSpPr txBox="1">
            <a:spLocks noGrp="1"/>
          </p:cNvSpPr>
          <p:nvPr>
            <p:ph type="body" idx="1"/>
          </p:nvPr>
        </p:nvSpPr>
        <p:spPr>
          <a:xfrm>
            <a:off x="1126750" y="2914550"/>
            <a:ext cx="4598400" cy="6021600"/>
          </a:xfrm>
          <a:prstGeom prst="rect">
            <a:avLst/>
          </a:prstGeom>
        </p:spPr>
        <p:txBody>
          <a:bodyPr spcFirstLastPara="1" wrap="square" lIns="91425" tIns="91425" rIns="91425" bIns="91425" anchor="t" anchorCtr="0">
            <a:noAutofit/>
          </a:bodyPr>
          <a:lstStyle>
            <a:lvl1pPr marL="914400" lvl="0" indent="-571500" rtl="0">
              <a:spcBef>
                <a:spcPts val="0"/>
              </a:spcBef>
              <a:spcAft>
                <a:spcPts val="0"/>
              </a:spcAft>
              <a:buClr>
                <a:srgbClr val="222222"/>
              </a:buClr>
              <a:buSzPts val="900"/>
              <a:buChar char="●"/>
              <a:defRPr sz="1800">
                <a:solidFill>
                  <a:srgbClr val="222222"/>
                </a:solidFill>
              </a:defRPr>
            </a:lvl1pPr>
            <a:lvl2pPr marL="1828800" lvl="1" indent="-571500" rtl="0">
              <a:spcBef>
                <a:spcPts val="3200"/>
              </a:spcBef>
              <a:spcAft>
                <a:spcPts val="0"/>
              </a:spcAft>
              <a:buClr>
                <a:srgbClr val="222222"/>
              </a:buClr>
              <a:buSzPts val="900"/>
              <a:buChar char="○"/>
              <a:defRPr sz="1800">
                <a:solidFill>
                  <a:srgbClr val="222222"/>
                </a:solidFill>
              </a:defRPr>
            </a:lvl2pPr>
            <a:lvl3pPr marL="2743200" lvl="2" indent="-571500" rtl="0">
              <a:spcBef>
                <a:spcPts val="3200"/>
              </a:spcBef>
              <a:spcAft>
                <a:spcPts val="0"/>
              </a:spcAft>
              <a:buClr>
                <a:srgbClr val="222222"/>
              </a:buClr>
              <a:buSzPts val="900"/>
              <a:buChar char="■"/>
              <a:defRPr sz="1800">
                <a:solidFill>
                  <a:srgbClr val="222222"/>
                </a:solidFill>
              </a:defRPr>
            </a:lvl3pPr>
            <a:lvl4pPr marL="3657600" lvl="3" indent="-571500" rtl="0">
              <a:spcBef>
                <a:spcPts val="3200"/>
              </a:spcBef>
              <a:spcAft>
                <a:spcPts val="0"/>
              </a:spcAft>
              <a:buClr>
                <a:srgbClr val="222222"/>
              </a:buClr>
              <a:buSzPts val="900"/>
              <a:buChar char="●"/>
              <a:defRPr sz="1800">
                <a:solidFill>
                  <a:srgbClr val="222222"/>
                </a:solidFill>
              </a:defRPr>
            </a:lvl4pPr>
            <a:lvl5pPr marL="4572000" lvl="4" indent="-571500" rtl="0">
              <a:spcBef>
                <a:spcPts val="3200"/>
              </a:spcBef>
              <a:spcAft>
                <a:spcPts val="0"/>
              </a:spcAft>
              <a:buClr>
                <a:srgbClr val="222222"/>
              </a:buClr>
              <a:buSzPts val="900"/>
              <a:buChar char="○"/>
              <a:defRPr sz="1800">
                <a:solidFill>
                  <a:srgbClr val="222222"/>
                </a:solidFill>
              </a:defRPr>
            </a:lvl5pPr>
            <a:lvl6pPr marL="5486400" lvl="5" indent="-571500" rtl="0">
              <a:spcBef>
                <a:spcPts val="3200"/>
              </a:spcBef>
              <a:spcAft>
                <a:spcPts val="0"/>
              </a:spcAft>
              <a:buClr>
                <a:srgbClr val="222222"/>
              </a:buClr>
              <a:buSzPts val="900"/>
              <a:buChar char="■"/>
              <a:defRPr sz="1800">
                <a:solidFill>
                  <a:srgbClr val="222222"/>
                </a:solidFill>
              </a:defRPr>
            </a:lvl6pPr>
            <a:lvl7pPr marL="6400800" lvl="6" indent="-571500" rtl="0">
              <a:spcBef>
                <a:spcPts val="3200"/>
              </a:spcBef>
              <a:spcAft>
                <a:spcPts val="0"/>
              </a:spcAft>
              <a:buClr>
                <a:srgbClr val="222222"/>
              </a:buClr>
              <a:buSzPts val="900"/>
              <a:buChar char="●"/>
              <a:defRPr sz="1800">
                <a:solidFill>
                  <a:srgbClr val="222222"/>
                </a:solidFill>
              </a:defRPr>
            </a:lvl7pPr>
            <a:lvl8pPr marL="7315200" lvl="7" indent="-571500" rtl="0">
              <a:spcBef>
                <a:spcPts val="3200"/>
              </a:spcBef>
              <a:spcAft>
                <a:spcPts val="0"/>
              </a:spcAft>
              <a:buClr>
                <a:srgbClr val="222222"/>
              </a:buClr>
              <a:buSzPts val="900"/>
              <a:buChar char="○"/>
              <a:defRPr sz="1800">
                <a:solidFill>
                  <a:srgbClr val="222222"/>
                </a:solidFill>
              </a:defRPr>
            </a:lvl8pPr>
            <a:lvl9pPr marL="8229600" lvl="8" indent="-571500" rtl="0">
              <a:spcBef>
                <a:spcPts val="3200"/>
              </a:spcBef>
              <a:spcAft>
                <a:spcPts val="3200"/>
              </a:spcAft>
              <a:buClr>
                <a:srgbClr val="222222"/>
              </a:buClr>
              <a:buSzPts val="900"/>
              <a:buChar char="■"/>
              <a:defRPr sz="1800">
                <a:solidFill>
                  <a:srgbClr val="222222"/>
                </a:solidFill>
              </a:defRPr>
            </a:lvl9pPr>
          </a:lstStyle>
          <a:p>
            <a:endParaRPr/>
          </a:p>
        </p:txBody>
      </p:sp>
      <p:sp>
        <p:nvSpPr>
          <p:cNvPr id="140" name="Google Shape;140;p21"/>
          <p:cNvSpPr txBox="1">
            <a:spLocks noGrp="1"/>
          </p:cNvSpPr>
          <p:nvPr>
            <p:ph type="body" idx="2"/>
          </p:nvPr>
        </p:nvSpPr>
        <p:spPr>
          <a:xfrm>
            <a:off x="6731378" y="2914550"/>
            <a:ext cx="4598400" cy="6021600"/>
          </a:xfrm>
          <a:prstGeom prst="rect">
            <a:avLst/>
          </a:prstGeom>
        </p:spPr>
        <p:txBody>
          <a:bodyPr spcFirstLastPara="1" wrap="square" lIns="91425" tIns="91425" rIns="91425" bIns="91425" anchor="t" anchorCtr="0">
            <a:noAutofit/>
          </a:bodyPr>
          <a:lstStyle>
            <a:lvl1pPr marL="914400" lvl="0" indent="-571500" rtl="0">
              <a:spcBef>
                <a:spcPts val="0"/>
              </a:spcBef>
              <a:spcAft>
                <a:spcPts val="0"/>
              </a:spcAft>
              <a:buClr>
                <a:srgbClr val="222222"/>
              </a:buClr>
              <a:buSzPts val="900"/>
              <a:buChar char="●"/>
              <a:defRPr sz="1800">
                <a:solidFill>
                  <a:srgbClr val="222222"/>
                </a:solidFill>
              </a:defRPr>
            </a:lvl1pPr>
            <a:lvl2pPr marL="1828800" lvl="1" indent="-571500" rtl="0">
              <a:spcBef>
                <a:spcPts val="3200"/>
              </a:spcBef>
              <a:spcAft>
                <a:spcPts val="0"/>
              </a:spcAft>
              <a:buClr>
                <a:srgbClr val="222222"/>
              </a:buClr>
              <a:buSzPts val="900"/>
              <a:buChar char="○"/>
              <a:defRPr sz="1800">
                <a:solidFill>
                  <a:srgbClr val="222222"/>
                </a:solidFill>
              </a:defRPr>
            </a:lvl2pPr>
            <a:lvl3pPr marL="2743200" lvl="2" indent="-571500" rtl="0">
              <a:spcBef>
                <a:spcPts val="3200"/>
              </a:spcBef>
              <a:spcAft>
                <a:spcPts val="0"/>
              </a:spcAft>
              <a:buClr>
                <a:srgbClr val="222222"/>
              </a:buClr>
              <a:buSzPts val="900"/>
              <a:buChar char="■"/>
              <a:defRPr sz="1800">
                <a:solidFill>
                  <a:srgbClr val="222222"/>
                </a:solidFill>
              </a:defRPr>
            </a:lvl3pPr>
            <a:lvl4pPr marL="3657600" lvl="3" indent="-571500" rtl="0">
              <a:spcBef>
                <a:spcPts val="3200"/>
              </a:spcBef>
              <a:spcAft>
                <a:spcPts val="0"/>
              </a:spcAft>
              <a:buClr>
                <a:srgbClr val="222222"/>
              </a:buClr>
              <a:buSzPts val="900"/>
              <a:buChar char="●"/>
              <a:defRPr sz="1800">
                <a:solidFill>
                  <a:srgbClr val="222222"/>
                </a:solidFill>
              </a:defRPr>
            </a:lvl4pPr>
            <a:lvl5pPr marL="4572000" lvl="4" indent="-571500" rtl="0">
              <a:spcBef>
                <a:spcPts val="3200"/>
              </a:spcBef>
              <a:spcAft>
                <a:spcPts val="0"/>
              </a:spcAft>
              <a:buClr>
                <a:srgbClr val="222222"/>
              </a:buClr>
              <a:buSzPts val="900"/>
              <a:buChar char="○"/>
              <a:defRPr sz="1800">
                <a:solidFill>
                  <a:srgbClr val="222222"/>
                </a:solidFill>
              </a:defRPr>
            </a:lvl5pPr>
            <a:lvl6pPr marL="5486400" lvl="5" indent="-571500" rtl="0">
              <a:spcBef>
                <a:spcPts val="3200"/>
              </a:spcBef>
              <a:spcAft>
                <a:spcPts val="0"/>
              </a:spcAft>
              <a:buClr>
                <a:srgbClr val="222222"/>
              </a:buClr>
              <a:buSzPts val="900"/>
              <a:buChar char="■"/>
              <a:defRPr sz="1800">
                <a:solidFill>
                  <a:srgbClr val="222222"/>
                </a:solidFill>
              </a:defRPr>
            </a:lvl6pPr>
            <a:lvl7pPr marL="6400800" lvl="6" indent="-571500" rtl="0">
              <a:spcBef>
                <a:spcPts val="3200"/>
              </a:spcBef>
              <a:spcAft>
                <a:spcPts val="0"/>
              </a:spcAft>
              <a:buClr>
                <a:srgbClr val="222222"/>
              </a:buClr>
              <a:buSzPts val="900"/>
              <a:buChar char="●"/>
              <a:defRPr sz="1800">
                <a:solidFill>
                  <a:srgbClr val="222222"/>
                </a:solidFill>
              </a:defRPr>
            </a:lvl7pPr>
            <a:lvl8pPr marL="7315200" lvl="7" indent="-571500" rtl="0">
              <a:spcBef>
                <a:spcPts val="3200"/>
              </a:spcBef>
              <a:spcAft>
                <a:spcPts val="0"/>
              </a:spcAft>
              <a:buClr>
                <a:srgbClr val="222222"/>
              </a:buClr>
              <a:buSzPts val="900"/>
              <a:buChar char="○"/>
              <a:defRPr sz="1800">
                <a:solidFill>
                  <a:srgbClr val="222222"/>
                </a:solidFill>
              </a:defRPr>
            </a:lvl8pPr>
            <a:lvl9pPr marL="8229600" lvl="8" indent="-571500" rtl="0">
              <a:spcBef>
                <a:spcPts val="3200"/>
              </a:spcBef>
              <a:spcAft>
                <a:spcPts val="3200"/>
              </a:spcAft>
              <a:buClr>
                <a:srgbClr val="222222"/>
              </a:buClr>
              <a:buSzPts val="900"/>
              <a:buChar char="■"/>
              <a:defRPr sz="1800">
                <a:solidFill>
                  <a:srgbClr val="222222"/>
                </a:solidFill>
              </a:defRPr>
            </a:lvl9pPr>
          </a:lstStyle>
          <a:p>
            <a:endParaRPr/>
          </a:p>
        </p:txBody>
      </p:sp>
      <p:sp>
        <p:nvSpPr>
          <p:cNvPr id="141" name="Google Shape;141;p21"/>
          <p:cNvSpPr txBox="1">
            <a:spLocks noGrp="1"/>
          </p:cNvSpPr>
          <p:nvPr>
            <p:ph type="body" idx="3"/>
          </p:nvPr>
        </p:nvSpPr>
        <p:spPr>
          <a:xfrm>
            <a:off x="12336006" y="2914550"/>
            <a:ext cx="4598400" cy="6021600"/>
          </a:xfrm>
          <a:prstGeom prst="rect">
            <a:avLst/>
          </a:prstGeom>
        </p:spPr>
        <p:txBody>
          <a:bodyPr spcFirstLastPara="1" wrap="square" lIns="91425" tIns="91425" rIns="91425" bIns="91425" anchor="t" anchorCtr="0">
            <a:noAutofit/>
          </a:bodyPr>
          <a:lstStyle>
            <a:lvl1pPr marL="914400" lvl="0" indent="-571500" rtl="0">
              <a:spcBef>
                <a:spcPts val="0"/>
              </a:spcBef>
              <a:spcAft>
                <a:spcPts val="0"/>
              </a:spcAft>
              <a:buClr>
                <a:srgbClr val="222222"/>
              </a:buClr>
              <a:buSzPts val="900"/>
              <a:buChar char="●"/>
              <a:defRPr sz="1800">
                <a:solidFill>
                  <a:srgbClr val="222222"/>
                </a:solidFill>
              </a:defRPr>
            </a:lvl1pPr>
            <a:lvl2pPr marL="1828800" lvl="1" indent="-571500" rtl="0">
              <a:spcBef>
                <a:spcPts val="3200"/>
              </a:spcBef>
              <a:spcAft>
                <a:spcPts val="0"/>
              </a:spcAft>
              <a:buClr>
                <a:srgbClr val="222222"/>
              </a:buClr>
              <a:buSzPts val="900"/>
              <a:buChar char="○"/>
              <a:defRPr sz="1800">
                <a:solidFill>
                  <a:srgbClr val="222222"/>
                </a:solidFill>
              </a:defRPr>
            </a:lvl2pPr>
            <a:lvl3pPr marL="2743200" lvl="2" indent="-571500" rtl="0">
              <a:spcBef>
                <a:spcPts val="3200"/>
              </a:spcBef>
              <a:spcAft>
                <a:spcPts val="0"/>
              </a:spcAft>
              <a:buClr>
                <a:srgbClr val="222222"/>
              </a:buClr>
              <a:buSzPts val="900"/>
              <a:buChar char="■"/>
              <a:defRPr sz="1800">
                <a:solidFill>
                  <a:srgbClr val="222222"/>
                </a:solidFill>
              </a:defRPr>
            </a:lvl3pPr>
            <a:lvl4pPr marL="3657600" lvl="3" indent="-571500" rtl="0">
              <a:spcBef>
                <a:spcPts val="3200"/>
              </a:spcBef>
              <a:spcAft>
                <a:spcPts val="0"/>
              </a:spcAft>
              <a:buClr>
                <a:srgbClr val="222222"/>
              </a:buClr>
              <a:buSzPts val="900"/>
              <a:buChar char="●"/>
              <a:defRPr sz="1800">
                <a:solidFill>
                  <a:srgbClr val="222222"/>
                </a:solidFill>
              </a:defRPr>
            </a:lvl4pPr>
            <a:lvl5pPr marL="4572000" lvl="4" indent="-571500" rtl="0">
              <a:spcBef>
                <a:spcPts val="3200"/>
              </a:spcBef>
              <a:spcAft>
                <a:spcPts val="0"/>
              </a:spcAft>
              <a:buClr>
                <a:srgbClr val="222222"/>
              </a:buClr>
              <a:buSzPts val="900"/>
              <a:buChar char="○"/>
              <a:defRPr sz="1800">
                <a:solidFill>
                  <a:srgbClr val="222222"/>
                </a:solidFill>
              </a:defRPr>
            </a:lvl5pPr>
            <a:lvl6pPr marL="5486400" lvl="5" indent="-571500" rtl="0">
              <a:spcBef>
                <a:spcPts val="3200"/>
              </a:spcBef>
              <a:spcAft>
                <a:spcPts val="0"/>
              </a:spcAft>
              <a:buClr>
                <a:srgbClr val="222222"/>
              </a:buClr>
              <a:buSzPts val="900"/>
              <a:buChar char="■"/>
              <a:defRPr sz="1800">
                <a:solidFill>
                  <a:srgbClr val="222222"/>
                </a:solidFill>
              </a:defRPr>
            </a:lvl6pPr>
            <a:lvl7pPr marL="6400800" lvl="6" indent="-571500" rtl="0">
              <a:spcBef>
                <a:spcPts val="3200"/>
              </a:spcBef>
              <a:spcAft>
                <a:spcPts val="0"/>
              </a:spcAft>
              <a:buClr>
                <a:srgbClr val="222222"/>
              </a:buClr>
              <a:buSzPts val="900"/>
              <a:buChar char="●"/>
              <a:defRPr sz="1800">
                <a:solidFill>
                  <a:srgbClr val="222222"/>
                </a:solidFill>
              </a:defRPr>
            </a:lvl7pPr>
            <a:lvl8pPr marL="7315200" lvl="7" indent="-571500" rtl="0">
              <a:spcBef>
                <a:spcPts val="3200"/>
              </a:spcBef>
              <a:spcAft>
                <a:spcPts val="0"/>
              </a:spcAft>
              <a:buClr>
                <a:srgbClr val="222222"/>
              </a:buClr>
              <a:buSzPts val="900"/>
              <a:buChar char="○"/>
              <a:defRPr sz="1800">
                <a:solidFill>
                  <a:srgbClr val="222222"/>
                </a:solidFill>
              </a:defRPr>
            </a:lvl8pPr>
            <a:lvl9pPr marL="8229600" lvl="8" indent="-571500" rtl="0">
              <a:spcBef>
                <a:spcPts val="3200"/>
              </a:spcBef>
              <a:spcAft>
                <a:spcPts val="3200"/>
              </a:spcAft>
              <a:buClr>
                <a:srgbClr val="222222"/>
              </a:buClr>
              <a:buSzPts val="900"/>
              <a:buChar char="■"/>
              <a:defRPr sz="1800">
                <a:solidFill>
                  <a:srgbClr val="222222"/>
                </a:solidFill>
              </a:defRPr>
            </a:lvl9pPr>
          </a:lstStyle>
          <a:p>
            <a:endParaRPr/>
          </a:p>
        </p:txBody>
      </p:sp>
      <p:pic>
        <p:nvPicPr>
          <p:cNvPr id="142" name="Google Shape;142;p21"/>
          <p:cNvPicPr preferRelativeResize="0"/>
          <p:nvPr/>
        </p:nvPicPr>
        <p:blipFill>
          <a:blip r:embed="rId2">
            <a:alphaModFix/>
          </a:blip>
          <a:stretch>
            <a:fillRect/>
          </a:stretch>
        </p:blipFill>
        <p:spPr>
          <a:xfrm>
            <a:off x="16183201" y="-304799"/>
            <a:ext cx="1799998" cy="1799998"/>
          </a:xfrm>
          <a:prstGeom prst="rect">
            <a:avLst/>
          </a:prstGeom>
          <a:noFill/>
          <a:ln>
            <a:noFill/>
          </a:ln>
        </p:spPr>
      </p:pic>
      <p:sp>
        <p:nvSpPr>
          <p:cNvPr id="144" name="Google Shape;144;p21"/>
          <p:cNvSpPr/>
          <p:nvPr/>
        </p:nvSpPr>
        <p:spPr>
          <a:xfrm>
            <a:off x="0" y="600300"/>
            <a:ext cx="15748800" cy="14400"/>
          </a:xfrm>
          <a:prstGeom prst="rect">
            <a:avLst/>
          </a:prstGeom>
          <a:gradFill>
            <a:gsLst>
              <a:gs pos="0">
                <a:srgbClr val="FF2C34"/>
              </a:gs>
              <a:gs pos="100000">
                <a:srgbClr val="6800FF"/>
              </a:gs>
            </a:gsLst>
            <a:lin ang="2698631" scaled="0"/>
          </a:gra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sz="2800"/>
          </a:p>
        </p:txBody>
      </p:sp>
    </p:spTree>
    <p:extLst>
      <p:ext uri="{BB962C8B-B14F-4D97-AF65-F5344CB8AC3E}">
        <p14:creationId xmlns:p14="http://schemas.microsoft.com/office/powerpoint/2010/main" val="34779695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matchingName="Somente título 2 1 1 4 2" preserve="1" userDrawn="1">
  <p:cSld name="Somente título 2 1 1 4 2">
    <p:spTree>
      <p:nvGrpSpPr>
        <p:cNvPr id="1" name="Shape 229"/>
        <p:cNvGrpSpPr/>
        <p:nvPr/>
      </p:nvGrpSpPr>
      <p:grpSpPr>
        <a:xfrm>
          <a:off x="0" y="0"/>
          <a:ext cx="0" cy="0"/>
          <a:chOff x="0" y="0"/>
          <a:chExt cx="0" cy="0"/>
        </a:xfrm>
      </p:grpSpPr>
      <p:sp>
        <p:nvSpPr>
          <p:cNvPr id="230" name="Google Shape;230;p35"/>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pic>
        <p:nvPicPr>
          <p:cNvPr id="231" name="Google Shape;231;p35"/>
          <p:cNvPicPr preferRelativeResize="0"/>
          <p:nvPr/>
        </p:nvPicPr>
        <p:blipFill>
          <a:blip r:embed="rId2">
            <a:alphaModFix/>
          </a:blip>
          <a:stretch>
            <a:fillRect/>
          </a:stretch>
        </p:blipFill>
        <p:spPr>
          <a:xfrm>
            <a:off x="0" y="1"/>
            <a:ext cx="18288000" cy="10286994"/>
          </a:xfrm>
          <a:prstGeom prst="rect">
            <a:avLst/>
          </a:prstGeom>
          <a:noFill/>
          <a:ln>
            <a:noFill/>
          </a:ln>
        </p:spPr>
      </p:pic>
      <p:pic>
        <p:nvPicPr>
          <p:cNvPr id="232" name="Google Shape;232;p35"/>
          <p:cNvPicPr preferRelativeResize="0"/>
          <p:nvPr/>
        </p:nvPicPr>
        <p:blipFill>
          <a:blip r:embed="rId3">
            <a:alphaModFix/>
          </a:blip>
          <a:stretch>
            <a:fillRect/>
          </a:stretch>
        </p:blipFill>
        <p:spPr>
          <a:xfrm>
            <a:off x="16183201" y="-304775"/>
            <a:ext cx="1799998" cy="1799998"/>
          </a:xfrm>
          <a:prstGeom prst="rect">
            <a:avLst/>
          </a:prstGeom>
          <a:noFill/>
          <a:ln>
            <a:noFill/>
          </a:ln>
        </p:spPr>
      </p:pic>
      <p:sp>
        <p:nvSpPr>
          <p:cNvPr id="234" name="Google Shape;234;p35"/>
          <p:cNvSpPr txBox="1">
            <a:spLocks noGrp="1"/>
          </p:cNvSpPr>
          <p:nvPr>
            <p:ph type="title"/>
          </p:nvPr>
        </p:nvSpPr>
        <p:spPr>
          <a:xfrm>
            <a:off x="1230100" y="3009200"/>
            <a:ext cx="6692400" cy="2964600"/>
          </a:xfrm>
          <a:prstGeom prst="rect">
            <a:avLst/>
          </a:prstGeom>
        </p:spPr>
        <p:txBody>
          <a:bodyPr spcFirstLastPara="1" wrap="square" lIns="91425" tIns="91425" rIns="91425" bIns="91425" anchor="b" anchorCtr="0">
            <a:noAutofit/>
          </a:bodyPr>
          <a:lstStyle>
            <a:lvl1pPr lvl="0" rtl="0">
              <a:spcBef>
                <a:spcPts val="0"/>
              </a:spcBef>
              <a:spcAft>
                <a:spcPts val="0"/>
              </a:spcAft>
              <a:buSzPts val="3000"/>
              <a:buNone/>
              <a:defRPr sz="6000"/>
            </a:lvl1pPr>
            <a:lvl2pPr lvl="1" rtl="0">
              <a:spcBef>
                <a:spcPts val="0"/>
              </a:spcBef>
              <a:spcAft>
                <a:spcPts val="0"/>
              </a:spcAft>
              <a:buSzPts val="3600"/>
              <a:buNone/>
              <a:defRPr sz="7200"/>
            </a:lvl2pPr>
            <a:lvl3pPr lvl="2" rtl="0">
              <a:spcBef>
                <a:spcPts val="0"/>
              </a:spcBef>
              <a:spcAft>
                <a:spcPts val="0"/>
              </a:spcAft>
              <a:buSzPts val="3600"/>
              <a:buNone/>
              <a:defRPr sz="7200"/>
            </a:lvl3pPr>
            <a:lvl4pPr lvl="3" rtl="0">
              <a:spcBef>
                <a:spcPts val="0"/>
              </a:spcBef>
              <a:spcAft>
                <a:spcPts val="0"/>
              </a:spcAft>
              <a:buSzPts val="3600"/>
              <a:buNone/>
              <a:defRPr sz="7200"/>
            </a:lvl4pPr>
            <a:lvl5pPr lvl="4" rtl="0">
              <a:spcBef>
                <a:spcPts val="0"/>
              </a:spcBef>
              <a:spcAft>
                <a:spcPts val="0"/>
              </a:spcAft>
              <a:buSzPts val="3600"/>
              <a:buNone/>
              <a:defRPr sz="7200"/>
            </a:lvl5pPr>
            <a:lvl6pPr lvl="5" rtl="0">
              <a:spcBef>
                <a:spcPts val="0"/>
              </a:spcBef>
              <a:spcAft>
                <a:spcPts val="0"/>
              </a:spcAft>
              <a:buSzPts val="3600"/>
              <a:buNone/>
              <a:defRPr sz="7200"/>
            </a:lvl6pPr>
            <a:lvl7pPr lvl="6" rtl="0">
              <a:spcBef>
                <a:spcPts val="0"/>
              </a:spcBef>
              <a:spcAft>
                <a:spcPts val="0"/>
              </a:spcAft>
              <a:buSzPts val="3600"/>
              <a:buNone/>
              <a:defRPr sz="7200"/>
            </a:lvl7pPr>
            <a:lvl8pPr lvl="7" rtl="0">
              <a:spcBef>
                <a:spcPts val="0"/>
              </a:spcBef>
              <a:spcAft>
                <a:spcPts val="0"/>
              </a:spcAft>
              <a:buSzPts val="3600"/>
              <a:buNone/>
              <a:defRPr sz="7200"/>
            </a:lvl8pPr>
            <a:lvl9pPr lvl="8" rtl="0">
              <a:spcBef>
                <a:spcPts val="0"/>
              </a:spcBef>
              <a:spcAft>
                <a:spcPts val="0"/>
              </a:spcAft>
              <a:buSzPts val="3600"/>
              <a:buNone/>
              <a:defRPr sz="7200"/>
            </a:lvl9pPr>
          </a:lstStyle>
          <a:p>
            <a:endParaRPr/>
          </a:p>
        </p:txBody>
      </p:sp>
      <p:sp>
        <p:nvSpPr>
          <p:cNvPr id="235" name="Google Shape;235;p35"/>
          <p:cNvSpPr txBox="1">
            <a:spLocks noGrp="1"/>
          </p:cNvSpPr>
          <p:nvPr>
            <p:ph type="subTitle" idx="2"/>
          </p:nvPr>
        </p:nvSpPr>
        <p:spPr>
          <a:xfrm>
            <a:off x="1230100" y="6149000"/>
            <a:ext cx="6692400" cy="24702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200"/>
              <a:buNone/>
              <a:defRPr/>
            </a:lvl1pPr>
            <a:lvl2pPr lvl="1" rtl="0">
              <a:lnSpc>
                <a:spcPct val="100000"/>
              </a:lnSpc>
              <a:spcBef>
                <a:spcPts val="0"/>
              </a:spcBef>
              <a:spcAft>
                <a:spcPts val="0"/>
              </a:spcAft>
              <a:buSzPts val="1800"/>
              <a:buNone/>
              <a:defRPr sz="3600"/>
            </a:lvl2pPr>
            <a:lvl3pPr lvl="2" rtl="0">
              <a:lnSpc>
                <a:spcPct val="100000"/>
              </a:lnSpc>
              <a:spcBef>
                <a:spcPts val="0"/>
              </a:spcBef>
              <a:spcAft>
                <a:spcPts val="0"/>
              </a:spcAft>
              <a:buSzPts val="1800"/>
              <a:buNone/>
              <a:defRPr sz="3600"/>
            </a:lvl3pPr>
            <a:lvl4pPr lvl="3" rtl="0">
              <a:lnSpc>
                <a:spcPct val="100000"/>
              </a:lnSpc>
              <a:spcBef>
                <a:spcPts val="0"/>
              </a:spcBef>
              <a:spcAft>
                <a:spcPts val="0"/>
              </a:spcAft>
              <a:buSzPts val="1800"/>
              <a:buNone/>
              <a:defRPr sz="3600"/>
            </a:lvl4pPr>
            <a:lvl5pPr lvl="4" rtl="0">
              <a:lnSpc>
                <a:spcPct val="100000"/>
              </a:lnSpc>
              <a:spcBef>
                <a:spcPts val="0"/>
              </a:spcBef>
              <a:spcAft>
                <a:spcPts val="0"/>
              </a:spcAft>
              <a:buSzPts val="1800"/>
              <a:buNone/>
              <a:defRPr sz="3600"/>
            </a:lvl5pPr>
            <a:lvl6pPr lvl="5" rtl="0">
              <a:lnSpc>
                <a:spcPct val="100000"/>
              </a:lnSpc>
              <a:spcBef>
                <a:spcPts val="0"/>
              </a:spcBef>
              <a:spcAft>
                <a:spcPts val="0"/>
              </a:spcAft>
              <a:buSzPts val="1800"/>
              <a:buNone/>
              <a:defRPr sz="3600"/>
            </a:lvl6pPr>
            <a:lvl7pPr lvl="6" rtl="0">
              <a:lnSpc>
                <a:spcPct val="100000"/>
              </a:lnSpc>
              <a:spcBef>
                <a:spcPts val="0"/>
              </a:spcBef>
              <a:spcAft>
                <a:spcPts val="0"/>
              </a:spcAft>
              <a:buSzPts val="1800"/>
              <a:buNone/>
              <a:defRPr sz="3600"/>
            </a:lvl7pPr>
            <a:lvl8pPr lvl="7" rtl="0">
              <a:lnSpc>
                <a:spcPct val="100000"/>
              </a:lnSpc>
              <a:spcBef>
                <a:spcPts val="0"/>
              </a:spcBef>
              <a:spcAft>
                <a:spcPts val="0"/>
              </a:spcAft>
              <a:buSzPts val="1800"/>
              <a:buNone/>
              <a:defRPr sz="3600"/>
            </a:lvl8pPr>
            <a:lvl9pPr lvl="8" rtl="0">
              <a:lnSpc>
                <a:spcPct val="100000"/>
              </a:lnSpc>
              <a:spcBef>
                <a:spcPts val="0"/>
              </a:spcBef>
              <a:spcAft>
                <a:spcPts val="0"/>
              </a:spcAft>
              <a:buSzPts val="1800"/>
              <a:buNone/>
              <a:defRPr sz="3600"/>
            </a:lvl9pPr>
          </a:lstStyle>
          <a:p>
            <a:endParaRPr/>
          </a:p>
        </p:txBody>
      </p:sp>
    </p:spTree>
    <p:extLst>
      <p:ext uri="{BB962C8B-B14F-4D97-AF65-F5344CB8AC3E}">
        <p14:creationId xmlns:p14="http://schemas.microsoft.com/office/powerpoint/2010/main" val="24007891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ítulo e duas colunas 1 1" preserve="1">
  <p:cSld name="Título e duas colunas 1 1">
    <p:bg>
      <p:bgPr>
        <a:solidFill>
          <a:srgbClr val="FFFFFF"/>
        </a:solidFill>
        <a:effectLst/>
      </p:bgPr>
    </p:bg>
    <p:spTree>
      <p:nvGrpSpPr>
        <p:cNvPr id="1" name="Shape 136"/>
        <p:cNvGrpSpPr/>
        <p:nvPr/>
      </p:nvGrpSpPr>
      <p:grpSpPr>
        <a:xfrm>
          <a:off x="0" y="0"/>
          <a:ext cx="0" cy="0"/>
          <a:chOff x="0" y="0"/>
          <a:chExt cx="0" cy="0"/>
        </a:xfrm>
      </p:grpSpPr>
      <p:sp>
        <p:nvSpPr>
          <p:cNvPr id="137" name="Google Shape;137;p21"/>
          <p:cNvSpPr txBox="1">
            <a:spLocks noGrp="1"/>
          </p:cNvSpPr>
          <p:nvPr>
            <p:ph type="title"/>
          </p:nvPr>
        </p:nvSpPr>
        <p:spPr>
          <a:xfrm>
            <a:off x="1001100" y="1083262"/>
            <a:ext cx="17041200" cy="11454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222222"/>
              </a:buClr>
              <a:buSzPts val="1800"/>
              <a:buNone/>
              <a:defRPr sz="3600">
                <a:solidFill>
                  <a:srgbClr val="222222"/>
                </a:solidFill>
              </a:defRPr>
            </a:lvl1pPr>
            <a:lvl2pPr lvl="1" rtl="0">
              <a:spcBef>
                <a:spcPts val="0"/>
              </a:spcBef>
              <a:spcAft>
                <a:spcPts val="0"/>
              </a:spcAft>
              <a:buClr>
                <a:srgbClr val="222222"/>
              </a:buClr>
              <a:buSzPts val="1800"/>
              <a:buNone/>
              <a:defRPr sz="3600">
                <a:solidFill>
                  <a:srgbClr val="222222"/>
                </a:solidFill>
              </a:defRPr>
            </a:lvl2pPr>
            <a:lvl3pPr lvl="2" rtl="0">
              <a:spcBef>
                <a:spcPts val="0"/>
              </a:spcBef>
              <a:spcAft>
                <a:spcPts val="0"/>
              </a:spcAft>
              <a:buClr>
                <a:srgbClr val="222222"/>
              </a:buClr>
              <a:buSzPts val="1800"/>
              <a:buNone/>
              <a:defRPr sz="3600">
                <a:solidFill>
                  <a:srgbClr val="222222"/>
                </a:solidFill>
              </a:defRPr>
            </a:lvl3pPr>
            <a:lvl4pPr lvl="3" rtl="0">
              <a:spcBef>
                <a:spcPts val="0"/>
              </a:spcBef>
              <a:spcAft>
                <a:spcPts val="0"/>
              </a:spcAft>
              <a:buClr>
                <a:srgbClr val="222222"/>
              </a:buClr>
              <a:buSzPts val="1800"/>
              <a:buNone/>
              <a:defRPr sz="3600">
                <a:solidFill>
                  <a:srgbClr val="222222"/>
                </a:solidFill>
              </a:defRPr>
            </a:lvl4pPr>
            <a:lvl5pPr lvl="4" rtl="0">
              <a:spcBef>
                <a:spcPts val="0"/>
              </a:spcBef>
              <a:spcAft>
                <a:spcPts val="0"/>
              </a:spcAft>
              <a:buClr>
                <a:srgbClr val="222222"/>
              </a:buClr>
              <a:buSzPts val="1800"/>
              <a:buNone/>
              <a:defRPr sz="3600">
                <a:solidFill>
                  <a:srgbClr val="222222"/>
                </a:solidFill>
              </a:defRPr>
            </a:lvl5pPr>
            <a:lvl6pPr lvl="5" rtl="0">
              <a:spcBef>
                <a:spcPts val="0"/>
              </a:spcBef>
              <a:spcAft>
                <a:spcPts val="0"/>
              </a:spcAft>
              <a:buClr>
                <a:srgbClr val="222222"/>
              </a:buClr>
              <a:buSzPts val="1800"/>
              <a:buNone/>
              <a:defRPr sz="3600">
                <a:solidFill>
                  <a:srgbClr val="222222"/>
                </a:solidFill>
              </a:defRPr>
            </a:lvl6pPr>
            <a:lvl7pPr lvl="6" rtl="0">
              <a:spcBef>
                <a:spcPts val="0"/>
              </a:spcBef>
              <a:spcAft>
                <a:spcPts val="0"/>
              </a:spcAft>
              <a:buClr>
                <a:srgbClr val="222222"/>
              </a:buClr>
              <a:buSzPts val="1800"/>
              <a:buNone/>
              <a:defRPr sz="3600">
                <a:solidFill>
                  <a:srgbClr val="222222"/>
                </a:solidFill>
              </a:defRPr>
            </a:lvl7pPr>
            <a:lvl8pPr lvl="7" rtl="0">
              <a:spcBef>
                <a:spcPts val="0"/>
              </a:spcBef>
              <a:spcAft>
                <a:spcPts val="0"/>
              </a:spcAft>
              <a:buClr>
                <a:srgbClr val="222222"/>
              </a:buClr>
              <a:buSzPts val="1800"/>
              <a:buNone/>
              <a:defRPr sz="3600">
                <a:solidFill>
                  <a:srgbClr val="222222"/>
                </a:solidFill>
              </a:defRPr>
            </a:lvl8pPr>
            <a:lvl9pPr lvl="8" rtl="0">
              <a:spcBef>
                <a:spcPts val="0"/>
              </a:spcBef>
              <a:spcAft>
                <a:spcPts val="0"/>
              </a:spcAft>
              <a:buClr>
                <a:srgbClr val="222222"/>
              </a:buClr>
              <a:buSzPts val="1800"/>
              <a:buNone/>
              <a:defRPr sz="3600">
                <a:solidFill>
                  <a:srgbClr val="222222"/>
                </a:solidFill>
              </a:defRPr>
            </a:lvl9pPr>
          </a:lstStyle>
          <a:p>
            <a:endParaRPr/>
          </a:p>
        </p:txBody>
      </p:sp>
      <p:sp>
        <p:nvSpPr>
          <p:cNvPr id="138" name="Google Shape;138;p21"/>
          <p:cNvSpPr txBox="1">
            <a:spLocks noGrp="1"/>
          </p:cNvSpPr>
          <p:nvPr>
            <p:ph type="body" idx="1"/>
          </p:nvPr>
        </p:nvSpPr>
        <p:spPr>
          <a:xfrm>
            <a:off x="1126750" y="2914550"/>
            <a:ext cx="4598400" cy="6021600"/>
          </a:xfrm>
          <a:prstGeom prst="rect">
            <a:avLst/>
          </a:prstGeom>
        </p:spPr>
        <p:txBody>
          <a:bodyPr spcFirstLastPara="1" wrap="square" lIns="91425" tIns="91425" rIns="91425" bIns="91425" anchor="t" anchorCtr="0">
            <a:noAutofit/>
          </a:bodyPr>
          <a:lstStyle>
            <a:lvl1pPr marL="914400" lvl="0" indent="-571500" rtl="0">
              <a:spcBef>
                <a:spcPts val="0"/>
              </a:spcBef>
              <a:spcAft>
                <a:spcPts val="0"/>
              </a:spcAft>
              <a:buClr>
                <a:srgbClr val="222222"/>
              </a:buClr>
              <a:buSzPts val="900"/>
              <a:buChar char="●"/>
              <a:defRPr sz="1800">
                <a:solidFill>
                  <a:srgbClr val="222222"/>
                </a:solidFill>
              </a:defRPr>
            </a:lvl1pPr>
            <a:lvl2pPr marL="1828800" lvl="1" indent="-571500" rtl="0">
              <a:spcBef>
                <a:spcPts val="3200"/>
              </a:spcBef>
              <a:spcAft>
                <a:spcPts val="0"/>
              </a:spcAft>
              <a:buClr>
                <a:srgbClr val="222222"/>
              </a:buClr>
              <a:buSzPts val="900"/>
              <a:buChar char="○"/>
              <a:defRPr sz="1800">
                <a:solidFill>
                  <a:srgbClr val="222222"/>
                </a:solidFill>
              </a:defRPr>
            </a:lvl2pPr>
            <a:lvl3pPr marL="2743200" lvl="2" indent="-571500" rtl="0">
              <a:spcBef>
                <a:spcPts val="3200"/>
              </a:spcBef>
              <a:spcAft>
                <a:spcPts val="0"/>
              </a:spcAft>
              <a:buClr>
                <a:srgbClr val="222222"/>
              </a:buClr>
              <a:buSzPts val="900"/>
              <a:buChar char="■"/>
              <a:defRPr sz="1800">
                <a:solidFill>
                  <a:srgbClr val="222222"/>
                </a:solidFill>
              </a:defRPr>
            </a:lvl3pPr>
            <a:lvl4pPr marL="3657600" lvl="3" indent="-571500" rtl="0">
              <a:spcBef>
                <a:spcPts val="3200"/>
              </a:spcBef>
              <a:spcAft>
                <a:spcPts val="0"/>
              </a:spcAft>
              <a:buClr>
                <a:srgbClr val="222222"/>
              </a:buClr>
              <a:buSzPts val="900"/>
              <a:buChar char="●"/>
              <a:defRPr sz="1800">
                <a:solidFill>
                  <a:srgbClr val="222222"/>
                </a:solidFill>
              </a:defRPr>
            </a:lvl4pPr>
            <a:lvl5pPr marL="4572000" lvl="4" indent="-571500" rtl="0">
              <a:spcBef>
                <a:spcPts val="3200"/>
              </a:spcBef>
              <a:spcAft>
                <a:spcPts val="0"/>
              </a:spcAft>
              <a:buClr>
                <a:srgbClr val="222222"/>
              </a:buClr>
              <a:buSzPts val="900"/>
              <a:buChar char="○"/>
              <a:defRPr sz="1800">
                <a:solidFill>
                  <a:srgbClr val="222222"/>
                </a:solidFill>
              </a:defRPr>
            </a:lvl5pPr>
            <a:lvl6pPr marL="5486400" lvl="5" indent="-571500" rtl="0">
              <a:spcBef>
                <a:spcPts val="3200"/>
              </a:spcBef>
              <a:spcAft>
                <a:spcPts val="0"/>
              </a:spcAft>
              <a:buClr>
                <a:srgbClr val="222222"/>
              </a:buClr>
              <a:buSzPts val="900"/>
              <a:buChar char="■"/>
              <a:defRPr sz="1800">
                <a:solidFill>
                  <a:srgbClr val="222222"/>
                </a:solidFill>
              </a:defRPr>
            </a:lvl6pPr>
            <a:lvl7pPr marL="6400800" lvl="6" indent="-571500" rtl="0">
              <a:spcBef>
                <a:spcPts val="3200"/>
              </a:spcBef>
              <a:spcAft>
                <a:spcPts val="0"/>
              </a:spcAft>
              <a:buClr>
                <a:srgbClr val="222222"/>
              </a:buClr>
              <a:buSzPts val="900"/>
              <a:buChar char="●"/>
              <a:defRPr sz="1800">
                <a:solidFill>
                  <a:srgbClr val="222222"/>
                </a:solidFill>
              </a:defRPr>
            </a:lvl7pPr>
            <a:lvl8pPr marL="7315200" lvl="7" indent="-571500" rtl="0">
              <a:spcBef>
                <a:spcPts val="3200"/>
              </a:spcBef>
              <a:spcAft>
                <a:spcPts val="0"/>
              </a:spcAft>
              <a:buClr>
                <a:srgbClr val="222222"/>
              </a:buClr>
              <a:buSzPts val="900"/>
              <a:buChar char="○"/>
              <a:defRPr sz="1800">
                <a:solidFill>
                  <a:srgbClr val="222222"/>
                </a:solidFill>
              </a:defRPr>
            </a:lvl8pPr>
            <a:lvl9pPr marL="8229600" lvl="8" indent="-571500" rtl="0">
              <a:spcBef>
                <a:spcPts val="3200"/>
              </a:spcBef>
              <a:spcAft>
                <a:spcPts val="3200"/>
              </a:spcAft>
              <a:buClr>
                <a:srgbClr val="222222"/>
              </a:buClr>
              <a:buSzPts val="900"/>
              <a:buChar char="■"/>
              <a:defRPr sz="1800">
                <a:solidFill>
                  <a:srgbClr val="222222"/>
                </a:solidFill>
              </a:defRPr>
            </a:lvl9pPr>
          </a:lstStyle>
          <a:p>
            <a:endParaRPr/>
          </a:p>
        </p:txBody>
      </p:sp>
      <p:sp>
        <p:nvSpPr>
          <p:cNvPr id="139" name="Google Shape;139;p21"/>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sp>
        <p:nvSpPr>
          <p:cNvPr id="140" name="Google Shape;140;p21"/>
          <p:cNvSpPr txBox="1">
            <a:spLocks noGrp="1"/>
          </p:cNvSpPr>
          <p:nvPr>
            <p:ph type="body" idx="2"/>
          </p:nvPr>
        </p:nvSpPr>
        <p:spPr>
          <a:xfrm>
            <a:off x="6731378" y="2914550"/>
            <a:ext cx="4598400" cy="6021600"/>
          </a:xfrm>
          <a:prstGeom prst="rect">
            <a:avLst/>
          </a:prstGeom>
        </p:spPr>
        <p:txBody>
          <a:bodyPr spcFirstLastPara="1" wrap="square" lIns="91425" tIns="91425" rIns="91425" bIns="91425" anchor="t" anchorCtr="0">
            <a:noAutofit/>
          </a:bodyPr>
          <a:lstStyle>
            <a:lvl1pPr marL="914400" lvl="0" indent="-571500" rtl="0">
              <a:spcBef>
                <a:spcPts val="0"/>
              </a:spcBef>
              <a:spcAft>
                <a:spcPts val="0"/>
              </a:spcAft>
              <a:buClr>
                <a:srgbClr val="222222"/>
              </a:buClr>
              <a:buSzPts val="900"/>
              <a:buChar char="●"/>
              <a:defRPr sz="1800">
                <a:solidFill>
                  <a:srgbClr val="222222"/>
                </a:solidFill>
              </a:defRPr>
            </a:lvl1pPr>
            <a:lvl2pPr marL="1828800" lvl="1" indent="-571500" rtl="0">
              <a:spcBef>
                <a:spcPts val="3200"/>
              </a:spcBef>
              <a:spcAft>
                <a:spcPts val="0"/>
              </a:spcAft>
              <a:buClr>
                <a:srgbClr val="222222"/>
              </a:buClr>
              <a:buSzPts val="900"/>
              <a:buChar char="○"/>
              <a:defRPr sz="1800">
                <a:solidFill>
                  <a:srgbClr val="222222"/>
                </a:solidFill>
              </a:defRPr>
            </a:lvl2pPr>
            <a:lvl3pPr marL="2743200" lvl="2" indent="-571500" rtl="0">
              <a:spcBef>
                <a:spcPts val="3200"/>
              </a:spcBef>
              <a:spcAft>
                <a:spcPts val="0"/>
              </a:spcAft>
              <a:buClr>
                <a:srgbClr val="222222"/>
              </a:buClr>
              <a:buSzPts val="900"/>
              <a:buChar char="■"/>
              <a:defRPr sz="1800">
                <a:solidFill>
                  <a:srgbClr val="222222"/>
                </a:solidFill>
              </a:defRPr>
            </a:lvl3pPr>
            <a:lvl4pPr marL="3657600" lvl="3" indent="-571500" rtl="0">
              <a:spcBef>
                <a:spcPts val="3200"/>
              </a:spcBef>
              <a:spcAft>
                <a:spcPts val="0"/>
              </a:spcAft>
              <a:buClr>
                <a:srgbClr val="222222"/>
              </a:buClr>
              <a:buSzPts val="900"/>
              <a:buChar char="●"/>
              <a:defRPr sz="1800">
                <a:solidFill>
                  <a:srgbClr val="222222"/>
                </a:solidFill>
              </a:defRPr>
            </a:lvl4pPr>
            <a:lvl5pPr marL="4572000" lvl="4" indent="-571500" rtl="0">
              <a:spcBef>
                <a:spcPts val="3200"/>
              </a:spcBef>
              <a:spcAft>
                <a:spcPts val="0"/>
              </a:spcAft>
              <a:buClr>
                <a:srgbClr val="222222"/>
              </a:buClr>
              <a:buSzPts val="900"/>
              <a:buChar char="○"/>
              <a:defRPr sz="1800">
                <a:solidFill>
                  <a:srgbClr val="222222"/>
                </a:solidFill>
              </a:defRPr>
            </a:lvl5pPr>
            <a:lvl6pPr marL="5486400" lvl="5" indent="-571500" rtl="0">
              <a:spcBef>
                <a:spcPts val="3200"/>
              </a:spcBef>
              <a:spcAft>
                <a:spcPts val="0"/>
              </a:spcAft>
              <a:buClr>
                <a:srgbClr val="222222"/>
              </a:buClr>
              <a:buSzPts val="900"/>
              <a:buChar char="■"/>
              <a:defRPr sz="1800">
                <a:solidFill>
                  <a:srgbClr val="222222"/>
                </a:solidFill>
              </a:defRPr>
            </a:lvl6pPr>
            <a:lvl7pPr marL="6400800" lvl="6" indent="-571500" rtl="0">
              <a:spcBef>
                <a:spcPts val="3200"/>
              </a:spcBef>
              <a:spcAft>
                <a:spcPts val="0"/>
              </a:spcAft>
              <a:buClr>
                <a:srgbClr val="222222"/>
              </a:buClr>
              <a:buSzPts val="900"/>
              <a:buChar char="●"/>
              <a:defRPr sz="1800">
                <a:solidFill>
                  <a:srgbClr val="222222"/>
                </a:solidFill>
              </a:defRPr>
            </a:lvl7pPr>
            <a:lvl8pPr marL="7315200" lvl="7" indent="-571500" rtl="0">
              <a:spcBef>
                <a:spcPts val="3200"/>
              </a:spcBef>
              <a:spcAft>
                <a:spcPts val="0"/>
              </a:spcAft>
              <a:buClr>
                <a:srgbClr val="222222"/>
              </a:buClr>
              <a:buSzPts val="900"/>
              <a:buChar char="○"/>
              <a:defRPr sz="1800">
                <a:solidFill>
                  <a:srgbClr val="222222"/>
                </a:solidFill>
              </a:defRPr>
            </a:lvl8pPr>
            <a:lvl9pPr marL="8229600" lvl="8" indent="-571500" rtl="0">
              <a:spcBef>
                <a:spcPts val="3200"/>
              </a:spcBef>
              <a:spcAft>
                <a:spcPts val="3200"/>
              </a:spcAft>
              <a:buClr>
                <a:srgbClr val="222222"/>
              </a:buClr>
              <a:buSzPts val="900"/>
              <a:buChar char="■"/>
              <a:defRPr sz="1800">
                <a:solidFill>
                  <a:srgbClr val="222222"/>
                </a:solidFill>
              </a:defRPr>
            </a:lvl9pPr>
          </a:lstStyle>
          <a:p>
            <a:endParaRPr/>
          </a:p>
        </p:txBody>
      </p:sp>
      <p:sp>
        <p:nvSpPr>
          <p:cNvPr id="141" name="Google Shape;141;p21"/>
          <p:cNvSpPr txBox="1">
            <a:spLocks noGrp="1"/>
          </p:cNvSpPr>
          <p:nvPr>
            <p:ph type="body" idx="3"/>
          </p:nvPr>
        </p:nvSpPr>
        <p:spPr>
          <a:xfrm>
            <a:off x="12336006" y="2914550"/>
            <a:ext cx="4598400" cy="6021600"/>
          </a:xfrm>
          <a:prstGeom prst="rect">
            <a:avLst/>
          </a:prstGeom>
        </p:spPr>
        <p:txBody>
          <a:bodyPr spcFirstLastPara="1" wrap="square" lIns="91425" tIns="91425" rIns="91425" bIns="91425" anchor="t" anchorCtr="0">
            <a:noAutofit/>
          </a:bodyPr>
          <a:lstStyle>
            <a:lvl1pPr marL="914400" lvl="0" indent="-571500" rtl="0">
              <a:spcBef>
                <a:spcPts val="0"/>
              </a:spcBef>
              <a:spcAft>
                <a:spcPts val="0"/>
              </a:spcAft>
              <a:buClr>
                <a:srgbClr val="222222"/>
              </a:buClr>
              <a:buSzPts val="900"/>
              <a:buChar char="●"/>
              <a:defRPr sz="1800">
                <a:solidFill>
                  <a:srgbClr val="222222"/>
                </a:solidFill>
              </a:defRPr>
            </a:lvl1pPr>
            <a:lvl2pPr marL="1828800" lvl="1" indent="-571500" rtl="0">
              <a:spcBef>
                <a:spcPts val="3200"/>
              </a:spcBef>
              <a:spcAft>
                <a:spcPts val="0"/>
              </a:spcAft>
              <a:buClr>
                <a:srgbClr val="222222"/>
              </a:buClr>
              <a:buSzPts val="900"/>
              <a:buChar char="○"/>
              <a:defRPr sz="1800">
                <a:solidFill>
                  <a:srgbClr val="222222"/>
                </a:solidFill>
              </a:defRPr>
            </a:lvl2pPr>
            <a:lvl3pPr marL="2743200" lvl="2" indent="-571500" rtl="0">
              <a:spcBef>
                <a:spcPts val="3200"/>
              </a:spcBef>
              <a:spcAft>
                <a:spcPts val="0"/>
              </a:spcAft>
              <a:buClr>
                <a:srgbClr val="222222"/>
              </a:buClr>
              <a:buSzPts val="900"/>
              <a:buChar char="■"/>
              <a:defRPr sz="1800">
                <a:solidFill>
                  <a:srgbClr val="222222"/>
                </a:solidFill>
              </a:defRPr>
            </a:lvl3pPr>
            <a:lvl4pPr marL="3657600" lvl="3" indent="-571500" rtl="0">
              <a:spcBef>
                <a:spcPts val="3200"/>
              </a:spcBef>
              <a:spcAft>
                <a:spcPts val="0"/>
              </a:spcAft>
              <a:buClr>
                <a:srgbClr val="222222"/>
              </a:buClr>
              <a:buSzPts val="900"/>
              <a:buChar char="●"/>
              <a:defRPr sz="1800">
                <a:solidFill>
                  <a:srgbClr val="222222"/>
                </a:solidFill>
              </a:defRPr>
            </a:lvl4pPr>
            <a:lvl5pPr marL="4572000" lvl="4" indent="-571500" rtl="0">
              <a:spcBef>
                <a:spcPts val="3200"/>
              </a:spcBef>
              <a:spcAft>
                <a:spcPts val="0"/>
              </a:spcAft>
              <a:buClr>
                <a:srgbClr val="222222"/>
              </a:buClr>
              <a:buSzPts val="900"/>
              <a:buChar char="○"/>
              <a:defRPr sz="1800">
                <a:solidFill>
                  <a:srgbClr val="222222"/>
                </a:solidFill>
              </a:defRPr>
            </a:lvl5pPr>
            <a:lvl6pPr marL="5486400" lvl="5" indent="-571500" rtl="0">
              <a:spcBef>
                <a:spcPts val="3200"/>
              </a:spcBef>
              <a:spcAft>
                <a:spcPts val="0"/>
              </a:spcAft>
              <a:buClr>
                <a:srgbClr val="222222"/>
              </a:buClr>
              <a:buSzPts val="900"/>
              <a:buChar char="■"/>
              <a:defRPr sz="1800">
                <a:solidFill>
                  <a:srgbClr val="222222"/>
                </a:solidFill>
              </a:defRPr>
            </a:lvl6pPr>
            <a:lvl7pPr marL="6400800" lvl="6" indent="-571500" rtl="0">
              <a:spcBef>
                <a:spcPts val="3200"/>
              </a:spcBef>
              <a:spcAft>
                <a:spcPts val="0"/>
              </a:spcAft>
              <a:buClr>
                <a:srgbClr val="222222"/>
              </a:buClr>
              <a:buSzPts val="900"/>
              <a:buChar char="●"/>
              <a:defRPr sz="1800">
                <a:solidFill>
                  <a:srgbClr val="222222"/>
                </a:solidFill>
              </a:defRPr>
            </a:lvl7pPr>
            <a:lvl8pPr marL="7315200" lvl="7" indent="-571500" rtl="0">
              <a:spcBef>
                <a:spcPts val="3200"/>
              </a:spcBef>
              <a:spcAft>
                <a:spcPts val="0"/>
              </a:spcAft>
              <a:buClr>
                <a:srgbClr val="222222"/>
              </a:buClr>
              <a:buSzPts val="900"/>
              <a:buChar char="○"/>
              <a:defRPr sz="1800">
                <a:solidFill>
                  <a:srgbClr val="222222"/>
                </a:solidFill>
              </a:defRPr>
            </a:lvl8pPr>
            <a:lvl9pPr marL="8229600" lvl="8" indent="-571500" rtl="0">
              <a:spcBef>
                <a:spcPts val="3200"/>
              </a:spcBef>
              <a:spcAft>
                <a:spcPts val="3200"/>
              </a:spcAft>
              <a:buClr>
                <a:srgbClr val="222222"/>
              </a:buClr>
              <a:buSzPts val="900"/>
              <a:buChar char="■"/>
              <a:defRPr sz="1800">
                <a:solidFill>
                  <a:srgbClr val="222222"/>
                </a:solidFill>
              </a:defRPr>
            </a:lvl9pPr>
          </a:lstStyle>
          <a:p>
            <a:endParaRPr/>
          </a:p>
        </p:txBody>
      </p:sp>
      <p:pic>
        <p:nvPicPr>
          <p:cNvPr id="142" name="Google Shape;142;p21"/>
          <p:cNvPicPr preferRelativeResize="0"/>
          <p:nvPr/>
        </p:nvPicPr>
        <p:blipFill>
          <a:blip r:embed="rId2" cstate="email">
            <a:alphaModFix/>
            <a:extLst>
              <a:ext uri="{28A0092B-C50C-407E-A947-70E740481C1C}">
                <a14:useLocalDpi xmlns:a14="http://schemas.microsoft.com/office/drawing/2010/main"/>
              </a:ext>
            </a:extLst>
          </a:blip>
          <a:stretch>
            <a:fillRect/>
          </a:stretch>
        </p:blipFill>
        <p:spPr>
          <a:xfrm>
            <a:off x="16183201" y="-304799"/>
            <a:ext cx="1799998" cy="1799998"/>
          </a:xfrm>
          <a:prstGeom prst="rect">
            <a:avLst/>
          </a:prstGeom>
          <a:noFill/>
          <a:ln>
            <a:noFill/>
          </a:ln>
        </p:spPr>
      </p:pic>
      <p:sp>
        <p:nvSpPr>
          <p:cNvPr id="143" name="Google Shape;143;p21"/>
          <p:cNvSpPr txBox="1">
            <a:spLocks noGrp="1"/>
          </p:cNvSpPr>
          <p:nvPr>
            <p:ph type="subTitle" idx="4"/>
          </p:nvPr>
        </p:nvSpPr>
        <p:spPr>
          <a:xfrm>
            <a:off x="8778900" y="8568450"/>
            <a:ext cx="9263400" cy="15852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9pPr>
          </a:lstStyle>
          <a:p>
            <a:endParaRPr/>
          </a:p>
        </p:txBody>
      </p:sp>
      <p:sp>
        <p:nvSpPr>
          <p:cNvPr id="144" name="Google Shape;144;p21"/>
          <p:cNvSpPr/>
          <p:nvPr/>
        </p:nvSpPr>
        <p:spPr>
          <a:xfrm>
            <a:off x="0" y="600300"/>
            <a:ext cx="15748800" cy="14400"/>
          </a:xfrm>
          <a:prstGeom prst="rect">
            <a:avLst/>
          </a:prstGeom>
          <a:gradFill>
            <a:gsLst>
              <a:gs pos="0">
                <a:srgbClr val="FF2C34"/>
              </a:gs>
              <a:gs pos="100000">
                <a:srgbClr val="6800FF"/>
              </a:gs>
            </a:gsLst>
            <a:lin ang="2698631" scaled="0"/>
          </a:gra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sz="2800"/>
          </a:p>
        </p:txBody>
      </p:sp>
    </p:spTree>
    <p:extLst>
      <p:ext uri="{BB962C8B-B14F-4D97-AF65-F5344CB8AC3E}">
        <p14:creationId xmlns:p14="http://schemas.microsoft.com/office/powerpoint/2010/main" val="34779695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matchingName="Somente título 2 1 1 4 3" preserve="1">
  <p:cSld name="1_Somente título 2 1 1 4 3">
    <p:bg>
      <p:bgRef idx="1001">
        <a:schemeClr val="bg1"/>
      </p:bgRef>
    </p:bg>
    <p:spTree>
      <p:nvGrpSpPr>
        <p:cNvPr id="1" name="Shape 236"/>
        <p:cNvGrpSpPr/>
        <p:nvPr/>
      </p:nvGrpSpPr>
      <p:grpSpPr>
        <a:xfrm>
          <a:off x="0" y="0"/>
          <a:ext cx="0" cy="0"/>
          <a:chOff x="0" y="0"/>
          <a:chExt cx="0" cy="0"/>
        </a:xfrm>
      </p:grpSpPr>
      <p:sp>
        <p:nvSpPr>
          <p:cNvPr id="237" name="Google Shape;237;p36"/>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sp>
        <p:nvSpPr>
          <p:cNvPr id="239" name="Google Shape;239;p36"/>
          <p:cNvSpPr txBox="1">
            <a:spLocks noGrp="1"/>
          </p:cNvSpPr>
          <p:nvPr>
            <p:ph type="title"/>
          </p:nvPr>
        </p:nvSpPr>
        <p:spPr>
          <a:xfrm>
            <a:off x="623400" y="4418400"/>
            <a:ext cx="17041200" cy="11454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2000"/>
              <a:buNone/>
              <a:defRPr/>
            </a:lvl1pPr>
            <a:lvl2pPr lvl="1" algn="ctr" rtl="0">
              <a:spcBef>
                <a:spcPts val="0"/>
              </a:spcBef>
              <a:spcAft>
                <a:spcPts val="0"/>
              </a:spcAft>
              <a:buSzPts val="2000"/>
              <a:buNone/>
              <a:defRPr/>
            </a:lvl2pPr>
            <a:lvl3pPr lvl="2" algn="ctr" rtl="0">
              <a:spcBef>
                <a:spcPts val="0"/>
              </a:spcBef>
              <a:spcAft>
                <a:spcPts val="0"/>
              </a:spcAft>
              <a:buSzPts val="2000"/>
              <a:buNone/>
              <a:defRPr/>
            </a:lvl3pPr>
            <a:lvl4pPr lvl="3" algn="ctr" rtl="0">
              <a:spcBef>
                <a:spcPts val="0"/>
              </a:spcBef>
              <a:spcAft>
                <a:spcPts val="0"/>
              </a:spcAft>
              <a:buSzPts val="2000"/>
              <a:buNone/>
              <a:defRPr/>
            </a:lvl4pPr>
            <a:lvl5pPr lvl="4" algn="ctr" rtl="0">
              <a:spcBef>
                <a:spcPts val="0"/>
              </a:spcBef>
              <a:spcAft>
                <a:spcPts val="0"/>
              </a:spcAft>
              <a:buSzPts val="2000"/>
              <a:buNone/>
              <a:defRPr/>
            </a:lvl5pPr>
            <a:lvl6pPr lvl="5" algn="ctr" rtl="0">
              <a:spcBef>
                <a:spcPts val="0"/>
              </a:spcBef>
              <a:spcAft>
                <a:spcPts val="0"/>
              </a:spcAft>
              <a:buSzPts val="2000"/>
              <a:buNone/>
              <a:defRPr/>
            </a:lvl6pPr>
            <a:lvl7pPr lvl="6" algn="ctr" rtl="0">
              <a:spcBef>
                <a:spcPts val="0"/>
              </a:spcBef>
              <a:spcAft>
                <a:spcPts val="0"/>
              </a:spcAft>
              <a:buSzPts val="2000"/>
              <a:buNone/>
              <a:defRPr/>
            </a:lvl7pPr>
            <a:lvl8pPr lvl="7" algn="ctr" rtl="0">
              <a:spcBef>
                <a:spcPts val="0"/>
              </a:spcBef>
              <a:spcAft>
                <a:spcPts val="0"/>
              </a:spcAft>
              <a:buSzPts val="2000"/>
              <a:buNone/>
              <a:defRPr/>
            </a:lvl8pPr>
            <a:lvl9pPr lvl="8" algn="ctr" rtl="0">
              <a:spcBef>
                <a:spcPts val="0"/>
              </a:spcBef>
              <a:spcAft>
                <a:spcPts val="0"/>
              </a:spcAft>
              <a:buSzPts val="2000"/>
              <a:buNone/>
              <a:defRPr/>
            </a:lvl9pPr>
          </a:lstStyle>
          <a:p>
            <a:endParaRPr/>
          </a:p>
        </p:txBody>
      </p:sp>
      <p:pic>
        <p:nvPicPr>
          <p:cNvPr id="240" name="Google Shape;240;p36"/>
          <p:cNvPicPr preferRelativeResize="0"/>
          <p:nvPr/>
        </p:nvPicPr>
        <p:blipFill>
          <a:blip r:embed="rId2">
            <a:alphaModFix/>
          </a:blip>
          <a:stretch>
            <a:fillRect/>
          </a:stretch>
        </p:blipFill>
        <p:spPr>
          <a:xfrm>
            <a:off x="16183201" y="-304775"/>
            <a:ext cx="1799998" cy="1799998"/>
          </a:xfrm>
          <a:prstGeom prst="rect">
            <a:avLst/>
          </a:prstGeom>
          <a:noFill/>
          <a:ln>
            <a:noFill/>
          </a:ln>
        </p:spPr>
      </p:pic>
      <p:sp>
        <p:nvSpPr>
          <p:cNvPr id="241" name="Google Shape;241;p36"/>
          <p:cNvSpPr txBox="1">
            <a:spLocks noGrp="1"/>
          </p:cNvSpPr>
          <p:nvPr>
            <p:ph type="subTitle" idx="1"/>
          </p:nvPr>
        </p:nvSpPr>
        <p:spPr>
          <a:xfrm>
            <a:off x="8778900" y="8568450"/>
            <a:ext cx="9263400" cy="15852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9pPr>
          </a:lstStyle>
          <a:p>
            <a:endParaRPr/>
          </a:p>
        </p:txBody>
      </p:sp>
      <p:pic>
        <p:nvPicPr>
          <p:cNvPr id="2" name="Google Shape;126;p19">
            <a:extLst>
              <a:ext uri="{FF2B5EF4-FFF2-40B4-BE49-F238E27FC236}">
                <a16:creationId xmlns:a16="http://schemas.microsoft.com/office/drawing/2014/main" id="{B3BC53DC-ACBA-4CF8-9B5B-05D252EBEDCA}"/>
              </a:ext>
            </a:extLst>
          </p:cNvPr>
          <p:cNvPicPr preferRelativeResize="0"/>
          <p:nvPr userDrawn="1"/>
        </p:nvPicPr>
        <p:blipFill>
          <a:blip r:embed="rId3">
            <a:alphaModFix/>
          </a:blip>
          <a:stretch>
            <a:fillRect/>
          </a:stretch>
        </p:blipFill>
        <p:spPr>
          <a:xfrm>
            <a:off x="16183201" y="-304799"/>
            <a:ext cx="1799998" cy="1799998"/>
          </a:xfrm>
          <a:prstGeom prst="rect">
            <a:avLst/>
          </a:prstGeom>
          <a:noFill/>
          <a:ln>
            <a:noFill/>
          </a:ln>
        </p:spPr>
      </p:pic>
    </p:spTree>
    <p:extLst>
      <p:ext uri="{BB962C8B-B14F-4D97-AF65-F5344CB8AC3E}">
        <p14:creationId xmlns:p14="http://schemas.microsoft.com/office/powerpoint/2010/main" val="14329695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matchingName="Somente título 2 1 1 4 3" preserve="1">
  <p:cSld name="1_Somente título 2 1 1 4 3">
    <p:spTree>
      <p:nvGrpSpPr>
        <p:cNvPr id="1" name="Shape 236"/>
        <p:cNvGrpSpPr/>
        <p:nvPr/>
      </p:nvGrpSpPr>
      <p:grpSpPr>
        <a:xfrm>
          <a:off x="0" y="0"/>
          <a:ext cx="0" cy="0"/>
          <a:chOff x="0" y="0"/>
          <a:chExt cx="0" cy="0"/>
        </a:xfrm>
      </p:grpSpPr>
      <p:sp>
        <p:nvSpPr>
          <p:cNvPr id="237" name="Google Shape;237;p36"/>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pic>
        <p:nvPicPr>
          <p:cNvPr id="238" name="Google Shape;238;p36"/>
          <p:cNvPicPr preferRelativeResize="0"/>
          <p:nvPr/>
        </p:nvPicPr>
        <p:blipFill>
          <a:blip r:embed="rId2">
            <a:alphaModFix/>
          </a:blip>
          <a:stretch>
            <a:fillRect/>
          </a:stretch>
        </p:blipFill>
        <p:spPr>
          <a:xfrm>
            <a:off x="1" y="0"/>
            <a:ext cx="18288010" cy="10287000"/>
          </a:xfrm>
          <a:prstGeom prst="rect">
            <a:avLst/>
          </a:prstGeom>
          <a:noFill/>
          <a:ln>
            <a:noFill/>
          </a:ln>
        </p:spPr>
      </p:pic>
      <p:sp>
        <p:nvSpPr>
          <p:cNvPr id="239" name="Google Shape;239;p36"/>
          <p:cNvSpPr txBox="1">
            <a:spLocks noGrp="1"/>
          </p:cNvSpPr>
          <p:nvPr>
            <p:ph type="title"/>
          </p:nvPr>
        </p:nvSpPr>
        <p:spPr>
          <a:xfrm>
            <a:off x="623400" y="4418400"/>
            <a:ext cx="17041200" cy="11454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2000"/>
              <a:buNone/>
              <a:defRPr/>
            </a:lvl1pPr>
            <a:lvl2pPr lvl="1" algn="ctr" rtl="0">
              <a:spcBef>
                <a:spcPts val="0"/>
              </a:spcBef>
              <a:spcAft>
                <a:spcPts val="0"/>
              </a:spcAft>
              <a:buSzPts val="2000"/>
              <a:buNone/>
              <a:defRPr/>
            </a:lvl2pPr>
            <a:lvl3pPr lvl="2" algn="ctr" rtl="0">
              <a:spcBef>
                <a:spcPts val="0"/>
              </a:spcBef>
              <a:spcAft>
                <a:spcPts val="0"/>
              </a:spcAft>
              <a:buSzPts val="2000"/>
              <a:buNone/>
              <a:defRPr/>
            </a:lvl3pPr>
            <a:lvl4pPr lvl="3" algn="ctr" rtl="0">
              <a:spcBef>
                <a:spcPts val="0"/>
              </a:spcBef>
              <a:spcAft>
                <a:spcPts val="0"/>
              </a:spcAft>
              <a:buSzPts val="2000"/>
              <a:buNone/>
              <a:defRPr/>
            </a:lvl4pPr>
            <a:lvl5pPr lvl="4" algn="ctr" rtl="0">
              <a:spcBef>
                <a:spcPts val="0"/>
              </a:spcBef>
              <a:spcAft>
                <a:spcPts val="0"/>
              </a:spcAft>
              <a:buSzPts val="2000"/>
              <a:buNone/>
              <a:defRPr/>
            </a:lvl5pPr>
            <a:lvl6pPr lvl="5" algn="ctr" rtl="0">
              <a:spcBef>
                <a:spcPts val="0"/>
              </a:spcBef>
              <a:spcAft>
                <a:spcPts val="0"/>
              </a:spcAft>
              <a:buSzPts val="2000"/>
              <a:buNone/>
              <a:defRPr/>
            </a:lvl6pPr>
            <a:lvl7pPr lvl="6" algn="ctr" rtl="0">
              <a:spcBef>
                <a:spcPts val="0"/>
              </a:spcBef>
              <a:spcAft>
                <a:spcPts val="0"/>
              </a:spcAft>
              <a:buSzPts val="2000"/>
              <a:buNone/>
              <a:defRPr/>
            </a:lvl7pPr>
            <a:lvl8pPr lvl="7" algn="ctr" rtl="0">
              <a:spcBef>
                <a:spcPts val="0"/>
              </a:spcBef>
              <a:spcAft>
                <a:spcPts val="0"/>
              </a:spcAft>
              <a:buSzPts val="2000"/>
              <a:buNone/>
              <a:defRPr/>
            </a:lvl8pPr>
            <a:lvl9pPr lvl="8" algn="ctr" rtl="0">
              <a:spcBef>
                <a:spcPts val="0"/>
              </a:spcBef>
              <a:spcAft>
                <a:spcPts val="0"/>
              </a:spcAft>
              <a:buSzPts val="2000"/>
              <a:buNone/>
              <a:defRPr/>
            </a:lvl9pPr>
          </a:lstStyle>
          <a:p>
            <a:endParaRPr/>
          </a:p>
        </p:txBody>
      </p:sp>
      <p:pic>
        <p:nvPicPr>
          <p:cNvPr id="240" name="Google Shape;240;p36"/>
          <p:cNvPicPr preferRelativeResize="0"/>
          <p:nvPr/>
        </p:nvPicPr>
        <p:blipFill>
          <a:blip r:embed="rId3">
            <a:alphaModFix/>
          </a:blip>
          <a:stretch>
            <a:fillRect/>
          </a:stretch>
        </p:blipFill>
        <p:spPr>
          <a:xfrm>
            <a:off x="16183201" y="-304775"/>
            <a:ext cx="1799998" cy="1799998"/>
          </a:xfrm>
          <a:prstGeom prst="rect">
            <a:avLst/>
          </a:prstGeom>
          <a:noFill/>
          <a:ln>
            <a:noFill/>
          </a:ln>
        </p:spPr>
      </p:pic>
      <p:sp>
        <p:nvSpPr>
          <p:cNvPr id="241" name="Google Shape;241;p36"/>
          <p:cNvSpPr txBox="1">
            <a:spLocks noGrp="1"/>
          </p:cNvSpPr>
          <p:nvPr>
            <p:ph type="subTitle" idx="1"/>
          </p:nvPr>
        </p:nvSpPr>
        <p:spPr>
          <a:xfrm>
            <a:off x="8778900" y="8568450"/>
            <a:ext cx="9263400" cy="15852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9pPr>
          </a:lstStyle>
          <a:p>
            <a:endParaRPr/>
          </a:p>
        </p:txBody>
      </p:sp>
    </p:spTree>
    <p:extLst>
      <p:ext uri="{BB962C8B-B14F-4D97-AF65-F5344CB8AC3E}">
        <p14:creationId xmlns:p14="http://schemas.microsoft.com/office/powerpoint/2010/main" val="19145455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matchingName="Título e descrição de seção 2 2" preserve="1" userDrawn="1">
  <p:cSld name="Título e descrição de seção 2 2">
    <p:spTree>
      <p:nvGrpSpPr>
        <p:cNvPr id="1" name="Shape 271"/>
        <p:cNvGrpSpPr/>
        <p:nvPr/>
      </p:nvGrpSpPr>
      <p:grpSpPr>
        <a:xfrm>
          <a:off x="0" y="0"/>
          <a:ext cx="0" cy="0"/>
          <a:chOff x="0" y="0"/>
          <a:chExt cx="0" cy="0"/>
        </a:xfrm>
      </p:grpSpPr>
      <p:pic>
        <p:nvPicPr>
          <p:cNvPr id="272" name="Google Shape;272;p41"/>
          <p:cNvPicPr preferRelativeResize="0"/>
          <p:nvPr/>
        </p:nvPicPr>
        <p:blipFill rotWithShape="1">
          <a:blip r:embed="rId2">
            <a:alphaModFix/>
          </a:blip>
          <a:srcRect l="7344"/>
          <a:stretch/>
        </p:blipFill>
        <p:spPr>
          <a:xfrm>
            <a:off x="1" y="-38860"/>
            <a:ext cx="16944914" cy="10287000"/>
          </a:xfrm>
          <a:prstGeom prst="rect">
            <a:avLst/>
          </a:prstGeom>
          <a:noFill/>
          <a:ln>
            <a:noFill/>
          </a:ln>
        </p:spPr>
      </p:pic>
      <p:sp>
        <p:nvSpPr>
          <p:cNvPr id="273" name="Google Shape;273;p41"/>
          <p:cNvSpPr/>
          <p:nvPr/>
        </p:nvSpPr>
        <p:spPr>
          <a:xfrm>
            <a:off x="9144000" y="50"/>
            <a:ext cx="9144000" cy="10287000"/>
          </a:xfrm>
          <a:prstGeom prst="rect">
            <a:avLst/>
          </a:prstGeom>
          <a:solidFill>
            <a:srgbClr val="222222"/>
          </a:soli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sz="2800"/>
          </a:p>
        </p:txBody>
      </p:sp>
      <p:sp>
        <p:nvSpPr>
          <p:cNvPr id="274" name="Google Shape;274;p41"/>
          <p:cNvSpPr txBox="1">
            <a:spLocks noGrp="1"/>
          </p:cNvSpPr>
          <p:nvPr>
            <p:ph type="title"/>
          </p:nvPr>
        </p:nvSpPr>
        <p:spPr>
          <a:xfrm>
            <a:off x="10369800" y="3009200"/>
            <a:ext cx="6692400" cy="2964600"/>
          </a:xfrm>
          <a:prstGeom prst="rect">
            <a:avLst/>
          </a:prstGeom>
        </p:spPr>
        <p:txBody>
          <a:bodyPr spcFirstLastPara="1" wrap="square" lIns="91425" tIns="91425" rIns="91425" bIns="91425" anchor="b" anchorCtr="0">
            <a:noAutofit/>
          </a:bodyPr>
          <a:lstStyle>
            <a:lvl1pPr lvl="0" rtl="0">
              <a:spcBef>
                <a:spcPts val="0"/>
              </a:spcBef>
              <a:spcAft>
                <a:spcPts val="0"/>
              </a:spcAft>
              <a:buSzPts val="3000"/>
              <a:buNone/>
              <a:defRPr sz="6000"/>
            </a:lvl1pPr>
            <a:lvl2pPr lvl="1" rtl="0">
              <a:spcBef>
                <a:spcPts val="0"/>
              </a:spcBef>
              <a:spcAft>
                <a:spcPts val="0"/>
              </a:spcAft>
              <a:buSzPts val="3600"/>
              <a:buNone/>
              <a:defRPr sz="7200"/>
            </a:lvl2pPr>
            <a:lvl3pPr lvl="2" rtl="0">
              <a:spcBef>
                <a:spcPts val="0"/>
              </a:spcBef>
              <a:spcAft>
                <a:spcPts val="0"/>
              </a:spcAft>
              <a:buSzPts val="3600"/>
              <a:buNone/>
              <a:defRPr sz="7200"/>
            </a:lvl3pPr>
            <a:lvl4pPr lvl="3" rtl="0">
              <a:spcBef>
                <a:spcPts val="0"/>
              </a:spcBef>
              <a:spcAft>
                <a:spcPts val="0"/>
              </a:spcAft>
              <a:buSzPts val="3600"/>
              <a:buNone/>
              <a:defRPr sz="7200"/>
            </a:lvl4pPr>
            <a:lvl5pPr lvl="4" rtl="0">
              <a:spcBef>
                <a:spcPts val="0"/>
              </a:spcBef>
              <a:spcAft>
                <a:spcPts val="0"/>
              </a:spcAft>
              <a:buSzPts val="3600"/>
              <a:buNone/>
              <a:defRPr sz="7200"/>
            </a:lvl5pPr>
            <a:lvl6pPr lvl="5" rtl="0">
              <a:spcBef>
                <a:spcPts val="0"/>
              </a:spcBef>
              <a:spcAft>
                <a:spcPts val="0"/>
              </a:spcAft>
              <a:buSzPts val="3600"/>
              <a:buNone/>
              <a:defRPr sz="7200"/>
            </a:lvl6pPr>
            <a:lvl7pPr lvl="6" rtl="0">
              <a:spcBef>
                <a:spcPts val="0"/>
              </a:spcBef>
              <a:spcAft>
                <a:spcPts val="0"/>
              </a:spcAft>
              <a:buSzPts val="3600"/>
              <a:buNone/>
              <a:defRPr sz="7200"/>
            </a:lvl7pPr>
            <a:lvl8pPr lvl="7" rtl="0">
              <a:spcBef>
                <a:spcPts val="0"/>
              </a:spcBef>
              <a:spcAft>
                <a:spcPts val="0"/>
              </a:spcAft>
              <a:buSzPts val="3600"/>
              <a:buNone/>
              <a:defRPr sz="7200"/>
            </a:lvl8pPr>
            <a:lvl9pPr lvl="8" rtl="0">
              <a:spcBef>
                <a:spcPts val="0"/>
              </a:spcBef>
              <a:spcAft>
                <a:spcPts val="0"/>
              </a:spcAft>
              <a:buSzPts val="3600"/>
              <a:buNone/>
              <a:defRPr sz="7200"/>
            </a:lvl9pPr>
          </a:lstStyle>
          <a:p>
            <a:endParaRPr/>
          </a:p>
        </p:txBody>
      </p:sp>
      <p:sp>
        <p:nvSpPr>
          <p:cNvPr id="275" name="Google Shape;275;p41"/>
          <p:cNvSpPr txBox="1">
            <a:spLocks noGrp="1"/>
          </p:cNvSpPr>
          <p:nvPr>
            <p:ph type="subTitle" idx="1"/>
          </p:nvPr>
        </p:nvSpPr>
        <p:spPr>
          <a:xfrm>
            <a:off x="10369800" y="6149000"/>
            <a:ext cx="6692400" cy="24702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200"/>
              <a:buNone/>
              <a:defRPr/>
            </a:lvl1pPr>
            <a:lvl2pPr lvl="1" rtl="0">
              <a:lnSpc>
                <a:spcPct val="100000"/>
              </a:lnSpc>
              <a:spcBef>
                <a:spcPts val="0"/>
              </a:spcBef>
              <a:spcAft>
                <a:spcPts val="0"/>
              </a:spcAft>
              <a:buSzPts val="1800"/>
              <a:buNone/>
              <a:defRPr sz="3600"/>
            </a:lvl2pPr>
            <a:lvl3pPr lvl="2" rtl="0">
              <a:lnSpc>
                <a:spcPct val="100000"/>
              </a:lnSpc>
              <a:spcBef>
                <a:spcPts val="0"/>
              </a:spcBef>
              <a:spcAft>
                <a:spcPts val="0"/>
              </a:spcAft>
              <a:buSzPts val="1800"/>
              <a:buNone/>
              <a:defRPr sz="3600"/>
            </a:lvl3pPr>
            <a:lvl4pPr lvl="3" rtl="0">
              <a:lnSpc>
                <a:spcPct val="100000"/>
              </a:lnSpc>
              <a:spcBef>
                <a:spcPts val="0"/>
              </a:spcBef>
              <a:spcAft>
                <a:spcPts val="0"/>
              </a:spcAft>
              <a:buSzPts val="1800"/>
              <a:buNone/>
              <a:defRPr sz="3600"/>
            </a:lvl4pPr>
            <a:lvl5pPr lvl="4" rtl="0">
              <a:lnSpc>
                <a:spcPct val="100000"/>
              </a:lnSpc>
              <a:spcBef>
                <a:spcPts val="0"/>
              </a:spcBef>
              <a:spcAft>
                <a:spcPts val="0"/>
              </a:spcAft>
              <a:buSzPts val="1800"/>
              <a:buNone/>
              <a:defRPr sz="3600"/>
            </a:lvl5pPr>
            <a:lvl6pPr lvl="5" rtl="0">
              <a:lnSpc>
                <a:spcPct val="100000"/>
              </a:lnSpc>
              <a:spcBef>
                <a:spcPts val="0"/>
              </a:spcBef>
              <a:spcAft>
                <a:spcPts val="0"/>
              </a:spcAft>
              <a:buSzPts val="1800"/>
              <a:buNone/>
              <a:defRPr sz="3600"/>
            </a:lvl6pPr>
            <a:lvl7pPr lvl="6" rtl="0">
              <a:lnSpc>
                <a:spcPct val="100000"/>
              </a:lnSpc>
              <a:spcBef>
                <a:spcPts val="0"/>
              </a:spcBef>
              <a:spcAft>
                <a:spcPts val="0"/>
              </a:spcAft>
              <a:buSzPts val="1800"/>
              <a:buNone/>
              <a:defRPr sz="3600"/>
            </a:lvl7pPr>
            <a:lvl8pPr lvl="7" rtl="0">
              <a:lnSpc>
                <a:spcPct val="100000"/>
              </a:lnSpc>
              <a:spcBef>
                <a:spcPts val="0"/>
              </a:spcBef>
              <a:spcAft>
                <a:spcPts val="0"/>
              </a:spcAft>
              <a:buSzPts val="1800"/>
              <a:buNone/>
              <a:defRPr sz="3600"/>
            </a:lvl8pPr>
            <a:lvl9pPr lvl="8" rtl="0">
              <a:lnSpc>
                <a:spcPct val="100000"/>
              </a:lnSpc>
              <a:spcBef>
                <a:spcPts val="0"/>
              </a:spcBef>
              <a:spcAft>
                <a:spcPts val="0"/>
              </a:spcAft>
              <a:buSzPts val="1800"/>
              <a:buNone/>
              <a:defRPr sz="3600"/>
            </a:lvl9pPr>
          </a:lstStyle>
          <a:p>
            <a:endParaRPr/>
          </a:p>
        </p:txBody>
      </p:sp>
      <p:pic>
        <p:nvPicPr>
          <p:cNvPr id="277" name="Google Shape;277;p41"/>
          <p:cNvPicPr preferRelativeResize="0"/>
          <p:nvPr/>
        </p:nvPicPr>
        <p:blipFill>
          <a:blip r:embed="rId3">
            <a:alphaModFix/>
          </a:blip>
          <a:stretch>
            <a:fillRect/>
          </a:stretch>
        </p:blipFill>
        <p:spPr>
          <a:xfrm>
            <a:off x="16183201" y="-304775"/>
            <a:ext cx="1799998" cy="1799998"/>
          </a:xfrm>
          <a:prstGeom prst="rect">
            <a:avLst/>
          </a:prstGeom>
          <a:noFill/>
          <a:ln>
            <a:noFill/>
          </a:ln>
        </p:spPr>
      </p:pic>
    </p:spTree>
    <p:extLst>
      <p:ext uri="{BB962C8B-B14F-4D97-AF65-F5344CB8AC3E}">
        <p14:creationId xmlns:p14="http://schemas.microsoft.com/office/powerpoint/2010/main" val="401454698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matchingName="Título e descrição de seção 2 1" preserve="1" userDrawn="1">
  <p:cSld name="Título e descrição de seção 2 1">
    <p:spTree>
      <p:nvGrpSpPr>
        <p:cNvPr id="1" name="Shape 279"/>
        <p:cNvGrpSpPr/>
        <p:nvPr/>
      </p:nvGrpSpPr>
      <p:grpSpPr>
        <a:xfrm>
          <a:off x="0" y="0"/>
          <a:ext cx="0" cy="0"/>
          <a:chOff x="0" y="0"/>
          <a:chExt cx="0" cy="0"/>
        </a:xfrm>
      </p:grpSpPr>
      <p:pic>
        <p:nvPicPr>
          <p:cNvPr id="280" name="Google Shape;280;p42"/>
          <p:cNvPicPr preferRelativeResize="0"/>
          <p:nvPr/>
        </p:nvPicPr>
        <p:blipFill rotWithShape="1">
          <a:blip r:embed="rId2">
            <a:alphaModFix/>
          </a:blip>
          <a:srcRect r="31830"/>
          <a:stretch/>
        </p:blipFill>
        <p:spPr>
          <a:xfrm>
            <a:off x="5859453" y="0"/>
            <a:ext cx="12467050" cy="10287000"/>
          </a:xfrm>
          <a:prstGeom prst="rect">
            <a:avLst/>
          </a:prstGeom>
          <a:noFill/>
          <a:ln>
            <a:noFill/>
          </a:ln>
        </p:spPr>
      </p:pic>
      <p:sp>
        <p:nvSpPr>
          <p:cNvPr id="281" name="Google Shape;281;p42"/>
          <p:cNvSpPr/>
          <p:nvPr userDrawn="1"/>
        </p:nvSpPr>
        <p:spPr>
          <a:xfrm>
            <a:off x="4300" y="50"/>
            <a:ext cx="9144000" cy="10287000"/>
          </a:xfrm>
          <a:prstGeom prst="rect">
            <a:avLst/>
          </a:prstGeom>
          <a:gradFill>
            <a:gsLst>
              <a:gs pos="0">
                <a:srgbClr val="FF2C34"/>
              </a:gs>
              <a:gs pos="100000">
                <a:srgbClr val="6800FF"/>
              </a:gs>
            </a:gsLst>
            <a:lin ang="2700006" scaled="0"/>
          </a:gra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sz="2800"/>
          </a:p>
        </p:txBody>
      </p:sp>
      <p:sp>
        <p:nvSpPr>
          <p:cNvPr id="282" name="Google Shape;282;p42"/>
          <p:cNvSpPr txBox="1">
            <a:spLocks noGrp="1"/>
          </p:cNvSpPr>
          <p:nvPr>
            <p:ph type="title"/>
          </p:nvPr>
        </p:nvSpPr>
        <p:spPr>
          <a:xfrm>
            <a:off x="1230100" y="3009200"/>
            <a:ext cx="6692400" cy="2964600"/>
          </a:xfrm>
          <a:prstGeom prst="rect">
            <a:avLst/>
          </a:prstGeom>
        </p:spPr>
        <p:txBody>
          <a:bodyPr spcFirstLastPara="1" wrap="square" lIns="91425" tIns="91425" rIns="91425" bIns="91425" anchor="b" anchorCtr="0">
            <a:noAutofit/>
          </a:bodyPr>
          <a:lstStyle>
            <a:lvl1pPr lvl="0" rtl="0">
              <a:spcBef>
                <a:spcPts val="0"/>
              </a:spcBef>
              <a:spcAft>
                <a:spcPts val="0"/>
              </a:spcAft>
              <a:buSzPts val="3000"/>
              <a:buNone/>
              <a:defRPr sz="6000"/>
            </a:lvl1pPr>
            <a:lvl2pPr lvl="1" rtl="0">
              <a:spcBef>
                <a:spcPts val="0"/>
              </a:spcBef>
              <a:spcAft>
                <a:spcPts val="0"/>
              </a:spcAft>
              <a:buSzPts val="3600"/>
              <a:buNone/>
              <a:defRPr sz="7200"/>
            </a:lvl2pPr>
            <a:lvl3pPr lvl="2" rtl="0">
              <a:spcBef>
                <a:spcPts val="0"/>
              </a:spcBef>
              <a:spcAft>
                <a:spcPts val="0"/>
              </a:spcAft>
              <a:buSzPts val="3600"/>
              <a:buNone/>
              <a:defRPr sz="7200"/>
            </a:lvl3pPr>
            <a:lvl4pPr lvl="3" rtl="0">
              <a:spcBef>
                <a:spcPts val="0"/>
              </a:spcBef>
              <a:spcAft>
                <a:spcPts val="0"/>
              </a:spcAft>
              <a:buSzPts val="3600"/>
              <a:buNone/>
              <a:defRPr sz="7200"/>
            </a:lvl4pPr>
            <a:lvl5pPr lvl="4" rtl="0">
              <a:spcBef>
                <a:spcPts val="0"/>
              </a:spcBef>
              <a:spcAft>
                <a:spcPts val="0"/>
              </a:spcAft>
              <a:buSzPts val="3600"/>
              <a:buNone/>
              <a:defRPr sz="7200"/>
            </a:lvl5pPr>
            <a:lvl6pPr lvl="5" rtl="0">
              <a:spcBef>
                <a:spcPts val="0"/>
              </a:spcBef>
              <a:spcAft>
                <a:spcPts val="0"/>
              </a:spcAft>
              <a:buSzPts val="3600"/>
              <a:buNone/>
              <a:defRPr sz="7200"/>
            </a:lvl6pPr>
            <a:lvl7pPr lvl="6" rtl="0">
              <a:spcBef>
                <a:spcPts val="0"/>
              </a:spcBef>
              <a:spcAft>
                <a:spcPts val="0"/>
              </a:spcAft>
              <a:buSzPts val="3600"/>
              <a:buNone/>
              <a:defRPr sz="7200"/>
            </a:lvl7pPr>
            <a:lvl8pPr lvl="7" rtl="0">
              <a:spcBef>
                <a:spcPts val="0"/>
              </a:spcBef>
              <a:spcAft>
                <a:spcPts val="0"/>
              </a:spcAft>
              <a:buSzPts val="3600"/>
              <a:buNone/>
              <a:defRPr sz="7200"/>
            </a:lvl8pPr>
            <a:lvl9pPr lvl="8" rtl="0">
              <a:spcBef>
                <a:spcPts val="0"/>
              </a:spcBef>
              <a:spcAft>
                <a:spcPts val="0"/>
              </a:spcAft>
              <a:buSzPts val="3600"/>
              <a:buNone/>
              <a:defRPr sz="7200"/>
            </a:lvl9pPr>
          </a:lstStyle>
          <a:p>
            <a:endParaRPr/>
          </a:p>
        </p:txBody>
      </p:sp>
      <p:sp>
        <p:nvSpPr>
          <p:cNvPr id="283" name="Google Shape;283;p42"/>
          <p:cNvSpPr txBox="1">
            <a:spLocks noGrp="1"/>
          </p:cNvSpPr>
          <p:nvPr>
            <p:ph type="subTitle" idx="1"/>
          </p:nvPr>
        </p:nvSpPr>
        <p:spPr>
          <a:xfrm>
            <a:off x="1230100" y="6149000"/>
            <a:ext cx="6692400" cy="24702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200"/>
              <a:buNone/>
              <a:defRPr/>
            </a:lvl1pPr>
            <a:lvl2pPr lvl="1" rtl="0">
              <a:lnSpc>
                <a:spcPct val="100000"/>
              </a:lnSpc>
              <a:spcBef>
                <a:spcPts val="0"/>
              </a:spcBef>
              <a:spcAft>
                <a:spcPts val="0"/>
              </a:spcAft>
              <a:buSzPts val="1800"/>
              <a:buNone/>
              <a:defRPr sz="3600"/>
            </a:lvl2pPr>
            <a:lvl3pPr lvl="2" rtl="0">
              <a:lnSpc>
                <a:spcPct val="100000"/>
              </a:lnSpc>
              <a:spcBef>
                <a:spcPts val="0"/>
              </a:spcBef>
              <a:spcAft>
                <a:spcPts val="0"/>
              </a:spcAft>
              <a:buSzPts val="1800"/>
              <a:buNone/>
              <a:defRPr sz="3600"/>
            </a:lvl3pPr>
            <a:lvl4pPr lvl="3" rtl="0">
              <a:lnSpc>
                <a:spcPct val="100000"/>
              </a:lnSpc>
              <a:spcBef>
                <a:spcPts val="0"/>
              </a:spcBef>
              <a:spcAft>
                <a:spcPts val="0"/>
              </a:spcAft>
              <a:buSzPts val="1800"/>
              <a:buNone/>
              <a:defRPr sz="3600"/>
            </a:lvl4pPr>
            <a:lvl5pPr lvl="4" rtl="0">
              <a:lnSpc>
                <a:spcPct val="100000"/>
              </a:lnSpc>
              <a:spcBef>
                <a:spcPts val="0"/>
              </a:spcBef>
              <a:spcAft>
                <a:spcPts val="0"/>
              </a:spcAft>
              <a:buSzPts val="1800"/>
              <a:buNone/>
              <a:defRPr sz="3600"/>
            </a:lvl5pPr>
            <a:lvl6pPr lvl="5" rtl="0">
              <a:lnSpc>
                <a:spcPct val="100000"/>
              </a:lnSpc>
              <a:spcBef>
                <a:spcPts val="0"/>
              </a:spcBef>
              <a:spcAft>
                <a:spcPts val="0"/>
              </a:spcAft>
              <a:buSzPts val="1800"/>
              <a:buNone/>
              <a:defRPr sz="3600"/>
            </a:lvl6pPr>
            <a:lvl7pPr lvl="6" rtl="0">
              <a:lnSpc>
                <a:spcPct val="100000"/>
              </a:lnSpc>
              <a:spcBef>
                <a:spcPts val="0"/>
              </a:spcBef>
              <a:spcAft>
                <a:spcPts val="0"/>
              </a:spcAft>
              <a:buSzPts val="1800"/>
              <a:buNone/>
              <a:defRPr sz="3600"/>
            </a:lvl7pPr>
            <a:lvl8pPr lvl="7" rtl="0">
              <a:lnSpc>
                <a:spcPct val="100000"/>
              </a:lnSpc>
              <a:spcBef>
                <a:spcPts val="0"/>
              </a:spcBef>
              <a:spcAft>
                <a:spcPts val="0"/>
              </a:spcAft>
              <a:buSzPts val="1800"/>
              <a:buNone/>
              <a:defRPr sz="3600"/>
            </a:lvl8pPr>
            <a:lvl9pPr lvl="8" rtl="0">
              <a:lnSpc>
                <a:spcPct val="100000"/>
              </a:lnSpc>
              <a:spcBef>
                <a:spcPts val="0"/>
              </a:spcBef>
              <a:spcAft>
                <a:spcPts val="0"/>
              </a:spcAft>
              <a:buSzPts val="1800"/>
              <a:buNone/>
              <a:defRPr sz="3600"/>
            </a:lvl9pPr>
          </a:lstStyle>
          <a:p>
            <a:endParaRPr/>
          </a:p>
        </p:txBody>
      </p:sp>
      <p:pic>
        <p:nvPicPr>
          <p:cNvPr id="285" name="Google Shape;285;p42"/>
          <p:cNvPicPr preferRelativeResize="0"/>
          <p:nvPr/>
        </p:nvPicPr>
        <p:blipFill>
          <a:blip r:embed="rId3">
            <a:alphaModFix/>
          </a:blip>
          <a:stretch>
            <a:fillRect/>
          </a:stretch>
        </p:blipFill>
        <p:spPr>
          <a:xfrm>
            <a:off x="16183201" y="-304775"/>
            <a:ext cx="1799998" cy="1799998"/>
          </a:xfrm>
          <a:prstGeom prst="rect">
            <a:avLst/>
          </a:prstGeom>
          <a:noFill/>
          <a:ln>
            <a:noFill/>
          </a:ln>
        </p:spPr>
      </p:pic>
    </p:spTree>
    <p:extLst>
      <p:ext uri="{BB962C8B-B14F-4D97-AF65-F5344CB8AC3E}">
        <p14:creationId xmlns:p14="http://schemas.microsoft.com/office/powerpoint/2010/main" val="30880510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matchingName="Título e descrição de seção 2 1 1 1" preserve="1" userDrawn="1">
  <p:cSld name="Título e descrição de seção 2 1 1 1">
    <p:spTree>
      <p:nvGrpSpPr>
        <p:cNvPr id="1" name="Shape 303"/>
        <p:cNvGrpSpPr/>
        <p:nvPr/>
      </p:nvGrpSpPr>
      <p:grpSpPr>
        <a:xfrm>
          <a:off x="0" y="0"/>
          <a:ext cx="0" cy="0"/>
          <a:chOff x="0" y="0"/>
          <a:chExt cx="0" cy="0"/>
        </a:xfrm>
      </p:grpSpPr>
      <p:pic>
        <p:nvPicPr>
          <p:cNvPr id="304" name="Google Shape;304;p45"/>
          <p:cNvPicPr preferRelativeResize="0"/>
          <p:nvPr/>
        </p:nvPicPr>
        <p:blipFill rotWithShape="1">
          <a:blip r:embed="rId2">
            <a:alphaModFix/>
          </a:blip>
          <a:srcRect l="24307"/>
          <a:stretch/>
        </p:blipFill>
        <p:spPr>
          <a:xfrm>
            <a:off x="-57753" y="50"/>
            <a:ext cx="13842702" cy="10287000"/>
          </a:xfrm>
          <a:prstGeom prst="rect">
            <a:avLst/>
          </a:prstGeom>
          <a:noFill/>
          <a:ln>
            <a:noFill/>
          </a:ln>
        </p:spPr>
      </p:pic>
      <p:sp>
        <p:nvSpPr>
          <p:cNvPr id="305" name="Google Shape;305;p45"/>
          <p:cNvSpPr/>
          <p:nvPr/>
        </p:nvSpPr>
        <p:spPr>
          <a:xfrm>
            <a:off x="9144000" y="50"/>
            <a:ext cx="9144000" cy="10287000"/>
          </a:xfrm>
          <a:prstGeom prst="rect">
            <a:avLst/>
          </a:prstGeom>
          <a:solidFill>
            <a:srgbClr val="222222"/>
          </a:soli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sz="2800"/>
          </a:p>
        </p:txBody>
      </p:sp>
      <p:sp>
        <p:nvSpPr>
          <p:cNvPr id="306" name="Google Shape;306;p45"/>
          <p:cNvSpPr txBox="1">
            <a:spLocks noGrp="1"/>
          </p:cNvSpPr>
          <p:nvPr>
            <p:ph type="title"/>
          </p:nvPr>
        </p:nvSpPr>
        <p:spPr>
          <a:xfrm>
            <a:off x="10369800" y="3009200"/>
            <a:ext cx="6692400" cy="2964600"/>
          </a:xfrm>
          <a:prstGeom prst="rect">
            <a:avLst/>
          </a:prstGeom>
        </p:spPr>
        <p:txBody>
          <a:bodyPr spcFirstLastPara="1" wrap="square" lIns="91425" tIns="91425" rIns="91425" bIns="91425" anchor="b" anchorCtr="0">
            <a:noAutofit/>
          </a:bodyPr>
          <a:lstStyle>
            <a:lvl1pPr lvl="0" rtl="0">
              <a:spcBef>
                <a:spcPts val="0"/>
              </a:spcBef>
              <a:spcAft>
                <a:spcPts val="0"/>
              </a:spcAft>
              <a:buSzPts val="3000"/>
              <a:buNone/>
              <a:defRPr sz="6000"/>
            </a:lvl1pPr>
            <a:lvl2pPr lvl="1" rtl="0">
              <a:spcBef>
                <a:spcPts val="0"/>
              </a:spcBef>
              <a:spcAft>
                <a:spcPts val="0"/>
              </a:spcAft>
              <a:buSzPts val="3600"/>
              <a:buNone/>
              <a:defRPr sz="7200"/>
            </a:lvl2pPr>
            <a:lvl3pPr lvl="2" rtl="0">
              <a:spcBef>
                <a:spcPts val="0"/>
              </a:spcBef>
              <a:spcAft>
                <a:spcPts val="0"/>
              </a:spcAft>
              <a:buSzPts val="3600"/>
              <a:buNone/>
              <a:defRPr sz="7200"/>
            </a:lvl3pPr>
            <a:lvl4pPr lvl="3" rtl="0">
              <a:spcBef>
                <a:spcPts val="0"/>
              </a:spcBef>
              <a:spcAft>
                <a:spcPts val="0"/>
              </a:spcAft>
              <a:buSzPts val="3600"/>
              <a:buNone/>
              <a:defRPr sz="7200"/>
            </a:lvl4pPr>
            <a:lvl5pPr lvl="4" rtl="0">
              <a:spcBef>
                <a:spcPts val="0"/>
              </a:spcBef>
              <a:spcAft>
                <a:spcPts val="0"/>
              </a:spcAft>
              <a:buSzPts val="3600"/>
              <a:buNone/>
              <a:defRPr sz="7200"/>
            </a:lvl5pPr>
            <a:lvl6pPr lvl="5" rtl="0">
              <a:spcBef>
                <a:spcPts val="0"/>
              </a:spcBef>
              <a:spcAft>
                <a:spcPts val="0"/>
              </a:spcAft>
              <a:buSzPts val="3600"/>
              <a:buNone/>
              <a:defRPr sz="7200"/>
            </a:lvl6pPr>
            <a:lvl7pPr lvl="6" rtl="0">
              <a:spcBef>
                <a:spcPts val="0"/>
              </a:spcBef>
              <a:spcAft>
                <a:spcPts val="0"/>
              </a:spcAft>
              <a:buSzPts val="3600"/>
              <a:buNone/>
              <a:defRPr sz="7200"/>
            </a:lvl7pPr>
            <a:lvl8pPr lvl="7" rtl="0">
              <a:spcBef>
                <a:spcPts val="0"/>
              </a:spcBef>
              <a:spcAft>
                <a:spcPts val="0"/>
              </a:spcAft>
              <a:buSzPts val="3600"/>
              <a:buNone/>
              <a:defRPr sz="7200"/>
            </a:lvl8pPr>
            <a:lvl9pPr lvl="8" rtl="0">
              <a:spcBef>
                <a:spcPts val="0"/>
              </a:spcBef>
              <a:spcAft>
                <a:spcPts val="0"/>
              </a:spcAft>
              <a:buSzPts val="3600"/>
              <a:buNone/>
              <a:defRPr sz="7200"/>
            </a:lvl9pPr>
          </a:lstStyle>
          <a:p>
            <a:endParaRPr/>
          </a:p>
        </p:txBody>
      </p:sp>
      <p:sp>
        <p:nvSpPr>
          <p:cNvPr id="307" name="Google Shape;307;p45"/>
          <p:cNvSpPr txBox="1">
            <a:spLocks noGrp="1"/>
          </p:cNvSpPr>
          <p:nvPr>
            <p:ph type="subTitle" idx="1"/>
          </p:nvPr>
        </p:nvSpPr>
        <p:spPr>
          <a:xfrm>
            <a:off x="10369800" y="6149000"/>
            <a:ext cx="6692400" cy="24702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200"/>
              <a:buNone/>
              <a:defRPr/>
            </a:lvl1pPr>
            <a:lvl2pPr lvl="1" rtl="0">
              <a:lnSpc>
                <a:spcPct val="100000"/>
              </a:lnSpc>
              <a:spcBef>
                <a:spcPts val="0"/>
              </a:spcBef>
              <a:spcAft>
                <a:spcPts val="0"/>
              </a:spcAft>
              <a:buSzPts val="1800"/>
              <a:buNone/>
              <a:defRPr sz="3600"/>
            </a:lvl2pPr>
            <a:lvl3pPr lvl="2" rtl="0">
              <a:lnSpc>
                <a:spcPct val="100000"/>
              </a:lnSpc>
              <a:spcBef>
                <a:spcPts val="0"/>
              </a:spcBef>
              <a:spcAft>
                <a:spcPts val="0"/>
              </a:spcAft>
              <a:buSzPts val="1800"/>
              <a:buNone/>
              <a:defRPr sz="3600"/>
            </a:lvl3pPr>
            <a:lvl4pPr lvl="3" rtl="0">
              <a:lnSpc>
                <a:spcPct val="100000"/>
              </a:lnSpc>
              <a:spcBef>
                <a:spcPts val="0"/>
              </a:spcBef>
              <a:spcAft>
                <a:spcPts val="0"/>
              </a:spcAft>
              <a:buSzPts val="1800"/>
              <a:buNone/>
              <a:defRPr sz="3600"/>
            </a:lvl4pPr>
            <a:lvl5pPr lvl="4" rtl="0">
              <a:lnSpc>
                <a:spcPct val="100000"/>
              </a:lnSpc>
              <a:spcBef>
                <a:spcPts val="0"/>
              </a:spcBef>
              <a:spcAft>
                <a:spcPts val="0"/>
              </a:spcAft>
              <a:buSzPts val="1800"/>
              <a:buNone/>
              <a:defRPr sz="3600"/>
            </a:lvl5pPr>
            <a:lvl6pPr lvl="5" rtl="0">
              <a:lnSpc>
                <a:spcPct val="100000"/>
              </a:lnSpc>
              <a:spcBef>
                <a:spcPts val="0"/>
              </a:spcBef>
              <a:spcAft>
                <a:spcPts val="0"/>
              </a:spcAft>
              <a:buSzPts val="1800"/>
              <a:buNone/>
              <a:defRPr sz="3600"/>
            </a:lvl6pPr>
            <a:lvl7pPr lvl="6" rtl="0">
              <a:lnSpc>
                <a:spcPct val="100000"/>
              </a:lnSpc>
              <a:spcBef>
                <a:spcPts val="0"/>
              </a:spcBef>
              <a:spcAft>
                <a:spcPts val="0"/>
              </a:spcAft>
              <a:buSzPts val="1800"/>
              <a:buNone/>
              <a:defRPr sz="3600"/>
            </a:lvl7pPr>
            <a:lvl8pPr lvl="7" rtl="0">
              <a:lnSpc>
                <a:spcPct val="100000"/>
              </a:lnSpc>
              <a:spcBef>
                <a:spcPts val="0"/>
              </a:spcBef>
              <a:spcAft>
                <a:spcPts val="0"/>
              </a:spcAft>
              <a:buSzPts val="1800"/>
              <a:buNone/>
              <a:defRPr sz="3600"/>
            </a:lvl8pPr>
            <a:lvl9pPr lvl="8" rtl="0">
              <a:lnSpc>
                <a:spcPct val="100000"/>
              </a:lnSpc>
              <a:spcBef>
                <a:spcPts val="0"/>
              </a:spcBef>
              <a:spcAft>
                <a:spcPts val="0"/>
              </a:spcAft>
              <a:buSzPts val="1800"/>
              <a:buNone/>
              <a:defRPr sz="3600"/>
            </a:lvl9pPr>
          </a:lstStyle>
          <a:p>
            <a:endParaRPr/>
          </a:p>
        </p:txBody>
      </p:sp>
      <p:pic>
        <p:nvPicPr>
          <p:cNvPr id="309" name="Google Shape;309;p45"/>
          <p:cNvPicPr preferRelativeResize="0"/>
          <p:nvPr/>
        </p:nvPicPr>
        <p:blipFill>
          <a:blip r:embed="rId3">
            <a:alphaModFix/>
          </a:blip>
          <a:stretch>
            <a:fillRect/>
          </a:stretch>
        </p:blipFill>
        <p:spPr>
          <a:xfrm>
            <a:off x="16183201" y="-304775"/>
            <a:ext cx="1799998" cy="1799998"/>
          </a:xfrm>
          <a:prstGeom prst="rect">
            <a:avLst/>
          </a:prstGeom>
          <a:noFill/>
          <a:ln>
            <a:noFill/>
          </a:ln>
        </p:spPr>
      </p:pic>
    </p:spTree>
    <p:extLst>
      <p:ext uri="{BB962C8B-B14F-4D97-AF65-F5344CB8AC3E}">
        <p14:creationId xmlns:p14="http://schemas.microsoft.com/office/powerpoint/2010/main" val="8726977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matchingName="Caption" preserve="1" userDrawn="1">
  <p:cSld name="Caption">
    <p:spTree>
      <p:nvGrpSpPr>
        <p:cNvPr id="1" name="Shape 318"/>
        <p:cNvGrpSpPr/>
        <p:nvPr/>
      </p:nvGrpSpPr>
      <p:grpSpPr>
        <a:xfrm>
          <a:off x="0" y="0"/>
          <a:ext cx="0" cy="0"/>
          <a:chOff x="0" y="0"/>
          <a:chExt cx="0" cy="0"/>
        </a:xfrm>
      </p:grpSpPr>
      <p:pic>
        <p:nvPicPr>
          <p:cNvPr id="319" name="Google Shape;319;p47"/>
          <p:cNvPicPr preferRelativeResize="0"/>
          <p:nvPr/>
        </p:nvPicPr>
        <p:blipFill rotWithShape="1">
          <a:blip r:embed="rId2">
            <a:alphaModFix/>
          </a:blip>
          <a:srcRect t="10272" b="10280"/>
          <a:stretch/>
        </p:blipFill>
        <p:spPr>
          <a:xfrm>
            <a:off x="0" y="1"/>
            <a:ext cx="12674904" cy="10287002"/>
          </a:xfrm>
          <a:prstGeom prst="rect">
            <a:avLst/>
          </a:prstGeom>
          <a:noFill/>
          <a:ln>
            <a:noFill/>
          </a:ln>
        </p:spPr>
      </p:pic>
      <p:sp>
        <p:nvSpPr>
          <p:cNvPr id="320" name="Google Shape;320;p47"/>
          <p:cNvSpPr txBox="1">
            <a:spLocks noGrp="1"/>
          </p:cNvSpPr>
          <p:nvPr>
            <p:ph type="body" idx="1"/>
          </p:nvPr>
        </p:nvSpPr>
        <p:spPr>
          <a:xfrm>
            <a:off x="10501650" y="3310800"/>
            <a:ext cx="5604000" cy="2827200"/>
          </a:xfrm>
          <a:prstGeom prst="rect">
            <a:avLst/>
          </a:prstGeom>
        </p:spPr>
        <p:txBody>
          <a:bodyPr spcFirstLastPara="1" wrap="square" lIns="91425" tIns="91425" rIns="91425" bIns="91425" anchor="ctr" anchorCtr="0">
            <a:noAutofit/>
          </a:bodyPr>
          <a:lstStyle>
            <a:lvl1pPr marL="914400" lvl="0" indent="-457200">
              <a:lnSpc>
                <a:spcPct val="100000"/>
              </a:lnSpc>
              <a:spcBef>
                <a:spcPts val="0"/>
              </a:spcBef>
              <a:spcAft>
                <a:spcPts val="0"/>
              </a:spcAft>
              <a:buSzPts val="2400"/>
              <a:buFont typeface="Montserrat"/>
              <a:buNone/>
              <a:defRPr sz="4800" b="1">
                <a:latin typeface="Montserrat"/>
                <a:ea typeface="Montserrat"/>
                <a:cs typeface="Montserrat"/>
                <a:sym typeface="Montserrat"/>
              </a:defRPr>
            </a:lvl1pPr>
          </a:lstStyle>
          <a:p>
            <a:endParaRPr/>
          </a:p>
        </p:txBody>
      </p:sp>
      <p:pic>
        <p:nvPicPr>
          <p:cNvPr id="322" name="Google Shape;322;p47"/>
          <p:cNvPicPr preferRelativeResize="0"/>
          <p:nvPr/>
        </p:nvPicPr>
        <p:blipFill>
          <a:blip r:embed="rId3">
            <a:alphaModFix/>
          </a:blip>
          <a:stretch>
            <a:fillRect/>
          </a:stretch>
        </p:blipFill>
        <p:spPr>
          <a:xfrm>
            <a:off x="16183201" y="-304775"/>
            <a:ext cx="1799998" cy="1799998"/>
          </a:xfrm>
          <a:prstGeom prst="rect">
            <a:avLst/>
          </a:prstGeom>
          <a:noFill/>
          <a:ln>
            <a:noFill/>
          </a:ln>
        </p:spPr>
      </p:pic>
    </p:spTree>
    <p:extLst>
      <p:ext uri="{BB962C8B-B14F-4D97-AF65-F5344CB8AC3E}">
        <p14:creationId xmlns:p14="http://schemas.microsoft.com/office/powerpoint/2010/main" val="27681544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Somente título 2 1 1 4 2" preserve="1">
  <p:cSld name="Somente título 2 1 1 4 2">
    <p:spTree>
      <p:nvGrpSpPr>
        <p:cNvPr id="1" name="Shape 229"/>
        <p:cNvGrpSpPr/>
        <p:nvPr/>
      </p:nvGrpSpPr>
      <p:grpSpPr>
        <a:xfrm>
          <a:off x="0" y="0"/>
          <a:ext cx="0" cy="0"/>
          <a:chOff x="0" y="0"/>
          <a:chExt cx="0" cy="0"/>
        </a:xfrm>
      </p:grpSpPr>
      <p:sp>
        <p:nvSpPr>
          <p:cNvPr id="230" name="Google Shape;230;p35"/>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pic>
        <p:nvPicPr>
          <p:cNvPr id="231" name="Google Shape;231;p35"/>
          <p:cNvPicPr preferRelativeResize="0"/>
          <p:nvPr/>
        </p:nvPicPr>
        <p:blipFill>
          <a:blip r:embed="rId2">
            <a:alphaModFix/>
          </a:blip>
          <a:stretch>
            <a:fillRect/>
          </a:stretch>
        </p:blipFill>
        <p:spPr>
          <a:xfrm>
            <a:off x="0" y="1"/>
            <a:ext cx="18288000" cy="10286994"/>
          </a:xfrm>
          <a:prstGeom prst="rect">
            <a:avLst/>
          </a:prstGeom>
          <a:noFill/>
          <a:ln>
            <a:noFill/>
          </a:ln>
        </p:spPr>
      </p:pic>
      <p:pic>
        <p:nvPicPr>
          <p:cNvPr id="232" name="Google Shape;232;p35"/>
          <p:cNvPicPr preferRelativeResize="0"/>
          <p:nvPr/>
        </p:nvPicPr>
        <p:blipFill>
          <a:blip r:embed="rId3" cstate="email">
            <a:alphaModFix/>
            <a:extLst>
              <a:ext uri="{28A0092B-C50C-407E-A947-70E740481C1C}">
                <a14:useLocalDpi xmlns:a14="http://schemas.microsoft.com/office/drawing/2010/main"/>
              </a:ext>
            </a:extLst>
          </a:blip>
          <a:stretch>
            <a:fillRect/>
          </a:stretch>
        </p:blipFill>
        <p:spPr>
          <a:xfrm>
            <a:off x="16183201" y="-304775"/>
            <a:ext cx="1799998" cy="1799998"/>
          </a:xfrm>
          <a:prstGeom prst="rect">
            <a:avLst/>
          </a:prstGeom>
          <a:noFill/>
          <a:ln>
            <a:noFill/>
          </a:ln>
        </p:spPr>
      </p:pic>
      <p:sp>
        <p:nvSpPr>
          <p:cNvPr id="233" name="Google Shape;233;p35"/>
          <p:cNvSpPr txBox="1">
            <a:spLocks noGrp="1"/>
          </p:cNvSpPr>
          <p:nvPr>
            <p:ph type="subTitle" idx="1"/>
          </p:nvPr>
        </p:nvSpPr>
        <p:spPr>
          <a:xfrm>
            <a:off x="8778900" y="8568450"/>
            <a:ext cx="9263400" cy="15852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9pPr>
          </a:lstStyle>
          <a:p>
            <a:endParaRPr/>
          </a:p>
        </p:txBody>
      </p:sp>
      <p:sp>
        <p:nvSpPr>
          <p:cNvPr id="234" name="Google Shape;234;p35"/>
          <p:cNvSpPr txBox="1">
            <a:spLocks noGrp="1"/>
          </p:cNvSpPr>
          <p:nvPr>
            <p:ph type="title"/>
          </p:nvPr>
        </p:nvSpPr>
        <p:spPr>
          <a:xfrm>
            <a:off x="1230100" y="3009200"/>
            <a:ext cx="6692400" cy="2964600"/>
          </a:xfrm>
          <a:prstGeom prst="rect">
            <a:avLst/>
          </a:prstGeom>
        </p:spPr>
        <p:txBody>
          <a:bodyPr spcFirstLastPara="1" wrap="square" lIns="91425" tIns="91425" rIns="91425" bIns="91425" anchor="b" anchorCtr="0">
            <a:noAutofit/>
          </a:bodyPr>
          <a:lstStyle>
            <a:lvl1pPr lvl="0" rtl="0">
              <a:spcBef>
                <a:spcPts val="0"/>
              </a:spcBef>
              <a:spcAft>
                <a:spcPts val="0"/>
              </a:spcAft>
              <a:buSzPts val="3000"/>
              <a:buNone/>
              <a:defRPr sz="6000"/>
            </a:lvl1pPr>
            <a:lvl2pPr lvl="1" rtl="0">
              <a:spcBef>
                <a:spcPts val="0"/>
              </a:spcBef>
              <a:spcAft>
                <a:spcPts val="0"/>
              </a:spcAft>
              <a:buSzPts val="3600"/>
              <a:buNone/>
              <a:defRPr sz="7200"/>
            </a:lvl2pPr>
            <a:lvl3pPr lvl="2" rtl="0">
              <a:spcBef>
                <a:spcPts val="0"/>
              </a:spcBef>
              <a:spcAft>
                <a:spcPts val="0"/>
              </a:spcAft>
              <a:buSzPts val="3600"/>
              <a:buNone/>
              <a:defRPr sz="7200"/>
            </a:lvl3pPr>
            <a:lvl4pPr lvl="3" rtl="0">
              <a:spcBef>
                <a:spcPts val="0"/>
              </a:spcBef>
              <a:spcAft>
                <a:spcPts val="0"/>
              </a:spcAft>
              <a:buSzPts val="3600"/>
              <a:buNone/>
              <a:defRPr sz="7200"/>
            </a:lvl4pPr>
            <a:lvl5pPr lvl="4" rtl="0">
              <a:spcBef>
                <a:spcPts val="0"/>
              </a:spcBef>
              <a:spcAft>
                <a:spcPts val="0"/>
              </a:spcAft>
              <a:buSzPts val="3600"/>
              <a:buNone/>
              <a:defRPr sz="7200"/>
            </a:lvl5pPr>
            <a:lvl6pPr lvl="5" rtl="0">
              <a:spcBef>
                <a:spcPts val="0"/>
              </a:spcBef>
              <a:spcAft>
                <a:spcPts val="0"/>
              </a:spcAft>
              <a:buSzPts val="3600"/>
              <a:buNone/>
              <a:defRPr sz="7200"/>
            </a:lvl6pPr>
            <a:lvl7pPr lvl="6" rtl="0">
              <a:spcBef>
                <a:spcPts val="0"/>
              </a:spcBef>
              <a:spcAft>
                <a:spcPts val="0"/>
              </a:spcAft>
              <a:buSzPts val="3600"/>
              <a:buNone/>
              <a:defRPr sz="7200"/>
            </a:lvl7pPr>
            <a:lvl8pPr lvl="7" rtl="0">
              <a:spcBef>
                <a:spcPts val="0"/>
              </a:spcBef>
              <a:spcAft>
                <a:spcPts val="0"/>
              </a:spcAft>
              <a:buSzPts val="3600"/>
              <a:buNone/>
              <a:defRPr sz="7200"/>
            </a:lvl8pPr>
            <a:lvl9pPr lvl="8" rtl="0">
              <a:spcBef>
                <a:spcPts val="0"/>
              </a:spcBef>
              <a:spcAft>
                <a:spcPts val="0"/>
              </a:spcAft>
              <a:buSzPts val="3600"/>
              <a:buNone/>
              <a:defRPr sz="7200"/>
            </a:lvl9pPr>
          </a:lstStyle>
          <a:p>
            <a:endParaRPr/>
          </a:p>
        </p:txBody>
      </p:sp>
      <p:sp>
        <p:nvSpPr>
          <p:cNvPr id="235" name="Google Shape;235;p35"/>
          <p:cNvSpPr txBox="1">
            <a:spLocks noGrp="1"/>
          </p:cNvSpPr>
          <p:nvPr>
            <p:ph type="subTitle" idx="2"/>
          </p:nvPr>
        </p:nvSpPr>
        <p:spPr>
          <a:xfrm>
            <a:off x="1230100" y="6149000"/>
            <a:ext cx="6692400" cy="24702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200"/>
              <a:buNone/>
              <a:defRPr/>
            </a:lvl1pPr>
            <a:lvl2pPr lvl="1" rtl="0">
              <a:lnSpc>
                <a:spcPct val="100000"/>
              </a:lnSpc>
              <a:spcBef>
                <a:spcPts val="0"/>
              </a:spcBef>
              <a:spcAft>
                <a:spcPts val="0"/>
              </a:spcAft>
              <a:buSzPts val="1800"/>
              <a:buNone/>
              <a:defRPr sz="3600"/>
            </a:lvl2pPr>
            <a:lvl3pPr lvl="2" rtl="0">
              <a:lnSpc>
                <a:spcPct val="100000"/>
              </a:lnSpc>
              <a:spcBef>
                <a:spcPts val="0"/>
              </a:spcBef>
              <a:spcAft>
                <a:spcPts val="0"/>
              </a:spcAft>
              <a:buSzPts val="1800"/>
              <a:buNone/>
              <a:defRPr sz="3600"/>
            </a:lvl3pPr>
            <a:lvl4pPr lvl="3" rtl="0">
              <a:lnSpc>
                <a:spcPct val="100000"/>
              </a:lnSpc>
              <a:spcBef>
                <a:spcPts val="0"/>
              </a:spcBef>
              <a:spcAft>
                <a:spcPts val="0"/>
              </a:spcAft>
              <a:buSzPts val="1800"/>
              <a:buNone/>
              <a:defRPr sz="3600"/>
            </a:lvl4pPr>
            <a:lvl5pPr lvl="4" rtl="0">
              <a:lnSpc>
                <a:spcPct val="100000"/>
              </a:lnSpc>
              <a:spcBef>
                <a:spcPts val="0"/>
              </a:spcBef>
              <a:spcAft>
                <a:spcPts val="0"/>
              </a:spcAft>
              <a:buSzPts val="1800"/>
              <a:buNone/>
              <a:defRPr sz="3600"/>
            </a:lvl5pPr>
            <a:lvl6pPr lvl="5" rtl="0">
              <a:lnSpc>
                <a:spcPct val="100000"/>
              </a:lnSpc>
              <a:spcBef>
                <a:spcPts val="0"/>
              </a:spcBef>
              <a:spcAft>
                <a:spcPts val="0"/>
              </a:spcAft>
              <a:buSzPts val="1800"/>
              <a:buNone/>
              <a:defRPr sz="3600"/>
            </a:lvl6pPr>
            <a:lvl7pPr lvl="6" rtl="0">
              <a:lnSpc>
                <a:spcPct val="100000"/>
              </a:lnSpc>
              <a:spcBef>
                <a:spcPts val="0"/>
              </a:spcBef>
              <a:spcAft>
                <a:spcPts val="0"/>
              </a:spcAft>
              <a:buSzPts val="1800"/>
              <a:buNone/>
              <a:defRPr sz="3600"/>
            </a:lvl7pPr>
            <a:lvl8pPr lvl="7" rtl="0">
              <a:lnSpc>
                <a:spcPct val="100000"/>
              </a:lnSpc>
              <a:spcBef>
                <a:spcPts val="0"/>
              </a:spcBef>
              <a:spcAft>
                <a:spcPts val="0"/>
              </a:spcAft>
              <a:buSzPts val="1800"/>
              <a:buNone/>
              <a:defRPr sz="3600"/>
            </a:lvl8pPr>
            <a:lvl9pPr lvl="8" rtl="0">
              <a:lnSpc>
                <a:spcPct val="100000"/>
              </a:lnSpc>
              <a:spcBef>
                <a:spcPts val="0"/>
              </a:spcBef>
              <a:spcAft>
                <a:spcPts val="0"/>
              </a:spcAft>
              <a:buSzPts val="1800"/>
              <a:buNone/>
              <a:defRPr sz="3600"/>
            </a:lvl9pPr>
          </a:lstStyle>
          <a:p>
            <a:endParaRPr/>
          </a:p>
        </p:txBody>
      </p:sp>
    </p:spTree>
    <p:extLst>
      <p:ext uri="{BB962C8B-B14F-4D97-AF65-F5344CB8AC3E}">
        <p14:creationId xmlns:p14="http://schemas.microsoft.com/office/powerpoint/2010/main" val="24007891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Somente título 2 1 1 4 3" preserve="1">
  <p:cSld name="Somente título 2 1 1 4 3">
    <p:spTree>
      <p:nvGrpSpPr>
        <p:cNvPr id="1" name="Shape 236"/>
        <p:cNvGrpSpPr/>
        <p:nvPr/>
      </p:nvGrpSpPr>
      <p:grpSpPr>
        <a:xfrm>
          <a:off x="0" y="0"/>
          <a:ext cx="0" cy="0"/>
          <a:chOff x="0" y="0"/>
          <a:chExt cx="0" cy="0"/>
        </a:xfrm>
      </p:grpSpPr>
      <p:sp>
        <p:nvSpPr>
          <p:cNvPr id="237" name="Google Shape;237;p36"/>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pic>
        <p:nvPicPr>
          <p:cNvPr id="238" name="Google Shape;238;p36"/>
          <p:cNvPicPr preferRelativeResize="0"/>
          <p:nvPr/>
        </p:nvPicPr>
        <p:blipFill>
          <a:blip r:embed="rId2">
            <a:alphaModFix/>
          </a:blip>
          <a:stretch>
            <a:fillRect/>
          </a:stretch>
        </p:blipFill>
        <p:spPr>
          <a:xfrm>
            <a:off x="1" y="0"/>
            <a:ext cx="18288010" cy="10287000"/>
          </a:xfrm>
          <a:prstGeom prst="rect">
            <a:avLst/>
          </a:prstGeom>
          <a:noFill/>
          <a:ln>
            <a:noFill/>
          </a:ln>
        </p:spPr>
      </p:pic>
      <p:sp>
        <p:nvSpPr>
          <p:cNvPr id="239" name="Google Shape;239;p36"/>
          <p:cNvSpPr txBox="1">
            <a:spLocks noGrp="1"/>
          </p:cNvSpPr>
          <p:nvPr>
            <p:ph type="title"/>
          </p:nvPr>
        </p:nvSpPr>
        <p:spPr>
          <a:xfrm>
            <a:off x="623400" y="4418400"/>
            <a:ext cx="17041200" cy="11454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2000"/>
              <a:buNone/>
              <a:defRPr/>
            </a:lvl1pPr>
            <a:lvl2pPr lvl="1" algn="ctr" rtl="0">
              <a:spcBef>
                <a:spcPts val="0"/>
              </a:spcBef>
              <a:spcAft>
                <a:spcPts val="0"/>
              </a:spcAft>
              <a:buSzPts val="2000"/>
              <a:buNone/>
              <a:defRPr/>
            </a:lvl2pPr>
            <a:lvl3pPr lvl="2" algn="ctr" rtl="0">
              <a:spcBef>
                <a:spcPts val="0"/>
              </a:spcBef>
              <a:spcAft>
                <a:spcPts val="0"/>
              </a:spcAft>
              <a:buSzPts val="2000"/>
              <a:buNone/>
              <a:defRPr/>
            </a:lvl3pPr>
            <a:lvl4pPr lvl="3" algn="ctr" rtl="0">
              <a:spcBef>
                <a:spcPts val="0"/>
              </a:spcBef>
              <a:spcAft>
                <a:spcPts val="0"/>
              </a:spcAft>
              <a:buSzPts val="2000"/>
              <a:buNone/>
              <a:defRPr/>
            </a:lvl4pPr>
            <a:lvl5pPr lvl="4" algn="ctr" rtl="0">
              <a:spcBef>
                <a:spcPts val="0"/>
              </a:spcBef>
              <a:spcAft>
                <a:spcPts val="0"/>
              </a:spcAft>
              <a:buSzPts val="2000"/>
              <a:buNone/>
              <a:defRPr/>
            </a:lvl5pPr>
            <a:lvl6pPr lvl="5" algn="ctr" rtl="0">
              <a:spcBef>
                <a:spcPts val="0"/>
              </a:spcBef>
              <a:spcAft>
                <a:spcPts val="0"/>
              </a:spcAft>
              <a:buSzPts val="2000"/>
              <a:buNone/>
              <a:defRPr/>
            </a:lvl6pPr>
            <a:lvl7pPr lvl="6" algn="ctr" rtl="0">
              <a:spcBef>
                <a:spcPts val="0"/>
              </a:spcBef>
              <a:spcAft>
                <a:spcPts val="0"/>
              </a:spcAft>
              <a:buSzPts val="2000"/>
              <a:buNone/>
              <a:defRPr/>
            </a:lvl7pPr>
            <a:lvl8pPr lvl="7" algn="ctr" rtl="0">
              <a:spcBef>
                <a:spcPts val="0"/>
              </a:spcBef>
              <a:spcAft>
                <a:spcPts val="0"/>
              </a:spcAft>
              <a:buSzPts val="2000"/>
              <a:buNone/>
              <a:defRPr/>
            </a:lvl8pPr>
            <a:lvl9pPr lvl="8" algn="ctr" rtl="0">
              <a:spcBef>
                <a:spcPts val="0"/>
              </a:spcBef>
              <a:spcAft>
                <a:spcPts val="0"/>
              </a:spcAft>
              <a:buSzPts val="2000"/>
              <a:buNone/>
              <a:defRPr/>
            </a:lvl9pPr>
          </a:lstStyle>
          <a:p>
            <a:endParaRPr/>
          </a:p>
        </p:txBody>
      </p:sp>
      <p:pic>
        <p:nvPicPr>
          <p:cNvPr id="240" name="Google Shape;240;p36"/>
          <p:cNvPicPr preferRelativeResize="0"/>
          <p:nvPr/>
        </p:nvPicPr>
        <p:blipFill>
          <a:blip r:embed="rId3" cstate="email">
            <a:alphaModFix/>
            <a:extLst>
              <a:ext uri="{28A0092B-C50C-407E-A947-70E740481C1C}">
                <a14:useLocalDpi xmlns:a14="http://schemas.microsoft.com/office/drawing/2010/main"/>
              </a:ext>
            </a:extLst>
          </a:blip>
          <a:stretch>
            <a:fillRect/>
          </a:stretch>
        </p:blipFill>
        <p:spPr>
          <a:xfrm>
            <a:off x="16183201" y="-304775"/>
            <a:ext cx="1799998" cy="1799998"/>
          </a:xfrm>
          <a:prstGeom prst="rect">
            <a:avLst/>
          </a:prstGeom>
          <a:noFill/>
          <a:ln>
            <a:noFill/>
          </a:ln>
        </p:spPr>
      </p:pic>
      <p:sp>
        <p:nvSpPr>
          <p:cNvPr id="241" name="Google Shape;241;p36"/>
          <p:cNvSpPr txBox="1">
            <a:spLocks noGrp="1"/>
          </p:cNvSpPr>
          <p:nvPr>
            <p:ph type="subTitle" idx="1"/>
          </p:nvPr>
        </p:nvSpPr>
        <p:spPr>
          <a:xfrm>
            <a:off x="8778900" y="8568450"/>
            <a:ext cx="9263400" cy="15852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9pPr>
          </a:lstStyle>
          <a:p>
            <a:endParaRPr/>
          </a:p>
        </p:txBody>
      </p:sp>
    </p:spTree>
    <p:extLst>
      <p:ext uri="{BB962C8B-B14F-4D97-AF65-F5344CB8AC3E}">
        <p14:creationId xmlns:p14="http://schemas.microsoft.com/office/powerpoint/2010/main" val="19145455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ítulo e descrição de seção 2 2" preserve="1">
  <p:cSld name="Título e descrição de seção 2 2">
    <p:spTree>
      <p:nvGrpSpPr>
        <p:cNvPr id="1" name="Shape 271"/>
        <p:cNvGrpSpPr/>
        <p:nvPr/>
      </p:nvGrpSpPr>
      <p:grpSpPr>
        <a:xfrm>
          <a:off x="0" y="0"/>
          <a:ext cx="0" cy="0"/>
          <a:chOff x="0" y="0"/>
          <a:chExt cx="0" cy="0"/>
        </a:xfrm>
      </p:grpSpPr>
      <p:pic>
        <p:nvPicPr>
          <p:cNvPr id="272" name="Google Shape;272;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 y="-38860"/>
            <a:ext cx="16944914" cy="10287000"/>
          </a:xfrm>
          <a:prstGeom prst="rect">
            <a:avLst/>
          </a:prstGeom>
          <a:noFill/>
          <a:ln>
            <a:noFill/>
          </a:ln>
        </p:spPr>
      </p:pic>
      <p:sp>
        <p:nvSpPr>
          <p:cNvPr id="273" name="Google Shape;273;p41"/>
          <p:cNvSpPr/>
          <p:nvPr/>
        </p:nvSpPr>
        <p:spPr>
          <a:xfrm>
            <a:off x="9144000" y="50"/>
            <a:ext cx="9144000" cy="10287000"/>
          </a:xfrm>
          <a:prstGeom prst="rect">
            <a:avLst/>
          </a:prstGeom>
          <a:solidFill>
            <a:srgbClr val="222222"/>
          </a:soli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sz="2800"/>
          </a:p>
        </p:txBody>
      </p:sp>
      <p:sp>
        <p:nvSpPr>
          <p:cNvPr id="274" name="Google Shape;274;p41"/>
          <p:cNvSpPr txBox="1">
            <a:spLocks noGrp="1"/>
          </p:cNvSpPr>
          <p:nvPr>
            <p:ph type="title"/>
          </p:nvPr>
        </p:nvSpPr>
        <p:spPr>
          <a:xfrm>
            <a:off x="10369800" y="3009200"/>
            <a:ext cx="6692400" cy="2964600"/>
          </a:xfrm>
          <a:prstGeom prst="rect">
            <a:avLst/>
          </a:prstGeom>
        </p:spPr>
        <p:txBody>
          <a:bodyPr spcFirstLastPara="1" wrap="square" lIns="91425" tIns="91425" rIns="91425" bIns="91425" anchor="b" anchorCtr="0">
            <a:noAutofit/>
          </a:bodyPr>
          <a:lstStyle>
            <a:lvl1pPr lvl="0" rtl="0">
              <a:spcBef>
                <a:spcPts val="0"/>
              </a:spcBef>
              <a:spcAft>
                <a:spcPts val="0"/>
              </a:spcAft>
              <a:buSzPts val="3000"/>
              <a:buNone/>
              <a:defRPr sz="6000"/>
            </a:lvl1pPr>
            <a:lvl2pPr lvl="1" rtl="0">
              <a:spcBef>
                <a:spcPts val="0"/>
              </a:spcBef>
              <a:spcAft>
                <a:spcPts val="0"/>
              </a:spcAft>
              <a:buSzPts val="3600"/>
              <a:buNone/>
              <a:defRPr sz="7200"/>
            </a:lvl2pPr>
            <a:lvl3pPr lvl="2" rtl="0">
              <a:spcBef>
                <a:spcPts val="0"/>
              </a:spcBef>
              <a:spcAft>
                <a:spcPts val="0"/>
              </a:spcAft>
              <a:buSzPts val="3600"/>
              <a:buNone/>
              <a:defRPr sz="7200"/>
            </a:lvl3pPr>
            <a:lvl4pPr lvl="3" rtl="0">
              <a:spcBef>
                <a:spcPts val="0"/>
              </a:spcBef>
              <a:spcAft>
                <a:spcPts val="0"/>
              </a:spcAft>
              <a:buSzPts val="3600"/>
              <a:buNone/>
              <a:defRPr sz="7200"/>
            </a:lvl4pPr>
            <a:lvl5pPr lvl="4" rtl="0">
              <a:spcBef>
                <a:spcPts val="0"/>
              </a:spcBef>
              <a:spcAft>
                <a:spcPts val="0"/>
              </a:spcAft>
              <a:buSzPts val="3600"/>
              <a:buNone/>
              <a:defRPr sz="7200"/>
            </a:lvl5pPr>
            <a:lvl6pPr lvl="5" rtl="0">
              <a:spcBef>
                <a:spcPts val="0"/>
              </a:spcBef>
              <a:spcAft>
                <a:spcPts val="0"/>
              </a:spcAft>
              <a:buSzPts val="3600"/>
              <a:buNone/>
              <a:defRPr sz="7200"/>
            </a:lvl6pPr>
            <a:lvl7pPr lvl="6" rtl="0">
              <a:spcBef>
                <a:spcPts val="0"/>
              </a:spcBef>
              <a:spcAft>
                <a:spcPts val="0"/>
              </a:spcAft>
              <a:buSzPts val="3600"/>
              <a:buNone/>
              <a:defRPr sz="7200"/>
            </a:lvl7pPr>
            <a:lvl8pPr lvl="7" rtl="0">
              <a:spcBef>
                <a:spcPts val="0"/>
              </a:spcBef>
              <a:spcAft>
                <a:spcPts val="0"/>
              </a:spcAft>
              <a:buSzPts val="3600"/>
              <a:buNone/>
              <a:defRPr sz="7200"/>
            </a:lvl8pPr>
            <a:lvl9pPr lvl="8" rtl="0">
              <a:spcBef>
                <a:spcPts val="0"/>
              </a:spcBef>
              <a:spcAft>
                <a:spcPts val="0"/>
              </a:spcAft>
              <a:buSzPts val="3600"/>
              <a:buNone/>
              <a:defRPr sz="7200"/>
            </a:lvl9pPr>
          </a:lstStyle>
          <a:p>
            <a:endParaRPr/>
          </a:p>
        </p:txBody>
      </p:sp>
      <p:sp>
        <p:nvSpPr>
          <p:cNvPr id="275" name="Google Shape;275;p41"/>
          <p:cNvSpPr txBox="1">
            <a:spLocks noGrp="1"/>
          </p:cNvSpPr>
          <p:nvPr>
            <p:ph type="subTitle" idx="1"/>
          </p:nvPr>
        </p:nvSpPr>
        <p:spPr>
          <a:xfrm>
            <a:off x="10369800" y="6149000"/>
            <a:ext cx="6692400" cy="24702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200"/>
              <a:buNone/>
              <a:defRPr/>
            </a:lvl1pPr>
            <a:lvl2pPr lvl="1" rtl="0">
              <a:lnSpc>
                <a:spcPct val="100000"/>
              </a:lnSpc>
              <a:spcBef>
                <a:spcPts val="0"/>
              </a:spcBef>
              <a:spcAft>
                <a:spcPts val="0"/>
              </a:spcAft>
              <a:buSzPts val="1800"/>
              <a:buNone/>
              <a:defRPr sz="3600"/>
            </a:lvl2pPr>
            <a:lvl3pPr lvl="2" rtl="0">
              <a:lnSpc>
                <a:spcPct val="100000"/>
              </a:lnSpc>
              <a:spcBef>
                <a:spcPts val="0"/>
              </a:spcBef>
              <a:spcAft>
                <a:spcPts val="0"/>
              </a:spcAft>
              <a:buSzPts val="1800"/>
              <a:buNone/>
              <a:defRPr sz="3600"/>
            </a:lvl3pPr>
            <a:lvl4pPr lvl="3" rtl="0">
              <a:lnSpc>
                <a:spcPct val="100000"/>
              </a:lnSpc>
              <a:spcBef>
                <a:spcPts val="0"/>
              </a:spcBef>
              <a:spcAft>
                <a:spcPts val="0"/>
              </a:spcAft>
              <a:buSzPts val="1800"/>
              <a:buNone/>
              <a:defRPr sz="3600"/>
            </a:lvl4pPr>
            <a:lvl5pPr lvl="4" rtl="0">
              <a:lnSpc>
                <a:spcPct val="100000"/>
              </a:lnSpc>
              <a:spcBef>
                <a:spcPts val="0"/>
              </a:spcBef>
              <a:spcAft>
                <a:spcPts val="0"/>
              </a:spcAft>
              <a:buSzPts val="1800"/>
              <a:buNone/>
              <a:defRPr sz="3600"/>
            </a:lvl5pPr>
            <a:lvl6pPr lvl="5" rtl="0">
              <a:lnSpc>
                <a:spcPct val="100000"/>
              </a:lnSpc>
              <a:spcBef>
                <a:spcPts val="0"/>
              </a:spcBef>
              <a:spcAft>
                <a:spcPts val="0"/>
              </a:spcAft>
              <a:buSzPts val="1800"/>
              <a:buNone/>
              <a:defRPr sz="3600"/>
            </a:lvl6pPr>
            <a:lvl7pPr lvl="6" rtl="0">
              <a:lnSpc>
                <a:spcPct val="100000"/>
              </a:lnSpc>
              <a:spcBef>
                <a:spcPts val="0"/>
              </a:spcBef>
              <a:spcAft>
                <a:spcPts val="0"/>
              </a:spcAft>
              <a:buSzPts val="1800"/>
              <a:buNone/>
              <a:defRPr sz="3600"/>
            </a:lvl7pPr>
            <a:lvl8pPr lvl="7" rtl="0">
              <a:lnSpc>
                <a:spcPct val="100000"/>
              </a:lnSpc>
              <a:spcBef>
                <a:spcPts val="0"/>
              </a:spcBef>
              <a:spcAft>
                <a:spcPts val="0"/>
              </a:spcAft>
              <a:buSzPts val="1800"/>
              <a:buNone/>
              <a:defRPr sz="3600"/>
            </a:lvl8pPr>
            <a:lvl9pPr lvl="8" rtl="0">
              <a:lnSpc>
                <a:spcPct val="100000"/>
              </a:lnSpc>
              <a:spcBef>
                <a:spcPts val="0"/>
              </a:spcBef>
              <a:spcAft>
                <a:spcPts val="0"/>
              </a:spcAft>
              <a:buSzPts val="1800"/>
              <a:buNone/>
              <a:defRPr sz="3600"/>
            </a:lvl9pPr>
          </a:lstStyle>
          <a:p>
            <a:endParaRPr/>
          </a:p>
        </p:txBody>
      </p:sp>
      <p:sp>
        <p:nvSpPr>
          <p:cNvPr id="276" name="Google Shape;276;p41"/>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pic>
        <p:nvPicPr>
          <p:cNvPr id="277" name="Google Shape;277;p41"/>
          <p:cNvPicPr preferRelativeResize="0"/>
          <p:nvPr/>
        </p:nvPicPr>
        <p:blipFill>
          <a:blip r:embed="rId3" cstate="email">
            <a:alphaModFix/>
            <a:extLst>
              <a:ext uri="{28A0092B-C50C-407E-A947-70E740481C1C}">
                <a14:useLocalDpi xmlns:a14="http://schemas.microsoft.com/office/drawing/2010/main"/>
              </a:ext>
            </a:extLst>
          </a:blip>
          <a:stretch>
            <a:fillRect/>
          </a:stretch>
        </p:blipFill>
        <p:spPr>
          <a:xfrm>
            <a:off x="16183201" y="-304775"/>
            <a:ext cx="1799998" cy="1799998"/>
          </a:xfrm>
          <a:prstGeom prst="rect">
            <a:avLst/>
          </a:prstGeom>
          <a:noFill/>
          <a:ln>
            <a:noFill/>
          </a:ln>
        </p:spPr>
      </p:pic>
      <p:sp>
        <p:nvSpPr>
          <p:cNvPr id="278" name="Google Shape;278;p41"/>
          <p:cNvSpPr txBox="1">
            <a:spLocks noGrp="1"/>
          </p:cNvSpPr>
          <p:nvPr>
            <p:ph type="subTitle" idx="2"/>
          </p:nvPr>
        </p:nvSpPr>
        <p:spPr>
          <a:xfrm>
            <a:off x="8778900" y="8568450"/>
            <a:ext cx="9263400" cy="15852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9pPr>
          </a:lstStyle>
          <a:p>
            <a:endParaRPr/>
          </a:p>
        </p:txBody>
      </p:sp>
    </p:spTree>
    <p:extLst>
      <p:ext uri="{BB962C8B-B14F-4D97-AF65-F5344CB8AC3E}">
        <p14:creationId xmlns:p14="http://schemas.microsoft.com/office/powerpoint/2010/main" val="401454698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lide de título 1" preserve="1">
  <p:cSld name="Slide de título 1">
    <p:spTree>
      <p:nvGrpSpPr>
        <p:cNvPr id="1" name="Shape 15"/>
        <p:cNvGrpSpPr/>
        <p:nvPr/>
      </p:nvGrpSpPr>
      <p:grpSpPr>
        <a:xfrm>
          <a:off x="0" y="0"/>
          <a:ext cx="0" cy="0"/>
          <a:chOff x="0" y="0"/>
          <a:chExt cx="0" cy="0"/>
        </a:xfrm>
      </p:grpSpPr>
      <p:pic>
        <p:nvPicPr>
          <p:cNvPr id="16" name="Google Shape;16;p3"/>
          <p:cNvPicPr preferRelativeResize="0"/>
          <p:nvPr/>
        </p:nvPicPr>
        <p:blipFill>
          <a:blip r:embed="rId2" cstate="email">
            <a:alphaModFix/>
            <a:extLst>
              <a:ext uri="{28A0092B-C50C-407E-A947-70E740481C1C}">
                <a14:useLocalDpi xmlns:a14="http://schemas.microsoft.com/office/drawing/2010/main"/>
              </a:ext>
            </a:extLst>
          </a:blip>
          <a:stretch>
            <a:fillRect/>
          </a:stretch>
        </p:blipFill>
        <p:spPr>
          <a:xfrm>
            <a:off x="1760300" y="1038050"/>
            <a:ext cx="2668348" cy="2668348"/>
          </a:xfrm>
          <a:prstGeom prst="rect">
            <a:avLst/>
          </a:prstGeom>
          <a:noFill/>
          <a:ln>
            <a:noFill/>
          </a:ln>
        </p:spPr>
      </p:pic>
      <p:sp>
        <p:nvSpPr>
          <p:cNvPr id="17" name="Google Shape;17;p3"/>
          <p:cNvSpPr txBox="1">
            <a:spLocks noGrp="1"/>
          </p:cNvSpPr>
          <p:nvPr>
            <p:ph type="ctrTitle"/>
          </p:nvPr>
        </p:nvSpPr>
        <p:spPr>
          <a:xfrm>
            <a:off x="1705100" y="4202600"/>
            <a:ext cx="12988800" cy="2668200"/>
          </a:xfrm>
          <a:prstGeom prst="rect">
            <a:avLst/>
          </a:prstGeom>
        </p:spPr>
        <p:txBody>
          <a:bodyPr spcFirstLastPara="1" wrap="square" lIns="91425" tIns="91425" rIns="91425" bIns="91425" anchor="t" anchorCtr="0">
            <a:noAutofit/>
          </a:bodyPr>
          <a:lstStyle>
            <a:lvl1pPr lvl="0" rtl="0">
              <a:spcBef>
                <a:spcPts val="0"/>
              </a:spcBef>
              <a:spcAft>
                <a:spcPts val="0"/>
              </a:spcAft>
              <a:buSzPts val="3600"/>
              <a:buFont typeface="Montserrat"/>
              <a:buNone/>
              <a:defRPr sz="7200" b="1">
                <a:latin typeface="Montserrat"/>
                <a:ea typeface="Montserrat"/>
                <a:cs typeface="Montserrat"/>
                <a:sym typeface="Montserrat"/>
              </a:defRPr>
            </a:lvl1pPr>
            <a:lvl2pPr lvl="1" rtl="0">
              <a:spcBef>
                <a:spcPts val="0"/>
              </a:spcBef>
              <a:spcAft>
                <a:spcPts val="0"/>
              </a:spcAft>
              <a:buSzPts val="3600"/>
              <a:buFont typeface="Montserrat"/>
              <a:buNone/>
              <a:defRPr sz="7200" b="1">
                <a:latin typeface="Montserrat"/>
                <a:ea typeface="Montserrat"/>
                <a:cs typeface="Montserrat"/>
                <a:sym typeface="Montserrat"/>
              </a:defRPr>
            </a:lvl2pPr>
            <a:lvl3pPr lvl="2" rtl="0">
              <a:spcBef>
                <a:spcPts val="0"/>
              </a:spcBef>
              <a:spcAft>
                <a:spcPts val="0"/>
              </a:spcAft>
              <a:buSzPts val="3600"/>
              <a:buFont typeface="Montserrat"/>
              <a:buNone/>
              <a:defRPr sz="7200" b="1">
                <a:latin typeface="Montserrat"/>
                <a:ea typeface="Montserrat"/>
                <a:cs typeface="Montserrat"/>
                <a:sym typeface="Montserrat"/>
              </a:defRPr>
            </a:lvl3pPr>
            <a:lvl4pPr lvl="3" rtl="0">
              <a:spcBef>
                <a:spcPts val="0"/>
              </a:spcBef>
              <a:spcAft>
                <a:spcPts val="0"/>
              </a:spcAft>
              <a:buSzPts val="3600"/>
              <a:buFont typeface="Montserrat"/>
              <a:buNone/>
              <a:defRPr sz="7200" b="1">
                <a:latin typeface="Montserrat"/>
                <a:ea typeface="Montserrat"/>
                <a:cs typeface="Montserrat"/>
                <a:sym typeface="Montserrat"/>
              </a:defRPr>
            </a:lvl4pPr>
            <a:lvl5pPr lvl="4" rtl="0">
              <a:spcBef>
                <a:spcPts val="0"/>
              </a:spcBef>
              <a:spcAft>
                <a:spcPts val="0"/>
              </a:spcAft>
              <a:buSzPts val="3600"/>
              <a:buFont typeface="Montserrat"/>
              <a:buNone/>
              <a:defRPr sz="7200" b="1">
                <a:latin typeface="Montserrat"/>
                <a:ea typeface="Montserrat"/>
                <a:cs typeface="Montserrat"/>
                <a:sym typeface="Montserrat"/>
              </a:defRPr>
            </a:lvl5pPr>
            <a:lvl6pPr lvl="5" rtl="0">
              <a:spcBef>
                <a:spcPts val="0"/>
              </a:spcBef>
              <a:spcAft>
                <a:spcPts val="0"/>
              </a:spcAft>
              <a:buSzPts val="3600"/>
              <a:buFont typeface="Montserrat"/>
              <a:buNone/>
              <a:defRPr sz="7200" b="1">
                <a:latin typeface="Montserrat"/>
                <a:ea typeface="Montserrat"/>
                <a:cs typeface="Montserrat"/>
                <a:sym typeface="Montserrat"/>
              </a:defRPr>
            </a:lvl6pPr>
            <a:lvl7pPr lvl="6" rtl="0">
              <a:spcBef>
                <a:spcPts val="0"/>
              </a:spcBef>
              <a:spcAft>
                <a:spcPts val="0"/>
              </a:spcAft>
              <a:buSzPts val="3600"/>
              <a:buFont typeface="Montserrat"/>
              <a:buNone/>
              <a:defRPr sz="7200" b="1">
                <a:latin typeface="Montserrat"/>
                <a:ea typeface="Montserrat"/>
                <a:cs typeface="Montserrat"/>
                <a:sym typeface="Montserrat"/>
              </a:defRPr>
            </a:lvl7pPr>
            <a:lvl8pPr lvl="7" rtl="0">
              <a:spcBef>
                <a:spcPts val="0"/>
              </a:spcBef>
              <a:spcAft>
                <a:spcPts val="0"/>
              </a:spcAft>
              <a:buSzPts val="3600"/>
              <a:buFont typeface="Montserrat"/>
              <a:buNone/>
              <a:defRPr sz="7200" b="1">
                <a:latin typeface="Montserrat"/>
                <a:ea typeface="Montserrat"/>
                <a:cs typeface="Montserrat"/>
                <a:sym typeface="Montserrat"/>
              </a:defRPr>
            </a:lvl8pPr>
            <a:lvl9pPr lvl="8" rtl="0">
              <a:spcBef>
                <a:spcPts val="0"/>
              </a:spcBef>
              <a:spcAft>
                <a:spcPts val="0"/>
              </a:spcAft>
              <a:buSzPts val="3600"/>
              <a:buFont typeface="Montserrat"/>
              <a:buNone/>
              <a:defRPr sz="7200" b="1">
                <a:latin typeface="Montserrat"/>
                <a:ea typeface="Montserrat"/>
                <a:cs typeface="Montserrat"/>
                <a:sym typeface="Montserrat"/>
              </a:defRPr>
            </a:lvl9pPr>
          </a:lstStyle>
          <a:p>
            <a:endParaRPr/>
          </a:p>
        </p:txBody>
      </p:sp>
      <p:sp>
        <p:nvSpPr>
          <p:cNvPr id="18" name="Google Shape;18;p3"/>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sp>
        <p:nvSpPr>
          <p:cNvPr id="19" name="Google Shape;19;p3"/>
          <p:cNvSpPr txBox="1">
            <a:spLocks noGrp="1"/>
          </p:cNvSpPr>
          <p:nvPr>
            <p:ph type="subTitle" idx="1"/>
          </p:nvPr>
        </p:nvSpPr>
        <p:spPr>
          <a:xfrm>
            <a:off x="8719800" y="304800"/>
            <a:ext cx="9263400" cy="15852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9pPr>
          </a:lstStyle>
          <a:p>
            <a:endParaRPr/>
          </a:p>
        </p:txBody>
      </p:sp>
      <p:sp>
        <p:nvSpPr>
          <p:cNvPr id="20" name="Google Shape;20;p3"/>
          <p:cNvSpPr/>
          <p:nvPr/>
        </p:nvSpPr>
        <p:spPr>
          <a:xfrm rot="10800000" flipH="1">
            <a:off x="1945550" y="3041200"/>
            <a:ext cx="16342200" cy="10200"/>
          </a:xfrm>
          <a:prstGeom prst="rect">
            <a:avLst/>
          </a:prstGeom>
          <a:gradFill>
            <a:gsLst>
              <a:gs pos="0">
                <a:srgbClr val="FF2C34"/>
              </a:gs>
              <a:gs pos="100000">
                <a:srgbClr val="6800FF"/>
              </a:gs>
            </a:gsLst>
            <a:lin ang="2698631" scaled="0"/>
          </a:gra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sz="2800"/>
          </a:p>
        </p:txBody>
      </p:sp>
      <p:sp>
        <p:nvSpPr>
          <p:cNvPr id="21" name="Google Shape;21;p3"/>
          <p:cNvSpPr txBox="1">
            <a:spLocks noGrp="1"/>
          </p:cNvSpPr>
          <p:nvPr>
            <p:ph type="body" idx="2"/>
          </p:nvPr>
        </p:nvSpPr>
        <p:spPr>
          <a:xfrm>
            <a:off x="1705100" y="6973200"/>
            <a:ext cx="12133800" cy="1822800"/>
          </a:xfrm>
          <a:prstGeom prst="rect">
            <a:avLst/>
          </a:prstGeom>
        </p:spPr>
        <p:txBody>
          <a:bodyPr spcFirstLastPara="1" wrap="square" lIns="91425" tIns="91425" rIns="91425" bIns="91425" anchor="t" anchorCtr="0">
            <a:noAutofit/>
          </a:bodyPr>
          <a:lstStyle>
            <a:lvl1pPr marL="914400" lvl="0" indent="-609600" rtl="0">
              <a:spcBef>
                <a:spcPts val="0"/>
              </a:spcBef>
              <a:spcAft>
                <a:spcPts val="0"/>
              </a:spcAft>
              <a:buSzPts val="1200"/>
              <a:buChar char="●"/>
              <a:defRPr/>
            </a:lvl1pPr>
            <a:lvl2pPr marL="1828800" lvl="1" indent="-609600" rtl="0">
              <a:spcBef>
                <a:spcPts val="3200"/>
              </a:spcBef>
              <a:spcAft>
                <a:spcPts val="0"/>
              </a:spcAft>
              <a:buSzPts val="1200"/>
              <a:buChar char="○"/>
              <a:defRPr/>
            </a:lvl2pPr>
            <a:lvl3pPr marL="2743200" lvl="2" indent="-609600" rtl="0">
              <a:spcBef>
                <a:spcPts val="3200"/>
              </a:spcBef>
              <a:spcAft>
                <a:spcPts val="0"/>
              </a:spcAft>
              <a:buSzPts val="1200"/>
              <a:buChar char="■"/>
              <a:defRPr/>
            </a:lvl3pPr>
            <a:lvl4pPr marL="3657600" lvl="3" indent="-609600" rtl="0">
              <a:spcBef>
                <a:spcPts val="3200"/>
              </a:spcBef>
              <a:spcAft>
                <a:spcPts val="0"/>
              </a:spcAft>
              <a:buSzPts val="1200"/>
              <a:buChar char="●"/>
              <a:defRPr/>
            </a:lvl4pPr>
            <a:lvl5pPr marL="4572000" lvl="4" indent="-609600" rtl="0">
              <a:spcBef>
                <a:spcPts val="3200"/>
              </a:spcBef>
              <a:spcAft>
                <a:spcPts val="0"/>
              </a:spcAft>
              <a:buSzPts val="1200"/>
              <a:buChar char="○"/>
              <a:defRPr/>
            </a:lvl5pPr>
            <a:lvl6pPr marL="5486400" lvl="5" indent="-609600" rtl="0">
              <a:spcBef>
                <a:spcPts val="3200"/>
              </a:spcBef>
              <a:spcAft>
                <a:spcPts val="0"/>
              </a:spcAft>
              <a:buSzPts val="1200"/>
              <a:buChar char="■"/>
              <a:defRPr/>
            </a:lvl6pPr>
            <a:lvl7pPr marL="6400800" lvl="6" indent="-609600" rtl="0">
              <a:spcBef>
                <a:spcPts val="3200"/>
              </a:spcBef>
              <a:spcAft>
                <a:spcPts val="0"/>
              </a:spcAft>
              <a:buSzPts val="1200"/>
              <a:buChar char="●"/>
              <a:defRPr/>
            </a:lvl7pPr>
            <a:lvl8pPr marL="7315200" lvl="7" indent="-609600" rtl="0">
              <a:spcBef>
                <a:spcPts val="3200"/>
              </a:spcBef>
              <a:spcAft>
                <a:spcPts val="0"/>
              </a:spcAft>
              <a:buSzPts val="1200"/>
              <a:buChar char="○"/>
              <a:defRPr/>
            </a:lvl8pPr>
            <a:lvl9pPr marL="8229600" lvl="8" indent="-609600" rtl="0">
              <a:spcBef>
                <a:spcPts val="3200"/>
              </a:spcBef>
              <a:spcAft>
                <a:spcPts val="3200"/>
              </a:spcAft>
              <a:buSzPts val="1200"/>
              <a:buChar char="■"/>
              <a:defRPr/>
            </a:lvl9pPr>
          </a:lstStyle>
          <a:p>
            <a:endParaRPr/>
          </a:p>
        </p:txBody>
      </p:sp>
    </p:spTree>
    <p:extLst>
      <p:ext uri="{BB962C8B-B14F-4D97-AF65-F5344CB8AC3E}">
        <p14:creationId xmlns:p14="http://schemas.microsoft.com/office/powerpoint/2010/main" val="29887982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ítulo e descrição de seção 2 1" preserve="1">
  <p:cSld name="Título e descrição de seção 2 1">
    <p:spTree>
      <p:nvGrpSpPr>
        <p:cNvPr id="1" name="Shape 279"/>
        <p:cNvGrpSpPr/>
        <p:nvPr/>
      </p:nvGrpSpPr>
      <p:grpSpPr>
        <a:xfrm>
          <a:off x="0" y="0"/>
          <a:ext cx="0" cy="0"/>
          <a:chOff x="0" y="0"/>
          <a:chExt cx="0" cy="0"/>
        </a:xfrm>
      </p:grpSpPr>
      <p:pic>
        <p:nvPicPr>
          <p:cNvPr id="280" name="Google Shape;280;p4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859453" y="0"/>
            <a:ext cx="12467050" cy="10287000"/>
          </a:xfrm>
          <a:prstGeom prst="rect">
            <a:avLst/>
          </a:prstGeom>
          <a:noFill/>
          <a:ln>
            <a:noFill/>
          </a:ln>
        </p:spPr>
      </p:pic>
      <p:sp>
        <p:nvSpPr>
          <p:cNvPr id="281" name="Google Shape;281;p42"/>
          <p:cNvSpPr/>
          <p:nvPr/>
        </p:nvSpPr>
        <p:spPr>
          <a:xfrm>
            <a:off x="4300" y="50"/>
            <a:ext cx="9144000" cy="10287000"/>
          </a:xfrm>
          <a:prstGeom prst="rect">
            <a:avLst/>
          </a:prstGeom>
          <a:gradFill>
            <a:gsLst>
              <a:gs pos="0">
                <a:srgbClr val="FF2C34"/>
              </a:gs>
              <a:gs pos="100000">
                <a:srgbClr val="6800FF"/>
              </a:gs>
            </a:gsLst>
            <a:lin ang="2700006" scaled="0"/>
          </a:gra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sz="2800"/>
          </a:p>
        </p:txBody>
      </p:sp>
      <p:sp>
        <p:nvSpPr>
          <p:cNvPr id="282" name="Google Shape;282;p42"/>
          <p:cNvSpPr txBox="1">
            <a:spLocks noGrp="1"/>
          </p:cNvSpPr>
          <p:nvPr>
            <p:ph type="title"/>
          </p:nvPr>
        </p:nvSpPr>
        <p:spPr>
          <a:xfrm>
            <a:off x="1230100" y="3009200"/>
            <a:ext cx="6692400" cy="2964600"/>
          </a:xfrm>
          <a:prstGeom prst="rect">
            <a:avLst/>
          </a:prstGeom>
        </p:spPr>
        <p:txBody>
          <a:bodyPr spcFirstLastPara="1" wrap="square" lIns="91425" tIns="91425" rIns="91425" bIns="91425" anchor="b" anchorCtr="0">
            <a:noAutofit/>
          </a:bodyPr>
          <a:lstStyle>
            <a:lvl1pPr lvl="0" rtl="0">
              <a:spcBef>
                <a:spcPts val="0"/>
              </a:spcBef>
              <a:spcAft>
                <a:spcPts val="0"/>
              </a:spcAft>
              <a:buSzPts val="3000"/>
              <a:buNone/>
              <a:defRPr sz="6000"/>
            </a:lvl1pPr>
            <a:lvl2pPr lvl="1" rtl="0">
              <a:spcBef>
                <a:spcPts val="0"/>
              </a:spcBef>
              <a:spcAft>
                <a:spcPts val="0"/>
              </a:spcAft>
              <a:buSzPts val="3600"/>
              <a:buNone/>
              <a:defRPr sz="7200"/>
            </a:lvl2pPr>
            <a:lvl3pPr lvl="2" rtl="0">
              <a:spcBef>
                <a:spcPts val="0"/>
              </a:spcBef>
              <a:spcAft>
                <a:spcPts val="0"/>
              </a:spcAft>
              <a:buSzPts val="3600"/>
              <a:buNone/>
              <a:defRPr sz="7200"/>
            </a:lvl3pPr>
            <a:lvl4pPr lvl="3" rtl="0">
              <a:spcBef>
                <a:spcPts val="0"/>
              </a:spcBef>
              <a:spcAft>
                <a:spcPts val="0"/>
              </a:spcAft>
              <a:buSzPts val="3600"/>
              <a:buNone/>
              <a:defRPr sz="7200"/>
            </a:lvl4pPr>
            <a:lvl5pPr lvl="4" rtl="0">
              <a:spcBef>
                <a:spcPts val="0"/>
              </a:spcBef>
              <a:spcAft>
                <a:spcPts val="0"/>
              </a:spcAft>
              <a:buSzPts val="3600"/>
              <a:buNone/>
              <a:defRPr sz="7200"/>
            </a:lvl5pPr>
            <a:lvl6pPr lvl="5" rtl="0">
              <a:spcBef>
                <a:spcPts val="0"/>
              </a:spcBef>
              <a:spcAft>
                <a:spcPts val="0"/>
              </a:spcAft>
              <a:buSzPts val="3600"/>
              <a:buNone/>
              <a:defRPr sz="7200"/>
            </a:lvl6pPr>
            <a:lvl7pPr lvl="6" rtl="0">
              <a:spcBef>
                <a:spcPts val="0"/>
              </a:spcBef>
              <a:spcAft>
                <a:spcPts val="0"/>
              </a:spcAft>
              <a:buSzPts val="3600"/>
              <a:buNone/>
              <a:defRPr sz="7200"/>
            </a:lvl7pPr>
            <a:lvl8pPr lvl="7" rtl="0">
              <a:spcBef>
                <a:spcPts val="0"/>
              </a:spcBef>
              <a:spcAft>
                <a:spcPts val="0"/>
              </a:spcAft>
              <a:buSzPts val="3600"/>
              <a:buNone/>
              <a:defRPr sz="7200"/>
            </a:lvl8pPr>
            <a:lvl9pPr lvl="8" rtl="0">
              <a:spcBef>
                <a:spcPts val="0"/>
              </a:spcBef>
              <a:spcAft>
                <a:spcPts val="0"/>
              </a:spcAft>
              <a:buSzPts val="3600"/>
              <a:buNone/>
              <a:defRPr sz="7200"/>
            </a:lvl9pPr>
          </a:lstStyle>
          <a:p>
            <a:endParaRPr/>
          </a:p>
        </p:txBody>
      </p:sp>
      <p:sp>
        <p:nvSpPr>
          <p:cNvPr id="283" name="Google Shape;283;p42"/>
          <p:cNvSpPr txBox="1">
            <a:spLocks noGrp="1"/>
          </p:cNvSpPr>
          <p:nvPr>
            <p:ph type="subTitle" idx="1"/>
          </p:nvPr>
        </p:nvSpPr>
        <p:spPr>
          <a:xfrm>
            <a:off x="1230100" y="6149000"/>
            <a:ext cx="6692400" cy="24702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200"/>
              <a:buNone/>
              <a:defRPr/>
            </a:lvl1pPr>
            <a:lvl2pPr lvl="1" rtl="0">
              <a:lnSpc>
                <a:spcPct val="100000"/>
              </a:lnSpc>
              <a:spcBef>
                <a:spcPts val="0"/>
              </a:spcBef>
              <a:spcAft>
                <a:spcPts val="0"/>
              </a:spcAft>
              <a:buSzPts val="1800"/>
              <a:buNone/>
              <a:defRPr sz="3600"/>
            </a:lvl2pPr>
            <a:lvl3pPr lvl="2" rtl="0">
              <a:lnSpc>
                <a:spcPct val="100000"/>
              </a:lnSpc>
              <a:spcBef>
                <a:spcPts val="0"/>
              </a:spcBef>
              <a:spcAft>
                <a:spcPts val="0"/>
              </a:spcAft>
              <a:buSzPts val="1800"/>
              <a:buNone/>
              <a:defRPr sz="3600"/>
            </a:lvl3pPr>
            <a:lvl4pPr lvl="3" rtl="0">
              <a:lnSpc>
                <a:spcPct val="100000"/>
              </a:lnSpc>
              <a:spcBef>
                <a:spcPts val="0"/>
              </a:spcBef>
              <a:spcAft>
                <a:spcPts val="0"/>
              </a:spcAft>
              <a:buSzPts val="1800"/>
              <a:buNone/>
              <a:defRPr sz="3600"/>
            </a:lvl4pPr>
            <a:lvl5pPr lvl="4" rtl="0">
              <a:lnSpc>
                <a:spcPct val="100000"/>
              </a:lnSpc>
              <a:spcBef>
                <a:spcPts val="0"/>
              </a:spcBef>
              <a:spcAft>
                <a:spcPts val="0"/>
              </a:spcAft>
              <a:buSzPts val="1800"/>
              <a:buNone/>
              <a:defRPr sz="3600"/>
            </a:lvl5pPr>
            <a:lvl6pPr lvl="5" rtl="0">
              <a:lnSpc>
                <a:spcPct val="100000"/>
              </a:lnSpc>
              <a:spcBef>
                <a:spcPts val="0"/>
              </a:spcBef>
              <a:spcAft>
                <a:spcPts val="0"/>
              </a:spcAft>
              <a:buSzPts val="1800"/>
              <a:buNone/>
              <a:defRPr sz="3600"/>
            </a:lvl6pPr>
            <a:lvl7pPr lvl="6" rtl="0">
              <a:lnSpc>
                <a:spcPct val="100000"/>
              </a:lnSpc>
              <a:spcBef>
                <a:spcPts val="0"/>
              </a:spcBef>
              <a:spcAft>
                <a:spcPts val="0"/>
              </a:spcAft>
              <a:buSzPts val="1800"/>
              <a:buNone/>
              <a:defRPr sz="3600"/>
            </a:lvl7pPr>
            <a:lvl8pPr lvl="7" rtl="0">
              <a:lnSpc>
                <a:spcPct val="100000"/>
              </a:lnSpc>
              <a:spcBef>
                <a:spcPts val="0"/>
              </a:spcBef>
              <a:spcAft>
                <a:spcPts val="0"/>
              </a:spcAft>
              <a:buSzPts val="1800"/>
              <a:buNone/>
              <a:defRPr sz="3600"/>
            </a:lvl8pPr>
            <a:lvl9pPr lvl="8" rtl="0">
              <a:lnSpc>
                <a:spcPct val="100000"/>
              </a:lnSpc>
              <a:spcBef>
                <a:spcPts val="0"/>
              </a:spcBef>
              <a:spcAft>
                <a:spcPts val="0"/>
              </a:spcAft>
              <a:buSzPts val="1800"/>
              <a:buNone/>
              <a:defRPr sz="3600"/>
            </a:lvl9pPr>
          </a:lstStyle>
          <a:p>
            <a:endParaRPr/>
          </a:p>
        </p:txBody>
      </p:sp>
      <p:sp>
        <p:nvSpPr>
          <p:cNvPr id="284" name="Google Shape;284;p42"/>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pic>
        <p:nvPicPr>
          <p:cNvPr id="285" name="Google Shape;285;p42"/>
          <p:cNvPicPr preferRelativeResize="0"/>
          <p:nvPr/>
        </p:nvPicPr>
        <p:blipFill>
          <a:blip r:embed="rId3" cstate="email">
            <a:alphaModFix/>
            <a:extLst>
              <a:ext uri="{28A0092B-C50C-407E-A947-70E740481C1C}">
                <a14:useLocalDpi xmlns:a14="http://schemas.microsoft.com/office/drawing/2010/main"/>
              </a:ext>
            </a:extLst>
          </a:blip>
          <a:stretch>
            <a:fillRect/>
          </a:stretch>
        </p:blipFill>
        <p:spPr>
          <a:xfrm>
            <a:off x="16183201" y="-304775"/>
            <a:ext cx="1799998" cy="1799998"/>
          </a:xfrm>
          <a:prstGeom prst="rect">
            <a:avLst/>
          </a:prstGeom>
          <a:noFill/>
          <a:ln>
            <a:noFill/>
          </a:ln>
        </p:spPr>
      </p:pic>
      <p:sp>
        <p:nvSpPr>
          <p:cNvPr id="286" name="Google Shape;286;p42"/>
          <p:cNvSpPr txBox="1">
            <a:spLocks noGrp="1"/>
          </p:cNvSpPr>
          <p:nvPr>
            <p:ph type="subTitle" idx="2"/>
          </p:nvPr>
        </p:nvSpPr>
        <p:spPr>
          <a:xfrm>
            <a:off x="8778900" y="8568450"/>
            <a:ext cx="9263400" cy="15852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9pPr>
          </a:lstStyle>
          <a:p>
            <a:endParaRPr/>
          </a:p>
        </p:txBody>
      </p:sp>
    </p:spTree>
    <p:extLst>
      <p:ext uri="{BB962C8B-B14F-4D97-AF65-F5344CB8AC3E}">
        <p14:creationId xmlns:p14="http://schemas.microsoft.com/office/powerpoint/2010/main" val="30880510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ítulo e descrição de seção 2 1 1 1" preserve="1">
  <p:cSld name="Título e descrição de seção 2 1 1 1">
    <p:spTree>
      <p:nvGrpSpPr>
        <p:cNvPr id="1" name="Shape 303"/>
        <p:cNvGrpSpPr/>
        <p:nvPr/>
      </p:nvGrpSpPr>
      <p:grpSpPr>
        <a:xfrm>
          <a:off x="0" y="0"/>
          <a:ext cx="0" cy="0"/>
          <a:chOff x="0" y="0"/>
          <a:chExt cx="0" cy="0"/>
        </a:xfrm>
      </p:grpSpPr>
      <p:pic>
        <p:nvPicPr>
          <p:cNvPr id="304" name="Google Shape;304;p4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7753" y="50"/>
            <a:ext cx="13842702" cy="10287000"/>
          </a:xfrm>
          <a:prstGeom prst="rect">
            <a:avLst/>
          </a:prstGeom>
          <a:noFill/>
          <a:ln>
            <a:noFill/>
          </a:ln>
        </p:spPr>
      </p:pic>
      <p:sp>
        <p:nvSpPr>
          <p:cNvPr id="305" name="Google Shape;305;p45"/>
          <p:cNvSpPr/>
          <p:nvPr/>
        </p:nvSpPr>
        <p:spPr>
          <a:xfrm>
            <a:off x="9144000" y="50"/>
            <a:ext cx="9144000" cy="10287000"/>
          </a:xfrm>
          <a:prstGeom prst="rect">
            <a:avLst/>
          </a:prstGeom>
          <a:solidFill>
            <a:srgbClr val="222222"/>
          </a:soli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sz="2800"/>
          </a:p>
        </p:txBody>
      </p:sp>
      <p:sp>
        <p:nvSpPr>
          <p:cNvPr id="306" name="Google Shape;306;p45"/>
          <p:cNvSpPr txBox="1">
            <a:spLocks noGrp="1"/>
          </p:cNvSpPr>
          <p:nvPr>
            <p:ph type="title"/>
          </p:nvPr>
        </p:nvSpPr>
        <p:spPr>
          <a:xfrm>
            <a:off x="10369800" y="3009200"/>
            <a:ext cx="6692400" cy="2964600"/>
          </a:xfrm>
          <a:prstGeom prst="rect">
            <a:avLst/>
          </a:prstGeom>
        </p:spPr>
        <p:txBody>
          <a:bodyPr spcFirstLastPara="1" wrap="square" lIns="91425" tIns="91425" rIns="91425" bIns="91425" anchor="b" anchorCtr="0">
            <a:noAutofit/>
          </a:bodyPr>
          <a:lstStyle>
            <a:lvl1pPr lvl="0" rtl="0">
              <a:spcBef>
                <a:spcPts val="0"/>
              </a:spcBef>
              <a:spcAft>
                <a:spcPts val="0"/>
              </a:spcAft>
              <a:buSzPts val="3000"/>
              <a:buNone/>
              <a:defRPr sz="6000"/>
            </a:lvl1pPr>
            <a:lvl2pPr lvl="1" rtl="0">
              <a:spcBef>
                <a:spcPts val="0"/>
              </a:spcBef>
              <a:spcAft>
                <a:spcPts val="0"/>
              </a:spcAft>
              <a:buSzPts val="3600"/>
              <a:buNone/>
              <a:defRPr sz="7200"/>
            </a:lvl2pPr>
            <a:lvl3pPr lvl="2" rtl="0">
              <a:spcBef>
                <a:spcPts val="0"/>
              </a:spcBef>
              <a:spcAft>
                <a:spcPts val="0"/>
              </a:spcAft>
              <a:buSzPts val="3600"/>
              <a:buNone/>
              <a:defRPr sz="7200"/>
            </a:lvl3pPr>
            <a:lvl4pPr lvl="3" rtl="0">
              <a:spcBef>
                <a:spcPts val="0"/>
              </a:spcBef>
              <a:spcAft>
                <a:spcPts val="0"/>
              </a:spcAft>
              <a:buSzPts val="3600"/>
              <a:buNone/>
              <a:defRPr sz="7200"/>
            </a:lvl4pPr>
            <a:lvl5pPr lvl="4" rtl="0">
              <a:spcBef>
                <a:spcPts val="0"/>
              </a:spcBef>
              <a:spcAft>
                <a:spcPts val="0"/>
              </a:spcAft>
              <a:buSzPts val="3600"/>
              <a:buNone/>
              <a:defRPr sz="7200"/>
            </a:lvl5pPr>
            <a:lvl6pPr lvl="5" rtl="0">
              <a:spcBef>
                <a:spcPts val="0"/>
              </a:spcBef>
              <a:spcAft>
                <a:spcPts val="0"/>
              </a:spcAft>
              <a:buSzPts val="3600"/>
              <a:buNone/>
              <a:defRPr sz="7200"/>
            </a:lvl6pPr>
            <a:lvl7pPr lvl="6" rtl="0">
              <a:spcBef>
                <a:spcPts val="0"/>
              </a:spcBef>
              <a:spcAft>
                <a:spcPts val="0"/>
              </a:spcAft>
              <a:buSzPts val="3600"/>
              <a:buNone/>
              <a:defRPr sz="7200"/>
            </a:lvl7pPr>
            <a:lvl8pPr lvl="7" rtl="0">
              <a:spcBef>
                <a:spcPts val="0"/>
              </a:spcBef>
              <a:spcAft>
                <a:spcPts val="0"/>
              </a:spcAft>
              <a:buSzPts val="3600"/>
              <a:buNone/>
              <a:defRPr sz="7200"/>
            </a:lvl8pPr>
            <a:lvl9pPr lvl="8" rtl="0">
              <a:spcBef>
                <a:spcPts val="0"/>
              </a:spcBef>
              <a:spcAft>
                <a:spcPts val="0"/>
              </a:spcAft>
              <a:buSzPts val="3600"/>
              <a:buNone/>
              <a:defRPr sz="7200"/>
            </a:lvl9pPr>
          </a:lstStyle>
          <a:p>
            <a:endParaRPr/>
          </a:p>
        </p:txBody>
      </p:sp>
      <p:sp>
        <p:nvSpPr>
          <p:cNvPr id="307" name="Google Shape;307;p45"/>
          <p:cNvSpPr txBox="1">
            <a:spLocks noGrp="1"/>
          </p:cNvSpPr>
          <p:nvPr>
            <p:ph type="subTitle" idx="1"/>
          </p:nvPr>
        </p:nvSpPr>
        <p:spPr>
          <a:xfrm>
            <a:off x="10369800" y="6149000"/>
            <a:ext cx="6692400" cy="24702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200"/>
              <a:buNone/>
              <a:defRPr/>
            </a:lvl1pPr>
            <a:lvl2pPr lvl="1" rtl="0">
              <a:lnSpc>
                <a:spcPct val="100000"/>
              </a:lnSpc>
              <a:spcBef>
                <a:spcPts val="0"/>
              </a:spcBef>
              <a:spcAft>
                <a:spcPts val="0"/>
              </a:spcAft>
              <a:buSzPts val="1800"/>
              <a:buNone/>
              <a:defRPr sz="3600"/>
            </a:lvl2pPr>
            <a:lvl3pPr lvl="2" rtl="0">
              <a:lnSpc>
                <a:spcPct val="100000"/>
              </a:lnSpc>
              <a:spcBef>
                <a:spcPts val="0"/>
              </a:spcBef>
              <a:spcAft>
                <a:spcPts val="0"/>
              </a:spcAft>
              <a:buSzPts val="1800"/>
              <a:buNone/>
              <a:defRPr sz="3600"/>
            </a:lvl3pPr>
            <a:lvl4pPr lvl="3" rtl="0">
              <a:lnSpc>
                <a:spcPct val="100000"/>
              </a:lnSpc>
              <a:spcBef>
                <a:spcPts val="0"/>
              </a:spcBef>
              <a:spcAft>
                <a:spcPts val="0"/>
              </a:spcAft>
              <a:buSzPts val="1800"/>
              <a:buNone/>
              <a:defRPr sz="3600"/>
            </a:lvl4pPr>
            <a:lvl5pPr lvl="4" rtl="0">
              <a:lnSpc>
                <a:spcPct val="100000"/>
              </a:lnSpc>
              <a:spcBef>
                <a:spcPts val="0"/>
              </a:spcBef>
              <a:spcAft>
                <a:spcPts val="0"/>
              </a:spcAft>
              <a:buSzPts val="1800"/>
              <a:buNone/>
              <a:defRPr sz="3600"/>
            </a:lvl5pPr>
            <a:lvl6pPr lvl="5" rtl="0">
              <a:lnSpc>
                <a:spcPct val="100000"/>
              </a:lnSpc>
              <a:spcBef>
                <a:spcPts val="0"/>
              </a:spcBef>
              <a:spcAft>
                <a:spcPts val="0"/>
              </a:spcAft>
              <a:buSzPts val="1800"/>
              <a:buNone/>
              <a:defRPr sz="3600"/>
            </a:lvl6pPr>
            <a:lvl7pPr lvl="6" rtl="0">
              <a:lnSpc>
                <a:spcPct val="100000"/>
              </a:lnSpc>
              <a:spcBef>
                <a:spcPts val="0"/>
              </a:spcBef>
              <a:spcAft>
                <a:spcPts val="0"/>
              </a:spcAft>
              <a:buSzPts val="1800"/>
              <a:buNone/>
              <a:defRPr sz="3600"/>
            </a:lvl7pPr>
            <a:lvl8pPr lvl="7" rtl="0">
              <a:lnSpc>
                <a:spcPct val="100000"/>
              </a:lnSpc>
              <a:spcBef>
                <a:spcPts val="0"/>
              </a:spcBef>
              <a:spcAft>
                <a:spcPts val="0"/>
              </a:spcAft>
              <a:buSzPts val="1800"/>
              <a:buNone/>
              <a:defRPr sz="3600"/>
            </a:lvl8pPr>
            <a:lvl9pPr lvl="8" rtl="0">
              <a:lnSpc>
                <a:spcPct val="100000"/>
              </a:lnSpc>
              <a:spcBef>
                <a:spcPts val="0"/>
              </a:spcBef>
              <a:spcAft>
                <a:spcPts val="0"/>
              </a:spcAft>
              <a:buSzPts val="1800"/>
              <a:buNone/>
              <a:defRPr sz="3600"/>
            </a:lvl9pPr>
          </a:lstStyle>
          <a:p>
            <a:endParaRPr/>
          </a:p>
        </p:txBody>
      </p:sp>
      <p:sp>
        <p:nvSpPr>
          <p:cNvPr id="308" name="Google Shape;308;p45"/>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pic>
        <p:nvPicPr>
          <p:cNvPr id="309" name="Google Shape;309;p45"/>
          <p:cNvPicPr preferRelativeResize="0"/>
          <p:nvPr/>
        </p:nvPicPr>
        <p:blipFill>
          <a:blip r:embed="rId3" cstate="email">
            <a:alphaModFix/>
            <a:extLst>
              <a:ext uri="{28A0092B-C50C-407E-A947-70E740481C1C}">
                <a14:useLocalDpi xmlns:a14="http://schemas.microsoft.com/office/drawing/2010/main"/>
              </a:ext>
            </a:extLst>
          </a:blip>
          <a:stretch>
            <a:fillRect/>
          </a:stretch>
        </p:blipFill>
        <p:spPr>
          <a:xfrm>
            <a:off x="16183201" y="-304775"/>
            <a:ext cx="1799998" cy="1799998"/>
          </a:xfrm>
          <a:prstGeom prst="rect">
            <a:avLst/>
          </a:prstGeom>
          <a:noFill/>
          <a:ln>
            <a:noFill/>
          </a:ln>
        </p:spPr>
      </p:pic>
      <p:sp>
        <p:nvSpPr>
          <p:cNvPr id="310" name="Google Shape;310;p45"/>
          <p:cNvSpPr txBox="1">
            <a:spLocks noGrp="1"/>
          </p:cNvSpPr>
          <p:nvPr>
            <p:ph type="subTitle" idx="2"/>
          </p:nvPr>
        </p:nvSpPr>
        <p:spPr>
          <a:xfrm>
            <a:off x="8778900" y="8568450"/>
            <a:ext cx="9263400" cy="15852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9pPr>
          </a:lstStyle>
          <a:p>
            <a:endParaRPr/>
          </a:p>
        </p:txBody>
      </p:sp>
    </p:spTree>
    <p:extLst>
      <p:ext uri="{BB962C8B-B14F-4D97-AF65-F5344CB8AC3E}">
        <p14:creationId xmlns:p14="http://schemas.microsoft.com/office/powerpoint/2010/main" val="8726977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Caption" preserve="1">
  <p:cSld name="Caption">
    <p:spTree>
      <p:nvGrpSpPr>
        <p:cNvPr id="1" name="Shape 318"/>
        <p:cNvGrpSpPr/>
        <p:nvPr/>
      </p:nvGrpSpPr>
      <p:grpSpPr>
        <a:xfrm>
          <a:off x="0" y="0"/>
          <a:ext cx="0" cy="0"/>
          <a:chOff x="0" y="0"/>
          <a:chExt cx="0" cy="0"/>
        </a:xfrm>
      </p:grpSpPr>
      <p:pic>
        <p:nvPicPr>
          <p:cNvPr id="319" name="Google Shape;319;p4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0" y="1"/>
            <a:ext cx="12674904" cy="10287002"/>
          </a:xfrm>
          <a:prstGeom prst="rect">
            <a:avLst/>
          </a:prstGeom>
          <a:noFill/>
          <a:ln>
            <a:noFill/>
          </a:ln>
        </p:spPr>
      </p:pic>
      <p:sp>
        <p:nvSpPr>
          <p:cNvPr id="320" name="Google Shape;320;p47"/>
          <p:cNvSpPr txBox="1">
            <a:spLocks noGrp="1"/>
          </p:cNvSpPr>
          <p:nvPr>
            <p:ph type="body" idx="1"/>
          </p:nvPr>
        </p:nvSpPr>
        <p:spPr>
          <a:xfrm>
            <a:off x="10501650" y="3310800"/>
            <a:ext cx="5604000" cy="2827200"/>
          </a:xfrm>
          <a:prstGeom prst="rect">
            <a:avLst/>
          </a:prstGeom>
        </p:spPr>
        <p:txBody>
          <a:bodyPr spcFirstLastPara="1" wrap="square" lIns="91425" tIns="91425" rIns="91425" bIns="91425" anchor="ctr" anchorCtr="0">
            <a:noAutofit/>
          </a:bodyPr>
          <a:lstStyle>
            <a:lvl1pPr marL="914400" lvl="0" indent="-457200">
              <a:lnSpc>
                <a:spcPct val="100000"/>
              </a:lnSpc>
              <a:spcBef>
                <a:spcPts val="0"/>
              </a:spcBef>
              <a:spcAft>
                <a:spcPts val="0"/>
              </a:spcAft>
              <a:buSzPts val="2400"/>
              <a:buFont typeface="Montserrat"/>
              <a:buNone/>
              <a:defRPr sz="4800" b="1">
                <a:latin typeface="Montserrat"/>
                <a:ea typeface="Montserrat"/>
                <a:cs typeface="Montserrat"/>
                <a:sym typeface="Montserrat"/>
              </a:defRPr>
            </a:lvl1pPr>
          </a:lstStyle>
          <a:p>
            <a:endParaRPr/>
          </a:p>
        </p:txBody>
      </p:sp>
      <p:sp>
        <p:nvSpPr>
          <p:cNvPr id="321" name="Google Shape;321;p47"/>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pt-BR" smtClean="0"/>
              <a:pPr/>
              <a:t>‹nº›</a:t>
            </a:fld>
            <a:endParaRPr lang="pt-BR"/>
          </a:p>
        </p:txBody>
      </p:sp>
      <p:pic>
        <p:nvPicPr>
          <p:cNvPr id="322" name="Google Shape;322;p47"/>
          <p:cNvPicPr preferRelativeResize="0"/>
          <p:nvPr/>
        </p:nvPicPr>
        <p:blipFill>
          <a:blip r:embed="rId3" cstate="email">
            <a:alphaModFix/>
            <a:extLst>
              <a:ext uri="{28A0092B-C50C-407E-A947-70E740481C1C}">
                <a14:useLocalDpi xmlns:a14="http://schemas.microsoft.com/office/drawing/2010/main"/>
              </a:ext>
            </a:extLst>
          </a:blip>
          <a:stretch>
            <a:fillRect/>
          </a:stretch>
        </p:blipFill>
        <p:spPr>
          <a:xfrm>
            <a:off x="16183201" y="-304775"/>
            <a:ext cx="1799998" cy="1799998"/>
          </a:xfrm>
          <a:prstGeom prst="rect">
            <a:avLst/>
          </a:prstGeom>
          <a:noFill/>
          <a:ln>
            <a:noFill/>
          </a:ln>
        </p:spPr>
      </p:pic>
      <p:sp>
        <p:nvSpPr>
          <p:cNvPr id="323" name="Google Shape;323;p47"/>
          <p:cNvSpPr txBox="1">
            <a:spLocks noGrp="1"/>
          </p:cNvSpPr>
          <p:nvPr>
            <p:ph type="subTitle" idx="2"/>
          </p:nvPr>
        </p:nvSpPr>
        <p:spPr>
          <a:xfrm>
            <a:off x="8778900" y="8568450"/>
            <a:ext cx="9263400" cy="15852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9pPr>
          </a:lstStyle>
          <a:p>
            <a:endParaRPr/>
          </a:p>
        </p:txBody>
      </p:sp>
    </p:spTree>
    <p:extLst>
      <p:ext uri="{BB962C8B-B14F-4D97-AF65-F5344CB8AC3E}">
        <p14:creationId xmlns:p14="http://schemas.microsoft.com/office/powerpoint/2010/main" val="27681544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31D787D-3A4B-D70E-3E50-58789746C26A}"/>
              </a:ext>
            </a:extLst>
          </p:cNvPr>
          <p:cNvSpPr>
            <a:spLocks noGrp="1"/>
          </p:cNvSpPr>
          <p:nvPr>
            <p:ph type="title"/>
          </p:nvPr>
        </p:nvSpPr>
        <p:spPr/>
        <p:txBody>
          <a:bodyPr/>
          <a:lstStyle/>
          <a:p>
            <a:r>
              <a:rPr lang="pt-BR"/>
              <a:t>Clique para editar o título Mestre</a:t>
            </a:r>
          </a:p>
        </p:txBody>
      </p:sp>
      <p:sp>
        <p:nvSpPr>
          <p:cNvPr id="3" name="Espaço Reservado para Conteúdo 2">
            <a:extLst>
              <a:ext uri="{FF2B5EF4-FFF2-40B4-BE49-F238E27FC236}">
                <a16:creationId xmlns:a16="http://schemas.microsoft.com/office/drawing/2014/main" id="{1E339A84-ED06-8A10-AF2E-E195B99DCC57}"/>
              </a:ext>
            </a:extLst>
          </p:cNvPr>
          <p:cNvSpPr>
            <a:spLocks noGrp="1"/>
          </p:cNvSpPr>
          <p:nvPr>
            <p:ph sz="half" idx="1"/>
          </p:nvPr>
        </p:nvSpPr>
        <p:spPr>
          <a:xfrm>
            <a:off x="1257300" y="2738438"/>
            <a:ext cx="7772400" cy="6527007"/>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Conteúdo 3">
            <a:extLst>
              <a:ext uri="{FF2B5EF4-FFF2-40B4-BE49-F238E27FC236}">
                <a16:creationId xmlns:a16="http://schemas.microsoft.com/office/drawing/2014/main" id="{9D87F961-DE4A-8DDF-9EE4-0EF67E2392D8}"/>
              </a:ext>
            </a:extLst>
          </p:cNvPr>
          <p:cNvSpPr>
            <a:spLocks noGrp="1"/>
          </p:cNvSpPr>
          <p:nvPr>
            <p:ph sz="half" idx="2"/>
          </p:nvPr>
        </p:nvSpPr>
        <p:spPr>
          <a:xfrm>
            <a:off x="9258300" y="2738438"/>
            <a:ext cx="7772400" cy="6527007"/>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Data 4">
            <a:extLst>
              <a:ext uri="{FF2B5EF4-FFF2-40B4-BE49-F238E27FC236}">
                <a16:creationId xmlns:a16="http://schemas.microsoft.com/office/drawing/2014/main" id="{4D5FE343-A284-1625-E10E-619548BCDF06}"/>
              </a:ext>
            </a:extLst>
          </p:cNvPr>
          <p:cNvSpPr>
            <a:spLocks noGrp="1"/>
          </p:cNvSpPr>
          <p:nvPr>
            <p:ph type="dt" sz="half" idx="10"/>
          </p:nvPr>
        </p:nvSpPr>
        <p:spPr/>
        <p:txBody>
          <a:bodyPr/>
          <a:lstStyle/>
          <a:p>
            <a:fld id="{55E2F128-DD4C-C742-836C-7FAC4EA2671F}" type="datetimeFigureOut">
              <a:rPr lang="pt-BR" smtClean="0"/>
              <a:t>09/05/2025</a:t>
            </a:fld>
            <a:endParaRPr lang="pt-BR"/>
          </a:p>
        </p:txBody>
      </p:sp>
      <p:sp>
        <p:nvSpPr>
          <p:cNvPr id="6" name="Espaço Reservado para Rodapé 5">
            <a:extLst>
              <a:ext uri="{FF2B5EF4-FFF2-40B4-BE49-F238E27FC236}">
                <a16:creationId xmlns:a16="http://schemas.microsoft.com/office/drawing/2014/main" id="{ED9535D3-B984-3497-CB83-E242F934D850}"/>
              </a:ext>
            </a:extLst>
          </p:cNvPr>
          <p:cNvSpPr>
            <a:spLocks noGrp="1"/>
          </p:cNvSpPr>
          <p:nvPr>
            <p:ph type="ftr" sz="quarter" idx="11"/>
          </p:nvPr>
        </p:nvSpPr>
        <p:spPr/>
        <p:txBody>
          <a:bodyPr/>
          <a:lstStyle/>
          <a:p>
            <a:endParaRPr lang="pt-BR"/>
          </a:p>
        </p:txBody>
      </p:sp>
      <p:sp>
        <p:nvSpPr>
          <p:cNvPr id="7" name="Espaço Reservado para Número de Slide 6">
            <a:extLst>
              <a:ext uri="{FF2B5EF4-FFF2-40B4-BE49-F238E27FC236}">
                <a16:creationId xmlns:a16="http://schemas.microsoft.com/office/drawing/2014/main" id="{8E783DD6-2EF7-5BDA-0B4C-F7B96C74DDEC}"/>
              </a:ext>
            </a:extLst>
          </p:cNvPr>
          <p:cNvSpPr>
            <a:spLocks noGrp="1"/>
          </p:cNvSpPr>
          <p:nvPr>
            <p:ph type="sldNum" sz="quarter" idx="12"/>
          </p:nvPr>
        </p:nvSpPr>
        <p:spPr/>
        <p:txBody>
          <a:bodyPr/>
          <a:lstStyle/>
          <a:p>
            <a:pPr marL="0" marR="0" lvl="0" indent="0" algn="r" defTabSz="1828755"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pt-BR" sz="2000" b="0" i="0" u="none" strike="noStrike" kern="0" cap="none" spc="0" normalizeH="0" baseline="0" noProof="0" smtClean="0">
                <a:ln>
                  <a:noFill/>
                </a:ln>
                <a:solidFill>
                  <a:srgbClr val="ADADAD"/>
                </a:solidFill>
                <a:effectLst/>
                <a:uLnTx/>
                <a:uFillTx/>
                <a:latin typeface="Arial"/>
                <a:cs typeface="Arial"/>
                <a:sym typeface="Arial"/>
              </a:rPr>
              <a:pPr marL="0" marR="0" lvl="0" indent="0" algn="r" defTabSz="1828755" rtl="0" eaLnBrk="1" fontAlgn="auto" latinLnBrk="0" hangingPunct="1">
                <a:lnSpc>
                  <a:spcPct val="100000"/>
                </a:lnSpc>
                <a:spcBef>
                  <a:spcPts val="0"/>
                </a:spcBef>
                <a:spcAft>
                  <a:spcPts val="0"/>
                </a:spcAft>
                <a:buClr>
                  <a:srgbClr val="000000"/>
                </a:buClr>
                <a:buSzTx/>
                <a:buFont typeface="Arial"/>
                <a:buNone/>
                <a:tabLst/>
                <a:defRPr/>
              </a:pPr>
              <a:t>‹nº›</a:t>
            </a:fld>
            <a:endParaRPr kumimoji="0" lang="pt-BR" sz="2000" b="0" i="0" u="none" strike="noStrike" kern="0" cap="none" spc="0" normalizeH="0" baseline="0" noProof="0">
              <a:ln>
                <a:noFill/>
              </a:ln>
              <a:solidFill>
                <a:srgbClr val="ADADAD"/>
              </a:solidFill>
              <a:effectLst/>
              <a:uLnTx/>
              <a:uFillTx/>
              <a:latin typeface="Arial"/>
              <a:cs typeface="Arial"/>
              <a:sym typeface="Arial"/>
            </a:endParaRPr>
          </a:p>
        </p:txBody>
      </p:sp>
    </p:spTree>
    <p:extLst>
      <p:ext uri="{BB962C8B-B14F-4D97-AF65-F5344CB8AC3E}">
        <p14:creationId xmlns:p14="http://schemas.microsoft.com/office/powerpoint/2010/main" val="1893856735"/>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type="tx">
  <p:cSld name="1_Section header 1">
    <p:spTree>
      <p:nvGrpSpPr>
        <p:cNvPr id="1" name=""/>
        <p:cNvGrpSpPr/>
        <p:nvPr/>
      </p:nvGrpSpPr>
      <p:grpSpPr>
        <a:xfrm>
          <a:off x="0" y="0"/>
          <a:ext cx="0" cy="0"/>
          <a:chOff x="0" y="0"/>
          <a:chExt cx="0" cy="0"/>
        </a:xfrm>
      </p:grpSpPr>
      <p:sp>
        <p:nvSpPr>
          <p:cNvPr id="117" name="Google Shape;103;p16"/>
          <p:cNvSpPr/>
          <p:nvPr/>
        </p:nvSpPr>
        <p:spPr>
          <a:xfrm>
            <a:off x="17774112" y="3365700"/>
            <a:ext cx="3" cy="486903"/>
          </a:xfrm>
          <a:prstGeom prst="line">
            <a:avLst/>
          </a:prstGeom>
          <a:ln w="12700">
            <a:solidFill>
              <a:srgbClr val="222222"/>
            </a:solidFill>
          </a:ln>
        </p:spPr>
        <p:txBody>
          <a:bodyPr lIns="34289" tIns="34289" rIns="34289" bIns="34289"/>
          <a:lstStyle/>
          <a:p>
            <a:endParaRPr sz="1350"/>
          </a:p>
        </p:txBody>
      </p:sp>
      <p:sp>
        <p:nvSpPr>
          <p:cNvPr id="118" name="Google Shape;104;p16"/>
          <p:cNvSpPr txBox="1"/>
          <p:nvPr/>
        </p:nvSpPr>
        <p:spPr>
          <a:xfrm rot="5400000">
            <a:off x="16947161" y="4454859"/>
            <a:ext cx="1596903" cy="39238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91427" tIns="91427" rIns="91427" bIns="91427">
            <a:spAutoFit/>
          </a:bodyPr>
          <a:lstStyle>
            <a:lvl1pPr defTabSz="1219230">
              <a:defRPr b="1">
                <a:solidFill>
                  <a:srgbClr val="222222"/>
                </a:solidFill>
                <a:latin typeface="Poppins"/>
                <a:ea typeface="Poppins"/>
                <a:cs typeface="Poppins"/>
                <a:sym typeface="Poppins"/>
              </a:defRPr>
            </a:lvl1pPr>
          </a:lstStyle>
          <a:p>
            <a:r>
              <a:rPr sz="1350"/>
              <a:t>qintess.com</a:t>
            </a:r>
          </a:p>
        </p:txBody>
      </p:sp>
      <p:sp>
        <p:nvSpPr>
          <p:cNvPr id="119" name="Google Shape;105;p16"/>
          <p:cNvSpPr/>
          <p:nvPr/>
        </p:nvSpPr>
        <p:spPr>
          <a:xfrm>
            <a:off x="17774112" y="5449500"/>
            <a:ext cx="3" cy="486903"/>
          </a:xfrm>
          <a:prstGeom prst="line">
            <a:avLst/>
          </a:prstGeom>
          <a:ln w="12700">
            <a:solidFill>
              <a:srgbClr val="222222"/>
            </a:solidFill>
          </a:ln>
        </p:spPr>
        <p:txBody>
          <a:bodyPr lIns="34289" tIns="34289" rIns="34289" bIns="34289"/>
          <a:lstStyle/>
          <a:p>
            <a:endParaRPr sz="1350"/>
          </a:p>
        </p:txBody>
      </p:sp>
      <p:pic>
        <p:nvPicPr>
          <p:cNvPr id="120" name="Google Shape;106;p16" descr="Google Shape;106;p16"/>
          <p:cNvPicPr>
            <a:picLocks noChangeAspect="1"/>
          </p:cNvPicPr>
          <p:nvPr/>
        </p:nvPicPr>
        <p:blipFill>
          <a:blip r:embed="rId2"/>
          <a:stretch>
            <a:fillRect/>
          </a:stretch>
        </p:blipFill>
        <p:spPr>
          <a:xfrm>
            <a:off x="17248154" y="487502"/>
            <a:ext cx="525953" cy="636752"/>
          </a:xfrm>
          <a:prstGeom prst="rect">
            <a:avLst/>
          </a:prstGeom>
          <a:ln w="12700">
            <a:miter lim="400000"/>
          </a:ln>
        </p:spPr>
      </p:pic>
      <p:sp>
        <p:nvSpPr>
          <p:cNvPr id="121" name="Número do Slide"/>
          <p:cNvSpPr txBox="1">
            <a:spLocks noGrp="1"/>
          </p:cNvSpPr>
          <p:nvPr>
            <p:ph type="sldNum" sz="quarter" idx="2"/>
          </p:nvPr>
        </p:nvSpPr>
        <p:spPr>
          <a:xfrm>
            <a:off x="17208783" y="9302174"/>
            <a:ext cx="833535" cy="835722"/>
          </a:xfrm>
          <a:prstGeom prst="rect">
            <a:avLst/>
          </a:prstGeom>
        </p:spPr>
        <p:txBody>
          <a:bodyPr lIns="365698" tIns="365698" rIns="365698" bIns="365698" anchor="ctr"/>
          <a:lstStyle>
            <a:lvl1pPr algn="r" defTabSz="914423">
              <a:lnSpc>
                <a:spcPct val="100000"/>
              </a:lnSpc>
              <a:defRPr>
                <a:solidFill>
                  <a:srgbClr val="ADADAD"/>
                </a:solidFill>
                <a:latin typeface="Arial"/>
                <a:ea typeface="Arial"/>
                <a:cs typeface="Arial"/>
                <a:sym typeface="Arial"/>
              </a:defRPr>
            </a:lvl1pPr>
          </a:lstStyle>
          <a:p>
            <a:fld id="{86CB4B4D-7CA3-9044-876B-883B54F8677D}" type="slidenum">
              <a:t>‹nº›</a:t>
            </a:fld>
            <a:endParaRPr/>
          </a:p>
        </p:txBody>
      </p:sp>
    </p:spTree>
    <p:extLst>
      <p:ext uri="{BB962C8B-B14F-4D97-AF65-F5344CB8AC3E}">
        <p14:creationId xmlns:p14="http://schemas.microsoft.com/office/powerpoint/2010/main" val="729599132"/>
      </p:ext>
    </p:extLst>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sp>
        <p:nvSpPr>
          <p:cNvPr id="7" name="Freeform 2" descr="Logotipo  Descrição gerada automaticamente">
            <a:extLst>
              <a:ext uri="{FF2B5EF4-FFF2-40B4-BE49-F238E27FC236}">
                <a16:creationId xmlns:a16="http://schemas.microsoft.com/office/drawing/2014/main" id="{57D85B7F-5791-9823-4ED0-4B3B6E1109DE}"/>
              </a:ext>
            </a:extLst>
          </p:cNvPr>
          <p:cNvSpPr/>
          <p:nvPr userDrawn="1"/>
        </p:nvSpPr>
        <p:spPr>
          <a:xfrm>
            <a:off x="15970369" y="9406294"/>
            <a:ext cx="1454033" cy="367334"/>
          </a:xfrm>
          <a:custGeom>
            <a:avLst/>
            <a:gdLst/>
            <a:ahLst/>
            <a:cxnLst/>
            <a:rect l="l" t="t" r="r" b="b"/>
            <a:pathLst>
              <a:path w="1454032" h="367334">
                <a:moveTo>
                  <a:pt x="0" y="0"/>
                </a:moveTo>
                <a:lnTo>
                  <a:pt x="1454032" y="0"/>
                </a:lnTo>
                <a:lnTo>
                  <a:pt x="1454032" y="367333"/>
                </a:lnTo>
                <a:lnTo>
                  <a:pt x="0" y="367333"/>
                </a:lnTo>
                <a:lnTo>
                  <a:pt x="0" y="0"/>
                </a:lnTo>
                <a:close/>
              </a:path>
            </a:pathLst>
          </a:custGeom>
          <a:blipFill>
            <a:blip r:embed="rId2"/>
            <a:stretch>
              <a:fillRect t="-41" b="-41"/>
            </a:stretch>
          </a:blipFill>
        </p:spPr>
        <p:txBody>
          <a:bodyPr/>
          <a:lstStyle/>
          <a:p>
            <a:endParaRPr lang="es-CO" sz="1800"/>
          </a:p>
        </p:txBody>
      </p:sp>
      <p:sp>
        <p:nvSpPr>
          <p:cNvPr id="8" name="TextBox 4">
            <a:extLst>
              <a:ext uri="{FF2B5EF4-FFF2-40B4-BE49-F238E27FC236}">
                <a16:creationId xmlns:a16="http://schemas.microsoft.com/office/drawing/2014/main" id="{C120D704-ABA4-FA16-5584-65076D7AE508}"/>
              </a:ext>
            </a:extLst>
          </p:cNvPr>
          <p:cNvSpPr txBox="1"/>
          <p:nvPr userDrawn="1"/>
        </p:nvSpPr>
        <p:spPr>
          <a:xfrm>
            <a:off x="719138" y="9348789"/>
            <a:ext cx="3255318" cy="336054"/>
          </a:xfrm>
          <a:prstGeom prst="rect">
            <a:avLst/>
          </a:prstGeom>
        </p:spPr>
        <p:txBody>
          <a:bodyPr wrap="square" lIns="0" tIns="0" rIns="0" bIns="0" rtlCol="0" anchor="t">
            <a:spAutoFit/>
          </a:bodyPr>
          <a:lstStyle/>
          <a:p>
            <a:pPr>
              <a:lnSpc>
                <a:spcPts val="2940"/>
              </a:lnSpc>
            </a:pPr>
            <a:r>
              <a:rPr lang="en-US" sz="1500">
                <a:solidFill>
                  <a:srgbClr val="575758"/>
                </a:solidFill>
                <a:latin typeface="Montserrat"/>
                <a:ea typeface="Montserrat"/>
                <a:cs typeface="Montserrat"/>
                <a:sym typeface="Montserrat"/>
              </a:rPr>
              <a:t>accelerate your essence</a:t>
            </a:r>
          </a:p>
        </p:txBody>
      </p:sp>
    </p:spTree>
    <p:extLst>
      <p:ext uri="{BB962C8B-B14F-4D97-AF65-F5344CB8AC3E}">
        <p14:creationId xmlns:p14="http://schemas.microsoft.com/office/powerpoint/2010/main" val="10607247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B0DF5D0F-9045-7576-0011-3657DDE95703}"/>
              </a:ext>
            </a:extLst>
          </p:cNvPr>
          <p:cNvSpPr>
            <a:spLocks noGrp="1"/>
          </p:cNvSpPr>
          <p:nvPr>
            <p:ph type="dt" sz="half" idx="10"/>
          </p:nvPr>
        </p:nvSpPr>
        <p:spPr/>
        <p:txBody>
          <a:bodyPr/>
          <a:lstStyle/>
          <a:p>
            <a:fld id="{F39D4BE8-A4A1-425F-B911-16DDC6424C3D}" type="datetimeFigureOut">
              <a:rPr lang="es-CO" smtClean="0"/>
              <a:t>9/05/2025</a:t>
            </a:fld>
            <a:endParaRPr lang="es-CO"/>
          </a:p>
        </p:txBody>
      </p:sp>
      <p:sp>
        <p:nvSpPr>
          <p:cNvPr id="3" name="Marcador de pie de página 2">
            <a:extLst>
              <a:ext uri="{FF2B5EF4-FFF2-40B4-BE49-F238E27FC236}">
                <a16:creationId xmlns:a16="http://schemas.microsoft.com/office/drawing/2014/main" id="{B9ABA8FC-0BEF-FCCF-CFBA-A5553E079D6B}"/>
              </a:ext>
            </a:extLst>
          </p:cNvPr>
          <p:cNvSpPr>
            <a:spLocks noGrp="1"/>
          </p:cNvSpPr>
          <p:nvPr>
            <p:ph type="ftr" sz="quarter" idx="11"/>
          </p:nvPr>
        </p:nvSpPr>
        <p:spPr/>
        <p:txBody>
          <a:bodyPr/>
          <a:lstStyle/>
          <a:p>
            <a:endParaRPr lang="es-CO"/>
          </a:p>
        </p:txBody>
      </p:sp>
      <p:sp>
        <p:nvSpPr>
          <p:cNvPr id="4" name="Marcador de número de diapositiva 3">
            <a:extLst>
              <a:ext uri="{FF2B5EF4-FFF2-40B4-BE49-F238E27FC236}">
                <a16:creationId xmlns:a16="http://schemas.microsoft.com/office/drawing/2014/main" id="{F47D4B5F-F6D8-C5CF-DFC0-BAD802D11840}"/>
              </a:ext>
            </a:extLst>
          </p:cNvPr>
          <p:cNvSpPr>
            <a:spLocks noGrp="1"/>
          </p:cNvSpPr>
          <p:nvPr>
            <p:ph type="sldNum" sz="quarter" idx="12"/>
          </p:nvPr>
        </p:nvSpPr>
        <p:spPr/>
        <p:txBody>
          <a:bodyPr/>
          <a:lstStyle/>
          <a:p>
            <a:fld id="{D7E0FEFA-04F8-4452-B097-0036845AD409}" type="slidenum">
              <a:rPr lang="es-CO" smtClean="0"/>
              <a:t>‹nº›</a:t>
            </a:fld>
            <a:endParaRPr lang="es-CO"/>
          </a:p>
        </p:txBody>
      </p:sp>
    </p:spTree>
    <p:extLst>
      <p:ext uri="{BB962C8B-B14F-4D97-AF65-F5344CB8AC3E}">
        <p14:creationId xmlns:p14="http://schemas.microsoft.com/office/powerpoint/2010/main" val="50701016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ítulo e corpo 1">
  <p:cSld name="Título e corpo 1">
    <p:bg>
      <p:bgPr>
        <a:solidFill>
          <a:srgbClr val="FFFFFF"/>
        </a:solidFill>
        <a:effectLst/>
      </p:bgPr>
    </p:bg>
    <p:spTree>
      <p:nvGrpSpPr>
        <p:cNvPr id="1" name="Shape 85"/>
        <p:cNvGrpSpPr/>
        <p:nvPr/>
      </p:nvGrpSpPr>
      <p:grpSpPr>
        <a:xfrm>
          <a:off x="0" y="0"/>
          <a:ext cx="0" cy="0"/>
          <a:chOff x="0" y="0"/>
          <a:chExt cx="0" cy="0"/>
        </a:xfrm>
      </p:grpSpPr>
      <p:sp>
        <p:nvSpPr>
          <p:cNvPr id="86" name="Google Shape;86;p12"/>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sp>
        <p:nvSpPr>
          <p:cNvPr id="87" name="Google Shape;87;p12"/>
          <p:cNvSpPr txBox="1">
            <a:spLocks noGrp="1"/>
          </p:cNvSpPr>
          <p:nvPr>
            <p:ph type="title"/>
          </p:nvPr>
        </p:nvSpPr>
        <p:spPr>
          <a:xfrm>
            <a:off x="1080600" y="1042450"/>
            <a:ext cx="10216200" cy="11454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222222"/>
              </a:buClr>
              <a:buSzPts val="2000"/>
              <a:buNone/>
              <a:defRPr sz="4000">
                <a:solidFill>
                  <a:srgbClr val="222222"/>
                </a:solidFill>
              </a:defRPr>
            </a:lvl1pPr>
            <a:lvl2pPr lvl="1" rtl="0">
              <a:spcBef>
                <a:spcPts val="0"/>
              </a:spcBef>
              <a:spcAft>
                <a:spcPts val="0"/>
              </a:spcAft>
              <a:buClr>
                <a:srgbClr val="222222"/>
              </a:buClr>
              <a:buSzPts val="2000"/>
              <a:buNone/>
              <a:defRPr>
                <a:solidFill>
                  <a:srgbClr val="222222"/>
                </a:solidFill>
              </a:defRPr>
            </a:lvl2pPr>
            <a:lvl3pPr lvl="2" rtl="0">
              <a:spcBef>
                <a:spcPts val="0"/>
              </a:spcBef>
              <a:spcAft>
                <a:spcPts val="0"/>
              </a:spcAft>
              <a:buClr>
                <a:srgbClr val="222222"/>
              </a:buClr>
              <a:buSzPts val="2000"/>
              <a:buNone/>
              <a:defRPr>
                <a:solidFill>
                  <a:srgbClr val="222222"/>
                </a:solidFill>
              </a:defRPr>
            </a:lvl3pPr>
            <a:lvl4pPr lvl="3" rtl="0">
              <a:spcBef>
                <a:spcPts val="0"/>
              </a:spcBef>
              <a:spcAft>
                <a:spcPts val="0"/>
              </a:spcAft>
              <a:buClr>
                <a:srgbClr val="222222"/>
              </a:buClr>
              <a:buSzPts val="2000"/>
              <a:buNone/>
              <a:defRPr>
                <a:solidFill>
                  <a:srgbClr val="222222"/>
                </a:solidFill>
              </a:defRPr>
            </a:lvl4pPr>
            <a:lvl5pPr lvl="4" rtl="0">
              <a:spcBef>
                <a:spcPts val="0"/>
              </a:spcBef>
              <a:spcAft>
                <a:spcPts val="0"/>
              </a:spcAft>
              <a:buClr>
                <a:srgbClr val="222222"/>
              </a:buClr>
              <a:buSzPts val="2000"/>
              <a:buNone/>
              <a:defRPr>
                <a:solidFill>
                  <a:srgbClr val="222222"/>
                </a:solidFill>
              </a:defRPr>
            </a:lvl5pPr>
            <a:lvl6pPr lvl="5" rtl="0">
              <a:spcBef>
                <a:spcPts val="0"/>
              </a:spcBef>
              <a:spcAft>
                <a:spcPts val="0"/>
              </a:spcAft>
              <a:buClr>
                <a:srgbClr val="222222"/>
              </a:buClr>
              <a:buSzPts val="2000"/>
              <a:buNone/>
              <a:defRPr>
                <a:solidFill>
                  <a:srgbClr val="222222"/>
                </a:solidFill>
              </a:defRPr>
            </a:lvl6pPr>
            <a:lvl7pPr lvl="6" rtl="0">
              <a:spcBef>
                <a:spcPts val="0"/>
              </a:spcBef>
              <a:spcAft>
                <a:spcPts val="0"/>
              </a:spcAft>
              <a:buClr>
                <a:srgbClr val="222222"/>
              </a:buClr>
              <a:buSzPts val="2000"/>
              <a:buNone/>
              <a:defRPr>
                <a:solidFill>
                  <a:srgbClr val="222222"/>
                </a:solidFill>
              </a:defRPr>
            </a:lvl7pPr>
            <a:lvl8pPr lvl="7" rtl="0">
              <a:spcBef>
                <a:spcPts val="0"/>
              </a:spcBef>
              <a:spcAft>
                <a:spcPts val="0"/>
              </a:spcAft>
              <a:buClr>
                <a:srgbClr val="222222"/>
              </a:buClr>
              <a:buSzPts val="2000"/>
              <a:buNone/>
              <a:defRPr>
                <a:solidFill>
                  <a:srgbClr val="222222"/>
                </a:solidFill>
              </a:defRPr>
            </a:lvl8pPr>
            <a:lvl9pPr lvl="8" rtl="0">
              <a:spcBef>
                <a:spcPts val="0"/>
              </a:spcBef>
              <a:spcAft>
                <a:spcPts val="0"/>
              </a:spcAft>
              <a:buClr>
                <a:srgbClr val="222222"/>
              </a:buClr>
              <a:buSzPts val="2000"/>
              <a:buNone/>
              <a:defRPr>
                <a:solidFill>
                  <a:srgbClr val="222222"/>
                </a:solidFill>
              </a:defRPr>
            </a:lvl9pPr>
          </a:lstStyle>
          <a:p>
            <a:endParaRPr/>
          </a:p>
        </p:txBody>
      </p:sp>
      <p:sp>
        <p:nvSpPr>
          <p:cNvPr id="88" name="Google Shape;88;p12"/>
          <p:cNvSpPr txBox="1">
            <a:spLocks noGrp="1"/>
          </p:cNvSpPr>
          <p:nvPr>
            <p:ph type="body" idx="1"/>
          </p:nvPr>
        </p:nvSpPr>
        <p:spPr>
          <a:xfrm>
            <a:off x="1080600" y="3130350"/>
            <a:ext cx="12462600" cy="5891400"/>
          </a:xfrm>
          <a:prstGeom prst="rect">
            <a:avLst/>
          </a:prstGeom>
        </p:spPr>
        <p:txBody>
          <a:bodyPr spcFirstLastPara="1" wrap="square" lIns="91425" tIns="91425" rIns="91425" bIns="91425" anchor="t" anchorCtr="0">
            <a:noAutofit/>
          </a:bodyPr>
          <a:lstStyle>
            <a:lvl1pPr marL="914424" lvl="0" indent="-609616" rtl="0">
              <a:spcBef>
                <a:spcPts val="0"/>
              </a:spcBef>
              <a:spcAft>
                <a:spcPts val="0"/>
              </a:spcAft>
              <a:buClr>
                <a:srgbClr val="222222"/>
              </a:buClr>
              <a:buSzPts val="1200"/>
              <a:buChar char="●"/>
              <a:defRPr sz="2400">
                <a:solidFill>
                  <a:srgbClr val="222222"/>
                </a:solidFill>
              </a:defRPr>
            </a:lvl1pPr>
            <a:lvl2pPr marL="1828848" lvl="1" indent="-609616" rtl="0">
              <a:spcBef>
                <a:spcPts val="3200"/>
              </a:spcBef>
              <a:spcAft>
                <a:spcPts val="0"/>
              </a:spcAft>
              <a:buClr>
                <a:srgbClr val="222222"/>
              </a:buClr>
              <a:buSzPts val="1200"/>
              <a:buChar char="○"/>
              <a:defRPr sz="2400">
                <a:solidFill>
                  <a:srgbClr val="222222"/>
                </a:solidFill>
              </a:defRPr>
            </a:lvl2pPr>
            <a:lvl3pPr marL="2743270" lvl="2" indent="-584216" rtl="0">
              <a:spcBef>
                <a:spcPts val="3200"/>
              </a:spcBef>
              <a:spcAft>
                <a:spcPts val="0"/>
              </a:spcAft>
              <a:buClr>
                <a:srgbClr val="222222"/>
              </a:buClr>
              <a:buSzPts val="1000"/>
              <a:buChar char="■"/>
              <a:defRPr sz="2000">
                <a:solidFill>
                  <a:srgbClr val="222222"/>
                </a:solidFill>
              </a:defRPr>
            </a:lvl3pPr>
            <a:lvl4pPr marL="3657692" lvl="3" indent="-584216" rtl="0">
              <a:spcBef>
                <a:spcPts val="3200"/>
              </a:spcBef>
              <a:spcAft>
                <a:spcPts val="0"/>
              </a:spcAft>
              <a:buClr>
                <a:srgbClr val="222222"/>
              </a:buClr>
              <a:buSzPts val="1000"/>
              <a:buChar char="●"/>
              <a:defRPr sz="2000">
                <a:solidFill>
                  <a:srgbClr val="222222"/>
                </a:solidFill>
              </a:defRPr>
            </a:lvl4pPr>
            <a:lvl5pPr marL="4572114" lvl="4" indent="-558814" rtl="0">
              <a:spcBef>
                <a:spcPts val="3200"/>
              </a:spcBef>
              <a:spcAft>
                <a:spcPts val="0"/>
              </a:spcAft>
              <a:buClr>
                <a:srgbClr val="222222"/>
              </a:buClr>
              <a:buSzPts val="800"/>
              <a:buChar char="○"/>
              <a:defRPr sz="1600">
                <a:solidFill>
                  <a:srgbClr val="222222"/>
                </a:solidFill>
              </a:defRPr>
            </a:lvl5pPr>
            <a:lvl6pPr marL="5486538" lvl="5" indent="-558814" rtl="0">
              <a:spcBef>
                <a:spcPts val="3200"/>
              </a:spcBef>
              <a:spcAft>
                <a:spcPts val="0"/>
              </a:spcAft>
              <a:buClr>
                <a:srgbClr val="222222"/>
              </a:buClr>
              <a:buSzPts val="800"/>
              <a:buChar char="■"/>
              <a:defRPr sz="1600">
                <a:solidFill>
                  <a:srgbClr val="222222"/>
                </a:solidFill>
              </a:defRPr>
            </a:lvl6pPr>
            <a:lvl7pPr marL="6400960" lvl="6" indent="-609616" rtl="0">
              <a:spcBef>
                <a:spcPts val="3200"/>
              </a:spcBef>
              <a:spcAft>
                <a:spcPts val="0"/>
              </a:spcAft>
              <a:buClr>
                <a:srgbClr val="222222"/>
              </a:buClr>
              <a:buSzPts val="1200"/>
              <a:buChar char="●"/>
              <a:defRPr>
                <a:solidFill>
                  <a:srgbClr val="222222"/>
                </a:solidFill>
              </a:defRPr>
            </a:lvl7pPr>
            <a:lvl8pPr marL="7315384" lvl="7" indent="-609616" rtl="0">
              <a:spcBef>
                <a:spcPts val="3200"/>
              </a:spcBef>
              <a:spcAft>
                <a:spcPts val="0"/>
              </a:spcAft>
              <a:buClr>
                <a:srgbClr val="222222"/>
              </a:buClr>
              <a:buSzPts val="1200"/>
              <a:buChar char="○"/>
              <a:defRPr>
                <a:solidFill>
                  <a:srgbClr val="222222"/>
                </a:solidFill>
              </a:defRPr>
            </a:lvl8pPr>
            <a:lvl9pPr marL="8229806" lvl="8" indent="-609616" rtl="0">
              <a:spcBef>
                <a:spcPts val="3200"/>
              </a:spcBef>
              <a:spcAft>
                <a:spcPts val="3200"/>
              </a:spcAft>
              <a:buClr>
                <a:srgbClr val="222222"/>
              </a:buClr>
              <a:buSzPts val="1200"/>
              <a:buChar char="■"/>
              <a:defRPr>
                <a:solidFill>
                  <a:srgbClr val="222222"/>
                </a:solidFill>
              </a:defRPr>
            </a:lvl9pPr>
          </a:lstStyle>
          <a:p>
            <a:endParaRPr/>
          </a:p>
        </p:txBody>
      </p:sp>
      <p:pic>
        <p:nvPicPr>
          <p:cNvPr id="3" name="Google Shape;158;p24">
            <a:extLst>
              <a:ext uri="{FF2B5EF4-FFF2-40B4-BE49-F238E27FC236}">
                <a16:creationId xmlns:a16="http://schemas.microsoft.com/office/drawing/2014/main" id="{EBF80A60-B414-4471-85E8-CCDBCA93F985}"/>
              </a:ext>
            </a:extLst>
          </p:cNvPr>
          <p:cNvPicPr preferRelativeResize="0"/>
          <p:nvPr userDrawn="1"/>
        </p:nvPicPr>
        <p:blipFill>
          <a:blip r:embed="rId2" cstate="email">
            <a:alphaModFix/>
            <a:extLst>
              <a:ext uri="{28A0092B-C50C-407E-A947-70E740481C1C}">
                <a14:useLocalDpi xmlns:a14="http://schemas.microsoft.com/office/drawing/2010/main"/>
              </a:ext>
            </a:extLst>
          </a:blip>
          <a:stretch>
            <a:fillRect/>
          </a:stretch>
        </p:blipFill>
        <p:spPr>
          <a:xfrm>
            <a:off x="15420683" y="16301"/>
            <a:ext cx="2710170" cy="1900670"/>
          </a:xfrm>
          <a:prstGeom prst="rect">
            <a:avLst/>
          </a:prstGeom>
          <a:noFill/>
          <a:ln>
            <a:noFill/>
          </a:ln>
        </p:spPr>
      </p:pic>
    </p:spTree>
    <p:extLst>
      <p:ext uri="{BB962C8B-B14F-4D97-AF65-F5344CB8AC3E}">
        <p14:creationId xmlns:p14="http://schemas.microsoft.com/office/powerpoint/2010/main" val="184443419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Conteúdo com Legenda">
  <p:cSld name="Conteúdo com Legenda">
    <p:spTree>
      <p:nvGrpSpPr>
        <p:cNvPr id="1" name="Shape 8"/>
        <p:cNvGrpSpPr/>
        <p:nvPr/>
      </p:nvGrpSpPr>
      <p:grpSpPr>
        <a:xfrm>
          <a:off x="0" y="0"/>
          <a:ext cx="0" cy="0"/>
          <a:chOff x="0" y="0"/>
          <a:chExt cx="0" cy="0"/>
        </a:xfrm>
      </p:grpSpPr>
    </p:spTree>
    <p:extLst>
      <p:ext uri="{BB962C8B-B14F-4D97-AF65-F5344CB8AC3E}">
        <p14:creationId xmlns:p14="http://schemas.microsoft.com/office/powerpoint/2010/main" val="169925201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Título e corpo 3 1">
  <p:cSld name="1_Título e corpo 3 1">
    <p:bg>
      <p:bgPr>
        <a:solidFill>
          <a:srgbClr val="FFFFFF"/>
        </a:solidFill>
        <a:effectLst/>
      </p:bgPr>
    </p:bg>
    <p:spTree>
      <p:nvGrpSpPr>
        <p:cNvPr id="1" name="Shape 68"/>
        <p:cNvGrpSpPr/>
        <p:nvPr/>
      </p:nvGrpSpPr>
      <p:grpSpPr>
        <a:xfrm>
          <a:off x="0" y="0"/>
          <a:ext cx="0" cy="0"/>
          <a:chOff x="0" y="0"/>
          <a:chExt cx="0" cy="0"/>
        </a:xfrm>
      </p:grpSpPr>
      <p:sp>
        <p:nvSpPr>
          <p:cNvPr id="69" name="Google Shape;69;p11"/>
          <p:cNvSpPr txBox="1">
            <a:spLocks noGrp="1"/>
          </p:cNvSpPr>
          <p:nvPr>
            <p:ph type="title"/>
          </p:nvPr>
        </p:nvSpPr>
        <p:spPr>
          <a:xfrm>
            <a:off x="1080600" y="1042450"/>
            <a:ext cx="10216200" cy="11454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222222"/>
              </a:buClr>
              <a:buSzPts val="2000"/>
              <a:buNone/>
              <a:defRPr sz="4000">
                <a:solidFill>
                  <a:srgbClr val="222222"/>
                </a:solidFill>
              </a:defRPr>
            </a:lvl1pPr>
            <a:lvl2pPr lvl="1" rtl="0">
              <a:spcBef>
                <a:spcPts val="0"/>
              </a:spcBef>
              <a:spcAft>
                <a:spcPts val="0"/>
              </a:spcAft>
              <a:buClr>
                <a:srgbClr val="222222"/>
              </a:buClr>
              <a:buSzPts val="2000"/>
              <a:buNone/>
              <a:defRPr>
                <a:solidFill>
                  <a:srgbClr val="222222"/>
                </a:solidFill>
              </a:defRPr>
            </a:lvl2pPr>
            <a:lvl3pPr lvl="2" rtl="0">
              <a:spcBef>
                <a:spcPts val="0"/>
              </a:spcBef>
              <a:spcAft>
                <a:spcPts val="0"/>
              </a:spcAft>
              <a:buClr>
                <a:srgbClr val="222222"/>
              </a:buClr>
              <a:buSzPts val="2000"/>
              <a:buNone/>
              <a:defRPr>
                <a:solidFill>
                  <a:srgbClr val="222222"/>
                </a:solidFill>
              </a:defRPr>
            </a:lvl3pPr>
            <a:lvl4pPr lvl="3" rtl="0">
              <a:spcBef>
                <a:spcPts val="0"/>
              </a:spcBef>
              <a:spcAft>
                <a:spcPts val="0"/>
              </a:spcAft>
              <a:buClr>
                <a:srgbClr val="222222"/>
              </a:buClr>
              <a:buSzPts val="2000"/>
              <a:buNone/>
              <a:defRPr>
                <a:solidFill>
                  <a:srgbClr val="222222"/>
                </a:solidFill>
              </a:defRPr>
            </a:lvl4pPr>
            <a:lvl5pPr lvl="4" rtl="0">
              <a:spcBef>
                <a:spcPts val="0"/>
              </a:spcBef>
              <a:spcAft>
                <a:spcPts val="0"/>
              </a:spcAft>
              <a:buClr>
                <a:srgbClr val="222222"/>
              </a:buClr>
              <a:buSzPts val="2000"/>
              <a:buNone/>
              <a:defRPr>
                <a:solidFill>
                  <a:srgbClr val="222222"/>
                </a:solidFill>
              </a:defRPr>
            </a:lvl5pPr>
            <a:lvl6pPr lvl="5" rtl="0">
              <a:spcBef>
                <a:spcPts val="0"/>
              </a:spcBef>
              <a:spcAft>
                <a:spcPts val="0"/>
              </a:spcAft>
              <a:buClr>
                <a:srgbClr val="222222"/>
              </a:buClr>
              <a:buSzPts val="2000"/>
              <a:buNone/>
              <a:defRPr>
                <a:solidFill>
                  <a:srgbClr val="222222"/>
                </a:solidFill>
              </a:defRPr>
            </a:lvl6pPr>
            <a:lvl7pPr lvl="6" rtl="0">
              <a:spcBef>
                <a:spcPts val="0"/>
              </a:spcBef>
              <a:spcAft>
                <a:spcPts val="0"/>
              </a:spcAft>
              <a:buClr>
                <a:srgbClr val="222222"/>
              </a:buClr>
              <a:buSzPts val="2000"/>
              <a:buNone/>
              <a:defRPr>
                <a:solidFill>
                  <a:srgbClr val="222222"/>
                </a:solidFill>
              </a:defRPr>
            </a:lvl7pPr>
            <a:lvl8pPr lvl="7" rtl="0">
              <a:spcBef>
                <a:spcPts val="0"/>
              </a:spcBef>
              <a:spcAft>
                <a:spcPts val="0"/>
              </a:spcAft>
              <a:buClr>
                <a:srgbClr val="222222"/>
              </a:buClr>
              <a:buSzPts val="2000"/>
              <a:buNone/>
              <a:defRPr>
                <a:solidFill>
                  <a:srgbClr val="222222"/>
                </a:solidFill>
              </a:defRPr>
            </a:lvl8pPr>
            <a:lvl9pPr lvl="8" rtl="0">
              <a:spcBef>
                <a:spcPts val="0"/>
              </a:spcBef>
              <a:spcAft>
                <a:spcPts val="0"/>
              </a:spcAft>
              <a:buClr>
                <a:srgbClr val="222222"/>
              </a:buClr>
              <a:buSzPts val="2000"/>
              <a:buNone/>
              <a:defRPr>
                <a:solidFill>
                  <a:srgbClr val="222222"/>
                </a:solidFill>
              </a:defRPr>
            </a:lvl9pPr>
          </a:lstStyle>
          <a:p>
            <a:endParaRPr/>
          </a:p>
        </p:txBody>
      </p:sp>
      <p:sp>
        <p:nvSpPr>
          <p:cNvPr id="70" name="Google Shape;70;p11"/>
          <p:cNvSpPr txBox="1">
            <a:spLocks noGrp="1"/>
          </p:cNvSpPr>
          <p:nvPr>
            <p:ph type="body" idx="1"/>
          </p:nvPr>
        </p:nvSpPr>
        <p:spPr>
          <a:xfrm>
            <a:off x="1080600" y="3130350"/>
            <a:ext cx="12462600" cy="5891400"/>
          </a:xfrm>
          <a:prstGeom prst="rect">
            <a:avLst/>
          </a:prstGeom>
        </p:spPr>
        <p:txBody>
          <a:bodyPr spcFirstLastPara="1" wrap="square" lIns="91425" tIns="91425" rIns="91425" bIns="91425" anchor="t" anchorCtr="0">
            <a:noAutofit/>
          </a:bodyPr>
          <a:lstStyle>
            <a:lvl1pPr marL="914400" lvl="0" indent="-609600" rtl="0">
              <a:spcBef>
                <a:spcPts val="0"/>
              </a:spcBef>
              <a:spcAft>
                <a:spcPts val="0"/>
              </a:spcAft>
              <a:buClr>
                <a:srgbClr val="222222"/>
              </a:buClr>
              <a:buSzPts val="1200"/>
              <a:buChar char="●"/>
              <a:defRPr sz="2400">
                <a:solidFill>
                  <a:srgbClr val="222222"/>
                </a:solidFill>
              </a:defRPr>
            </a:lvl1pPr>
            <a:lvl2pPr marL="1828800" lvl="1" indent="-609600" rtl="0">
              <a:spcBef>
                <a:spcPts val="3200"/>
              </a:spcBef>
              <a:spcAft>
                <a:spcPts val="0"/>
              </a:spcAft>
              <a:buClr>
                <a:srgbClr val="222222"/>
              </a:buClr>
              <a:buSzPts val="1200"/>
              <a:buChar char="○"/>
              <a:defRPr sz="2400">
                <a:solidFill>
                  <a:srgbClr val="222222"/>
                </a:solidFill>
              </a:defRPr>
            </a:lvl2pPr>
            <a:lvl3pPr marL="2743200" lvl="2" indent="-584200" rtl="0">
              <a:spcBef>
                <a:spcPts val="3200"/>
              </a:spcBef>
              <a:spcAft>
                <a:spcPts val="0"/>
              </a:spcAft>
              <a:buClr>
                <a:srgbClr val="222222"/>
              </a:buClr>
              <a:buSzPts val="1000"/>
              <a:buChar char="■"/>
              <a:defRPr sz="2000">
                <a:solidFill>
                  <a:srgbClr val="222222"/>
                </a:solidFill>
              </a:defRPr>
            </a:lvl3pPr>
            <a:lvl4pPr marL="3657600" lvl="3" indent="-584200" rtl="0">
              <a:spcBef>
                <a:spcPts val="3200"/>
              </a:spcBef>
              <a:spcAft>
                <a:spcPts val="0"/>
              </a:spcAft>
              <a:buClr>
                <a:srgbClr val="222222"/>
              </a:buClr>
              <a:buSzPts val="1000"/>
              <a:buChar char="●"/>
              <a:defRPr sz="2000">
                <a:solidFill>
                  <a:srgbClr val="222222"/>
                </a:solidFill>
              </a:defRPr>
            </a:lvl4pPr>
            <a:lvl5pPr marL="4572000" lvl="4" indent="-558800" rtl="0">
              <a:spcBef>
                <a:spcPts val="3200"/>
              </a:spcBef>
              <a:spcAft>
                <a:spcPts val="0"/>
              </a:spcAft>
              <a:buClr>
                <a:srgbClr val="222222"/>
              </a:buClr>
              <a:buSzPts val="800"/>
              <a:buChar char="○"/>
              <a:defRPr sz="1600">
                <a:solidFill>
                  <a:srgbClr val="222222"/>
                </a:solidFill>
              </a:defRPr>
            </a:lvl5pPr>
            <a:lvl6pPr marL="5486400" lvl="5" indent="-558800" rtl="0">
              <a:spcBef>
                <a:spcPts val="3200"/>
              </a:spcBef>
              <a:spcAft>
                <a:spcPts val="0"/>
              </a:spcAft>
              <a:buClr>
                <a:srgbClr val="222222"/>
              </a:buClr>
              <a:buSzPts val="800"/>
              <a:buChar char="■"/>
              <a:defRPr sz="1600">
                <a:solidFill>
                  <a:srgbClr val="222222"/>
                </a:solidFill>
              </a:defRPr>
            </a:lvl6pPr>
            <a:lvl7pPr marL="6400800" lvl="6" indent="-609600" rtl="0">
              <a:spcBef>
                <a:spcPts val="3200"/>
              </a:spcBef>
              <a:spcAft>
                <a:spcPts val="0"/>
              </a:spcAft>
              <a:buClr>
                <a:srgbClr val="222222"/>
              </a:buClr>
              <a:buSzPts val="1200"/>
              <a:buChar char="●"/>
              <a:defRPr>
                <a:solidFill>
                  <a:srgbClr val="222222"/>
                </a:solidFill>
              </a:defRPr>
            </a:lvl7pPr>
            <a:lvl8pPr marL="7315200" lvl="7" indent="-609600" rtl="0">
              <a:spcBef>
                <a:spcPts val="3200"/>
              </a:spcBef>
              <a:spcAft>
                <a:spcPts val="0"/>
              </a:spcAft>
              <a:buClr>
                <a:srgbClr val="222222"/>
              </a:buClr>
              <a:buSzPts val="1200"/>
              <a:buChar char="○"/>
              <a:defRPr>
                <a:solidFill>
                  <a:srgbClr val="222222"/>
                </a:solidFill>
              </a:defRPr>
            </a:lvl8pPr>
            <a:lvl9pPr marL="8229600" lvl="8" indent="-609600" rtl="0">
              <a:spcBef>
                <a:spcPts val="3200"/>
              </a:spcBef>
              <a:spcAft>
                <a:spcPts val="3200"/>
              </a:spcAft>
              <a:buClr>
                <a:srgbClr val="222222"/>
              </a:buClr>
              <a:buSzPts val="1200"/>
              <a:buChar char="■"/>
              <a:defRPr>
                <a:solidFill>
                  <a:srgbClr val="222222"/>
                </a:solidFill>
              </a:defRPr>
            </a:lvl9pPr>
          </a:lstStyle>
          <a:p>
            <a:endParaRPr/>
          </a:p>
        </p:txBody>
      </p:sp>
      <p:sp>
        <p:nvSpPr>
          <p:cNvPr id="71" name="Google Shape;71;p11"/>
          <p:cNvSpPr txBox="1">
            <a:spLocks noGrp="1"/>
          </p:cNvSpPr>
          <p:nvPr>
            <p:ph type="sldNum" idx="12"/>
          </p:nvPr>
        </p:nvSpPr>
        <p:spPr>
          <a:xfrm>
            <a:off x="149576" y="9326434"/>
            <a:ext cx="931024"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sp>
        <p:nvSpPr>
          <p:cNvPr id="73" name="Google Shape;73;p11"/>
          <p:cNvSpPr txBox="1">
            <a:spLocks noGrp="1"/>
          </p:cNvSpPr>
          <p:nvPr>
            <p:ph type="subTitle" idx="2"/>
          </p:nvPr>
        </p:nvSpPr>
        <p:spPr>
          <a:xfrm>
            <a:off x="8731280" y="8568450"/>
            <a:ext cx="9263400" cy="15852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9pPr>
          </a:lstStyle>
          <a:p>
            <a:endParaRPr/>
          </a:p>
        </p:txBody>
      </p:sp>
    </p:spTree>
    <p:extLst>
      <p:ext uri="{BB962C8B-B14F-4D97-AF65-F5344CB8AC3E}">
        <p14:creationId xmlns:p14="http://schemas.microsoft.com/office/powerpoint/2010/main" val="19858782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Slide de título 1 2" preserve="1">
  <p:cSld name="Slide de título 1 2">
    <p:spTree>
      <p:nvGrpSpPr>
        <p:cNvPr id="1" name="Shape 22"/>
        <p:cNvGrpSpPr/>
        <p:nvPr/>
      </p:nvGrpSpPr>
      <p:grpSpPr>
        <a:xfrm>
          <a:off x="0" y="0"/>
          <a:ext cx="0" cy="0"/>
          <a:chOff x="0" y="0"/>
          <a:chExt cx="0" cy="0"/>
        </a:xfrm>
      </p:grpSpPr>
      <p:pic>
        <p:nvPicPr>
          <p:cNvPr id="23" name="Google Shape;23;p4"/>
          <p:cNvPicPr preferRelativeResize="0"/>
          <p:nvPr/>
        </p:nvPicPr>
        <p:blipFill>
          <a:blip r:embed="rId2" cstate="email">
            <a:alphaModFix/>
            <a:extLst>
              <a:ext uri="{28A0092B-C50C-407E-A947-70E740481C1C}">
                <a14:useLocalDpi xmlns:a14="http://schemas.microsoft.com/office/drawing/2010/main"/>
              </a:ext>
            </a:extLst>
          </a:blip>
          <a:stretch>
            <a:fillRect/>
          </a:stretch>
        </p:blipFill>
        <p:spPr>
          <a:xfrm>
            <a:off x="1760300" y="1038050"/>
            <a:ext cx="2668348" cy="2668348"/>
          </a:xfrm>
          <a:prstGeom prst="rect">
            <a:avLst/>
          </a:prstGeom>
          <a:noFill/>
          <a:ln>
            <a:noFill/>
          </a:ln>
        </p:spPr>
      </p:pic>
      <p:sp>
        <p:nvSpPr>
          <p:cNvPr id="24" name="Google Shape;24;p4"/>
          <p:cNvSpPr txBox="1">
            <a:spLocks noGrp="1"/>
          </p:cNvSpPr>
          <p:nvPr>
            <p:ph type="ctrTitle"/>
          </p:nvPr>
        </p:nvSpPr>
        <p:spPr>
          <a:xfrm>
            <a:off x="1705100" y="4202600"/>
            <a:ext cx="12988800" cy="2668200"/>
          </a:xfrm>
          <a:prstGeom prst="rect">
            <a:avLst/>
          </a:prstGeom>
        </p:spPr>
        <p:txBody>
          <a:bodyPr spcFirstLastPara="1" wrap="square" lIns="91425" tIns="91425" rIns="91425" bIns="91425" anchor="t" anchorCtr="0">
            <a:noAutofit/>
          </a:bodyPr>
          <a:lstStyle>
            <a:lvl1pPr lvl="0" rtl="0">
              <a:spcBef>
                <a:spcPts val="0"/>
              </a:spcBef>
              <a:spcAft>
                <a:spcPts val="0"/>
              </a:spcAft>
              <a:buSzPts val="3600"/>
              <a:buFont typeface="Montserrat"/>
              <a:buNone/>
              <a:defRPr sz="7200" b="1">
                <a:latin typeface="Montserrat"/>
                <a:ea typeface="Montserrat"/>
                <a:cs typeface="Montserrat"/>
                <a:sym typeface="Montserrat"/>
              </a:defRPr>
            </a:lvl1pPr>
            <a:lvl2pPr lvl="1" rtl="0">
              <a:spcBef>
                <a:spcPts val="0"/>
              </a:spcBef>
              <a:spcAft>
                <a:spcPts val="0"/>
              </a:spcAft>
              <a:buSzPts val="3600"/>
              <a:buFont typeface="Montserrat"/>
              <a:buNone/>
              <a:defRPr sz="7200" b="1">
                <a:latin typeface="Montserrat"/>
                <a:ea typeface="Montserrat"/>
                <a:cs typeface="Montserrat"/>
                <a:sym typeface="Montserrat"/>
              </a:defRPr>
            </a:lvl2pPr>
            <a:lvl3pPr lvl="2" rtl="0">
              <a:spcBef>
                <a:spcPts val="0"/>
              </a:spcBef>
              <a:spcAft>
                <a:spcPts val="0"/>
              </a:spcAft>
              <a:buSzPts val="3600"/>
              <a:buFont typeface="Montserrat"/>
              <a:buNone/>
              <a:defRPr sz="7200" b="1">
                <a:latin typeface="Montserrat"/>
                <a:ea typeface="Montserrat"/>
                <a:cs typeface="Montserrat"/>
                <a:sym typeface="Montserrat"/>
              </a:defRPr>
            </a:lvl3pPr>
            <a:lvl4pPr lvl="3" rtl="0">
              <a:spcBef>
                <a:spcPts val="0"/>
              </a:spcBef>
              <a:spcAft>
                <a:spcPts val="0"/>
              </a:spcAft>
              <a:buSzPts val="3600"/>
              <a:buFont typeface="Montserrat"/>
              <a:buNone/>
              <a:defRPr sz="7200" b="1">
                <a:latin typeface="Montserrat"/>
                <a:ea typeface="Montserrat"/>
                <a:cs typeface="Montserrat"/>
                <a:sym typeface="Montserrat"/>
              </a:defRPr>
            </a:lvl4pPr>
            <a:lvl5pPr lvl="4" rtl="0">
              <a:spcBef>
                <a:spcPts val="0"/>
              </a:spcBef>
              <a:spcAft>
                <a:spcPts val="0"/>
              </a:spcAft>
              <a:buSzPts val="3600"/>
              <a:buFont typeface="Montserrat"/>
              <a:buNone/>
              <a:defRPr sz="7200" b="1">
                <a:latin typeface="Montserrat"/>
                <a:ea typeface="Montserrat"/>
                <a:cs typeface="Montserrat"/>
                <a:sym typeface="Montserrat"/>
              </a:defRPr>
            </a:lvl5pPr>
            <a:lvl6pPr lvl="5" rtl="0">
              <a:spcBef>
                <a:spcPts val="0"/>
              </a:spcBef>
              <a:spcAft>
                <a:spcPts val="0"/>
              </a:spcAft>
              <a:buSzPts val="3600"/>
              <a:buFont typeface="Montserrat"/>
              <a:buNone/>
              <a:defRPr sz="7200" b="1">
                <a:latin typeface="Montserrat"/>
                <a:ea typeface="Montserrat"/>
                <a:cs typeface="Montserrat"/>
                <a:sym typeface="Montserrat"/>
              </a:defRPr>
            </a:lvl6pPr>
            <a:lvl7pPr lvl="6" rtl="0">
              <a:spcBef>
                <a:spcPts val="0"/>
              </a:spcBef>
              <a:spcAft>
                <a:spcPts val="0"/>
              </a:spcAft>
              <a:buSzPts val="3600"/>
              <a:buFont typeface="Montserrat"/>
              <a:buNone/>
              <a:defRPr sz="7200" b="1">
                <a:latin typeface="Montserrat"/>
                <a:ea typeface="Montserrat"/>
                <a:cs typeface="Montserrat"/>
                <a:sym typeface="Montserrat"/>
              </a:defRPr>
            </a:lvl7pPr>
            <a:lvl8pPr lvl="7" rtl="0">
              <a:spcBef>
                <a:spcPts val="0"/>
              </a:spcBef>
              <a:spcAft>
                <a:spcPts val="0"/>
              </a:spcAft>
              <a:buSzPts val="3600"/>
              <a:buFont typeface="Montserrat"/>
              <a:buNone/>
              <a:defRPr sz="7200" b="1">
                <a:latin typeface="Montserrat"/>
                <a:ea typeface="Montserrat"/>
                <a:cs typeface="Montserrat"/>
                <a:sym typeface="Montserrat"/>
              </a:defRPr>
            </a:lvl8pPr>
            <a:lvl9pPr lvl="8" rtl="0">
              <a:spcBef>
                <a:spcPts val="0"/>
              </a:spcBef>
              <a:spcAft>
                <a:spcPts val="0"/>
              </a:spcAft>
              <a:buSzPts val="3600"/>
              <a:buFont typeface="Montserrat"/>
              <a:buNone/>
              <a:defRPr sz="7200" b="1">
                <a:latin typeface="Montserrat"/>
                <a:ea typeface="Montserrat"/>
                <a:cs typeface="Montserrat"/>
                <a:sym typeface="Montserrat"/>
              </a:defRPr>
            </a:lvl9pPr>
          </a:lstStyle>
          <a:p>
            <a:endParaRPr/>
          </a:p>
        </p:txBody>
      </p:sp>
      <p:sp>
        <p:nvSpPr>
          <p:cNvPr id="25" name="Google Shape;25;p4"/>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sp>
        <p:nvSpPr>
          <p:cNvPr id="26" name="Google Shape;26;p4"/>
          <p:cNvSpPr txBox="1">
            <a:spLocks noGrp="1"/>
          </p:cNvSpPr>
          <p:nvPr>
            <p:ph type="subTitle" idx="1"/>
          </p:nvPr>
        </p:nvSpPr>
        <p:spPr>
          <a:xfrm>
            <a:off x="8719800" y="304800"/>
            <a:ext cx="9263400" cy="15852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9pPr>
          </a:lstStyle>
          <a:p>
            <a:endParaRPr/>
          </a:p>
        </p:txBody>
      </p:sp>
      <p:sp>
        <p:nvSpPr>
          <p:cNvPr id="27" name="Google Shape;27;p4"/>
          <p:cNvSpPr/>
          <p:nvPr/>
        </p:nvSpPr>
        <p:spPr>
          <a:xfrm rot="10800000" flipH="1">
            <a:off x="1945550" y="3041200"/>
            <a:ext cx="16342200" cy="10200"/>
          </a:xfrm>
          <a:prstGeom prst="rect">
            <a:avLst/>
          </a:prstGeom>
          <a:gradFill>
            <a:gsLst>
              <a:gs pos="0">
                <a:srgbClr val="FF2C34"/>
              </a:gs>
              <a:gs pos="100000">
                <a:srgbClr val="6800FF"/>
              </a:gs>
            </a:gsLst>
            <a:lin ang="2698631" scaled="0"/>
          </a:gra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sz="2800"/>
          </a:p>
        </p:txBody>
      </p:sp>
      <p:sp>
        <p:nvSpPr>
          <p:cNvPr id="28" name="Google Shape;28;p4"/>
          <p:cNvSpPr txBox="1">
            <a:spLocks noGrp="1"/>
          </p:cNvSpPr>
          <p:nvPr>
            <p:ph type="body" idx="2"/>
          </p:nvPr>
        </p:nvSpPr>
        <p:spPr>
          <a:xfrm>
            <a:off x="1705100" y="6973200"/>
            <a:ext cx="12133800" cy="1822800"/>
          </a:xfrm>
          <a:prstGeom prst="rect">
            <a:avLst/>
          </a:prstGeom>
        </p:spPr>
        <p:txBody>
          <a:bodyPr spcFirstLastPara="1" wrap="square" lIns="91425" tIns="91425" rIns="91425" bIns="91425" anchor="t" anchorCtr="0">
            <a:noAutofit/>
          </a:bodyPr>
          <a:lstStyle>
            <a:lvl1pPr marL="914400" lvl="0" indent="-609600" rtl="0">
              <a:spcBef>
                <a:spcPts val="0"/>
              </a:spcBef>
              <a:spcAft>
                <a:spcPts val="0"/>
              </a:spcAft>
              <a:buSzPts val="1200"/>
              <a:buChar char="●"/>
              <a:defRPr/>
            </a:lvl1pPr>
            <a:lvl2pPr marL="1828800" lvl="1" indent="-609600" rtl="0">
              <a:spcBef>
                <a:spcPts val="3200"/>
              </a:spcBef>
              <a:spcAft>
                <a:spcPts val="0"/>
              </a:spcAft>
              <a:buSzPts val="1200"/>
              <a:buChar char="○"/>
              <a:defRPr/>
            </a:lvl2pPr>
            <a:lvl3pPr marL="2743200" lvl="2" indent="-609600" rtl="0">
              <a:spcBef>
                <a:spcPts val="3200"/>
              </a:spcBef>
              <a:spcAft>
                <a:spcPts val="0"/>
              </a:spcAft>
              <a:buSzPts val="1200"/>
              <a:buChar char="■"/>
              <a:defRPr/>
            </a:lvl3pPr>
            <a:lvl4pPr marL="3657600" lvl="3" indent="-609600" rtl="0">
              <a:spcBef>
                <a:spcPts val="3200"/>
              </a:spcBef>
              <a:spcAft>
                <a:spcPts val="0"/>
              </a:spcAft>
              <a:buSzPts val="1200"/>
              <a:buChar char="●"/>
              <a:defRPr/>
            </a:lvl4pPr>
            <a:lvl5pPr marL="4572000" lvl="4" indent="-609600" rtl="0">
              <a:spcBef>
                <a:spcPts val="3200"/>
              </a:spcBef>
              <a:spcAft>
                <a:spcPts val="0"/>
              </a:spcAft>
              <a:buSzPts val="1200"/>
              <a:buChar char="○"/>
              <a:defRPr/>
            </a:lvl5pPr>
            <a:lvl6pPr marL="5486400" lvl="5" indent="-609600" rtl="0">
              <a:spcBef>
                <a:spcPts val="3200"/>
              </a:spcBef>
              <a:spcAft>
                <a:spcPts val="0"/>
              </a:spcAft>
              <a:buSzPts val="1200"/>
              <a:buChar char="■"/>
              <a:defRPr/>
            </a:lvl6pPr>
            <a:lvl7pPr marL="6400800" lvl="6" indent="-609600" rtl="0">
              <a:spcBef>
                <a:spcPts val="3200"/>
              </a:spcBef>
              <a:spcAft>
                <a:spcPts val="0"/>
              </a:spcAft>
              <a:buSzPts val="1200"/>
              <a:buChar char="●"/>
              <a:defRPr/>
            </a:lvl7pPr>
            <a:lvl8pPr marL="7315200" lvl="7" indent="-609600" rtl="0">
              <a:spcBef>
                <a:spcPts val="3200"/>
              </a:spcBef>
              <a:spcAft>
                <a:spcPts val="0"/>
              </a:spcAft>
              <a:buSzPts val="1200"/>
              <a:buChar char="○"/>
              <a:defRPr/>
            </a:lvl8pPr>
            <a:lvl9pPr marL="8229600" lvl="8" indent="-609600" rtl="0">
              <a:spcBef>
                <a:spcPts val="3200"/>
              </a:spcBef>
              <a:spcAft>
                <a:spcPts val="3200"/>
              </a:spcAft>
              <a:buSzPts val="1200"/>
              <a:buChar char="■"/>
              <a:defRPr/>
            </a:lvl9pPr>
          </a:lstStyle>
          <a:p>
            <a:endParaRPr/>
          </a:p>
        </p:txBody>
      </p:sp>
    </p:spTree>
    <p:extLst>
      <p:ext uri="{BB962C8B-B14F-4D97-AF65-F5344CB8AC3E}">
        <p14:creationId xmlns:p14="http://schemas.microsoft.com/office/powerpoint/2010/main" val="6207998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335"/>
        <p:cNvGrpSpPr/>
        <p:nvPr/>
      </p:nvGrpSpPr>
      <p:grpSpPr>
        <a:xfrm>
          <a:off x="0" y="0"/>
          <a:ext cx="0" cy="0"/>
          <a:chOff x="0" y="0"/>
          <a:chExt cx="0" cy="0"/>
        </a:xfrm>
      </p:grpSpPr>
      <p:pic>
        <p:nvPicPr>
          <p:cNvPr id="336" name="Google Shape;336;p50"/>
          <p:cNvPicPr preferRelativeResize="0"/>
          <p:nvPr/>
        </p:nvPicPr>
        <p:blipFill>
          <a:blip r:embed="rId2" cstate="email">
            <a:alphaModFix/>
            <a:extLst>
              <a:ext uri="{28A0092B-C50C-407E-A947-70E740481C1C}">
                <a14:useLocalDpi xmlns:a14="http://schemas.microsoft.com/office/drawing/2010/main"/>
              </a:ext>
            </a:extLst>
          </a:blip>
          <a:stretch>
            <a:fillRect/>
          </a:stretch>
        </p:blipFill>
        <p:spPr>
          <a:xfrm rot="10800000">
            <a:off x="375057" y="590553"/>
            <a:ext cx="10661894" cy="9129298"/>
          </a:xfrm>
          <a:prstGeom prst="rect">
            <a:avLst/>
          </a:prstGeom>
          <a:noFill/>
          <a:ln>
            <a:noFill/>
          </a:ln>
        </p:spPr>
      </p:pic>
      <p:pic>
        <p:nvPicPr>
          <p:cNvPr id="337" name="Google Shape;337;p50"/>
          <p:cNvPicPr preferRelativeResize="0"/>
          <p:nvPr/>
        </p:nvPicPr>
        <p:blipFill>
          <a:blip r:embed="rId3" cstate="email">
            <a:alphaModFix/>
            <a:extLst>
              <a:ext uri="{28A0092B-C50C-407E-A947-70E740481C1C}">
                <a14:useLocalDpi xmlns:a14="http://schemas.microsoft.com/office/drawing/2010/main"/>
              </a:ext>
            </a:extLst>
          </a:blip>
          <a:stretch>
            <a:fillRect/>
          </a:stretch>
        </p:blipFill>
        <p:spPr>
          <a:xfrm>
            <a:off x="14097000" y="7010400"/>
            <a:ext cx="3219452" cy="3219452"/>
          </a:xfrm>
          <a:prstGeom prst="rect">
            <a:avLst/>
          </a:prstGeom>
          <a:noFill/>
          <a:ln>
            <a:noFill/>
          </a:ln>
        </p:spPr>
      </p:pic>
      <p:sp>
        <p:nvSpPr>
          <p:cNvPr id="338" name="Google Shape;338;p50"/>
          <p:cNvSpPr txBox="1">
            <a:spLocks noGrp="1"/>
          </p:cNvSpPr>
          <p:nvPr>
            <p:ph type="ctrTitle"/>
          </p:nvPr>
        </p:nvSpPr>
        <p:spPr>
          <a:xfrm>
            <a:off x="4833610" y="2166100"/>
            <a:ext cx="9263400" cy="4105200"/>
          </a:xfrm>
          <a:prstGeom prst="rect">
            <a:avLst/>
          </a:prstGeom>
        </p:spPr>
        <p:txBody>
          <a:bodyPr spcFirstLastPara="1" wrap="square" lIns="91425" tIns="91425" rIns="91425" bIns="91425" anchor="b" anchorCtr="0">
            <a:noAutofit/>
          </a:bodyPr>
          <a:lstStyle>
            <a:lvl1pPr lvl="0" rtl="0">
              <a:spcBef>
                <a:spcPts val="0"/>
              </a:spcBef>
              <a:spcAft>
                <a:spcPts val="0"/>
              </a:spcAft>
              <a:buSzPts val="3600"/>
              <a:buFont typeface="Montserrat"/>
              <a:buNone/>
              <a:defRPr sz="7200" b="1">
                <a:latin typeface="Montserrat"/>
                <a:ea typeface="Montserrat"/>
                <a:cs typeface="Montserrat"/>
                <a:sym typeface="Montserrat"/>
              </a:defRPr>
            </a:lvl1pPr>
            <a:lvl2pPr lvl="1" rtl="0">
              <a:spcBef>
                <a:spcPts val="0"/>
              </a:spcBef>
              <a:spcAft>
                <a:spcPts val="0"/>
              </a:spcAft>
              <a:buSzPts val="3600"/>
              <a:buFont typeface="Montserrat"/>
              <a:buNone/>
              <a:defRPr sz="7200" b="1">
                <a:latin typeface="Montserrat"/>
                <a:ea typeface="Montserrat"/>
                <a:cs typeface="Montserrat"/>
                <a:sym typeface="Montserrat"/>
              </a:defRPr>
            </a:lvl2pPr>
            <a:lvl3pPr lvl="2" rtl="0">
              <a:spcBef>
                <a:spcPts val="0"/>
              </a:spcBef>
              <a:spcAft>
                <a:spcPts val="0"/>
              </a:spcAft>
              <a:buSzPts val="3600"/>
              <a:buFont typeface="Montserrat"/>
              <a:buNone/>
              <a:defRPr sz="7200" b="1">
                <a:latin typeface="Montserrat"/>
                <a:ea typeface="Montserrat"/>
                <a:cs typeface="Montserrat"/>
                <a:sym typeface="Montserrat"/>
              </a:defRPr>
            </a:lvl3pPr>
            <a:lvl4pPr lvl="3" rtl="0">
              <a:spcBef>
                <a:spcPts val="0"/>
              </a:spcBef>
              <a:spcAft>
                <a:spcPts val="0"/>
              </a:spcAft>
              <a:buSzPts val="3600"/>
              <a:buFont typeface="Montserrat"/>
              <a:buNone/>
              <a:defRPr sz="7200" b="1">
                <a:latin typeface="Montserrat"/>
                <a:ea typeface="Montserrat"/>
                <a:cs typeface="Montserrat"/>
                <a:sym typeface="Montserrat"/>
              </a:defRPr>
            </a:lvl4pPr>
            <a:lvl5pPr lvl="4" rtl="0">
              <a:spcBef>
                <a:spcPts val="0"/>
              </a:spcBef>
              <a:spcAft>
                <a:spcPts val="0"/>
              </a:spcAft>
              <a:buSzPts val="3600"/>
              <a:buFont typeface="Montserrat"/>
              <a:buNone/>
              <a:defRPr sz="7200" b="1">
                <a:latin typeface="Montserrat"/>
                <a:ea typeface="Montserrat"/>
                <a:cs typeface="Montserrat"/>
                <a:sym typeface="Montserrat"/>
              </a:defRPr>
            </a:lvl5pPr>
            <a:lvl6pPr lvl="5" rtl="0">
              <a:spcBef>
                <a:spcPts val="0"/>
              </a:spcBef>
              <a:spcAft>
                <a:spcPts val="0"/>
              </a:spcAft>
              <a:buSzPts val="3600"/>
              <a:buFont typeface="Montserrat"/>
              <a:buNone/>
              <a:defRPr sz="7200" b="1">
                <a:latin typeface="Montserrat"/>
                <a:ea typeface="Montserrat"/>
                <a:cs typeface="Montserrat"/>
                <a:sym typeface="Montserrat"/>
              </a:defRPr>
            </a:lvl6pPr>
            <a:lvl7pPr lvl="6" rtl="0">
              <a:spcBef>
                <a:spcPts val="0"/>
              </a:spcBef>
              <a:spcAft>
                <a:spcPts val="0"/>
              </a:spcAft>
              <a:buSzPts val="3600"/>
              <a:buFont typeface="Montserrat"/>
              <a:buNone/>
              <a:defRPr sz="7200" b="1">
                <a:latin typeface="Montserrat"/>
                <a:ea typeface="Montserrat"/>
                <a:cs typeface="Montserrat"/>
                <a:sym typeface="Montserrat"/>
              </a:defRPr>
            </a:lvl7pPr>
            <a:lvl8pPr lvl="7" rtl="0">
              <a:spcBef>
                <a:spcPts val="0"/>
              </a:spcBef>
              <a:spcAft>
                <a:spcPts val="0"/>
              </a:spcAft>
              <a:buSzPts val="3600"/>
              <a:buFont typeface="Montserrat"/>
              <a:buNone/>
              <a:defRPr sz="7200" b="1">
                <a:latin typeface="Montserrat"/>
                <a:ea typeface="Montserrat"/>
                <a:cs typeface="Montserrat"/>
                <a:sym typeface="Montserrat"/>
              </a:defRPr>
            </a:lvl8pPr>
            <a:lvl9pPr lvl="8" rtl="0">
              <a:spcBef>
                <a:spcPts val="0"/>
              </a:spcBef>
              <a:spcAft>
                <a:spcPts val="0"/>
              </a:spcAft>
              <a:buSzPts val="3600"/>
              <a:buFont typeface="Montserrat"/>
              <a:buNone/>
              <a:defRPr sz="7200" b="1">
                <a:latin typeface="Montserrat"/>
                <a:ea typeface="Montserrat"/>
                <a:cs typeface="Montserrat"/>
                <a:sym typeface="Montserrat"/>
              </a:defRPr>
            </a:lvl9pPr>
          </a:lstStyle>
          <a:p>
            <a:endParaRPr/>
          </a:p>
        </p:txBody>
      </p:sp>
      <p:sp>
        <p:nvSpPr>
          <p:cNvPr id="339" name="Google Shape;339;p50"/>
          <p:cNvSpPr txBox="1">
            <a:spLocks noGrp="1"/>
          </p:cNvSpPr>
          <p:nvPr>
            <p:ph type="subTitle" idx="1"/>
          </p:nvPr>
        </p:nvSpPr>
        <p:spPr>
          <a:xfrm>
            <a:off x="4833600" y="6345200"/>
            <a:ext cx="9263400" cy="15852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FFFFFF"/>
              </a:buClr>
              <a:buSzPts val="1200"/>
              <a:buFont typeface="Montserrat Light"/>
              <a:buNone/>
              <a:defRPr>
                <a:solidFill>
                  <a:srgbClr val="FFFFFF"/>
                </a:solidFill>
                <a:latin typeface="Montserrat Light"/>
                <a:ea typeface="Montserrat Light"/>
                <a:cs typeface="Montserrat Light"/>
                <a:sym typeface="Montserrat Light"/>
              </a:defRPr>
            </a:lvl1pPr>
            <a:lvl2pPr lvl="1" rtl="0">
              <a:lnSpc>
                <a:spcPct val="100000"/>
              </a:lnSpc>
              <a:spcBef>
                <a:spcPts val="0"/>
              </a:spcBef>
              <a:spcAft>
                <a:spcPts val="0"/>
              </a:spcAft>
              <a:buClr>
                <a:srgbClr val="FFFFFF"/>
              </a:buClr>
              <a:buSzPts val="1800"/>
              <a:buFont typeface="Montserrat Light"/>
              <a:buNone/>
              <a:defRPr sz="3600">
                <a:solidFill>
                  <a:srgbClr val="FFFFFF"/>
                </a:solidFill>
                <a:latin typeface="Montserrat Light"/>
                <a:ea typeface="Montserrat Light"/>
                <a:cs typeface="Montserrat Light"/>
                <a:sym typeface="Montserrat Light"/>
              </a:defRPr>
            </a:lvl2pPr>
            <a:lvl3pPr lvl="2" rtl="0">
              <a:lnSpc>
                <a:spcPct val="100000"/>
              </a:lnSpc>
              <a:spcBef>
                <a:spcPts val="0"/>
              </a:spcBef>
              <a:spcAft>
                <a:spcPts val="0"/>
              </a:spcAft>
              <a:buClr>
                <a:srgbClr val="FFFFFF"/>
              </a:buClr>
              <a:buSzPts val="1800"/>
              <a:buFont typeface="Montserrat Light"/>
              <a:buNone/>
              <a:defRPr sz="3600">
                <a:solidFill>
                  <a:srgbClr val="FFFFFF"/>
                </a:solidFill>
                <a:latin typeface="Montserrat Light"/>
                <a:ea typeface="Montserrat Light"/>
                <a:cs typeface="Montserrat Light"/>
                <a:sym typeface="Montserrat Light"/>
              </a:defRPr>
            </a:lvl3pPr>
            <a:lvl4pPr lvl="3" rtl="0">
              <a:lnSpc>
                <a:spcPct val="100000"/>
              </a:lnSpc>
              <a:spcBef>
                <a:spcPts val="0"/>
              </a:spcBef>
              <a:spcAft>
                <a:spcPts val="0"/>
              </a:spcAft>
              <a:buClr>
                <a:srgbClr val="FFFFFF"/>
              </a:buClr>
              <a:buSzPts val="1800"/>
              <a:buFont typeface="Montserrat Light"/>
              <a:buNone/>
              <a:defRPr sz="3600">
                <a:solidFill>
                  <a:srgbClr val="FFFFFF"/>
                </a:solidFill>
                <a:latin typeface="Montserrat Light"/>
                <a:ea typeface="Montserrat Light"/>
                <a:cs typeface="Montserrat Light"/>
                <a:sym typeface="Montserrat Light"/>
              </a:defRPr>
            </a:lvl4pPr>
            <a:lvl5pPr lvl="4" rtl="0">
              <a:lnSpc>
                <a:spcPct val="100000"/>
              </a:lnSpc>
              <a:spcBef>
                <a:spcPts val="0"/>
              </a:spcBef>
              <a:spcAft>
                <a:spcPts val="0"/>
              </a:spcAft>
              <a:buClr>
                <a:srgbClr val="FFFFFF"/>
              </a:buClr>
              <a:buSzPts val="1800"/>
              <a:buFont typeface="Montserrat Light"/>
              <a:buNone/>
              <a:defRPr sz="3600">
                <a:solidFill>
                  <a:srgbClr val="FFFFFF"/>
                </a:solidFill>
                <a:latin typeface="Montserrat Light"/>
                <a:ea typeface="Montserrat Light"/>
                <a:cs typeface="Montserrat Light"/>
                <a:sym typeface="Montserrat Light"/>
              </a:defRPr>
            </a:lvl5pPr>
            <a:lvl6pPr lvl="5" rtl="0">
              <a:lnSpc>
                <a:spcPct val="100000"/>
              </a:lnSpc>
              <a:spcBef>
                <a:spcPts val="0"/>
              </a:spcBef>
              <a:spcAft>
                <a:spcPts val="0"/>
              </a:spcAft>
              <a:buClr>
                <a:srgbClr val="FFFFFF"/>
              </a:buClr>
              <a:buSzPts val="1800"/>
              <a:buFont typeface="Montserrat Light"/>
              <a:buNone/>
              <a:defRPr sz="3600">
                <a:solidFill>
                  <a:srgbClr val="FFFFFF"/>
                </a:solidFill>
                <a:latin typeface="Montserrat Light"/>
                <a:ea typeface="Montserrat Light"/>
                <a:cs typeface="Montserrat Light"/>
                <a:sym typeface="Montserrat Light"/>
              </a:defRPr>
            </a:lvl6pPr>
            <a:lvl7pPr lvl="6" rtl="0">
              <a:lnSpc>
                <a:spcPct val="100000"/>
              </a:lnSpc>
              <a:spcBef>
                <a:spcPts val="0"/>
              </a:spcBef>
              <a:spcAft>
                <a:spcPts val="0"/>
              </a:spcAft>
              <a:buClr>
                <a:srgbClr val="FFFFFF"/>
              </a:buClr>
              <a:buSzPts val="1800"/>
              <a:buFont typeface="Montserrat Light"/>
              <a:buNone/>
              <a:defRPr sz="3600">
                <a:solidFill>
                  <a:srgbClr val="FFFFFF"/>
                </a:solidFill>
                <a:latin typeface="Montserrat Light"/>
                <a:ea typeface="Montserrat Light"/>
                <a:cs typeface="Montserrat Light"/>
                <a:sym typeface="Montserrat Light"/>
              </a:defRPr>
            </a:lvl7pPr>
            <a:lvl8pPr lvl="7" rtl="0">
              <a:lnSpc>
                <a:spcPct val="100000"/>
              </a:lnSpc>
              <a:spcBef>
                <a:spcPts val="0"/>
              </a:spcBef>
              <a:spcAft>
                <a:spcPts val="0"/>
              </a:spcAft>
              <a:buClr>
                <a:srgbClr val="FFFFFF"/>
              </a:buClr>
              <a:buSzPts val="1800"/>
              <a:buFont typeface="Montserrat Light"/>
              <a:buNone/>
              <a:defRPr sz="3600">
                <a:solidFill>
                  <a:srgbClr val="FFFFFF"/>
                </a:solidFill>
                <a:latin typeface="Montserrat Light"/>
                <a:ea typeface="Montserrat Light"/>
                <a:cs typeface="Montserrat Light"/>
                <a:sym typeface="Montserrat Light"/>
              </a:defRPr>
            </a:lvl8pPr>
            <a:lvl9pPr lvl="8" rtl="0">
              <a:lnSpc>
                <a:spcPct val="100000"/>
              </a:lnSpc>
              <a:spcBef>
                <a:spcPts val="0"/>
              </a:spcBef>
              <a:spcAft>
                <a:spcPts val="0"/>
              </a:spcAft>
              <a:buClr>
                <a:srgbClr val="FFFFFF"/>
              </a:buClr>
              <a:buSzPts val="1800"/>
              <a:buFont typeface="Montserrat Light"/>
              <a:buNone/>
              <a:defRPr sz="3600">
                <a:solidFill>
                  <a:srgbClr val="FFFFFF"/>
                </a:solidFill>
                <a:latin typeface="Montserrat Light"/>
                <a:ea typeface="Montserrat Light"/>
                <a:cs typeface="Montserrat Light"/>
                <a:sym typeface="Montserrat Light"/>
              </a:defRPr>
            </a:lvl9pPr>
          </a:lstStyle>
          <a:p>
            <a:endParaRPr/>
          </a:p>
        </p:txBody>
      </p:sp>
      <p:sp>
        <p:nvSpPr>
          <p:cNvPr id="340" name="Google Shape;340;p50"/>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pt-BR"/>
              <a:pPr marL="0" lvl="0" indent="0" algn="r" rtl="0">
                <a:spcBef>
                  <a:spcPts val="0"/>
                </a:spcBef>
                <a:spcAft>
                  <a:spcPts val="0"/>
                </a:spcAft>
                <a:buNone/>
              </a:pPr>
              <a:t>‹nº›</a:t>
            </a:fld>
            <a:endParaRP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341"/>
        <p:cNvGrpSpPr/>
        <p:nvPr/>
      </p:nvGrpSpPr>
      <p:grpSpPr>
        <a:xfrm>
          <a:off x="0" y="0"/>
          <a:ext cx="0" cy="0"/>
          <a:chOff x="0" y="0"/>
          <a:chExt cx="0" cy="0"/>
        </a:xfrm>
      </p:grpSpPr>
      <p:sp>
        <p:nvSpPr>
          <p:cNvPr id="342" name="Google Shape;342;p51"/>
          <p:cNvSpPr txBox="1">
            <a:spLocks noGrp="1"/>
          </p:cNvSpPr>
          <p:nvPr>
            <p:ph type="title"/>
          </p:nvPr>
        </p:nvSpPr>
        <p:spPr>
          <a:xfrm>
            <a:off x="1747350" y="3996900"/>
            <a:ext cx="10482600" cy="1683600"/>
          </a:xfrm>
          <a:prstGeom prst="rect">
            <a:avLst/>
          </a:prstGeom>
        </p:spPr>
        <p:txBody>
          <a:bodyPr spcFirstLastPara="1" wrap="square" lIns="91425" tIns="91425" rIns="91425" bIns="91425" anchor="ctr" anchorCtr="0">
            <a:noAutofit/>
          </a:bodyPr>
          <a:lstStyle>
            <a:lvl1pPr lvl="0" rtl="0">
              <a:spcBef>
                <a:spcPts val="0"/>
              </a:spcBef>
              <a:spcAft>
                <a:spcPts val="0"/>
              </a:spcAft>
              <a:buSzPts val="3600"/>
              <a:buFont typeface="Montserrat"/>
              <a:buNone/>
              <a:defRPr sz="7200" b="1">
                <a:latin typeface="Montserrat"/>
                <a:ea typeface="Montserrat"/>
                <a:cs typeface="Montserrat"/>
                <a:sym typeface="Montserrat"/>
              </a:defRPr>
            </a:lvl1pPr>
            <a:lvl2pPr lvl="1" rtl="0">
              <a:spcBef>
                <a:spcPts val="0"/>
              </a:spcBef>
              <a:spcAft>
                <a:spcPts val="0"/>
              </a:spcAft>
              <a:buSzPts val="3600"/>
              <a:buFont typeface="Montserrat"/>
              <a:buNone/>
              <a:defRPr sz="7200" b="1">
                <a:latin typeface="Montserrat"/>
                <a:ea typeface="Montserrat"/>
                <a:cs typeface="Montserrat"/>
                <a:sym typeface="Montserrat"/>
              </a:defRPr>
            </a:lvl2pPr>
            <a:lvl3pPr lvl="2" rtl="0">
              <a:spcBef>
                <a:spcPts val="0"/>
              </a:spcBef>
              <a:spcAft>
                <a:spcPts val="0"/>
              </a:spcAft>
              <a:buSzPts val="3600"/>
              <a:buFont typeface="Montserrat"/>
              <a:buNone/>
              <a:defRPr sz="7200" b="1">
                <a:latin typeface="Montserrat"/>
                <a:ea typeface="Montserrat"/>
                <a:cs typeface="Montserrat"/>
                <a:sym typeface="Montserrat"/>
              </a:defRPr>
            </a:lvl3pPr>
            <a:lvl4pPr lvl="3" rtl="0">
              <a:spcBef>
                <a:spcPts val="0"/>
              </a:spcBef>
              <a:spcAft>
                <a:spcPts val="0"/>
              </a:spcAft>
              <a:buSzPts val="3600"/>
              <a:buFont typeface="Montserrat"/>
              <a:buNone/>
              <a:defRPr sz="7200" b="1">
                <a:latin typeface="Montserrat"/>
                <a:ea typeface="Montserrat"/>
                <a:cs typeface="Montserrat"/>
                <a:sym typeface="Montserrat"/>
              </a:defRPr>
            </a:lvl4pPr>
            <a:lvl5pPr lvl="4" rtl="0">
              <a:spcBef>
                <a:spcPts val="0"/>
              </a:spcBef>
              <a:spcAft>
                <a:spcPts val="0"/>
              </a:spcAft>
              <a:buSzPts val="3600"/>
              <a:buFont typeface="Montserrat"/>
              <a:buNone/>
              <a:defRPr sz="7200" b="1">
                <a:latin typeface="Montserrat"/>
                <a:ea typeface="Montserrat"/>
                <a:cs typeface="Montserrat"/>
                <a:sym typeface="Montserrat"/>
              </a:defRPr>
            </a:lvl5pPr>
            <a:lvl6pPr lvl="5" rtl="0">
              <a:spcBef>
                <a:spcPts val="0"/>
              </a:spcBef>
              <a:spcAft>
                <a:spcPts val="0"/>
              </a:spcAft>
              <a:buSzPts val="3600"/>
              <a:buFont typeface="Montserrat"/>
              <a:buNone/>
              <a:defRPr sz="7200" b="1">
                <a:latin typeface="Montserrat"/>
                <a:ea typeface="Montserrat"/>
                <a:cs typeface="Montserrat"/>
                <a:sym typeface="Montserrat"/>
              </a:defRPr>
            </a:lvl6pPr>
            <a:lvl7pPr lvl="6" rtl="0">
              <a:spcBef>
                <a:spcPts val="0"/>
              </a:spcBef>
              <a:spcAft>
                <a:spcPts val="0"/>
              </a:spcAft>
              <a:buSzPts val="3600"/>
              <a:buFont typeface="Montserrat"/>
              <a:buNone/>
              <a:defRPr sz="7200" b="1">
                <a:latin typeface="Montserrat"/>
                <a:ea typeface="Montserrat"/>
                <a:cs typeface="Montserrat"/>
                <a:sym typeface="Montserrat"/>
              </a:defRPr>
            </a:lvl7pPr>
            <a:lvl8pPr lvl="7" rtl="0">
              <a:spcBef>
                <a:spcPts val="0"/>
              </a:spcBef>
              <a:spcAft>
                <a:spcPts val="0"/>
              </a:spcAft>
              <a:buSzPts val="3600"/>
              <a:buFont typeface="Montserrat"/>
              <a:buNone/>
              <a:defRPr sz="7200" b="1">
                <a:latin typeface="Montserrat"/>
                <a:ea typeface="Montserrat"/>
                <a:cs typeface="Montserrat"/>
                <a:sym typeface="Montserrat"/>
              </a:defRPr>
            </a:lvl8pPr>
            <a:lvl9pPr lvl="8" rtl="0">
              <a:spcBef>
                <a:spcPts val="0"/>
              </a:spcBef>
              <a:spcAft>
                <a:spcPts val="0"/>
              </a:spcAft>
              <a:buSzPts val="3600"/>
              <a:buFont typeface="Montserrat"/>
              <a:buNone/>
              <a:defRPr sz="7200" b="1">
                <a:latin typeface="Montserrat"/>
                <a:ea typeface="Montserrat"/>
                <a:cs typeface="Montserrat"/>
                <a:sym typeface="Montserrat"/>
              </a:defRPr>
            </a:lvl9pPr>
          </a:lstStyle>
          <a:p>
            <a:endParaRPr/>
          </a:p>
        </p:txBody>
      </p:sp>
      <p:sp>
        <p:nvSpPr>
          <p:cNvPr id="343" name="Google Shape;343;p51"/>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pt-BR"/>
              <a:pPr marL="0" lvl="0" indent="0" algn="r" rtl="0">
                <a:spcBef>
                  <a:spcPts val="0"/>
                </a:spcBef>
                <a:spcAft>
                  <a:spcPts val="0"/>
                </a:spcAft>
                <a:buNone/>
              </a:pPr>
              <a:t>‹nº›</a:t>
            </a:fld>
            <a:endParaRPr/>
          </a:p>
        </p:txBody>
      </p:sp>
      <p:pic>
        <p:nvPicPr>
          <p:cNvPr id="344" name="Google Shape;344;p5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rot="10800000">
            <a:off x="6918953" y="5260953"/>
            <a:ext cx="11388098" cy="5045098"/>
          </a:xfrm>
          <a:prstGeom prst="rect">
            <a:avLst/>
          </a:prstGeom>
          <a:noFill/>
          <a:ln>
            <a:noFill/>
          </a:ln>
        </p:spPr>
      </p:pic>
      <p:pic>
        <p:nvPicPr>
          <p:cNvPr id="345" name="Google Shape;345;p51"/>
          <p:cNvPicPr preferRelativeResize="0"/>
          <p:nvPr/>
        </p:nvPicPr>
        <p:blipFill>
          <a:blip r:embed="rId3" cstate="email">
            <a:alphaModFix/>
            <a:extLst>
              <a:ext uri="{28A0092B-C50C-407E-A947-70E740481C1C}">
                <a14:useLocalDpi xmlns:a14="http://schemas.microsoft.com/office/drawing/2010/main"/>
              </a:ext>
            </a:extLst>
          </a:blip>
          <a:stretch>
            <a:fillRect/>
          </a:stretch>
        </p:blipFill>
        <p:spPr>
          <a:xfrm>
            <a:off x="15601950" y="-190500"/>
            <a:ext cx="2228848" cy="2228848"/>
          </a:xfrm>
          <a:prstGeom prst="rect">
            <a:avLst/>
          </a:prstGeom>
          <a:noFill/>
          <a:ln>
            <a:noFill/>
          </a:ln>
        </p:spPr>
      </p:pic>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Título e corpo 2">
  <p:cSld name="TITLE_AND_BODY_2">
    <p:bg>
      <p:bgPr>
        <a:solidFill>
          <a:srgbClr val="FFFFFF"/>
        </a:solidFill>
        <a:effectLst/>
      </p:bgPr>
    </p:bg>
    <p:spTree>
      <p:nvGrpSpPr>
        <p:cNvPr id="1" name="Shape 358"/>
        <p:cNvGrpSpPr/>
        <p:nvPr/>
      </p:nvGrpSpPr>
      <p:grpSpPr>
        <a:xfrm>
          <a:off x="0" y="0"/>
          <a:ext cx="0" cy="0"/>
          <a:chOff x="0" y="0"/>
          <a:chExt cx="0" cy="0"/>
        </a:xfrm>
      </p:grpSpPr>
      <p:sp>
        <p:nvSpPr>
          <p:cNvPr id="359" name="Google Shape;359;p54"/>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pt-BR"/>
              <a:pPr marL="0" lvl="0" indent="0" algn="r" rtl="0">
                <a:spcBef>
                  <a:spcPts val="0"/>
                </a:spcBef>
                <a:spcAft>
                  <a:spcPts val="0"/>
                </a:spcAft>
                <a:buNone/>
              </a:pPr>
              <a:t>‹nº›</a:t>
            </a:fld>
            <a:endParaRPr/>
          </a:p>
        </p:txBody>
      </p:sp>
      <p:pic>
        <p:nvPicPr>
          <p:cNvPr id="360" name="Google Shape;360;p5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rot="10800000">
            <a:off x="11544296" y="4487852"/>
            <a:ext cx="6819900" cy="5837248"/>
          </a:xfrm>
          <a:prstGeom prst="rect">
            <a:avLst/>
          </a:prstGeom>
          <a:noFill/>
          <a:ln>
            <a:noFill/>
          </a:ln>
        </p:spPr>
      </p:pic>
      <p:pic>
        <p:nvPicPr>
          <p:cNvPr id="361" name="Google Shape;361;p54"/>
          <p:cNvPicPr preferRelativeResize="0"/>
          <p:nvPr/>
        </p:nvPicPr>
        <p:blipFill>
          <a:blip r:embed="rId3" cstate="email">
            <a:alphaModFix/>
            <a:extLst>
              <a:ext uri="{28A0092B-C50C-407E-A947-70E740481C1C}">
                <a14:useLocalDpi xmlns:a14="http://schemas.microsoft.com/office/drawing/2010/main"/>
              </a:ext>
            </a:extLst>
          </a:blip>
          <a:stretch>
            <a:fillRect/>
          </a:stretch>
        </p:blipFill>
        <p:spPr>
          <a:xfrm>
            <a:off x="15520501" y="-247649"/>
            <a:ext cx="2266950" cy="2266950"/>
          </a:xfrm>
          <a:prstGeom prst="rect">
            <a:avLst/>
          </a:prstGeom>
          <a:noFill/>
          <a:ln>
            <a:noFill/>
          </a:ln>
        </p:spPr>
      </p:pic>
      <p:sp>
        <p:nvSpPr>
          <p:cNvPr id="362" name="Google Shape;362;p54"/>
          <p:cNvSpPr txBox="1">
            <a:spLocks noGrp="1"/>
          </p:cNvSpPr>
          <p:nvPr>
            <p:ph type="title"/>
          </p:nvPr>
        </p:nvSpPr>
        <p:spPr>
          <a:xfrm>
            <a:off x="1080600" y="1042450"/>
            <a:ext cx="10216200" cy="11454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222222"/>
              </a:buClr>
              <a:buSzPts val="2000"/>
              <a:buNone/>
              <a:defRPr sz="4000">
                <a:solidFill>
                  <a:srgbClr val="222222"/>
                </a:solidFill>
              </a:defRPr>
            </a:lvl1pPr>
            <a:lvl2pPr lvl="1" rtl="0">
              <a:spcBef>
                <a:spcPts val="0"/>
              </a:spcBef>
              <a:spcAft>
                <a:spcPts val="0"/>
              </a:spcAft>
              <a:buClr>
                <a:srgbClr val="222222"/>
              </a:buClr>
              <a:buSzPts val="2000"/>
              <a:buNone/>
              <a:defRPr>
                <a:solidFill>
                  <a:srgbClr val="222222"/>
                </a:solidFill>
              </a:defRPr>
            </a:lvl2pPr>
            <a:lvl3pPr lvl="2" rtl="0">
              <a:spcBef>
                <a:spcPts val="0"/>
              </a:spcBef>
              <a:spcAft>
                <a:spcPts val="0"/>
              </a:spcAft>
              <a:buClr>
                <a:srgbClr val="222222"/>
              </a:buClr>
              <a:buSzPts val="2000"/>
              <a:buNone/>
              <a:defRPr>
                <a:solidFill>
                  <a:srgbClr val="222222"/>
                </a:solidFill>
              </a:defRPr>
            </a:lvl3pPr>
            <a:lvl4pPr lvl="3" rtl="0">
              <a:spcBef>
                <a:spcPts val="0"/>
              </a:spcBef>
              <a:spcAft>
                <a:spcPts val="0"/>
              </a:spcAft>
              <a:buClr>
                <a:srgbClr val="222222"/>
              </a:buClr>
              <a:buSzPts val="2000"/>
              <a:buNone/>
              <a:defRPr>
                <a:solidFill>
                  <a:srgbClr val="222222"/>
                </a:solidFill>
              </a:defRPr>
            </a:lvl4pPr>
            <a:lvl5pPr lvl="4" rtl="0">
              <a:spcBef>
                <a:spcPts val="0"/>
              </a:spcBef>
              <a:spcAft>
                <a:spcPts val="0"/>
              </a:spcAft>
              <a:buClr>
                <a:srgbClr val="222222"/>
              </a:buClr>
              <a:buSzPts val="2000"/>
              <a:buNone/>
              <a:defRPr>
                <a:solidFill>
                  <a:srgbClr val="222222"/>
                </a:solidFill>
              </a:defRPr>
            </a:lvl5pPr>
            <a:lvl6pPr lvl="5" rtl="0">
              <a:spcBef>
                <a:spcPts val="0"/>
              </a:spcBef>
              <a:spcAft>
                <a:spcPts val="0"/>
              </a:spcAft>
              <a:buClr>
                <a:srgbClr val="222222"/>
              </a:buClr>
              <a:buSzPts val="2000"/>
              <a:buNone/>
              <a:defRPr>
                <a:solidFill>
                  <a:srgbClr val="222222"/>
                </a:solidFill>
              </a:defRPr>
            </a:lvl6pPr>
            <a:lvl7pPr lvl="6" rtl="0">
              <a:spcBef>
                <a:spcPts val="0"/>
              </a:spcBef>
              <a:spcAft>
                <a:spcPts val="0"/>
              </a:spcAft>
              <a:buClr>
                <a:srgbClr val="222222"/>
              </a:buClr>
              <a:buSzPts val="2000"/>
              <a:buNone/>
              <a:defRPr>
                <a:solidFill>
                  <a:srgbClr val="222222"/>
                </a:solidFill>
              </a:defRPr>
            </a:lvl7pPr>
            <a:lvl8pPr lvl="7" rtl="0">
              <a:spcBef>
                <a:spcPts val="0"/>
              </a:spcBef>
              <a:spcAft>
                <a:spcPts val="0"/>
              </a:spcAft>
              <a:buClr>
                <a:srgbClr val="222222"/>
              </a:buClr>
              <a:buSzPts val="2000"/>
              <a:buNone/>
              <a:defRPr>
                <a:solidFill>
                  <a:srgbClr val="222222"/>
                </a:solidFill>
              </a:defRPr>
            </a:lvl8pPr>
            <a:lvl9pPr lvl="8" rtl="0">
              <a:spcBef>
                <a:spcPts val="0"/>
              </a:spcBef>
              <a:spcAft>
                <a:spcPts val="0"/>
              </a:spcAft>
              <a:buClr>
                <a:srgbClr val="222222"/>
              </a:buClr>
              <a:buSzPts val="2000"/>
              <a:buNone/>
              <a:defRPr>
                <a:solidFill>
                  <a:srgbClr val="222222"/>
                </a:solidFill>
              </a:defRPr>
            </a:lvl9pPr>
          </a:lstStyle>
          <a:p>
            <a:endParaRPr/>
          </a:p>
        </p:txBody>
      </p:sp>
      <p:sp>
        <p:nvSpPr>
          <p:cNvPr id="363" name="Google Shape;363;p54"/>
          <p:cNvSpPr txBox="1">
            <a:spLocks noGrp="1"/>
          </p:cNvSpPr>
          <p:nvPr>
            <p:ph type="body" idx="1"/>
          </p:nvPr>
        </p:nvSpPr>
        <p:spPr>
          <a:xfrm>
            <a:off x="1080600" y="3130350"/>
            <a:ext cx="12462600" cy="5891400"/>
          </a:xfrm>
          <a:prstGeom prst="rect">
            <a:avLst/>
          </a:prstGeom>
        </p:spPr>
        <p:txBody>
          <a:bodyPr spcFirstLastPara="1" wrap="square" lIns="91425" tIns="91425" rIns="91425" bIns="91425" anchor="t" anchorCtr="0">
            <a:noAutofit/>
          </a:bodyPr>
          <a:lstStyle>
            <a:lvl1pPr marL="914400" lvl="0" indent="-609600" rtl="0">
              <a:spcBef>
                <a:spcPts val="0"/>
              </a:spcBef>
              <a:spcAft>
                <a:spcPts val="0"/>
              </a:spcAft>
              <a:buClr>
                <a:srgbClr val="222222"/>
              </a:buClr>
              <a:buSzPts val="1200"/>
              <a:buChar char="●"/>
              <a:defRPr sz="2400">
                <a:solidFill>
                  <a:srgbClr val="222222"/>
                </a:solidFill>
              </a:defRPr>
            </a:lvl1pPr>
            <a:lvl2pPr marL="1828800" lvl="1" indent="-609600" rtl="0">
              <a:spcBef>
                <a:spcPts val="3200"/>
              </a:spcBef>
              <a:spcAft>
                <a:spcPts val="0"/>
              </a:spcAft>
              <a:buClr>
                <a:srgbClr val="222222"/>
              </a:buClr>
              <a:buSzPts val="1200"/>
              <a:buChar char="○"/>
              <a:defRPr sz="2400">
                <a:solidFill>
                  <a:srgbClr val="222222"/>
                </a:solidFill>
              </a:defRPr>
            </a:lvl2pPr>
            <a:lvl3pPr marL="2743200" lvl="2" indent="-584200" rtl="0">
              <a:spcBef>
                <a:spcPts val="3200"/>
              </a:spcBef>
              <a:spcAft>
                <a:spcPts val="0"/>
              </a:spcAft>
              <a:buClr>
                <a:srgbClr val="222222"/>
              </a:buClr>
              <a:buSzPts val="1000"/>
              <a:buChar char="■"/>
              <a:defRPr sz="2000">
                <a:solidFill>
                  <a:srgbClr val="222222"/>
                </a:solidFill>
              </a:defRPr>
            </a:lvl3pPr>
            <a:lvl4pPr marL="3657600" lvl="3" indent="-584200" rtl="0">
              <a:spcBef>
                <a:spcPts val="3200"/>
              </a:spcBef>
              <a:spcAft>
                <a:spcPts val="0"/>
              </a:spcAft>
              <a:buClr>
                <a:srgbClr val="222222"/>
              </a:buClr>
              <a:buSzPts val="1000"/>
              <a:buChar char="●"/>
              <a:defRPr sz="2000">
                <a:solidFill>
                  <a:srgbClr val="222222"/>
                </a:solidFill>
              </a:defRPr>
            </a:lvl4pPr>
            <a:lvl5pPr marL="4572000" lvl="4" indent="-558800" rtl="0">
              <a:spcBef>
                <a:spcPts val="3200"/>
              </a:spcBef>
              <a:spcAft>
                <a:spcPts val="0"/>
              </a:spcAft>
              <a:buClr>
                <a:srgbClr val="222222"/>
              </a:buClr>
              <a:buSzPts val="800"/>
              <a:buChar char="○"/>
              <a:defRPr sz="1600">
                <a:solidFill>
                  <a:srgbClr val="222222"/>
                </a:solidFill>
              </a:defRPr>
            </a:lvl5pPr>
            <a:lvl6pPr marL="5486400" lvl="5" indent="-558800" rtl="0">
              <a:spcBef>
                <a:spcPts val="3200"/>
              </a:spcBef>
              <a:spcAft>
                <a:spcPts val="0"/>
              </a:spcAft>
              <a:buClr>
                <a:srgbClr val="222222"/>
              </a:buClr>
              <a:buSzPts val="800"/>
              <a:buChar char="■"/>
              <a:defRPr sz="1600">
                <a:solidFill>
                  <a:srgbClr val="222222"/>
                </a:solidFill>
              </a:defRPr>
            </a:lvl6pPr>
            <a:lvl7pPr marL="6400800" lvl="6" indent="-609600" rtl="0">
              <a:spcBef>
                <a:spcPts val="3200"/>
              </a:spcBef>
              <a:spcAft>
                <a:spcPts val="0"/>
              </a:spcAft>
              <a:buClr>
                <a:srgbClr val="222222"/>
              </a:buClr>
              <a:buSzPts val="1200"/>
              <a:buChar char="●"/>
              <a:defRPr>
                <a:solidFill>
                  <a:srgbClr val="222222"/>
                </a:solidFill>
              </a:defRPr>
            </a:lvl7pPr>
            <a:lvl8pPr marL="7315200" lvl="7" indent="-609600" rtl="0">
              <a:spcBef>
                <a:spcPts val="3200"/>
              </a:spcBef>
              <a:spcAft>
                <a:spcPts val="0"/>
              </a:spcAft>
              <a:buClr>
                <a:srgbClr val="222222"/>
              </a:buClr>
              <a:buSzPts val="1200"/>
              <a:buChar char="○"/>
              <a:defRPr>
                <a:solidFill>
                  <a:srgbClr val="222222"/>
                </a:solidFill>
              </a:defRPr>
            </a:lvl8pPr>
            <a:lvl9pPr marL="8229600" lvl="8" indent="-609600" rtl="0">
              <a:spcBef>
                <a:spcPts val="3200"/>
              </a:spcBef>
              <a:spcAft>
                <a:spcPts val="3200"/>
              </a:spcAft>
              <a:buClr>
                <a:srgbClr val="222222"/>
              </a:buClr>
              <a:buSzPts val="1200"/>
              <a:buChar char="■"/>
              <a:defRPr>
                <a:solidFill>
                  <a:srgbClr val="222222"/>
                </a:solidFill>
              </a:defRPr>
            </a:lvl9pPr>
          </a:lstStyle>
          <a:p>
            <a:endParaRP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Título e corpo 1">
  <p:cSld name="TITLE_AND_BODY_1">
    <p:bg>
      <p:bgPr>
        <a:solidFill>
          <a:srgbClr val="FFFFFF"/>
        </a:solidFill>
        <a:effectLst/>
      </p:bgPr>
    </p:bg>
    <p:spTree>
      <p:nvGrpSpPr>
        <p:cNvPr id="1" name="Shape 364"/>
        <p:cNvGrpSpPr/>
        <p:nvPr/>
      </p:nvGrpSpPr>
      <p:grpSpPr>
        <a:xfrm>
          <a:off x="0" y="0"/>
          <a:ext cx="0" cy="0"/>
          <a:chOff x="0" y="0"/>
          <a:chExt cx="0" cy="0"/>
        </a:xfrm>
      </p:grpSpPr>
      <p:sp>
        <p:nvSpPr>
          <p:cNvPr id="365" name="Google Shape;365;p55"/>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pt-BR"/>
              <a:pPr marL="0" lvl="0" indent="0" algn="r" rtl="0">
                <a:spcBef>
                  <a:spcPts val="0"/>
                </a:spcBef>
                <a:spcAft>
                  <a:spcPts val="0"/>
                </a:spcAft>
                <a:buNone/>
              </a:pPr>
              <a:t>‹nº›</a:t>
            </a:fld>
            <a:endParaRPr/>
          </a:p>
        </p:txBody>
      </p:sp>
      <p:sp>
        <p:nvSpPr>
          <p:cNvPr id="366" name="Google Shape;366;p55"/>
          <p:cNvSpPr txBox="1">
            <a:spLocks noGrp="1"/>
          </p:cNvSpPr>
          <p:nvPr>
            <p:ph type="title"/>
          </p:nvPr>
        </p:nvSpPr>
        <p:spPr>
          <a:xfrm>
            <a:off x="1080600" y="1042450"/>
            <a:ext cx="10216200" cy="11454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222222"/>
              </a:buClr>
              <a:buSzPts val="2000"/>
              <a:buNone/>
              <a:defRPr sz="4000">
                <a:solidFill>
                  <a:srgbClr val="222222"/>
                </a:solidFill>
              </a:defRPr>
            </a:lvl1pPr>
            <a:lvl2pPr lvl="1" rtl="0">
              <a:spcBef>
                <a:spcPts val="0"/>
              </a:spcBef>
              <a:spcAft>
                <a:spcPts val="0"/>
              </a:spcAft>
              <a:buClr>
                <a:srgbClr val="222222"/>
              </a:buClr>
              <a:buSzPts val="2000"/>
              <a:buNone/>
              <a:defRPr>
                <a:solidFill>
                  <a:srgbClr val="222222"/>
                </a:solidFill>
              </a:defRPr>
            </a:lvl2pPr>
            <a:lvl3pPr lvl="2" rtl="0">
              <a:spcBef>
                <a:spcPts val="0"/>
              </a:spcBef>
              <a:spcAft>
                <a:spcPts val="0"/>
              </a:spcAft>
              <a:buClr>
                <a:srgbClr val="222222"/>
              </a:buClr>
              <a:buSzPts val="2000"/>
              <a:buNone/>
              <a:defRPr>
                <a:solidFill>
                  <a:srgbClr val="222222"/>
                </a:solidFill>
              </a:defRPr>
            </a:lvl3pPr>
            <a:lvl4pPr lvl="3" rtl="0">
              <a:spcBef>
                <a:spcPts val="0"/>
              </a:spcBef>
              <a:spcAft>
                <a:spcPts val="0"/>
              </a:spcAft>
              <a:buClr>
                <a:srgbClr val="222222"/>
              </a:buClr>
              <a:buSzPts val="2000"/>
              <a:buNone/>
              <a:defRPr>
                <a:solidFill>
                  <a:srgbClr val="222222"/>
                </a:solidFill>
              </a:defRPr>
            </a:lvl4pPr>
            <a:lvl5pPr lvl="4" rtl="0">
              <a:spcBef>
                <a:spcPts val="0"/>
              </a:spcBef>
              <a:spcAft>
                <a:spcPts val="0"/>
              </a:spcAft>
              <a:buClr>
                <a:srgbClr val="222222"/>
              </a:buClr>
              <a:buSzPts val="2000"/>
              <a:buNone/>
              <a:defRPr>
                <a:solidFill>
                  <a:srgbClr val="222222"/>
                </a:solidFill>
              </a:defRPr>
            </a:lvl5pPr>
            <a:lvl6pPr lvl="5" rtl="0">
              <a:spcBef>
                <a:spcPts val="0"/>
              </a:spcBef>
              <a:spcAft>
                <a:spcPts val="0"/>
              </a:spcAft>
              <a:buClr>
                <a:srgbClr val="222222"/>
              </a:buClr>
              <a:buSzPts val="2000"/>
              <a:buNone/>
              <a:defRPr>
                <a:solidFill>
                  <a:srgbClr val="222222"/>
                </a:solidFill>
              </a:defRPr>
            </a:lvl6pPr>
            <a:lvl7pPr lvl="6" rtl="0">
              <a:spcBef>
                <a:spcPts val="0"/>
              </a:spcBef>
              <a:spcAft>
                <a:spcPts val="0"/>
              </a:spcAft>
              <a:buClr>
                <a:srgbClr val="222222"/>
              </a:buClr>
              <a:buSzPts val="2000"/>
              <a:buNone/>
              <a:defRPr>
                <a:solidFill>
                  <a:srgbClr val="222222"/>
                </a:solidFill>
              </a:defRPr>
            </a:lvl7pPr>
            <a:lvl8pPr lvl="7" rtl="0">
              <a:spcBef>
                <a:spcPts val="0"/>
              </a:spcBef>
              <a:spcAft>
                <a:spcPts val="0"/>
              </a:spcAft>
              <a:buClr>
                <a:srgbClr val="222222"/>
              </a:buClr>
              <a:buSzPts val="2000"/>
              <a:buNone/>
              <a:defRPr>
                <a:solidFill>
                  <a:srgbClr val="222222"/>
                </a:solidFill>
              </a:defRPr>
            </a:lvl8pPr>
            <a:lvl9pPr lvl="8" rtl="0">
              <a:spcBef>
                <a:spcPts val="0"/>
              </a:spcBef>
              <a:spcAft>
                <a:spcPts val="0"/>
              </a:spcAft>
              <a:buClr>
                <a:srgbClr val="222222"/>
              </a:buClr>
              <a:buSzPts val="2000"/>
              <a:buNone/>
              <a:defRPr>
                <a:solidFill>
                  <a:srgbClr val="222222"/>
                </a:solidFill>
              </a:defRPr>
            </a:lvl9pPr>
          </a:lstStyle>
          <a:p>
            <a:endParaRPr/>
          </a:p>
        </p:txBody>
      </p:sp>
      <p:sp>
        <p:nvSpPr>
          <p:cNvPr id="367" name="Google Shape;367;p55"/>
          <p:cNvSpPr txBox="1">
            <a:spLocks noGrp="1"/>
          </p:cNvSpPr>
          <p:nvPr>
            <p:ph type="body" idx="1"/>
          </p:nvPr>
        </p:nvSpPr>
        <p:spPr>
          <a:xfrm>
            <a:off x="1080600" y="3130350"/>
            <a:ext cx="12462600" cy="5891400"/>
          </a:xfrm>
          <a:prstGeom prst="rect">
            <a:avLst/>
          </a:prstGeom>
        </p:spPr>
        <p:txBody>
          <a:bodyPr spcFirstLastPara="1" wrap="square" lIns="91425" tIns="91425" rIns="91425" bIns="91425" anchor="t" anchorCtr="0">
            <a:noAutofit/>
          </a:bodyPr>
          <a:lstStyle>
            <a:lvl1pPr marL="914400" lvl="0" indent="-609600" rtl="0">
              <a:spcBef>
                <a:spcPts val="0"/>
              </a:spcBef>
              <a:spcAft>
                <a:spcPts val="0"/>
              </a:spcAft>
              <a:buClr>
                <a:srgbClr val="222222"/>
              </a:buClr>
              <a:buSzPts val="1200"/>
              <a:buChar char="●"/>
              <a:defRPr sz="2400">
                <a:solidFill>
                  <a:srgbClr val="222222"/>
                </a:solidFill>
              </a:defRPr>
            </a:lvl1pPr>
            <a:lvl2pPr marL="1828800" lvl="1" indent="-609600" rtl="0">
              <a:spcBef>
                <a:spcPts val="3200"/>
              </a:spcBef>
              <a:spcAft>
                <a:spcPts val="0"/>
              </a:spcAft>
              <a:buClr>
                <a:srgbClr val="222222"/>
              </a:buClr>
              <a:buSzPts val="1200"/>
              <a:buChar char="○"/>
              <a:defRPr sz="2400">
                <a:solidFill>
                  <a:srgbClr val="222222"/>
                </a:solidFill>
              </a:defRPr>
            </a:lvl2pPr>
            <a:lvl3pPr marL="2743200" lvl="2" indent="-584200" rtl="0">
              <a:spcBef>
                <a:spcPts val="3200"/>
              </a:spcBef>
              <a:spcAft>
                <a:spcPts val="0"/>
              </a:spcAft>
              <a:buClr>
                <a:srgbClr val="222222"/>
              </a:buClr>
              <a:buSzPts val="1000"/>
              <a:buChar char="■"/>
              <a:defRPr sz="2000">
                <a:solidFill>
                  <a:srgbClr val="222222"/>
                </a:solidFill>
              </a:defRPr>
            </a:lvl3pPr>
            <a:lvl4pPr marL="3657600" lvl="3" indent="-584200" rtl="0">
              <a:spcBef>
                <a:spcPts val="3200"/>
              </a:spcBef>
              <a:spcAft>
                <a:spcPts val="0"/>
              </a:spcAft>
              <a:buClr>
                <a:srgbClr val="222222"/>
              </a:buClr>
              <a:buSzPts val="1000"/>
              <a:buChar char="●"/>
              <a:defRPr sz="2000">
                <a:solidFill>
                  <a:srgbClr val="222222"/>
                </a:solidFill>
              </a:defRPr>
            </a:lvl4pPr>
            <a:lvl5pPr marL="4572000" lvl="4" indent="-558800" rtl="0">
              <a:spcBef>
                <a:spcPts val="3200"/>
              </a:spcBef>
              <a:spcAft>
                <a:spcPts val="0"/>
              </a:spcAft>
              <a:buClr>
                <a:srgbClr val="222222"/>
              </a:buClr>
              <a:buSzPts val="800"/>
              <a:buChar char="○"/>
              <a:defRPr sz="1600">
                <a:solidFill>
                  <a:srgbClr val="222222"/>
                </a:solidFill>
              </a:defRPr>
            </a:lvl5pPr>
            <a:lvl6pPr marL="5486400" lvl="5" indent="-558800" rtl="0">
              <a:spcBef>
                <a:spcPts val="3200"/>
              </a:spcBef>
              <a:spcAft>
                <a:spcPts val="0"/>
              </a:spcAft>
              <a:buClr>
                <a:srgbClr val="222222"/>
              </a:buClr>
              <a:buSzPts val="800"/>
              <a:buChar char="■"/>
              <a:defRPr sz="1600">
                <a:solidFill>
                  <a:srgbClr val="222222"/>
                </a:solidFill>
              </a:defRPr>
            </a:lvl6pPr>
            <a:lvl7pPr marL="6400800" lvl="6" indent="-609600" rtl="0">
              <a:spcBef>
                <a:spcPts val="3200"/>
              </a:spcBef>
              <a:spcAft>
                <a:spcPts val="0"/>
              </a:spcAft>
              <a:buClr>
                <a:srgbClr val="222222"/>
              </a:buClr>
              <a:buSzPts val="1200"/>
              <a:buChar char="●"/>
              <a:defRPr>
                <a:solidFill>
                  <a:srgbClr val="222222"/>
                </a:solidFill>
              </a:defRPr>
            </a:lvl7pPr>
            <a:lvl8pPr marL="7315200" lvl="7" indent="-609600" rtl="0">
              <a:spcBef>
                <a:spcPts val="3200"/>
              </a:spcBef>
              <a:spcAft>
                <a:spcPts val="0"/>
              </a:spcAft>
              <a:buClr>
                <a:srgbClr val="222222"/>
              </a:buClr>
              <a:buSzPts val="1200"/>
              <a:buChar char="○"/>
              <a:defRPr>
                <a:solidFill>
                  <a:srgbClr val="222222"/>
                </a:solidFill>
              </a:defRPr>
            </a:lvl8pPr>
            <a:lvl9pPr marL="8229600" lvl="8" indent="-609600" rtl="0">
              <a:spcBef>
                <a:spcPts val="3200"/>
              </a:spcBef>
              <a:spcAft>
                <a:spcPts val="3200"/>
              </a:spcAft>
              <a:buClr>
                <a:srgbClr val="222222"/>
              </a:buClr>
              <a:buSzPts val="1200"/>
              <a:buChar char="■"/>
              <a:defRPr>
                <a:solidFill>
                  <a:srgbClr val="222222"/>
                </a:solidFill>
              </a:defRPr>
            </a:lvl9pPr>
          </a:lstStyle>
          <a:p>
            <a:endParaRP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Título e corpo 1 1">
  <p:cSld name="TITLE_AND_BODY_1_1">
    <p:bg>
      <p:bgPr>
        <a:solidFill>
          <a:srgbClr val="222222"/>
        </a:solidFill>
        <a:effectLst/>
      </p:bgPr>
    </p:bg>
    <p:spTree>
      <p:nvGrpSpPr>
        <p:cNvPr id="1" name="Shape 368"/>
        <p:cNvGrpSpPr/>
        <p:nvPr/>
      </p:nvGrpSpPr>
      <p:grpSpPr>
        <a:xfrm>
          <a:off x="0" y="0"/>
          <a:ext cx="0" cy="0"/>
          <a:chOff x="0" y="0"/>
          <a:chExt cx="0" cy="0"/>
        </a:xfrm>
      </p:grpSpPr>
      <p:sp>
        <p:nvSpPr>
          <p:cNvPr id="369" name="Google Shape;369;p56"/>
          <p:cNvSpPr txBox="1">
            <a:spLocks noGrp="1"/>
          </p:cNvSpPr>
          <p:nvPr>
            <p:ph type="title"/>
          </p:nvPr>
        </p:nvSpPr>
        <p:spPr>
          <a:xfrm>
            <a:off x="7867650" y="1042450"/>
            <a:ext cx="8492400" cy="11454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FFFFFF"/>
              </a:buClr>
              <a:buSzPts val="2000"/>
              <a:buNone/>
              <a:defRPr>
                <a:solidFill>
                  <a:srgbClr val="FFFFFF"/>
                </a:solidFill>
              </a:defRPr>
            </a:lvl1pPr>
            <a:lvl2pPr lvl="1" rtl="0">
              <a:spcBef>
                <a:spcPts val="0"/>
              </a:spcBef>
              <a:spcAft>
                <a:spcPts val="0"/>
              </a:spcAft>
              <a:buClr>
                <a:srgbClr val="FFFFFF"/>
              </a:buClr>
              <a:buSzPts val="2000"/>
              <a:buNone/>
              <a:defRPr>
                <a:solidFill>
                  <a:srgbClr val="FFFFFF"/>
                </a:solidFill>
              </a:defRPr>
            </a:lvl2pPr>
            <a:lvl3pPr lvl="2" rtl="0">
              <a:spcBef>
                <a:spcPts val="0"/>
              </a:spcBef>
              <a:spcAft>
                <a:spcPts val="0"/>
              </a:spcAft>
              <a:buClr>
                <a:srgbClr val="FFFFFF"/>
              </a:buClr>
              <a:buSzPts val="2000"/>
              <a:buNone/>
              <a:defRPr>
                <a:solidFill>
                  <a:srgbClr val="FFFFFF"/>
                </a:solidFill>
              </a:defRPr>
            </a:lvl3pPr>
            <a:lvl4pPr lvl="3" rtl="0">
              <a:spcBef>
                <a:spcPts val="0"/>
              </a:spcBef>
              <a:spcAft>
                <a:spcPts val="0"/>
              </a:spcAft>
              <a:buClr>
                <a:srgbClr val="FFFFFF"/>
              </a:buClr>
              <a:buSzPts val="2000"/>
              <a:buNone/>
              <a:defRPr>
                <a:solidFill>
                  <a:srgbClr val="FFFFFF"/>
                </a:solidFill>
              </a:defRPr>
            </a:lvl4pPr>
            <a:lvl5pPr lvl="4" rtl="0">
              <a:spcBef>
                <a:spcPts val="0"/>
              </a:spcBef>
              <a:spcAft>
                <a:spcPts val="0"/>
              </a:spcAft>
              <a:buClr>
                <a:srgbClr val="FFFFFF"/>
              </a:buClr>
              <a:buSzPts val="2000"/>
              <a:buNone/>
              <a:defRPr>
                <a:solidFill>
                  <a:srgbClr val="FFFFFF"/>
                </a:solidFill>
              </a:defRPr>
            </a:lvl5pPr>
            <a:lvl6pPr lvl="5" rtl="0">
              <a:spcBef>
                <a:spcPts val="0"/>
              </a:spcBef>
              <a:spcAft>
                <a:spcPts val="0"/>
              </a:spcAft>
              <a:buClr>
                <a:srgbClr val="FFFFFF"/>
              </a:buClr>
              <a:buSzPts val="2000"/>
              <a:buNone/>
              <a:defRPr>
                <a:solidFill>
                  <a:srgbClr val="FFFFFF"/>
                </a:solidFill>
              </a:defRPr>
            </a:lvl6pPr>
            <a:lvl7pPr lvl="6" rtl="0">
              <a:spcBef>
                <a:spcPts val="0"/>
              </a:spcBef>
              <a:spcAft>
                <a:spcPts val="0"/>
              </a:spcAft>
              <a:buClr>
                <a:srgbClr val="FFFFFF"/>
              </a:buClr>
              <a:buSzPts val="2000"/>
              <a:buNone/>
              <a:defRPr>
                <a:solidFill>
                  <a:srgbClr val="FFFFFF"/>
                </a:solidFill>
              </a:defRPr>
            </a:lvl7pPr>
            <a:lvl8pPr lvl="7" rtl="0">
              <a:spcBef>
                <a:spcPts val="0"/>
              </a:spcBef>
              <a:spcAft>
                <a:spcPts val="0"/>
              </a:spcAft>
              <a:buClr>
                <a:srgbClr val="FFFFFF"/>
              </a:buClr>
              <a:buSzPts val="2000"/>
              <a:buNone/>
              <a:defRPr>
                <a:solidFill>
                  <a:srgbClr val="FFFFFF"/>
                </a:solidFill>
              </a:defRPr>
            </a:lvl8pPr>
            <a:lvl9pPr lvl="8" rtl="0">
              <a:spcBef>
                <a:spcPts val="0"/>
              </a:spcBef>
              <a:spcAft>
                <a:spcPts val="0"/>
              </a:spcAft>
              <a:buClr>
                <a:srgbClr val="FFFFFF"/>
              </a:buClr>
              <a:buSzPts val="2000"/>
              <a:buNone/>
              <a:defRPr>
                <a:solidFill>
                  <a:srgbClr val="FFFFFF"/>
                </a:solidFill>
              </a:defRPr>
            </a:lvl9pPr>
          </a:lstStyle>
          <a:p>
            <a:endParaRPr/>
          </a:p>
        </p:txBody>
      </p:sp>
      <p:sp>
        <p:nvSpPr>
          <p:cNvPr id="370" name="Google Shape;370;p56"/>
          <p:cNvSpPr txBox="1">
            <a:spLocks noGrp="1"/>
          </p:cNvSpPr>
          <p:nvPr>
            <p:ph type="body" idx="1"/>
          </p:nvPr>
        </p:nvSpPr>
        <p:spPr>
          <a:xfrm>
            <a:off x="7867650" y="3130350"/>
            <a:ext cx="8686800" cy="5891400"/>
          </a:xfrm>
          <a:prstGeom prst="rect">
            <a:avLst/>
          </a:prstGeom>
        </p:spPr>
        <p:txBody>
          <a:bodyPr spcFirstLastPara="1" wrap="square" lIns="91425" tIns="91425" rIns="91425" bIns="91425" anchor="t" anchorCtr="0">
            <a:noAutofit/>
          </a:bodyPr>
          <a:lstStyle>
            <a:lvl1pPr marL="914400" lvl="0" indent="-609600" rtl="0">
              <a:spcBef>
                <a:spcPts val="0"/>
              </a:spcBef>
              <a:spcAft>
                <a:spcPts val="0"/>
              </a:spcAft>
              <a:buSzPts val="1200"/>
              <a:buChar char="●"/>
              <a:defRPr/>
            </a:lvl1pPr>
            <a:lvl2pPr marL="1828800" lvl="1" indent="-609600" rtl="0">
              <a:spcBef>
                <a:spcPts val="3200"/>
              </a:spcBef>
              <a:spcAft>
                <a:spcPts val="0"/>
              </a:spcAft>
              <a:buSzPts val="1200"/>
              <a:buChar char="○"/>
              <a:defRPr/>
            </a:lvl2pPr>
            <a:lvl3pPr marL="2743200" lvl="2" indent="-609600" rtl="0">
              <a:spcBef>
                <a:spcPts val="3200"/>
              </a:spcBef>
              <a:spcAft>
                <a:spcPts val="0"/>
              </a:spcAft>
              <a:buSzPts val="1200"/>
              <a:buChar char="■"/>
              <a:defRPr/>
            </a:lvl3pPr>
            <a:lvl4pPr marL="3657600" lvl="3" indent="-609600" rtl="0">
              <a:spcBef>
                <a:spcPts val="3200"/>
              </a:spcBef>
              <a:spcAft>
                <a:spcPts val="0"/>
              </a:spcAft>
              <a:buSzPts val="1200"/>
              <a:buChar char="●"/>
              <a:defRPr/>
            </a:lvl4pPr>
            <a:lvl5pPr marL="4572000" lvl="4" indent="-609600" rtl="0">
              <a:spcBef>
                <a:spcPts val="3200"/>
              </a:spcBef>
              <a:spcAft>
                <a:spcPts val="0"/>
              </a:spcAft>
              <a:buSzPts val="1200"/>
              <a:buChar char="○"/>
              <a:defRPr/>
            </a:lvl5pPr>
            <a:lvl6pPr marL="5486400" lvl="5" indent="-609600" rtl="0">
              <a:spcBef>
                <a:spcPts val="3200"/>
              </a:spcBef>
              <a:spcAft>
                <a:spcPts val="0"/>
              </a:spcAft>
              <a:buSzPts val="1200"/>
              <a:buChar char="■"/>
              <a:defRPr/>
            </a:lvl6pPr>
            <a:lvl7pPr marL="6400800" lvl="6" indent="-609600" rtl="0">
              <a:spcBef>
                <a:spcPts val="3200"/>
              </a:spcBef>
              <a:spcAft>
                <a:spcPts val="0"/>
              </a:spcAft>
              <a:buSzPts val="1200"/>
              <a:buChar char="●"/>
              <a:defRPr/>
            </a:lvl7pPr>
            <a:lvl8pPr marL="7315200" lvl="7" indent="-609600" rtl="0">
              <a:spcBef>
                <a:spcPts val="3200"/>
              </a:spcBef>
              <a:spcAft>
                <a:spcPts val="0"/>
              </a:spcAft>
              <a:buSzPts val="1200"/>
              <a:buChar char="○"/>
              <a:defRPr/>
            </a:lvl8pPr>
            <a:lvl9pPr marL="8229600" lvl="8" indent="-609600" rtl="0">
              <a:spcBef>
                <a:spcPts val="3200"/>
              </a:spcBef>
              <a:spcAft>
                <a:spcPts val="3200"/>
              </a:spcAft>
              <a:buSzPts val="1200"/>
              <a:buChar char="■"/>
              <a:defRPr/>
            </a:lvl9pPr>
          </a:lstStyle>
          <a:p>
            <a:endParaRPr/>
          </a:p>
        </p:txBody>
      </p:sp>
      <p:sp>
        <p:nvSpPr>
          <p:cNvPr id="371" name="Google Shape;371;p56"/>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pt-BR"/>
              <a:pPr marL="0" lvl="0" indent="0" algn="r" rtl="0">
                <a:spcBef>
                  <a:spcPts val="0"/>
                </a:spcBef>
                <a:spcAft>
                  <a:spcPts val="0"/>
                </a:spcAft>
                <a:buNone/>
              </a:pPr>
              <a:t>‹nº›</a:t>
            </a:fld>
            <a:endParaRPr/>
          </a:p>
        </p:txBody>
      </p:sp>
      <p:pic>
        <p:nvPicPr>
          <p:cNvPr id="372" name="Google Shape;372;p5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rot="10800000">
            <a:off x="-76199" y="-236791"/>
            <a:ext cx="6551150" cy="10760642"/>
          </a:xfrm>
          <a:prstGeom prst="rect">
            <a:avLst/>
          </a:prstGeom>
          <a:noFill/>
          <a:ln>
            <a:noFill/>
          </a:ln>
        </p:spPr>
      </p:pic>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373"/>
        <p:cNvGrpSpPr/>
        <p:nvPr/>
      </p:nvGrpSpPr>
      <p:grpSpPr>
        <a:xfrm>
          <a:off x="0" y="0"/>
          <a:ext cx="0" cy="0"/>
          <a:chOff x="0" y="0"/>
          <a:chExt cx="0" cy="0"/>
        </a:xfrm>
      </p:grpSpPr>
      <p:pic>
        <p:nvPicPr>
          <p:cNvPr id="374" name="Google Shape;374;p5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rot="16200000">
            <a:off x="6131679" y="-4453526"/>
            <a:ext cx="5797798" cy="14704852"/>
          </a:xfrm>
          <a:prstGeom prst="rect">
            <a:avLst/>
          </a:prstGeom>
          <a:noFill/>
          <a:ln>
            <a:noFill/>
          </a:ln>
        </p:spPr>
      </p:pic>
      <p:sp>
        <p:nvSpPr>
          <p:cNvPr id="375" name="Google Shape;375;p57"/>
          <p:cNvSpPr txBox="1">
            <a:spLocks noGrp="1"/>
          </p:cNvSpPr>
          <p:nvPr>
            <p:ph type="title"/>
          </p:nvPr>
        </p:nvSpPr>
        <p:spPr>
          <a:xfrm>
            <a:off x="471000" y="432850"/>
            <a:ext cx="17041200" cy="1145400"/>
          </a:xfrm>
          <a:prstGeom prst="rect">
            <a:avLst/>
          </a:prstGeom>
        </p:spPr>
        <p:txBody>
          <a:bodyPr spcFirstLastPara="1" wrap="square" lIns="91425" tIns="91425" rIns="91425" bIns="91425" anchor="t" anchorCtr="0">
            <a:noAutofit/>
          </a:bodyPr>
          <a:lstStyle>
            <a:lvl1pPr lvl="0" rtl="0">
              <a:spcBef>
                <a:spcPts val="0"/>
              </a:spcBef>
              <a:spcAft>
                <a:spcPts val="0"/>
              </a:spcAft>
              <a:buSzPts val="1400"/>
              <a:buNone/>
              <a:defRPr sz="2800"/>
            </a:lvl1pPr>
            <a:lvl2pPr lvl="1" rtl="0">
              <a:spcBef>
                <a:spcPts val="0"/>
              </a:spcBef>
              <a:spcAft>
                <a:spcPts val="0"/>
              </a:spcAft>
              <a:buSzPts val="1400"/>
              <a:buNone/>
              <a:defRPr sz="2800"/>
            </a:lvl2pPr>
            <a:lvl3pPr lvl="2" rtl="0">
              <a:spcBef>
                <a:spcPts val="0"/>
              </a:spcBef>
              <a:spcAft>
                <a:spcPts val="0"/>
              </a:spcAft>
              <a:buSzPts val="1400"/>
              <a:buNone/>
              <a:defRPr sz="2800"/>
            </a:lvl3pPr>
            <a:lvl4pPr lvl="3" rtl="0">
              <a:spcBef>
                <a:spcPts val="0"/>
              </a:spcBef>
              <a:spcAft>
                <a:spcPts val="0"/>
              </a:spcAft>
              <a:buSzPts val="1400"/>
              <a:buNone/>
              <a:defRPr sz="2800"/>
            </a:lvl4pPr>
            <a:lvl5pPr lvl="4" rtl="0">
              <a:spcBef>
                <a:spcPts val="0"/>
              </a:spcBef>
              <a:spcAft>
                <a:spcPts val="0"/>
              </a:spcAft>
              <a:buSzPts val="1400"/>
              <a:buNone/>
              <a:defRPr sz="2800"/>
            </a:lvl5pPr>
            <a:lvl6pPr lvl="5" rtl="0">
              <a:spcBef>
                <a:spcPts val="0"/>
              </a:spcBef>
              <a:spcAft>
                <a:spcPts val="0"/>
              </a:spcAft>
              <a:buSzPts val="1400"/>
              <a:buNone/>
              <a:defRPr sz="2800"/>
            </a:lvl6pPr>
            <a:lvl7pPr lvl="6" rtl="0">
              <a:spcBef>
                <a:spcPts val="0"/>
              </a:spcBef>
              <a:spcAft>
                <a:spcPts val="0"/>
              </a:spcAft>
              <a:buSzPts val="1400"/>
              <a:buNone/>
              <a:defRPr sz="2800"/>
            </a:lvl7pPr>
            <a:lvl8pPr lvl="7" rtl="0">
              <a:spcBef>
                <a:spcPts val="0"/>
              </a:spcBef>
              <a:spcAft>
                <a:spcPts val="0"/>
              </a:spcAft>
              <a:buSzPts val="1400"/>
              <a:buNone/>
              <a:defRPr sz="2800"/>
            </a:lvl8pPr>
            <a:lvl9pPr lvl="8" rtl="0">
              <a:spcBef>
                <a:spcPts val="0"/>
              </a:spcBef>
              <a:spcAft>
                <a:spcPts val="0"/>
              </a:spcAft>
              <a:buSzPts val="1400"/>
              <a:buNone/>
              <a:defRPr sz="2800"/>
            </a:lvl9pPr>
          </a:lstStyle>
          <a:p>
            <a:endParaRPr/>
          </a:p>
        </p:txBody>
      </p:sp>
      <p:sp>
        <p:nvSpPr>
          <p:cNvPr id="376" name="Google Shape;376;p57"/>
          <p:cNvSpPr txBox="1">
            <a:spLocks noGrp="1"/>
          </p:cNvSpPr>
          <p:nvPr>
            <p:ph type="body" idx="1"/>
          </p:nvPr>
        </p:nvSpPr>
        <p:spPr>
          <a:xfrm>
            <a:off x="1190700" y="2914550"/>
            <a:ext cx="7324200" cy="6021600"/>
          </a:xfrm>
          <a:prstGeom prst="rect">
            <a:avLst/>
          </a:prstGeom>
        </p:spPr>
        <p:txBody>
          <a:bodyPr spcFirstLastPara="1" wrap="square" lIns="91425" tIns="91425" rIns="91425" bIns="91425" anchor="t" anchorCtr="0">
            <a:noAutofit/>
          </a:bodyPr>
          <a:lstStyle>
            <a:lvl1pPr marL="914400" lvl="0" indent="-762000" rtl="0">
              <a:spcBef>
                <a:spcPts val="0"/>
              </a:spcBef>
              <a:spcAft>
                <a:spcPts val="0"/>
              </a:spcAft>
              <a:buSzPts val="2400"/>
              <a:buFont typeface="Montserrat"/>
              <a:buChar char="●"/>
              <a:defRPr sz="4800" b="1">
                <a:latin typeface="Montserrat"/>
                <a:ea typeface="Montserrat"/>
                <a:cs typeface="Montserrat"/>
                <a:sym typeface="Montserrat"/>
              </a:defRPr>
            </a:lvl1pPr>
            <a:lvl2pPr marL="1828800" lvl="1" indent="-762000" rtl="0">
              <a:spcBef>
                <a:spcPts val="3200"/>
              </a:spcBef>
              <a:spcAft>
                <a:spcPts val="0"/>
              </a:spcAft>
              <a:buSzPts val="2400"/>
              <a:buFont typeface="Montserrat"/>
              <a:buChar char="○"/>
              <a:defRPr sz="4800" b="1">
                <a:latin typeface="Montserrat"/>
                <a:ea typeface="Montserrat"/>
                <a:cs typeface="Montserrat"/>
                <a:sym typeface="Montserrat"/>
              </a:defRPr>
            </a:lvl2pPr>
            <a:lvl3pPr marL="2743200" lvl="2" indent="-762000" rtl="0">
              <a:spcBef>
                <a:spcPts val="3200"/>
              </a:spcBef>
              <a:spcAft>
                <a:spcPts val="0"/>
              </a:spcAft>
              <a:buSzPts val="2400"/>
              <a:buFont typeface="Montserrat"/>
              <a:buChar char="■"/>
              <a:defRPr sz="4800" b="1">
                <a:latin typeface="Montserrat"/>
                <a:ea typeface="Montserrat"/>
                <a:cs typeface="Montserrat"/>
                <a:sym typeface="Montserrat"/>
              </a:defRPr>
            </a:lvl3pPr>
            <a:lvl4pPr marL="3657600" lvl="3" indent="-762000" rtl="0">
              <a:spcBef>
                <a:spcPts val="3200"/>
              </a:spcBef>
              <a:spcAft>
                <a:spcPts val="0"/>
              </a:spcAft>
              <a:buSzPts val="2400"/>
              <a:buFont typeface="Montserrat"/>
              <a:buChar char="●"/>
              <a:defRPr sz="4800" b="1">
                <a:latin typeface="Montserrat"/>
                <a:ea typeface="Montserrat"/>
                <a:cs typeface="Montserrat"/>
                <a:sym typeface="Montserrat"/>
              </a:defRPr>
            </a:lvl4pPr>
            <a:lvl5pPr marL="4572000" lvl="4" indent="-762000" rtl="0">
              <a:spcBef>
                <a:spcPts val="3200"/>
              </a:spcBef>
              <a:spcAft>
                <a:spcPts val="0"/>
              </a:spcAft>
              <a:buSzPts val="2400"/>
              <a:buFont typeface="Montserrat"/>
              <a:buChar char="○"/>
              <a:defRPr sz="4800" b="1">
                <a:latin typeface="Montserrat"/>
                <a:ea typeface="Montserrat"/>
                <a:cs typeface="Montserrat"/>
                <a:sym typeface="Montserrat"/>
              </a:defRPr>
            </a:lvl5pPr>
            <a:lvl6pPr marL="5486400" lvl="5" indent="-762000" rtl="0">
              <a:spcBef>
                <a:spcPts val="3200"/>
              </a:spcBef>
              <a:spcAft>
                <a:spcPts val="0"/>
              </a:spcAft>
              <a:buSzPts val="2400"/>
              <a:buFont typeface="Montserrat"/>
              <a:buChar char="■"/>
              <a:defRPr sz="4800" b="1">
                <a:latin typeface="Montserrat"/>
                <a:ea typeface="Montserrat"/>
                <a:cs typeface="Montserrat"/>
                <a:sym typeface="Montserrat"/>
              </a:defRPr>
            </a:lvl6pPr>
            <a:lvl7pPr marL="6400800" lvl="6" indent="-762000" rtl="0">
              <a:spcBef>
                <a:spcPts val="3200"/>
              </a:spcBef>
              <a:spcAft>
                <a:spcPts val="0"/>
              </a:spcAft>
              <a:buSzPts val="2400"/>
              <a:buFont typeface="Montserrat"/>
              <a:buChar char="●"/>
              <a:defRPr sz="4800" b="1">
                <a:latin typeface="Montserrat"/>
                <a:ea typeface="Montserrat"/>
                <a:cs typeface="Montserrat"/>
                <a:sym typeface="Montserrat"/>
              </a:defRPr>
            </a:lvl7pPr>
            <a:lvl8pPr marL="7315200" lvl="7" indent="-762000" rtl="0">
              <a:spcBef>
                <a:spcPts val="3200"/>
              </a:spcBef>
              <a:spcAft>
                <a:spcPts val="0"/>
              </a:spcAft>
              <a:buSzPts val="2400"/>
              <a:buFont typeface="Montserrat"/>
              <a:buChar char="○"/>
              <a:defRPr sz="4800" b="1">
                <a:latin typeface="Montserrat"/>
                <a:ea typeface="Montserrat"/>
                <a:cs typeface="Montserrat"/>
                <a:sym typeface="Montserrat"/>
              </a:defRPr>
            </a:lvl8pPr>
            <a:lvl9pPr marL="8229600" lvl="8" indent="-762000" rtl="0">
              <a:spcBef>
                <a:spcPts val="3200"/>
              </a:spcBef>
              <a:spcAft>
                <a:spcPts val="3200"/>
              </a:spcAft>
              <a:buSzPts val="2400"/>
              <a:buFont typeface="Montserrat"/>
              <a:buChar char="■"/>
              <a:defRPr sz="4800" b="1">
                <a:latin typeface="Montserrat"/>
                <a:ea typeface="Montserrat"/>
                <a:cs typeface="Montserrat"/>
                <a:sym typeface="Montserrat"/>
              </a:defRPr>
            </a:lvl9pPr>
          </a:lstStyle>
          <a:p>
            <a:endParaRPr/>
          </a:p>
        </p:txBody>
      </p:sp>
      <p:sp>
        <p:nvSpPr>
          <p:cNvPr id="377" name="Google Shape;377;p57"/>
          <p:cNvSpPr txBox="1">
            <a:spLocks noGrp="1"/>
          </p:cNvSpPr>
          <p:nvPr>
            <p:ph type="body" idx="2"/>
          </p:nvPr>
        </p:nvSpPr>
        <p:spPr>
          <a:xfrm>
            <a:off x="9468410" y="2914550"/>
            <a:ext cx="7324200" cy="6021600"/>
          </a:xfrm>
          <a:prstGeom prst="rect">
            <a:avLst/>
          </a:prstGeom>
        </p:spPr>
        <p:txBody>
          <a:bodyPr spcFirstLastPara="1" wrap="square" lIns="91425" tIns="91425" rIns="91425" bIns="91425" anchor="t" anchorCtr="0">
            <a:noAutofit/>
          </a:bodyPr>
          <a:lstStyle>
            <a:lvl1pPr marL="914400" lvl="0" indent="-609600" rtl="0">
              <a:spcBef>
                <a:spcPts val="0"/>
              </a:spcBef>
              <a:spcAft>
                <a:spcPts val="0"/>
              </a:spcAft>
              <a:buSzPts val="1200"/>
              <a:buChar char="●"/>
              <a:defRPr/>
            </a:lvl1pPr>
            <a:lvl2pPr marL="1828800" lvl="1" indent="-609600" rtl="0">
              <a:spcBef>
                <a:spcPts val="3200"/>
              </a:spcBef>
              <a:spcAft>
                <a:spcPts val="0"/>
              </a:spcAft>
              <a:buSzPts val="1200"/>
              <a:buChar char="○"/>
              <a:defRPr/>
            </a:lvl2pPr>
            <a:lvl3pPr marL="2743200" lvl="2" indent="-609600" rtl="0">
              <a:spcBef>
                <a:spcPts val="3200"/>
              </a:spcBef>
              <a:spcAft>
                <a:spcPts val="0"/>
              </a:spcAft>
              <a:buSzPts val="1200"/>
              <a:buChar char="■"/>
              <a:defRPr sz="2400"/>
            </a:lvl3pPr>
            <a:lvl4pPr marL="3657600" lvl="3" indent="-609600" rtl="0">
              <a:spcBef>
                <a:spcPts val="3200"/>
              </a:spcBef>
              <a:spcAft>
                <a:spcPts val="0"/>
              </a:spcAft>
              <a:buSzPts val="1200"/>
              <a:buChar char="●"/>
              <a:defRPr sz="2400"/>
            </a:lvl4pPr>
            <a:lvl5pPr marL="4572000" lvl="4" indent="-609600" rtl="0">
              <a:spcBef>
                <a:spcPts val="3200"/>
              </a:spcBef>
              <a:spcAft>
                <a:spcPts val="0"/>
              </a:spcAft>
              <a:buSzPts val="1200"/>
              <a:buChar char="○"/>
              <a:defRPr sz="2400"/>
            </a:lvl5pPr>
            <a:lvl6pPr marL="5486400" lvl="5" indent="-609600" rtl="0">
              <a:spcBef>
                <a:spcPts val="3200"/>
              </a:spcBef>
              <a:spcAft>
                <a:spcPts val="0"/>
              </a:spcAft>
              <a:buSzPts val="1200"/>
              <a:buChar char="■"/>
              <a:defRPr sz="2400"/>
            </a:lvl6pPr>
            <a:lvl7pPr marL="6400800" lvl="6" indent="-609600" rtl="0">
              <a:spcBef>
                <a:spcPts val="3200"/>
              </a:spcBef>
              <a:spcAft>
                <a:spcPts val="0"/>
              </a:spcAft>
              <a:buSzPts val="1200"/>
              <a:buChar char="●"/>
              <a:defRPr sz="2400"/>
            </a:lvl7pPr>
            <a:lvl8pPr marL="7315200" lvl="7" indent="-609600" rtl="0">
              <a:spcBef>
                <a:spcPts val="3200"/>
              </a:spcBef>
              <a:spcAft>
                <a:spcPts val="0"/>
              </a:spcAft>
              <a:buSzPts val="1200"/>
              <a:buChar char="○"/>
              <a:defRPr sz="2400"/>
            </a:lvl8pPr>
            <a:lvl9pPr marL="8229600" lvl="8" indent="-609600" rtl="0">
              <a:spcBef>
                <a:spcPts val="3200"/>
              </a:spcBef>
              <a:spcAft>
                <a:spcPts val="3200"/>
              </a:spcAft>
              <a:buSzPts val="1200"/>
              <a:buChar char="■"/>
              <a:defRPr sz="2400"/>
            </a:lvl9pPr>
          </a:lstStyle>
          <a:p>
            <a:endParaRPr/>
          </a:p>
        </p:txBody>
      </p:sp>
      <p:sp>
        <p:nvSpPr>
          <p:cNvPr id="378" name="Google Shape;378;p57"/>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pt-BR"/>
              <a:pPr marL="0" lvl="0" indent="0" algn="r" rtl="0">
                <a:spcBef>
                  <a:spcPts val="0"/>
                </a:spcBef>
                <a:spcAft>
                  <a:spcPts val="0"/>
                </a:spcAft>
                <a:buNone/>
              </a:pPr>
              <a:t>‹nº›</a:t>
            </a:fld>
            <a:endParaRP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Título e duas colunas 1">
  <p:cSld name="TITLE_AND_TWO_COLUMNS_1">
    <p:bg>
      <p:bgPr>
        <a:solidFill>
          <a:srgbClr val="FFFFFF"/>
        </a:solidFill>
        <a:effectLst/>
      </p:bgPr>
    </p:bg>
    <p:spTree>
      <p:nvGrpSpPr>
        <p:cNvPr id="1" name="Shape 379"/>
        <p:cNvGrpSpPr/>
        <p:nvPr/>
      </p:nvGrpSpPr>
      <p:grpSpPr>
        <a:xfrm>
          <a:off x="0" y="0"/>
          <a:ext cx="0" cy="0"/>
          <a:chOff x="0" y="0"/>
          <a:chExt cx="0" cy="0"/>
        </a:xfrm>
      </p:grpSpPr>
      <p:pic>
        <p:nvPicPr>
          <p:cNvPr id="380" name="Google Shape;380;p5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rot="16200000">
            <a:off x="90431" y="-128528"/>
            <a:ext cx="3521198" cy="3740156"/>
          </a:xfrm>
          <a:prstGeom prst="rect">
            <a:avLst/>
          </a:prstGeom>
          <a:noFill/>
          <a:ln>
            <a:noFill/>
          </a:ln>
        </p:spPr>
      </p:pic>
      <p:sp>
        <p:nvSpPr>
          <p:cNvPr id="381" name="Google Shape;381;p58"/>
          <p:cNvSpPr txBox="1">
            <a:spLocks noGrp="1"/>
          </p:cNvSpPr>
          <p:nvPr>
            <p:ph type="title"/>
          </p:nvPr>
        </p:nvSpPr>
        <p:spPr>
          <a:xfrm>
            <a:off x="1001100" y="1083262"/>
            <a:ext cx="17041200" cy="11454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222222"/>
              </a:buClr>
              <a:buSzPts val="1800"/>
              <a:buNone/>
              <a:defRPr sz="3600">
                <a:solidFill>
                  <a:srgbClr val="222222"/>
                </a:solidFill>
              </a:defRPr>
            </a:lvl1pPr>
            <a:lvl2pPr lvl="1" rtl="0">
              <a:spcBef>
                <a:spcPts val="0"/>
              </a:spcBef>
              <a:spcAft>
                <a:spcPts val="0"/>
              </a:spcAft>
              <a:buClr>
                <a:srgbClr val="222222"/>
              </a:buClr>
              <a:buSzPts val="1800"/>
              <a:buNone/>
              <a:defRPr sz="3600">
                <a:solidFill>
                  <a:srgbClr val="222222"/>
                </a:solidFill>
              </a:defRPr>
            </a:lvl2pPr>
            <a:lvl3pPr lvl="2" rtl="0">
              <a:spcBef>
                <a:spcPts val="0"/>
              </a:spcBef>
              <a:spcAft>
                <a:spcPts val="0"/>
              </a:spcAft>
              <a:buClr>
                <a:srgbClr val="222222"/>
              </a:buClr>
              <a:buSzPts val="1800"/>
              <a:buNone/>
              <a:defRPr sz="3600">
                <a:solidFill>
                  <a:srgbClr val="222222"/>
                </a:solidFill>
              </a:defRPr>
            </a:lvl3pPr>
            <a:lvl4pPr lvl="3" rtl="0">
              <a:spcBef>
                <a:spcPts val="0"/>
              </a:spcBef>
              <a:spcAft>
                <a:spcPts val="0"/>
              </a:spcAft>
              <a:buClr>
                <a:srgbClr val="222222"/>
              </a:buClr>
              <a:buSzPts val="1800"/>
              <a:buNone/>
              <a:defRPr sz="3600">
                <a:solidFill>
                  <a:srgbClr val="222222"/>
                </a:solidFill>
              </a:defRPr>
            </a:lvl4pPr>
            <a:lvl5pPr lvl="4" rtl="0">
              <a:spcBef>
                <a:spcPts val="0"/>
              </a:spcBef>
              <a:spcAft>
                <a:spcPts val="0"/>
              </a:spcAft>
              <a:buClr>
                <a:srgbClr val="222222"/>
              </a:buClr>
              <a:buSzPts val="1800"/>
              <a:buNone/>
              <a:defRPr sz="3600">
                <a:solidFill>
                  <a:srgbClr val="222222"/>
                </a:solidFill>
              </a:defRPr>
            </a:lvl5pPr>
            <a:lvl6pPr lvl="5" rtl="0">
              <a:spcBef>
                <a:spcPts val="0"/>
              </a:spcBef>
              <a:spcAft>
                <a:spcPts val="0"/>
              </a:spcAft>
              <a:buClr>
                <a:srgbClr val="222222"/>
              </a:buClr>
              <a:buSzPts val="1800"/>
              <a:buNone/>
              <a:defRPr sz="3600">
                <a:solidFill>
                  <a:srgbClr val="222222"/>
                </a:solidFill>
              </a:defRPr>
            </a:lvl6pPr>
            <a:lvl7pPr lvl="6" rtl="0">
              <a:spcBef>
                <a:spcPts val="0"/>
              </a:spcBef>
              <a:spcAft>
                <a:spcPts val="0"/>
              </a:spcAft>
              <a:buClr>
                <a:srgbClr val="222222"/>
              </a:buClr>
              <a:buSzPts val="1800"/>
              <a:buNone/>
              <a:defRPr sz="3600">
                <a:solidFill>
                  <a:srgbClr val="222222"/>
                </a:solidFill>
              </a:defRPr>
            </a:lvl7pPr>
            <a:lvl8pPr lvl="7" rtl="0">
              <a:spcBef>
                <a:spcPts val="0"/>
              </a:spcBef>
              <a:spcAft>
                <a:spcPts val="0"/>
              </a:spcAft>
              <a:buClr>
                <a:srgbClr val="222222"/>
              </a:buClr>
              <a:buSzPts val="1800"/>
              <a:buNone/>
              <a:defRPr sz="3600">
                <a:solidFill>
                  <a:srgbClr val="222222"/>
                </a:solidFill>
              </a:defRPr>
            </a:lvl8pPr>
            <a:lvl9pPr lvl="8" rtl="0">
              <a:spcBef>
                <a:spcPts val="0"/>
              </a:spcBef>
              <a:spcAft>
                <a:spcPts val="0"/>
              </a:spcAft>
              <a:buClr>
                <a:srgbClr val="222222"/>
              </a:buClr>
              <a:buSzPts val="1800"/>
              <a:buNone/>
              <a:defRPr sz="3600">
                <a:solidFill>
                  <a:srgbClr val="222222"/>
                </a:solidFill>
              </a:defRPr>
            </a:lvl9pPr>
          </a:lstStyle>
          <a:p>
            <a:endParaRPr/>
          </a:p>
        </p:txBody>
      </p:sp>
      <p:sp>
        <p:nvSpPr>
          <p:cNvPr id="382" name="Google Shape;382;p58"/>
          <p:cNvSpPr txBox="1">
            <a:spLocks noGrp="1"/>
          </p:cNvSpPr>
          <p:nvPr>
            <p:ph type="body" idx="1"/>
          </p:nvPr>
        </p:nvSpPr>
        <p:spPr>
          <a:xfrm>
            <a:off x="1126750" y="2914550"/>
            <a:ext cx="4598400" cy="6021600"/>
          </a:xfrm>
          <a:prstGeom prst="rect">
            <a:avLst/>
          </a:prstGeom>
        </p:spPr>
        <p:txBody>
          <a:bodyPr spcFirstLastPara="1" wrap="square" lIns="91425" tIns="91425" rIns="91425" bIns="91425" anchor="t" anchorCtr="0">
            <a:noAutofit/>
          </a:bodyPr>
          <a:lstStyle>
            <a:lvl1pPr marL="914400" lvl="0" indent="-571500" rtl="0">
              <a:spcBef>
                <a:spcPts val="0"/>
              </a:spcBef>
              <a:spcAft>
                <a:spcPts val="0"/>
              </a:spcAft>
              <a:buClr>
                <a:srgbClr val="222222"/>
              </a:buClr>
              <a:buSzPts val="900"/>
              <a:buChar char="●"/>
              <a:defRPr sz="1800">
                <a:solidFill>
                  <a:srgbClr val="222222"/>
                </a:solidFill>
              </a:defRPr>
            </a:lvl1pPr>
            <a:lvl2pPr marL="1828800" lvl="1" indent="-571500" rtl="0">
              <a:spcBef>
                <a:spcPts val="3200"/>
              </a:spcBef>
              <a:spcAft>
                <a:spcPts val="0"/>
              </a:spcAft>
              <a:buClr>
                <a:srgbClr val="222222"/>
              </a:buClr>
              <a:buSzPts val="900"/>
              <a:buChar char="○"/>
              <a:defRPr sz="1800">
                <a:solidFill>
                  <a:srgbClr val="222222"/>
                </a:solidFill>
              </a:defRPr>
            </a:lvl2pPr>
            <a:lvl3pPr marL="2743200" lvl="2" indent="-571500" rtl="0">
              <a:spcBef>
                <a:spcPts val="3200"/>
              </a:spcBef>
              <a:spcAft>
                <a:spcPts val="0"/>
              </a:spcAft>
              <a:buClr>
                <a:srgbClr val="222222"/>
              </a:buClr>
              <a:buSzPts val="900"/>
              <a:buChar char="■"/>
              <a:defRPr sz="1800">
                <a:solidFill>
                  <a:srgbClr val="222222"/>
                </a:solidFill>
              </a:defRPr>
            </a:lvl3pPr>
            <a:lvl4pPr marL="3657600" lvl="3" indent="-571500" rtl="0">
              <a:spcBef>
                <a:spcPts val="3200"/>
              </a:spcBef>
              <a:spcAft>
                <a:spcPts val="0"/>
              </a:spcAft>
              <a:buClr>
                <a:srgbClr val="222222"/>
              </a:buClr>
              <a:buSzPts val="900"/>
              <a:buChar char="●"/>
              <a:defRPr sz="1800">
                <a:solidFill>
                  <a:srgbClr val="222222"/>
                </a:solidFill>
              </a:defRPr>
            </a:lvl4pPr>
            <a:lvl5pPr marL="4572000" lvl="4" indent="-571500" rtl="0">
              <a:spcBef>
                <a:spcPts val="3200"/>
              </a:spcBef>
              <a:spcAft>
                <a:spcPts val="0"/>
              </a:spcAft>
              <a:buClr>
                <a:srgbClr val="222222"/>
              </a:buClr>
              <a:buSzPts val="900"/>
              <a:buChar char="○"/>
              <a:defRPr sz="1800">
                <a:solidFill>
                  <a:srgbClr val="222222"/>
                </a:solidFill>
              </a:defRPr>
            </a:lvl5pPr>
            <a:lvl6pPr marL="5486400" lvl="5" indent="-571500" rtl="0">
              <a:spcBef>
                <a:spcPts val="3200"/>
              </a:spcBef>
              <a:spcAft>
                <a:spcPts val="0"/>
              </a:spcAft>
              <a:buClr>
                <a:srgbClr val="222222"/>
              </a:buClr>
              <a:buSzPts val="900"/>
              <a:buChar char="■"/>
              <a:defRPr sz="1800">
                <a:solidFill>
                  <a:srgbClr val="222222"/>
                </a:solidFill>
              </a:defRPr>
            </a:lvl6pPr>
            <a:lvl7pPr marL="6400800" lvl="6" indent="-571500" rtl="0">
              <a:spcBef>
                <a:spcPts val="3200"/>
              </a:spcBef>
              <a:spcAft>
                <a:spcPts val="0"/>
              </a:spcAft>
              <a:buClr>
                <a:srgbClr val="222222"/>
              </a:buClr>
              <a:buSzPts val="900"/>
              <a:buChar char="●"/>
              <a:defRPr sz="1800">
                <a:solidFill>
                  <a:srgbClr val="222222"/>
                </a:solidFill>
              </a:defRPr>
            </a:lvl7pPr>
            <a:lvl8pPr marL="7315200" lvl="7" indent="-571500" rtl="0">
              <a:spcBef>
                <a:spcPts val="3200"/>
              </a:spcBef>
              <a:spcAft>
                <a:spcPts val="0"/>
              </a:spcAft>
              <a:buClr>
                <a:srgbClr val="222222"/>
              </a:buClr>
              <a:buSzPts val="900"/>
              <a:buChar char="○"/>
              <a:defRPr sz="1800">
                <a:solidFill>
                  <a:srgbClr val="222222"/>
                </a:solidFill>
              </a:defRPr>
            </a:lvl8pPr>
            <a:lvl9pPr marL="8229600" lvl="8" indent="-571500" rtl="0">
              <a:spcBef>
                <a:spcPts val="3200"/>
              </a:spcBef>
              <a:spcAft>
                <a:spcPts val="3200"/>
              </a:spcAft>
              <a:buClr>
                <a:srgbClr val="222222"/>
              </a:buClr>
              <a:buSzPts val="900"/>
              <a:buChar char="■"/>
              <a:defRPr sz="1800">
                <a:solidFill>
                  <a:srgbClr val="222222"/>
                </a:solidFill>
              </a:defRPr>
            </a:lvl9pPr>
          </a:lstStyle>
          <a:p>
            <a:endParaRPr/>
          </a:p>
        </p:txBody>
      </p:sp>
      <p:sp>
        <p:nvSpPr>
          <p:cNvPr id="383" name="Google Shape;383;p58"/>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pt-BR"/>
              <a:pPr marL="0" lvl="0" indent="0" algn="r" rtl="0">
                <a:spcBef>
                  <a:spcPts val="0"/>
                </a:spcBef>
                <a:spcAft>
                  <a:spcPts val="0"/>
                </a:spcAft>
                <a:buNone/>
              </a:pPr>
              <a:t>‹nº›</a:t>
            </a:fld>
            <a:endParaRPr/>
          </a:p>
        </p:txBody>
      </p:sp>
      <p:sp>
        <p:nvSpPr>
          <p:cNvPr id="384" name="Google Shape;384;p58"/>
          <p:cNvSpPr txBox="1">
            <a:spLocks noGrp="1"/>
          </p:cNvSpPr>
          <p:nvPr>
            <p:ph type="body" idx="2"/>
          </p:nvPr>
        </p:nvSpPr>
        <p:spPr>
          <a:xfrm>
            <a:off x="6731378" y="2914550"/>
            <a:ext cx="4598400" cy="6021600"/>
          </a:xfrm>
          <a:prstGeom prst="rect">
            <a:avLst/>
          </a:prstGeom>
        </p:spPr>
        <p:txBody>
          <a:bodyPr spcFirstLastPara="1" wrap="square" lIns="91425" tIns="91425" rIns="91425" bIns="91425" anchor="t" anchorCtr="0">
            <a:noAutofit/>
          </a:bodyPr>
          <a:lstStyle>
            <a:lvl1pPr marL="914400" lvl="0" indent="-571500" rtl="0">
              <a:spcBef>
                <a:spcPts val="0"/>
              </a:spcBef>
              <a:spcAft>
                <a:spcPts val="0"/>
              </a:spcAft>
              <a:buClr>
                <a:srgbClr val="222222"/>
              </a:buClr>
              <a:buSzPts val="900"/>
              <a:buChar char="●"/>
              <a:defRPr sz="1800">
                <a:solidFill>
                  <a:srgbClr val="222222"/>
                </a:solidFill>
              </a:defRPr>
            </a:lvl1pPr>
            <a:lvl2pPr marL="1828800" lvl="1" indent="-571500" rtl="0">
              <a:spcBef>
                <a:spcPts val="3200"/>
              </a:spcBef>
              <a:spcAft>
                <a:spcPts val="0"/>
              </a:spcAft>
              <a:buClr>
                <a:srgbClr val="222222"/>
              </a:buClr>
              <a:buSzPts val="900"/>
              <a:buChar char="○"/>
              <a:defRPr sz="1800">
                <a:solidFill>
                  <a:srgbClr val="222222"/>
                </a:solidFill>
              </a:defRPr>
            </a:lvl2pPr>
            <a:lvl3pPr marL="2743200" lvl="2" indent="-571500" rtl="0">
              <a:spcBef>
                <a:spcPts val="3200"/>
              </a:spcBef>
              <a:spcAft>
                <a:spcPts val="0"/>
              </a:spcAft>
              <a:buClr>
                <a:srgbClr val="222222"/>
              </a:buClr>
              <a:buSzPts val="900"/>
              <a:buChar char="■"/>
              <a:defRPr sz="1800">
                <a:solidFill>
                  <a:srgbClr val="222222"/>
                </a:solidFill>
              </a:defRPr>
            </a:lvl3pPr>
            <a:lvl4pPr marL="3657600" lvl="3" indent="-571500" rtl="0">
              <a:spcBef>
                <a:spcPts val="3200"/>
              </a:spcBef>
              <a:spcAft>
                <a:spcPts val="0"/>
              </a:spcAft>
              <a:buClr>
                <a:srgbClr val="222222"/>
              </a:buClr>
              <a:buSzPts val="900"/>
              <a:buChar char="●"/>
              <a:defRPr sz="1800">
                <a:solidFill>
                  <a:srgbClr val="222222"/>
                </a:solidFill>
              </a:defRPr>
            </a:lvl4pPr>
            <a:lvl5pPr marL="4572000" lvl="4" indent="-571500" rtl="0">
              <a:spcBef>
                <a:spcPts val="3200"/>
              </a:spcBef>
              <a:spcAft>
                <a:spcPts val="0"/>
              </a:spcAft>
              <a:buClr>
                <a:srgbClr val="222222"/>
              </a:buClr>
              <a:buSzPts val="900"/>
              <a:buChar char="○"/>
              <a:defRPr sz="1800">
                <a:solidFill>
                  <a:srgbClr val="222222"/>
                </a:solidFill>
              </a:defRPr>
            </a:lvl5pPr>
            <a:lvl6pPr marL="5486400" lvl="5" indent="-571500" rtl="0">
              <a:spcBef>
                <a:spcPts val="3200"/>
              </a:spcBef>
              <a:spcAft>
                <a:spcPts val="0"/>
              </a:spcAft>
              <a:buClr>
                <a:srgbClr val="222222"/>
              </a:buClr>
              <a:buSzPts val="900"/>
              <a:buChar char="■"/>
              <a:defRPr sz="1800">
                <a:solidFill>
                  <a:srgbClr val="222222"/>
                </a:solidFill>
              </a:defRPr>
            </a:lvl6pPr>
            <a:lvl7pPr marL="6400800" lvl="6" indent="-571500" rtl="0">
              <a:spcBef>
                <a:spcPts val="3200"/>
              </a:spcBef>
              <a:spcAft>
                <a:spcPts val="0"/>
              </a:spcAft>
              <a:buClr>
                <a:srgbClr val="222222"/>
              </a:buClr>
              <a:buSzPts val="900"/>
              <a:buChar char="●"/>
              <a:defRPr sz="1800">
                <a:solidFill>
                  <a:srgbClr val="222222"/>
                </a:solidFill>
              </a:defRPr>
            </a:lvl7pPr>
            <a:lvl8pPr marL="7315200" lvl="7" indent="-571500" rtl="0">
              <a:spcBef>
                <a:spcPts val="3200"/>
              </a:spcBef>
              <a:spcAft>
                <a:spcPts val="0"/>
              </a:spcAft>
              <a:buClr>
                <a:srgbClr val="222222"/>
              </a:buClr>
              <a:buSzPts val="900"/>
              <a:buChar char="○"/>
              <a:defRPr sz="1800">
                <a:solidFill>
                  <a:srgbClr val="222222"/>
                </a:solidFill>
              </a:defRPr>
            </a:lvl8pPr>
            <a:lvl9pPr marL="8229600" lvl="8" indent="-571500" rtl="0">
              <a:spcBef>
                <a:spcPts val="3200"/>
              </a:spcBef>
              <a:spcAft>
                <a:spcPts val="3200"/>
              </a:spcAft>
              <a:buClr>
                <a:srgbClr val="222222"/>
              </a:buClr>
              <a:buSzPts val="900"/>
              <a:buChar char="■"/>
              <a:defRPr sz="1800">
                <a:solidFill>
                  <a:srgbClr val="222222"/>
                </a:solidFill>
              </a:defRPr>
            </a:lvl9pPr>
          </a:lstStyle>
          <a:p>
            <a:endParaRPr/>
          </a:p>
        </p:txBody>
      </p:sp>
      <p:sp>
        <p:nvSpPr>
          <p:cNvPr id="385" name="Google Shape;385;p58"/>
          <p:cNvSpPr txBox="1">
            <a:spLocks noGrp="1"/>
          </p:cNvSpPr>
          <p:nvPr>
            <p:ph type="body" idx="3"/>
          </p:nvPr>
        </p:nvSpPr>
        <p:spPr>
          <a:xfrm>
            <a:off x="12336006" y="2914550"/>
            <a:ext cx="4598400" cy="6021600"/>
          </a:xfrm>
          <a:prstGeom prst="rect">
            <a:avLst/>
          </a:prstGeom>
        </p:spPr>
        <p:txBody>
          <a:bodyPr spcFirstLastPara="1" wrap="square" lIns="91425" tIns="91425" rIns="91425" bIns="91425" anchor="t" anchorCtr="0">
            <a:noAutofit/>
          </a:bodyPr>
          <a:lstStyle>
            <a:lvl1pPr marL="914400" lvl="0" indent="-571500" rtl="0">
              <a:spcBef>
                <a:spcPts val="0"/>
              </a:spcBef>
              <a:spcAft>
                <a:spcPts val="0"/>
              </a:spcAft>
              <a:buClr>
                <a:srgbClr val="222222"/>
              </a:buClr>
              <a:buSzPts val="900"/>
              <a:buChar char="●"/>
              <a:defRPr sz="1800">
                <a:solidFill>
                  <a:srgbClr val="222222"/>
                </a:solidFill>
              </a:defRPr>
            </a:lvl1pPr>
            <a:lvl2pPr marL="1828800" lvl="1" indent="-571500" rtl="0">
              <a:spcBef>
                <a:spcPts val="3200"/>
              </a:spcBef>
              <a:spcAft>
                <a:spcPts val="0"/>
              </a:spcAft>
              <a:buClr>
                <a:srgbClr val="222222"/>
              </a:buClr>
              <a:buSzPts val="900"/>
              <a:buChar char="○"/>
              <a:defRPr sz="1800">
                <a:solidFill>
                  <a:srgbClr val="222222"/>
                </a:solidFill>
              </a:defRPr>
            </a:lvl2pPr>
            <a:lvl3pPr marL="2743200" lvl="2" indent="-571500" rtl="0">
              <a:spcBef>
                <a:spcPts val="3200"/>
              </a:spcBef>
              <a:spcAft>
                <a:spcPts val="0"/>
              </a:spcAft>
              <a:buClr>
                <a:srgbClr val="222222"/>
              </a:buClr>
              <a:buSzPts val="900"/>
              <a:buChar char="■"/>
              <a:defRPr sz="1800">
                <a:solidFill>
                  <a:srgbClr val="222222"/>
                </a:solidFill>
              </a:defRPr>
            </a:lvl3pPr>
            <a:lvl4pPr marL="3657600" lvl="3" indent="-571500" rtl="0">
              <a:spcBef>
                <a:spcPts val="3200"/>
              </a:spcBef>
              <a:spcAft>
                <a:spcPts val="0"/>
              </a:spcAft>
              <a:buClr>
                <a:srgbClr val="222222"/>
              </a:buClr>
              <a:buSzPts val="900"/>
              <a:buChar char="●"/>
              <a:defRPr sz="1800">
                <a:solidFill>
                  <a:srgbClr val="222222"/>
                </a:solidFill>
              </a:defRPr>
            </a:lvl4pPr>
            <a:lvl5pPr marL="4572000" lvl="4" indent="-571500" rtl="0">
              <a:spcBef>
                <a:spcPts val="3200"/>
              </a:spcBef>
              <a:spcAft>
                <a:spcPts val="0"/>
              </a:spcAft>
              <a:buClr>
                <a:srgbClr val="222222"/>
              </a:buClr>
              <a:buSzPts val="900"/>
              <a:buChar char="○"/>
              <a:defRPr sz="1800">
                <a:solidFill>
                  <a:srgbClr val="222222"/>
                </a:solidFill>
              </a:defRPr>
            </a:lvl5pPr>
            <a:lvl6pPr marL="5486400" lvl="5" indent="-571500" rtl="0">
              <a:spcBef>
                <a:spcPts val="3200"/>
              </a:spcBef>
              <a:spcAft>
                <a:spcPts val="0"/>
              </a:spcAft>
              <a:buClr>
                <a:srgbClr val="222222"/>
              </a:buClr>
              <a:buSzPts val="900"/>
              <a:buChar char="■"/>
              <a:defRPr sz="1800">
                <a:solidFill>
                  <a:srgbClr val="222222"/>
                </a:solidFill>
              </a:defRPr>
            </a:lvl6pPr>
            <a:lvl7pPr marL="6400800" lvl="6" indent="-571500" rtl="0">
              <a:spcBef>
                <a:spcPts val="3200"/>
              </a:spcBef>
              <a:spcAft>
                <a:spcPts val="0"/>
              </a:spcAft>
              <a:buClr>
                <a:srgbClr val="222222"/>
              </a:buClr>
              <a:buSzPts val="900"/>
              <a:buChar char="●"/>
              <a:defRPr sz="1800">
                <a:solidFill>
                  <a:srgbClr val="222222"/>
                </a:solidFill>
              </a:defRPr>
            </a:lvl7pPr>
            <a:lvl8pPr marL="7315200" lvl="7" indent="-571500" rtl="0">
              <a:spcBef>
                <a:spcPts val="3200"/>
              </a:spcBef>
              <a:spcAft>
                <a:spcPts val="0"/>
              </a:spcAft>
              <a:buClr>
                <a:srgbClr val="222222"/>
              </a:buClr>
              <a:buSzPts val="900"/>
              <a:buChar char="○"/>
              <a:defRPr sz="1800">
                <a:solidFill>
                  <a:srgbClr val="222222"/>
                </a:solidFill>
              </a:defRPr>
            </a:lvl8pPr>
            <a:lvl9pPr marL="8229600" lvl="8" indent="-571500" rtl="0">
              <a:spcBef>
                <a:spcPts val="3200"/>
              </a:spcBef>
              <a:spcAft>
                <a:spcPts val="3200"/>
              </a:spcAft>
              <a:buClr>
                <a:srgbClr val="222222"/>
              </a:buClr>
              <a:buSzPts val="900"/>
              <a:buChar char="■"/>
              <a:defRPr sz="1800">
                <a:solidFill>
                  <a:srgbClr val="222222"/>
                </a:solidFill>
              </a:defRPr>
            </a:lvl9pPr>
          </a:lstStyle>
          <a:p>
            <a:endParaRP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386"/>
        <p:cNvGrpSpPr/>
        <p:nvPr/>
      </p:nvGrpSpPr>
      <p:grpSpPr>
        <a:xfrm>
          <a:off x="0" y="0"/>
          <a:ext cx="0" cy="0"/>
          <a:chOff x="0" y="0"/>
          <a:chExt cx="0" cy="0"/>
        </a:xfrm>
      </p:grpSpPr>
      <p:pic>
        <p:nvPicPr>
          <p:cNvPr id="387" name="Google Shape;387;p5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0" y="1"/>
            <a:ext cx="18288000" cy="10287002"/>
          </a:xfrm>
          <a:prstGeom prst="rect">
            <a:avLst/>
          </a:prstGeom>
          <a:noFill/>
          <a:ln>
            <a:noFill/>
          </a:ln>
        </p:spPr>
      </p:pic>
      <p:sp>
        <p:nvSpPr>
          <p:cNvPr id="388" name="Google Shape;388;p59"/>
          <p:cNvSpPr txBox="1">
            <a:spLocks noGrp="1"/>
          </p:cNvSpPr>
          <p:nvPr>
            <p:ph type="title"/>
          </p:nvPr>
        </p:nvSpPr>
        <p:spPr>
          <a:xfrm>
            <a:off x="623400" y="4418400"/>
            <a:ext cx="17041200" cy="11454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2000"/>
              <a:buNone/>
              <a:defRPr/>
            </a:lvl1pPr>
            <a:lvl2pPr lvl="1" algn="ctr" rtl="0">
              <a:spcBef>
                <a:spcPts val="0"/>
              </a:spcBef>
              <a:spcAft>
                <a:spcPts val="0"/>
              </a:spcAft>
              <a:buSzPts val="2000"/>
              <a:buNone/>
              <a:defRPr/>
            </a:lvl2pPr>
            <a:lvl3pPr lvl="2" algn="ctr" rtl="0">
              <a:spcBef>
                <a:spcPts val="0"/>
              </a:spcBef>
              <a:spcAft>
                <a:spcPts val="0"/>
              </a:spcAft>
              <a:buSzPts val="2000"/>
              <a:buNone/>
              <a:defRPr/>
            </a:lvl3pPr>
            <a:lvl4pPr lvl="3" algn="ctr" rtl="0">
              <a:spcBef>
                <a:spcPts val="0"/>
              </a:spcBef>
              <a:spcAft>
                <a:spcPts val="0"/>
              </a:spcAft>
              <a:buSzPts val="2000"/>
              <a:buNone/>
              <a:defRPr/>
            </a:lvl4pPr>
            <a:lvl5pPr lvl="4" algn="ctr" rtl="0">
              <a:spcBef>
                <a:spcPts val="0"/>
              </a:spcBef>
              <a:spcAft>
                <a:spcPts val="0"/>
              </a:spcAft>
              <a:buSzPts val="2000"/>
              <a:buNone/>
              <a:defRPr/>
            </a:lvl5pPr>
            <a:lvl6pPr lvl="5" algn="ctr" rtl="0">
              <a:spcBef>
                <a:spcPts val="0"/>
              </a:spcBef>
              <a:spcAft>
                <a:spcPts val="0"/>
              </a:spcAft>
              <a:buSzPts val="2000"/>
              <a:buNone/>
              <a:defRPr/>
            </a:lvl6pPr>
            <a:lvl7pPr lvl="6" algn="ctr" rtl="0">
              <a:spcBef>
                <a:spcPts val="0"/>
              </a:spcBef>
              <a:spcAft>
                <a:spcPts val="0"/>
              </a:spcAft>
              <a:buSzPts val="2000"/>
              <a:buNone/>
              <a:defRPr/>
            </a:lvl7pPr>
            <a:lvl8pPr lvl="7" algn="ctr" rtl="0">
              <a:spcBef>
                <a:spcPts val="0"/>
              </a:spcBef>
              <a:spcAft>
                <a:spcPts val="0"/>
              </a:spcAft>
              <a:buSzPts val="2000"/>
              <a:buNone/>
              <a:defRPr/>
            </a:lvl8pPr>
            <a:lvl9pPr lvl="8" algn="ctr" rtl="0">
              <a:spcBef>
                <a:spcPts val="0"/>
              </a:spcBef>
              <a:spcAft>
                <a:spcPts val="0"/>
              </a:spcAft>
              <a:buSzPts val="2000"/>
              <a:buNone/>
              <a:defRPr/>
            </a:lvl9pPr>
          </a:lstStyle>
          <a:p>
            <a:endParaRPr/>
          </a:p>
        </p:txBody>
      </p:sp>
      <p:sp>
        <p:nvSpPr>
          <p:cNvPr id="389" name="Google Shape;389;p59"/>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pt-BR"/>
              <a:pPr marL="0" lvl="0" indent="0" algn="r" rtl="0">
                <a:spcBef>
                  <a:spcPts val="0"/>
                </a:spcBef>
                <a:spcAft>
                  <a:spcPts val="0"/>
                </a:spcAft>
                <a:buNone/>
              </a:pPr>
              <a:t>‹nº›</a:t>
            </a:fld>
            <a:endParaRP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Somente título 1">
  <p:cSld name="TITLE_ONLY_1">
    <p:spTree>
      <p:nvGrpSpPr>
        <p:cNvPr id="1" name="Shape 390"/>
        <p:cNvGrpSpPr/>
        <p:nvPr/>
      </p:nvGrpSpPr>
      <p:grpSpPr>
        <a:xfrm>
          <a:off x="0" y="0"/>
          <a:ext cx="0" cy="0"/>
          <a:chOff x="0" y="0"/>
          <a:chExt cx="0" cy="0"/>
        </a:xfrm>
      </p:grpSpPr>
      <p:pic>
        <p:nvPicPr>
          <p:cNvPr id="391" name="Google Shape;391;p6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 y="0"/>
            <a:ext cx="18287990" cy="10287000"/>
          </a:xfrm>
          <a:prstGeom prst="rect">
            <a:avLst/>
          </a:prstGeom>
          <a:noFill/>
          <a:ln>
            <a:noFill/>
          </a:ln>
        </p:spPr>
      </p:pic>
      <p:sp>
        <p:nvSpPr>
          <p:cNvPr id="392" name="Google Shape;392;p60"/>
          <p:cNvSpPr txBox="1">
            <a:spLocks noGrp="1"/>
          </p:cNvSpPr>
          <p:nvPr>
            <p:ph type="title"/>
          </p:nvPr>
        </p:nvSpPr>
        <p:spPr>
          <a:xfrm>
            <a:off x="623400" y="4418400"/>
            <a:ext cx="17041200" cy="11454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2000"/>
              <a:buNone/>
              <a:defRPr/>
            </a:lvl1pPr>
            <a:lvl2pPr lvl="1" algn="ctr" rtl="0">
              <a:spcBef>
                <a:spcPts val="0"/>
              </a:spcBef>
              <a:spcAft>
                <a:spcPts val="0"/>
              </a:spcAft>
              <a:buSzPts val="2000"/>
              <a:buNone/>
              <a:defRPr/>
            </a:lvl2pPr>
            <a:lvl3pPr lvl="2" algn="ctr" rtl="0">
              <a:spcBef>
                <a:spcPts val="0"/>
              </a:spcBef>
              <a:spcAft>
                <a:spcPts val="0"/>
              </a:spcAft>
              <a:buSzPts val="2000"/>
              <a:buNone/>
              <a:defRPr/>
            </a:lvl3pPr>
            <a:lvl4pPr lvl="3" algn="ctr" rtl="0">
              <a:spcBef>
                <a:spcPts val="0"/>
              </a:spcBef>
              <a:spcAft>
                <a:spcPts val="0"/>
              </a:spcAft>
              <a:buSzPts val="2000"/>
              <a:buNone/>
              <a:defRPr/>
            </a:lvl4pPr>
            <a:lvl5pPr lvl="4" algn="ctr" rtl="0">
              <a:spcBef>
                <a:spcPts val="0"/>
              </a:spcBef>
              <a:spcAft>
                <a:spcPts val="0"/>
              </a:spcAft>
              <a:buSzPts val="2000"/>
              <a:buNone/>
              <a:defRPr/>
            </a:lvl5pPr>
            <a:lvl6pPr lvl="5" algn="ctr" rtl="0">
              <a:spcBef>
                <a:spcPts val="0"/>
              </a:spcBef>
              <a:spcAft>
                <a:spcPts val="0"/>
              </a:spcAft>
              <a:buSzPts val="2000"/>
              <a:buNone/>
              <a:defRPr/>
            </a:lvl6pPr>
            <a:lvl7pPr lvl="6" algn="ctr" rtl="0">
              <a:spcBef>
                <a:spcPts val="0"/>
              </a:spcBef>
              <a:spcAft>
                <a:spcPts val="0"/>
              </a:spcAft>
              <a:buSzPts val="2000"/>
              <a:buNone/>
              <a:defRPr/>
            </a:lvl7pPr>
            <a:lvl8pPr lvl="7" algn="ctr" rtl="0">
              <a:spcBef>
                <a:spcPts val="0"/>
              </a:spcBef>
              <a:spcAft>
                <a:spcPts val="0"/>
              </a:spcAft>
              <a:buSzPts val="2000"/>
              <a:buNone/>
              <a:defRPr/>
            </a:lvl8pPr>
            <a:lvl9pPr lvl="8" algn="ctr" rtl="0">
              <a:spcBef>
                <a:spcPts val="0"/>
              </a:spcBef>
              <a:spcAft>
                <a:spcPts val="0"/>
              </a:spcAft>
              <a:buSzPts val="2000"/>
              <a:buNone/>
              <a:defRPr/>
            </a:lvl9pPr>
          </a:lstStyle>
          <a:p>
            <a:endParaRPr/>
          </a:p>
        </p:txBody>
      </p:sp>
      <p:sp>
        <p:nvSpPr>
          <p:cNvPr id="393" name="Google Shape;393;p60"/>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pt-BR"/>
              <a:pPr marL="0" lvl="0" indent="0" algn="r" rtl="0">
                <a:spcBef>
                  <a:spcPts val="0"/>
                </a:spcBef>
                <a:spcAft>
                  <a:spcPts val="0"/>
                </a:spcAft>
                <a:buNone/>
              </a:pPr>
              <a:t>‹nº›</a:t>
            </a:fld>
            <a:endParaRP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Somente título 2">
  <p:cSld name="TITLE_ONLY_2">
    <p:spTree>
      <p:nvGrpSpPr>
        <p:cNvPr id="1" name="Shape 398"/>
        <p:cNvGrpSpPr/>
        <p:nvPr/>
      </p:nvGrpSpPr>
      <p:grpSpPr>
        <a:xfrm>
          <a:off x="0" y="0"/>
          <a:ext cx="0" cy="0"/>
          <a:chOff x="0" y="0"/>
          <a:chExt cx="0" cy="0"/>
        </a:xfrm>
      </p:grpSpPr>
      <p:pic>
        <p:nvPicPr>
          <p:cNvPr id="399" name="Google Shape;399;p6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0" y="0"/>
            <a:ext cx="18288000" cy="10287000"/>
          </a:xfrm>
          <a:prstGeom prst="rect">
            <a:avLst/>
          </a:prstGeom>
          <a:noFill/>
          <a:ln>
            <a:noFill/>
          </a:ln>
        </p:spPr>
      </p:pic>
      <p:sp>
        <p:nvSpPr>
          <p:cNvPr id="400" name="Google Shape;400;p62"/>
          <p:cNvSpPr txBox="1">
            <a:spLocks noGrp="1"/>
          </p:cNvSpPr>
          <p:nvPr>
            <p:ph type="title"/>
          </p:nvPr>
        </p:nvSpPr>
        <p:spPr>
          <a:xfrm>
            <a:off x="623400" y="4418400"/>
            <a:ext cx="17041200" cy="11454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2000"/>
              <a:buNone/>
              <a:defRPr/>
            </a:lvl1pPr>
            <a:lvl2pPr lvl="1" algn="ctr" rtl="0">
              <a:spcBef>
                <a:spcPts val="0"/>
              </a:spcBef>
              <a:spcAft>
                <a:spcPts val="0"/>
              </a:spcAft>
              <a:buSzPts val="2000"/>
              <a:buNone/>
              <a:defRPr/>
            </a:lvl2pPr>
            <a:lvl3pPr lvl="2" algn="ctr" rtl="0">
              <a:spcBef>
                <a:spcPts val="0"/>
              </a:spcBef>
              <a:spcAft>
                <a:spcPts val="0"/>
              </a:spcAft>
              <a:buSzPts val="2000"/>
              <a:buNone/>
              <a:defRPr/>
            </a:lvl3pPr>
            <a:lvl4pPr lvl="3" algn="ctr" rtl="0">
              <a:spcBef>
                <a:spcPts val="0"/>
              </a:spcBef>
              <a:spcAft>
                <a:spcPts val="0"/>
              </a:spcAft>
              <a:buSzPts val="2000"/>
              <a:buNone/>
              <a:defRPr/>
            </a:lvl4pPr>
            <a:lvl5pPr lvl="4" algn="ctr" rtl="0">
              <a:spcBef>
                <a:spcPts val="0"/>
              </a:spcBef>
              <a:spcAft>
                <a:spcPts val="0"/>
              </a:spcAft>
              <a:buSzPts val="2000"/>
              <a:buNone/>
              <a:defRPr/>
            </a:lvl5pPr>
            <a:lvl6pPr lvl="5" algn="ctr" rtl="0">
              <a:spcBef>
                <a:spcPts val="0"/>
              </a:spcBef>
              <a:spcAft>
                <a:spcPts val="0"/>
              </a:spcAft>
              <a:buSzPts val="2000"/>
              <a:buNone/>
              <a:defRPr/>
            </a:lvl6pPr>
            <a:lvl7pPr lvl="6" algn="ctr" rtl="0">
              <a:spcBef>
                <a:spcPts val="0"/>
              </a:spcBef>
              <a:spcAft>
                <a:spcPts val="0"/>
              </a:spcAft>
              <a:buSzPts val="2000"/>
              <a:buNone/>
              <a:defRPr/>
            </a:lvl7pPr>
            <a:lvl8pPr lvl="7" algn="ctr" rtl="0">
              <a:spcBef>
                <a:spcPts val="0"/>
              </a:spcBef>
              <a:spcAft>
                <a:spcPts val="0"/>
              </a:spcAft>
              <a:buSzPts val="2000"/>
              <a:buNone/>
              <a:defRPr/>
            </a:lvl8pPr>
            <a:lvl9pPr lvl="8" algn="ctr" rtl="0">
              <a:spcBef>
                <a:spcPts val="0"/>
              </a:spcBef>
              <a:spcAft>
                <a:spcPts val="0"/>
              </a:spcAft>
              <a:buSzPts val="2000"/>
              <a:buNone/>
              <a:defRPr/>
            </a:lvl9pPr>
          </a:lstStyle>
          <a:p>
            <a:endParaRPr/>
          </a:p>
        </p:txBody>
      </p:sp>
      <p:sp>
        <p:nvSpPr>
          <p:cNvPr id="401" name="Google Shape;401;p62"/>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pt-BR"/>
              <a:pPr marL="0" lvl="0" indent="0" algn="r" rtl="0">
                <a:spcBef>
                  <a:spcPts val="0"/>
                </a:spcBef>
                <a:spcAft>
                  <a:spcPts val="0"/>
                </a:spcAft>
                <a:buNone/>
              </a:pPr>
              <a:t>‹nº›</a:t>
            </a:fld>
            <a:endParaRP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Slide de título 1 1" preserve="1">
  <p:cSld name="Slide de título 1 1">
    <p:bg>
      <p:bgPr>
        <a:gradFill>
          <a:gsLst>
            <a:gs pos="0">
              <a:srgbClr val="FF2C34"/>
            </a:gs>
            <a:gs pos="100000">
              <a:srgbClr val="6800FF"/>
            </a:gs>
          </a:gsLst>
          <a:lin ang="2698631" scaled="0"/>
        </a:gradFill>
        <a:effectLst/>
      </p:bgPr>
    </p:bg>
    <p:spTree>
      <p:nvGrpSpPr>
        <p:cNvPr id="1" name="Shape 29"/>
        <p:cNvGrpSpPr/>
        <p:nvPr/>
      </p:nvGrpSpPr>
      <p:grpSpPr>
        <a:xfrm>
          <a:off x="0" y="0"/>
          <a:ext cx="0" cy="0"/>
          <a:chOff x="0" y="0"/>
          <a:chExt cx="0" cy="0"/>
        </a:xfrm>
      </p:grpSpPr>
      <p:pic>
        <p:nvPicPr>
          <p:cNvPr id="30" name="Google Shape;30;p5"/>
          <p:cNvPicPr preferRelativeResize="0"/>
          <p:nvPr/>
        </p:nvPicPr>
        <p:blipFill>
          <a:blip r:embed="rId2" cstate="email">
            <a:alphaModFix/>
            <a:extLst>
              <a:ext uri="{28A0092B-C50C-407E-A947-70E740481C1C}">
                <a14:useLocalDpi xmlns:a14="http://schemas.microsoft.com/office/drawing/2010/main"/>
              </a:ext>
            </a:extLst>
          </a:blip>
          <a:stretch>
            <a:fillRect/>
          </a:stretch>
        </p:blipFill>
        <p:spPr>
          <a:xfrm>
            <a:off x="1760300" y="1038050"/>
            <a:ext cx="2668348" cy="2668348"/>
          </a:xfrm>
          <a:prstGeom prst="rect">
            <a:avLst/>
          </a:prstGeom>
          <a:noFill/>
          <a:ln>
            <a:noFill/>
          </a:ln>
        </p:spPr>
      </p:pic>
      <p:sp>
        <p:nvSpPr>
          <p:cNvPr id="31" name="Google Shape;31;p5"/>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sp>
        <p:nvSpPr>
          <p:cNvPr id="32" name="Google Shape;32;p5"/>
          <p:cNvSpPr txBox="1">
            <a:spLocks noGrp="1"/>
          </p:cNvSpPr>
          <p:nvPr>
            <p:ph type="subTitle" idx="1"/>
          </p:nvPr>
        </p:nvSpPr>
        <p:spPr>
          <a:xfrm>
            <a:off x="8719800" y="304800"/>
            <a:ext cx="9263400" cy="15852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9pPr>
          </a:lstStyle>
          <a:p>
            <a:endParaRPr/>
          </a:p>
        </p:txBody>
      </p:sp>
      <p:sp>
        <p:nvSpPr>
          <p:cNvPr id="33" name="Google Shape;33;p5"/>
          <p:cNvSpPr/>
          <p:nvPr/>
        </p:nvSpPr>
        <p:spPr>
          <a:xfrm rot="10800000" flipH="1">
            <a:off x="1945550" y="3041200"/>
            <a:ext cx="16342200" cy="10200"/>
          </a:xfrm>
          <a:prstGeom prst="rect">
            <a:avLst/>
          </a:prstGeom>
          <a:solidFill>
            <a:srgbClr val="222222"/>
          </a:soli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sz="2800"/>
          </a:p>
        </p:txBody>
      </p:sp>
      <p:sp>
        <p:nvSpPr>
          <p:cNvPr id="34" name="Google Shape;34;p5"/>
          <p:cNvSpPr txBox="1">
            <a:spLocks noGrp="1"/>
          </p:cNvSpPr>
          <p:nvPr>
            <p:ph type="ctrTitle"/>
          </p:nvPr>
        </p:nvSpPr>
        <p:spPr>
          <a:xfrm>
            <a:off x="1705100" y="4202600"/>
            <a:ext cx="12988800" cy="2668200"/>
          </a:xfrm>
          <a:prstGeom prst="rect">
            <a:avLst/>
          </a:prstGeom>
        </p:spPr>
        <p:txBody>
          <a:bodyPr spcFirstLastPara="1" wrap="square" lIns="91425" tIns="91425" rIns="91425" bIns="91425" anchor="t" anchorCtr="0">
            <a:noAutofit/>
          </a:bodyPr>
          <a:lstStyle>
            <a:lvl1pPr lvl="0" rtl="0">
              <a:spcBef>
                <a:spcPts val="0"/>
              </a:spcBef>
              <a:spcAft>
                <a:spcPts val="0"/>
              </a:spcAft>
              <a:buSzPts val="3600"/>
              <a:buFont typeface="Montserrat"/>
              <a:buNone/>
              <a:defRPr sz="7200" b="1">
                <a:latin typeface="Montserrat"/>
                <a:ea typeface="Montserrat"/>
                <a:cs typeface="Montserrat"/>
                <a:sym typeface="Montserrat"/>
              </a:defRPr>
            </a:lvl1pPr>
            <a:lvl2pPr lvl="1" rtl="0">
              <a:spcBef>
                <a:spcPts val="0"/>
              </a:spcBef>
              <a:spcAft>
                <a:spcPts val="0"/>
              </a:spcAft>
              <a:buSzPts val="3600"/>
              <a:buFont typeface="Montserrat"/>
              <a:buNone/>
              <a:defRPr sz="7200" b="1">
                <a:latin typeface="Montserrat"/>
                <a:ea typeface="Montserrat"/>
                <a:cs typeface="Montserrat"/>
                <a:sym typeface="Montserrat"/>
              </a:defRPr>
            </a:lvl2pPr>
            <a:lvl3pPr lvl="2" rtl="0">
              <a:spcBef>
                <a:spcPts val="0"/>
              </a:spcBef>
              <a:spcAft>
                <a:spcPts val="0"/>
              </a:spcAft>
              <a:buSzPts val="3600"/>
              <a:buFont typeface="Montserrat"/>
              <a:buNone/>
              <a:defRPr sz="7200" b="1">
                <a:latin typeface="Montserrat"/>
                <a:ea typeface="Montserrat"/>
                <a:cs typeface="Montserrat"/>
                <a:sym typeface="Montserrat"/>
              </a:defRPr>
            </a:lvl3pPr>
            <a:lvl4pPr lvl="3" rtl="0">
              <a:spcBef>
                <a:spcPts val="0"/>
              </a:spcBef>
              <a:spcAft>
                <a:spcPts val="0"/>
              </a:spcAft>
              <a:buSzPts val="3600"/>
              <a:buFont typeface="Montserrat"/>
              <a:buNone/>
              <a:defRPr sz="7200" b="1">
                <a:latin typeface="Montserrat"/>
                <a:ea typeface="Montserrat"/>
                <a:cs typeface="Montserrat"/>
                <a:sym typeface="Montserrat"/>
              </a:defRPr>
            </a:lvl4pPr>
            <a:lvl5pPr lvl="4" rtl="0">
              <a:spcBef>
                <a:spcPts val="0"/>
              </a:spcBef>
              <a:spcAft>
                <a:spcPts val="0"/>
              </a:spcAft>
              <a:buSzPts val="3600"/>
              <a:buFont typeface="Montserrat"/>
              <a:buNone/>
              <a:defRPr sz="7200" b="1">
                <a:latin typeface="Montserrat"/>
                <a:ea typeface="Montserrat"/>
                <a:cs typeface="Montserrat"/>
                <a:sym typeface="Montserrat"/>
              </a:defRPr>
            </a:lvl5pPr>
            <a:lvl6pPr lvl="5" rtl="0">
              <a:spcBef>
                <a:spcPts val="0"/>
              </a:spcBef>
              <a:spcAft>
                <a:spcPts val="0"/>
              </a:spcAft>
              <a:buSzPts val="3600"/>
              <a:buFont typeface="Montserrat"/>
              <a:buNone/>
              <a:defRPr sz="7200" b="1">
                <a:latin typeface="Montserrat"/>
                <a:ea typeface="Montserrat"/>
                <a:cs typeface="Montserrat"/>
                <a:sym typeface="Montserrat"/>
              </a:defRPr>
            </a:lvl6pPr>
            <a:lvl7pPr lvl="6" rtl="0">
              <a:spcBef>
                <a:spcPts val="0"/>
              </a:spcBef>
              <a:spcAft>
                <a:spcPts val="0"/>
              </a:spcAft>
              <a:buSzPts val="3600"/>
              <a:buFont typeface="Montserrat"/>
              <a:buNone/>
              <a:defRPr sz="7200" b="1">
                <a:latin typeface="Montserrat"/>
                <a:ea typeface="Montserrat"/>
                <a:cs typeface="Montserrat"/>
                <a:sym typeface="Montserrat"/>
              </a:defRPr>
            </a:lvl7pPr>
            <a:lvl8pPr lvl="7" rtl="0">
              <a:spcBef>
                <a:spcPts val="0"/>
              </a:spcBef>
              <a:spcAft>
                <a:spcPts val="0"/>
              </a:spcAft>
              <a:buSzPts val="3600"/>
              <a:buFont typeface="Montserrat"/>
              <a:buNone/>
              <a:defRPr sz="7200" b="1">
                <a:latin typeface="Montserrat"/>
                <a:ea typeface="Montserrat"/>
                <a:cs typeface="Montserrat"/>
                <a:sym typeface="Montserrat"/>
              </a:defRPr>
            </a:lvl8pPr>
            <a:lvl9pPr lvl="8" rtl="0">
              <a:spcBef>
                <a:spcPts val="0"/>
              </a:spcBef>
              <a:spcAft>
                <a:spcPts val="0"/>
              </a:spcAft>
              <a:buSzPts val="3600"/>
              <a:buFont typeface="Montserrat"/>
              <a:buNone/>
              <a:defRPr sz="7200" b="1">
                <a:latin typeface="Montserrat"/>
                <a:ea typeface="Montserrat"/>
                <a:cs typeface="Montserrat"/>
                <a:sym typeface="Montserrat"/>
              </a:defRPr>
            </a:lvl9pPr>
          </a:lstStyle>
          <a:p>
            <a:endParaRPr/>
          </a:p>
        </p:txBody>
      </p:sp>
      <p:sp>
        <p:nvSpPr>
          <p:cNvPr id="35" name="Google Shape;35;p5"/>
          <p:cNvSpPr txBox="1">
            <a:spLocks noGrp="1"/>
          </p:cNvSpPr>
          <p:nvPr>
            <p:ph type="body" idx="2"/>
          </p:nvPr>
        </p:nvSpPr>
        <p:spPr>
          <a:xfrm>
            <a:off x="1705100" y="6973200"/>
            <a:ext cx="12133800" cy="1822800"/>
          </a:xfrm>
          <a:prstGeom prst="rect">
            <a:avLst/>
          </a:prstGeom>
        </p:spPr>
        <p:txBody>
          <a:bodyPr spcFirstLastPara="1" wrap="square" lIns="91425" tIns="91425" rIns="91425" bIns="91425" anchor="t" anchorCtr="0">
            <a:noAutofit/>
          </a:bodyPr>
          <a:lstStyle>
            <a:lvl1pPr marL="914400" lvl="0" indent="-609600" rtl="0">
              <a:spcBef>
                <a:spcPts val="0"/>
              </a:spcBef>
              <a:spcAft>
                <a:spcPts val="0"/>
              </a:spcAft>
              <a:buSzPts val="1200"/>
              <a:buChar char="●"/>
              <a:defRPr/>
            </a:lvl1pPr>
            <a:lvl2pPr marL="1828800" lvl="1" indent="-609600" rtl="0">
              <a:spcBef>
                <a:spcPts val="3200"/>
              </a:spcBef>
              <a:spcAft>
                <a:spcPts val="0"/>
              </a:spcAft>
              <a:buSzPts val="1200"/>
              <a:buChar char="○"/>
              <a:defRPr/>
            </a:lvl2pPr>
            <a:lvl3pPr marL="2743200" lvl="2" indent="-609600" rtl="0">
              <a:spcBef>
                <a:spcPts val="3200"/>
              </a:spcBef>
              <a:spcAft>
                <a:spcPts val="0"/>
              </a:spcAft>
              <a:buSzPts val="1200"/>
              <a:buChar char="■"/>
              <a:defRPr/>
            </a:lvl3pPr>
            <a:lvl4pPr marL="3657600" lvl="3" indent="-609600" rtl="0">
              <a:spcBef>
                <a:spcPts val="3200"/>
              </a:spcBef>
              <a:spcAft>
                <a:spcPts val="0"/>
              </a:spcAft>
              <a:buSzPts val="1200"/>
              <a:buChar char="●"/>
              <a:defRPr/>
            </a:lvl4pPr>
            <a:lvl5pPr marL="4572000" lvl="4" indent="-609600" rtl="0">
              <a:spcBef>
                <a:spcPts val="3200"/>
              </a:spcBef>
              <a:spcAft>
                <a:spcPts val="0"/>
              </a:spcAft>
              <a:buSzPts val="1200"/>
              <a:buChar char="○"/>
              <a:defRPr/>
            </a:lvl5pPr>
            <a:lvl6pPr marL="5486400" lvl="5" indent="-609600" rtl="0">
              <a:spcBef>
                <a:spcPts val="3200"/>
              </a:spcBef>
              <a:spcAft>
                <a:spcPts val="0"/>
              </a:spcAft>
              <a:buSzPts val="1200"/>
              <a:buChar char="■"/>
              <a:defRPr/>
            </a:lvl6pPr>
            <a:lvl7pPr marL="6400800" lvl="6" indent="-609600" rtl="0">
              <a:spcBef>
                <a:spcPts val="3200"/>
              </a:spcBef>
              <a:spcAft>
                <a:spcPts val="0"/>
              </a:spcAft>
              <a:buSzPts val="1200"/>
              <a:buChar char="●"/>
              <a:defRPr/>
            </a:lvl7pPr>
            <a:lvl8pPr marL="7315200" lvl="7" indent="-609600" rtl="0">
              <a:spcBef>
                <a:spcPts val="3200"/>
              </a:spcBef>
              <a:spcAft>
                <a:spcPts val="0"/>
              </a:spcAft>
              <a:buSzPts val="1200"/>
              <a:buChar char="○"/>
              <a:defRPr/>
            </a:lvl8pPr>
            <a:lvl9pPr marL="8229600" lvl="8" indent="-609600" rtl="0">
              <a:spcBef>
                <a:spcPts val="3200"/>
              </a:spcBef>
              <a:spcAft>
                <a:spcPts val="3200"/>
              </a:spcAft>
              <a:buSzPts val="1200"/>
              <a:buChar char="■"/>
              <a:defRPr/>
            </a:lvl9pPr>
          </a:lstStyle>
          <a:p>
            <a:endParaRPr/>
          </a:p>
        </p:txBody>
      </p:sp>
    </p:spTree>
    <p:extLst>
      <p:ext uri="{BB962C8B-B14F-4D97-AF65-F5344CB8AC3E}">
        <p14:creationId xmlns:p14="http://schemas.microsoft.com/office/powerpoint/2010/main" val="94340930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Somente título 2 1">
  <p:cSld name="TITLE_ONLY_2_1">
    <p:spTree>
      <p:nvGrpSpPr>
        <p:cNvPr id="1" name="Shape 402"/>
        <p:cNvGrpSpPr/>
        <p:nvPr/>
      </p:nvGrpSpPr>
      <p:grpSpPr>
        <a:xfrm>
          <a:off x="0" y="0"/>
          <a:ext cx="0" cy="0"/>
          <a:chOff x="0" y="0"/>
          <a:chExt cx="0" cy="0"/>
        </a:xfrm>
      </p:grpSpPr>
      <p:pic>
        <p:nvPicPr>
          <p:cNvPr id="403" name="Google Shape;403;p6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 y="0"/>
            <a:ext cx="18459446" cy="10286996"/>
          </a:xfrm>
          <a:prstGeom prst="rect">
            <a:avLst/>
          </a:prstGeom>
          <a:noFill/>
          <a:ln>
            <a:noFill/>
          </a:ln>
        </p:spPr>
      </p:pic>
      <p:sp>
        <p:nvSpPr>
          <p:cNvPr id="404" name="Google Shape;404;p63"/>
          <p:cNvSpPr txBox="1">
            <a:spLocks noGrp="1"/>
          </p:cNvSpPr>
          <p:nvPr>
            <p:ph type="title"/>
          </p:nvPr>
        </p:nvSpPr>
        <p:spPr>
          <a:xfrm>
            <a:off x="623400" y="4418400"/>
            <a:ext cx="17041200" cy="11454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2000"/>
              <a:buNone/>
              <a:defRPr/>
            </a:lvl1pPr>
            <a:lvl2pPr lvl="1" algn="ctr" rtl="0">
              <a:spcBef>
                <a:spcPts val="0"/>
              </a:spcBef>
              <a:spcAft>
                <a:spcPts val="0"/>
              </a:spcAft>
              <a:buSzPts val="2000"/>
              <a:buNone/>
              <a:defRPr/>
            </a:lvl2pPr>
            <a:lvl3pPr lvl="2" algn="ctr" rtl="0">
              <a:spcBef>
                <a:spcPts val="0"/>
              </a:spcBef>
              <a:spcAft>
                <a:spcPts val="0"/>
              </a:spcAft>
              <a:buSzPts val="2000"/>
              <a:buNone/>
              <a:defRPr/>
            </a:lvl3pPr>
            <a:lvl4pPr lvl="3" algn="ctr" rtl="0">
              <a:spcBef>
                <a:spcPts val="0"/>
              </a:spcBef>
              <a:spcAft>
                <a:spcPts val="0"/>
              </a:spcAft>
              <a:buSzPts val="2000"/>
              <a:buNone/>
              <a:defRPr/>
            </a:lvl4pPr>
            <a:lvl5pPr lvl="4" algn="ctr" rtl="0">
              <a:spcBef>
                <a:spcPts val="0"/>
              </a:spcBef>
              <a:spcAft>
                <a:spcPts val="0"/>
              </a:spcAft>
              <a:buSzPts val="2000"/>
              <a:buNone/>
              <a:defRPr/>
            </a:lvl5pPr>
            <a:lvl6pPr lvl="5" algn="ctr" rtl="0">
              <a:spcBef>
                <a:spcPts val="0"/>
              </a:spcBef>
              <a:spcAft>
                <a:spcPts val="0"/>
              </a:spcAft>
              <a:buSzPts val="2000"/>
              <a:buNone/>
              <a:defRPr/>
            </a:lvl6pPr>
            <a:lvl7pPr lvl="6" algn="ctr" rtl="0">
              <a:spcBef>
                <a:spcPts val="0"/>
              </a:spcBef>
              <a:spcAft>
                <a:spcPts val="0"/>
              </a:spcAft>
              <a:buSzPts val="2000"/>
              <a:buNone/>
              <a:defRPr/>
            </a:lvl7pPr>
            <a:lvl8pPr lvl="7" algn="ctr" rtl="0">
              <a:spcBef>
                <a:spcPts val="0"/>
              </a:spcBef>
              <a:spcAft>
                <a:spcPts val="0"/>
              </a:spcAft>
              <a:buSzPts val="2000"/>
              <a:buNone/>
              <a:defRPr/>
            </a:lvl8pPr>
            <a:lvl9pPr lvl="8" algn="ctr" rtl="0">
              <a:spcBef>
                <a:spcPts val="0"/>
              </a:spcBef>
              <a:spcAft>
                <a:spcPts val="0"/>
              </a:spcAft>
              <a:buSzPts val="2000"/>
              <a:buNone/>
              <a:defRPr/>
            </a:lvl9pPr>
          </a:lstStyle>
          <a:p>
            <a:endParaRPr/>
          </a:p>
        </p:txBody>
      </p:sp>
      <p:sp>
        <p:nvSpPr>
          <p:cNvPr id="405" name="Google Shape;405;p63"/>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pt-BR"/>
              <a:pPr marL="0" lvl="0" indent="0" algn="r" rtl="0">
                <a:spcBef>
                  <a:spcPts val="0"/>
                </a:spcBef>
                <a:spcAft>
                  <a:spcPts val="0"/>
                </a:spcAft>
                <a:buNone/>
              </a:pPr>
              <a:t>‹nº›</a:t>
            </a:fld>
            <a:endParaRP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One column text">
  <p:cSld name="ONE_COLUMN_TEXT">
    <p:bg>
      <p:bgPr>
        <a:solidFill>
          <a:srgbClr val="FFFFFF"/>
        </a:solidFill>
        <a:effectLst/>
      </p:bgPr>
    </p:bg>
    <p:spTree>
      <p:nvGrpSpPr>
        <p:cNvPr id="1" name="Shape 406"/>
        <p:cNvGrpSpPr/>
        <p:nvPr/>
      </p:nvGrpSpPr>
      <p:grpSpPr>
        <a:xfrm>
          <a:off x="0" y="0"/>
          <a:ext cx="0" cy="0"/>
          <a:chOff x="0" y="0"/>
          <a:chExt cx="0" cy="0"/>
        </a:xfrm>
      </p:grpSpPr>
      <p:sp>
        <p:nvSpPr>
          <p:cNvPr id="407" name="Google Shape;407;p64"/>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pt-BR"/>
              <a:pPr marL="0" lvl="0" indent="0" algn="r" rtl="0">
                <a:spcBef>
                  <a:spcPts val="0"/>
                </a:spcBef>
                <a:spcAft>
                  <a:spcPts val="0"/>
                </a:spcAft>
                <a:buNone/>
              </a:pPr>
              <a:t>‹nº›</a:t>
            </a:fld>
            <a:endParaRPr/>
          </a:p>
        </p:txBody>
      </p:sp>
      <p:pic>
        <p:nvPicPr>
          <p:cNvPr id="408" name="Google Shape;408;p64"/>
          <p:cNvPicPr preferRelativeResize="0"/>
          <p:nvPr/>
        </p:nvPicPr>
        <p:blipFill>
          <a:blip r:embed="rId2" cstate="email">
            <a:alphaModFix/>
            <a:extLst>
              <a:ext uri="{28A0092B-C50C-407E-A947-70E740481C1C}">
                <a14:useLocalDpi xmlns:a14="http://schemas.microsoft.com/office/drawing/2010/main"/>
              </a:ext>
            </a:extLst>
          </a:blip>
          <a:stretch>
            <a:fillRect/>
          </a:stretch>
        </p:blipFill>
        <p:spPr>
          <a:xfrm rot="5400000">
            <a:off x="7524928" y="443124"/>
            <a:ext cx="11201396" cy="9591248"/>
          </a:xfrm>
          <a:prstGeom prst="rect">
            <a:avLst/>
          </a:prstGeom>
          <a:noFill/>
          <a:ln>
            <a:noFill/>
          </a:ln>
        </p:spPr>
      </p:pic>
      <p:sp>
        <p:nvSpPr>
          <p:cNvPr id="409" name="Google Shape;409;p64"/>
          <p:cNvSpPr txBox="1">
            <a:spLocks noGrp="1"/>
          </p:cNvSpPr>
          <p:nvPr>
            <p:ph type="title"/>
          </p:nvPr>
        </p:nvSpPr>
        <p:spPr>
          <a:xfrm>
            <a:off x="1080600" y="1042450"/>
            <a:ext cx="7341000" cy="11454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222222"/>
              </a:buClr>
              <a:buSzPts val="2000"/>
              <a:buNone/>
              <a:defRPr sz="4000">
                <a:solidFill>
                  <a:srgbClr val="222222"/>
                </a:solidFill>
              </a:defRPr>
            </a:lvl1pPr>
            <a:lvl2pPr lvl="1" rtl="0">
              <a:spcBef>
                <a:spcPts val="0"/>
              </a:spcBef>
              <a:spcAft>
                <a:spcPts val="0"/>
              </a:spcAft>
              <a:buClr>
                <a:srgbClr val="222222"/>
              </a:buClr>
              <a:buSzPts val="2000"/>
              <a:buNone/>
              <a:defRPr>
                <a:solidFill>
                  <a:srgbClr val="222222"/>
                </a:solidFill>
              </a:defRPr>
            </a:lvl2pPr>
            <a:lvl3pPr lvl="2" rtl="0">
              <a:spcBef>
                <a:spcPts val="0"/>
              </a:spcBef>
              <a:spcAft>
                <a:spcPts val="0"/>
              </a:spcAft>
              <a:buClr>
                <a:srgbClr val="222222"/>
              </a:buClr>
              <a:buSzPts val="2000"/>
              <a:buNone/>
              <a:defRPr>
                <a:solidFill>
                  <a:srgbClr val="222222"/>
                </a:solidFill>
              </a:defRPr>
            </a:lvl3pPr>
            <a:lvl4pPr lvl="3" rtl="0">
              <a:spcBef>
                <a:spcPts val="0"/>
              </a:spcBef>
              <a:spcAft>
                <a:spcPts val="0"/>
              </a:spcAft>
              <a:buClr>
                <a:srgbClr val="222222"/>
              </a:buClr>
              <a:buSzPts val="2000"/>
              <a:buNone/>
              <a:defRPr>
                <a:solidFill>
                  <a:srgbClr val="222222"/>
                </a:solidFill>
              </a:defRPr>
            </a:lvl4pPr>
            <a:lvl5pPr lvl="4" rtl="0">
              <a:spcBef>
                <a:spcPts val="0"/>
              </a:spcBef>
              <a:spcAft>
                <a:spcPts val="0"/>
              </a:spcAft>
              <a:buClr>
                <a:srgbClr val="222222"/>
              </a:buClr>
              <a:buSzPts val="2000"/>
              <a:buNone/>
              <a:defRPr>
                <a:solidFill>
                  <a:srgbClr val="222222"/>
                </a:solidFill>
              </a:defRPr>
            </a:lvl5pPr>
            <a:lvl6pPr lvl="5" rtl="0">
              <a:spcBef>
                <a:spcPts val="0"/>
              </a:spcBef>
              <a:spcAft>
                <a:spcPts val="0"/>
              </a:spcAft>
              <a:buClr>
                <a:srgbClr val="222222"/>
              </a:buClr>
              <a:buSzPts val="2000"/>
              <a:buNone/>
              <a:defRPr>
                <a:solidFill>
                  <a:srgbClr val="222222"/>
                </a:solidFill>
              </a:defRPr>
            </a:lvl6pPr>
            <a:lvl7pPr lvl="6" rtl="0">
              <a:spcBef>
                <a:spcPts val="0"/>
              </a:spcBef>
              <a:spcAft>
                <a:spcPts val="0"/>
              </a:spcAft>
              <a:buClr>
                <a:srgbClr val="222222"/>
              </a:buClr>
              <a:buSzPts val="2000"/>
              <a:buNone/>
              <a:defRPr>
                <a:solidFill>
                  <a:srgbClr val="222222"/>
                </a:solidFill>
              </a:defRPr>
            </a:lvl7pPr>
            <a:lvl8pPr lvl="7" rtl="0">
              <a:spcBef>
                <a:spcPts val="0"/>
              </a:spcBef>
              <a:spcAft>
                <a:spcPts val="0"/>
              </a:spcAft>
              <a:buClr>
                <a:srgbClr val="222222"/>
              </a:buClr>
              <a:buSzPts val="2000"/>
              <a:buNone/>
              <a:defRPr>
                <a:solidFill>
                  <a:srgbClr val="222222"/>
                </a:solidFill>
              </a:defRPr>
            </a:lvl8pPr>
            <a:lvl9pPr lvl="8" rtl="0">
              <a:spcBef>
                <a:spcPts val="0"/>
              </a:spcBef>
              <a:spcAft>
                <a:spcPts val="0"/>
              </a:spcAft>
              <a:buClr>
                <a:srgbClr val="222222"/>
              </a:buClr>
              <a:buSzPts val="2000"/>
              <a:buNone/>
              <a:defRPr>
                <a:solidFill>
                  <a:srgbClr val="222222"/>
                </a:solidFill>
              </a:defRPr>
            </a:lvl9pPr>
          </a:lstStyle>
          <a:p>
            <a:endParaRPr/>
          </a:p>
        </p:txBody>
      </p:sp>
      <p:sp>
        <p:nvSpPr>
          <p:cNvPr id="410" name="Google Shape;410;p64"/>
          <p:cNvSpPr txBox="1">
            <a:spLocks noGrp="1"/>
          </p:cNvSpPr>
          <p:nvPr>
            <p:ph type="body" idx="1"/>
          </p:nvPr>
        </p:nvSpPr>
        <p:spPr>
          <a:xfrm>
            <a:off x="1080600" y="3130350"/>
            <a:ext cx="8955000" cy="5891400"/>
          </a:xfrm>
          <a:prstGeom prst="rect">
            <a:avLst/>
          </a:prstGeom>
        </p:spPr>
        <p:txBody>
          <a:bodyPr spcFirstLastPara="1" wrap="square" lIns="91425" tIns="91425" rIns="91425" bIns="91425" anchor="t" anchorCtr="0">
            <a:noAutofit/>
          </a:bodyPr>
          <a:lstStyle>
            <a:lvl1pPr marL="914400" lvl="0" indent="-609600" rtl="0">
              <a:spcBef>
                <a:spcPts val="0"/>
              </a:spcBef>
              <a:spcAft>
                <a:spcPts val="0"/>
              </a:spcAft>
              <a:buClr>
                <a:srgbClr val="222222"/>
              </a:buClr>
              <a:buSzPts val="1200"/>
              <a:buChar char="●"/>
              <a:defRPr sz="2400">
                <a:solidFill>
                  <a:srgbClr val="222222"/>
                </a:solidFill>
              </a:defRPr>
            </a:lvl1pPr>
            <a:lvl2pPr marL="1828800" lvl="1" indent="-609600" rtl="0">
              <a:spcBef>
                <a:spcPts val="3200"/>
              </a:spcBef>
              <a:spcAft>
                <a:spcPts val="0"/>
              </a:spcAft>
              <a:buClr>
                <a:srgbClr val="222222"/>
              </a:buClr>
              <a:buSzPts val="1200"/>
              <a:buChar char="○"/>
              <a:defRPr sz="2400">
                <a:solidFill>
                  <a:srgbClr val="222222"/>
                </a:solidFill>
              </a:defRPr>
            </a:lvl2pPr>
            <a:lvl3pPr marL="2743200" lvl="2" indent="-584200" rtl="0">
              <a:spcBef>
                <a:spcPts val="3200"/>
              </a:spcBef>
              <a:spcAft>
                <a:spcPts val="0"/>
              </a:spcAft>
              <a:buClr>
                <a:srgbClr val="222222"/>
              </a:buClr>
              <a:buSzPts val="1000"/>
              <a:buChar char="■"/>
              <a:defRPr sz="2000">
                <a:solidFill>
                  <a:srgbClr val="222222"/>
                </a:solidFill>
              </a:defRPr>
            </a:lvl3pPr>
            <a:lvl4pPr marL="3657600" lvl="3" indent="-584200" rtl="0">
              <a:spcBef>
                <a:spcPts val="3200"/>
              </a:spcBef>
              <a:spcAft>
                <a:spcPts val="0"/>
              </a:spcAft>
              <a:buClr>
                <a:srgbClr val="222222"/>
              </a:buClr>
              <a:buSzPts val="1000"/>
              <a:buChar char="●"/>
              <a:defRPr sz="2000">
                <a:solidFill>
                  <a:srgbClr val="222222"/>
                </a:solidFill>
              </a:defRPr>
            </a:lvl4pPr>
            <a:lvl5pPr marL="4572000" lvl="4" indent="-558800" rtl="0">
              <a:spcBef>
                <a:spcPts val="3200"/>
              </a:spcBef>
              <a:spcAft>
                <a:spcPts val="0"/>
              </a:spcAft>
              <a:buClr>
                <a:srgbClr val="222222"/>
              </a:buClr>
              <a:buSzPts val="800"/>
              <a:buChar char="○"/>
              <a:defRPr sz="1600">
                <a:solidFill>
                  <a:srgbClr val="222222"/>
                </a:solidFill>
              </a:defRPr>
            </a:lvl5pPr>
            <a:lvl6pPr marL="5486400" lvl="5" indent="-558800" rtl="0">
              <a:spcBef>
                <a:spcPts val="3200"/>
              </a:spcBef>
              <a:spcAft>
                <a:spcPts val="0"/>
              </a:spcAft>
              <a:buClr>
                <a:srgbClr val="222222"/>
              </a:buClr>
              <a:buSzPts val="800"/>
              <a:buChar char="■"/>
              <a:defRPr sz="1600">
                <a:solidFill>
                  <a:srgbClr val="222222"/>
                </a:solidFill>
              </a:defRPr>
            </a:lvl6pPr>
            <a:lvl7pPr marL="6400800" lvl="6" indent="-609600" rtl="0">
              <a:spcBef>
                <a:spcPts val="3200"/>
              </a:spcBef>
              <a:spcAft>
                <a:spcPts val="0"/>
              </a:spcAft>
              <a:buClr>
                <a:srgbClr val="222222"/>
              </a:buClr>
              <a:buSzPts val="1200"/>
              <a:buChar char="●"/>
              <a:defRPr>
                <a:solidFill>
                  <a:srgbClr val="222222"/>
                </a:solidFill>
              </a:defRPr>
            </a:lvl7pPr>
            <a:lvl8pPr marL="7315200" lvl="7" indent="-609600" rtl="0">
              <a:spcBef>
                <a:spcPts val="3200"/>
              </a:spcBef>
              <a:spcAft>
                <a:spcPts val="0"/>
              </a:spcAft>
              <a:buClr>
                <a:srgbClr val="222222"/>
              </a:buClr>
              <a:buSzPts val="1200"/>
              <a:buChar char="○"/>
              <a:defRPr>
                <a:solidFill>
                  <a:srgbClr val="222222"/>
                </a:solidFill>
              </a:defRPr>
            </a:lvl8pPr>
            <a:lvl9pPr marL="8229600" lvl="8" indent="-609600" rtl="0">
              <a:spcBef>
                <a:spcPts val="3200"/>
              </a:spcBef>
              <a:spcAft>
                <a:spcPts val="3200"/>
              </a:spcAft>
              <a:buClr>
                <a:srgbClr val="222222"/>
              </a:buClr>
              <a:buSzPts val="1200"/>
              <a:buChar char="■"/>
              <a:defRPr>
                <a:solidFill>
                  <a:srgbClr val="222222"/>
                </a:solidFill>
              </a:defRPr>
            </a:lvl9pPr>
          </a:lstStyle>
          <a:p>
            <a:endParaRP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411"/>
        <p:cNvGrpSpPr/>
        <p:nvPr/>
      </p:nvGrpSpPr>
      <p:grpSpPr>
        <a:xfrm>
          <a:off x="0" y="0"/>
          <a:ext cx="0" cy="0"/>
          <a:chOff x="0" y="0"/>
          <a:chExt cx="0" cy="0"/>
        </a:xfrm>
      </p:grpSpPr>
      <p:sp>
        <p:nvSpPr>
          <p:cNvPr id="412" name="Google Shape;412;p65"/>
          <p:cNvSpPr/>
          <p:nvPr/>
        </p:nvSpPr>
        <p:spPr>
          <a:xfrm>
            <a:off x="9144000" y="50"/>
            <a:ext cx="9144000" cy="10287000"/>
          </a:xfrm>
          <a:prstGeom prst="rect">
            <a:avLst/>
          </a:prstGeom>
          <a:gradFill>
            <a:gsLst>
              <a:gs pos="0">
                <a:srgbClr val="FF2C34"/>
              </a:gs>
              <a:gs pos="100000">
                <a:srgbClr val="6800FF"/>
              </a:gs>
            </a:gsLst>
            <a:lin ang="2700006" scaled="0"/>
          </a:gra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sz="5600"/>
          </a:p>
        </p:txBody>
      </p:sp>
      <p:sp>
        <p:nvSpPr>
          <p:cNvPr id="413" name="Google Shape;413;p65"/>
          <p:cNvSpPr txBox="1">
            <a:spLocks noGrp="1"/>
          </p:cNvSpPr>
          <p:nvPr>
            <p:ph type="title"/>
          </p:nvPr>
        </p:nvSpPr>
        <p:spPr>
          <a:xfrm>
            <a:off x="531000" y="2466350"/>
            <a:ext cx="8090400" cy="2964600"/>
          </a:xfrm>
          <a:prstGeom prst="rect">
            <a:avLst/>
          </a:prstGeom>
        </p:spPr>
        <p:txBody>
          <a:bodyPr spcFirstLastPara="1" wrap="square" lIns="91425" tIns="91425" rIns="91425" bIns="91425" anchor="b" anchorCtr="0">
            <a:noAutofit/>
          </a:bodyPr>
          <a:lstStyle>
            <a:lvl1pPr lvl="0" algn="ctr" rtl="0">
              <a:spcBef>
                <a:spcPts val="0"/>
              </a:spcBef>
              <a:spcAft>
                <a:spcPts val="0"/>
              </a:spcAft>
              <a:buSzPts val="3000"/>
              <a:buNone/>
              <a:defRPr sz="6000"/>
            </a:lvl1pPr>
            <a:lvl2pPr lvl="1" algn="ctr" rtl="0">
              <a:spcBef>
                <a:spcPts val="0"/>
              </a:spcBef>
              <a:spcAft>
                <a:spcPts val="0"/>
              </a:spcAft>
              <a:buSzPts val="3600"/>
              <a:buNone/>
              <a:defRPr sz="7200"/>
            </a:lvl2pPr>
            <a:lvl3pPr lvl="2" algn="ctr" rtl="0">
              <a:spcBef>
                <a:spcPts val="0"/>
              </a:spcBef>
              <a:spcAft>
                <a:spcPts val="0"/>
              </a:spcAft>
              <a:buSzPts val="3600"/>
              <a:buNone/>
              <a:defRPr sz="7200"/>
            </a:lvl3pPr>
            <a:lvl4pPr lvl="3" algn="ctr" rtl="0">
              <a:spcBef>
                <a:spcPts val="0"/>
              </a:spcBef>
              <a:spcAft>
                <a:spcPts val="0"/>
              </a:spcAft>
              <a:buSzPts val="3600"/>
              <a:buNone/>
              <a:defRPr sz="7200"/>
            </a:lvl4pPr>
            <a:lvl5pPr lvl="4" algn="ctr" rtl="0">
              <a:spcBef>
                <a:spcPts val="0"/>
              </a:spcBef>
              <a:spcAft>
                <a:spcPts val="0"/>
              </a:spcAft>
              <a:buSzPts val="3600"/>
              <a:buNone/>
              <a:defRPr sz="7200"/>
            </a:lvl5pPr>
            <a:lvl6pPr lvl="5" algn="ctr" rtl="0">
              <a:spcBef>
                <a:spcPts val="0"/>
              </a:spcBef>
              <a:spcAft>
                <a:spcPts val="0"/>
              </a:spcAft>
              <a:buSzPts val="3600"/>
              <a:buNone/>
              <a:defRPr sz="7200"/>
            </a:lvl6pPr>
            <a:lvl7pPr lvl="6" algn="ctr" rtl="0">
              <a:spcBef>
                <a:spcPts val="0"/>
              </a:spcBef>
              <a:spcAft>
                <a:spcPts val="0"/>
              </a:spcAft>
              <a:buSzPts val="3600"/>
              <a:buNone/>
              <a:defRPr sz="7200"/>
            </a:lvl7pPr>
            <a:lvl8pPr lvl="7" algn="ctr" rtl="0">
              <a:spcBef>
                <a:spcPts val="0"/>
              </a:spcBef>
              <a:spcAft>
                <a:spcPts val="0"/>
              </a:spcAft>
              <a:buSzPts val="3600"/>
              <a:buNone/>
              <a:defRPr sz="7200"/>
            </a:lvl8pPr>
            <a:lvl9pPr lvl="8" algn="ctr" rtl="0">
              <a:spcBef>
                <a:spcPts val="0"/>
              </a:spcBef>
              <a:spcAft>
                <a:spcPts val="0"/>
              </a:spcAft>
              <a:buSzPts val="3600"/>
              <a:buNone/>
              <a:defRPr sz="7200"/>
            </a:lvl9pPr>
          </a:lstStyle>
          <a:p>
            <a:endParaRPr/>
          </a:p>
        </p:txBody>
      </p:sp>
      <p:sp>
        <p:nvSpPr>
          <p:cNvPr id="414" name="Google Shape;414;p65"/>
          <p:cNvSpPr txBox="1">
            <a:spLocks noGrp="1"/>
          </p:cNvSpPr>
          <p:nvPr>
            <p:ph type="subTitle" idx="1"/>
          </p:nvPr>
        </p:nvSpPr>
        <p:spPr>
          <a:xfrm>
            <a:off x="531000" y="5606150"/>
            <a:ext cx="8090400" cy="24702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200"/>
              <a:buNone/>
              <a:defRPr/>
            </a:lvl1pPr>
            <a:lvl2pPr lvl="1" algn="ctr" rtl="0">
              <a:lnSpc>
                <a:spcPct val="100000"/>
              </a:lnSpc>
              <a:spcBef>
                <a:spcPts val="0"/>
              </a:spcBef>
              <a:spcAft>
                <a:spcPts val="0"/>
              </a:spcAft>
              <a:buSzPts val="1800"/>
              <a:buNone/>
              <a:defRPr sz="3600"/>
            </a:lvl2pPr>
            <a:lvl3pPr lvl="2" algn="ctr" rtl="0">
              <a:lnSpc>
                <a:spcPct val="100000"/>
              </a:lnSpc>
              <a:spcBef>
                <a:spcPts val="0"/>
              </a:spcBef>
              <a:spcAft>
                <a:spcPts val="0"/>
              </a:spcAft>
              <a:buSzPts val="1800"/>
              <a:buNone/>
              <a:defRPr sz="3600"/>
            </a:lvl3pPr>
            <a:lvl4pPr lvl="3" algn="ctr" rtl="0">
              <a:lnSpc>
                <a:spcPct val="100000"/>
              </a:lnSpc>
              <a:spcBef>
                <a:spcPts val="0"/>
              </a:spcBef>
              <a:spcAft>
                <a:spcPts val="0"/>
              </a:spcAft>
              <a:buSzPts val="1800"/>
              <a:buNone/>
              <a:defRPr sz="3600"/>
            </a:lvl4pPr>
            <a:lvl5pPr lvl="4" algn="ctr" rtl="0">
              <a:lnSpc>
                <a:spcPct val="100000"/>
              </a:lnSpc>
              <a:spcBef>
                <a:spcPts val="0"/>
              </a:spcBef>
              <a:spcAft>
                <a:spcPts val="0"/>
              </a:spcAft>
              <a:buSzPts val="1800"/>
              <a:buNone/>
              <a:defRPr sz="3600"/>
            </a:lvl5pPr>
            <a:lvl6pPr lvl="5" algn="ctr" rtl="0">
              <a:lnSpc>
                <a:spcPct val="100000"/>
              </a:lnSpc>
              <a:spcBef>
                <a:spcPts val="0"/>
              </a:spcBef>
              <a:spcAft>
                <a:spcPts val="0"/>
              </a:spcAft>
              <a:buSzPts val="1800"/>
              <a:buNone/>
              <a:defRPr sz="3600"/>
            </a:lvl6pPr>
            <a:lvl7pPr lvl="6" algn="ctr" rtl="0">
              <a:lnSpc>
                <a:spcPct val="100000"/>
              </a:lnSpc>
              <a:spcBef>
                <a:spcPts val="0"/>
              </a:spcBef>
              <a:spcAft>
                <a:spcPts val="0"/>
              </a:spcAft>
              <a:buSzPts val="1800"/>
              <a:buNone/>
              <a:defRPr sz="3600"/>
            </a:lvl7pPr>
            <a:lvl8pPr lvl="7" algn="ctr" rtl="0">
              <a:lnSpc>
                <a:spcPct val="100000"/>
              </a:lnSpc>
              <a:spcBef>
                <a:spcPts val="0"/>
              </a:spcBef>
              <a:spcAft>
                <a:spcPts val="0"/>
              </a:spcAft>
              <a:buSzPts val="1800"/>
              <a:buNone/>
              <a:defRPr sz="3600"/>
            </a:lvl8pPr>
            <a:lvl9pPr lvl="8" algn="ctr" rtl="0">
              <a:lnSpc>
                <a:spcPct val="100000"/>
              </a:lnSpc>
              <a:spcBef>
                <a:spcPts val="0"/>
              </a:spcBef>
              <a:spcAft>
                <a:spcPts val="0"/>
              </a:spcAft>
              <a:buSzPts val="1800"/>
              <a:buNone/>
              <a:defRPr sz="3600"/>
            </a:lvl9pPr>
          </a:lstStyle>
          <a:p>
            <a:endParaRPr/>
          </a:p>
        </p:txBody>
      </p:sp>
      <p:sp>
        <p:nvSpPr>
          <p:cNvPr id="415" name="Google Shape;415;p65"/>
          <p:cNvSpPr txBox="1">
            <a:spLocks noGrp="1"/>
          </p:cNvSpPr>
          <p:nvPr>
            <p:ph type="body" idx="2"/>
          </p:nvPr>
        </p:nvSpPr>
        <p:spPr>
          <a:xfrm>
            <a:off x="9879000" y="1448400"/>
            <a:ext cx="7674000" cy="7390200"/>
          </a:xfrm>
          <a:prstGeom prst="rect">
            <a:avLst/>
          </a:prstGeom>
        </p:spPr>
        <p:txBody>
          <a:bodyPr spcFirstLastPara="1" wrap="square" lIns="91425" tIns="91425" rIns="91425" bIns="91425" anchor="ctr" anchorCtr="0">
            <a:noAutofit/>
          </a:bodyPr>
          <a:lstStyle>
            <a:lvl1pPr marL="914400" lvl="0" indent="-609600" rtl="0">
              <a:spcBef>
                <a:spcPts val="0"/>
              </a:spcBef>
              <a:spcAft>
                <a:spcPts val="0"/>
              </a:spcAft>
              <a:buClr>
                <a:schemeClr val="dk1"/>
              </a:buClr>
              <a:buSzPts val="1200"/>
              <a:buChar char="●"/>
              <a:defRPr>
                <a:solidFill>
                  <a:schemeClr val="dk1"/>
                </a:solidFill>
              </a:defRPr>
            </a:lvl1pPr>
            <a:lvl2pPr marL="1828800" lvl="1" indent="-609600" rtl="0">
              <a:spcBef>
                <a:spcPts val="3200"/>
              </a:spcBef>
              <a:spcAft>
                <a:spcPts val="0"/>
              </a:spcAft>
              <a:buClr>
                <a:schemeClr val="dk1"/>
              </a:buClr>
              <a:buSzPts val="1200"/>
              <a:buChar char="○"/>
              <a:defRPr>
                <a:solidFill>
                  <a:schemeClr val="dk1"/>
                </a:solidFill>
              </a:defRPr>
            </a:lvl2pPr>
            <a:lvl3pPr marL="2743200" lvl="2" indent="-609600" rtl="0">
              <a:spcBef>
                <a:spcPts val="3200"/>
              </a:spcBef>
              <a:spcAft>
                <a:spcPts val="0"/>
              </a:spcAft>
              <a:buClr>
                <a:schemeClr val="dk1"/>
              </a:buClr>
              <a:buSzPts val="1200"/>
              <a:buChar char="■"/>
              <a:defRPr>
                <a:solidFill>
                  <a:schemeClr val="dk1"/>
                </a:solidFill>
              </a:defRPr>
            </a:lvl3pPr>
            <a:lvl4pPr marL="3657600" lvl="3" indent="-609600" rtl="0">
              <a:spcBef>
                <a:spcPts val="3200"/>
              </a:spcBef>
              <a:spcAft>
                <a:spcPts val="0"/>
              </a:spcAft>
              <a:buClr>
                <a:schemeClr val="dk1"/>
              </a:buClr>
              <a:buSzPts val="1200"/>
              <a:buChar char="●"/>
              <a:defRPr>
                <a:solidFill>
                  <a:schemeClr val="dk1"/>
                </a:solidFill>
              </a:defRPr>
            </a:lvl4pPr>
            <a:lvl5pPr marL="4572000" lvl="4" indent="-609600" rtl="0">
              <a:spcBef>
                <a:spcPts val="3200"/>
              </a:spcBef>
              <a:spcAft>
                <a:spcPts val="0"/>
              </a:spcAft>
              <a:buClr>
                <a:schemeClr val="dk1"/>
              </a:buClr>
              <a:buSzPts val="1200"/>
              <a:buChar char="○"/>
              <a:defRPr>
                <a:solidFill>
                  <a:schemeClr val="dk1"/>
                </a:solidFill>
              </a:defRPr>
            </a:lvl5pPr>
            <a:lvl6pPr marL="5486400" lvl="5" indent="-609600" rtl="0">
              <a:spcBef>
                <a:spcPts val="3200"/>
              </a:spcBef>
              <a:spcAft>
                <a:spcPts val="0"/>
              </a:spcAft>
              <a:buClr>
                <a:schemeClr val="dk1"/>
              </a:buClr>
              <a:buSzPts val="1200"/>
              <a:buChar char="■"/>
              <a:defRPr>
                <a:solidFill>
                  <a:schemeClr val="dk1"/>
                </a:solidFill>
              </a:defRPr>
            </a:lvl6pPr>
            <a:lvl7pPr marL="6400800" lvl="6" indent="-609600" rtl="0">
              <a:spcBef>
                <a:spcPts val="3200"/>
              </a:spcBef>
              <a:spcAft>
                <a:spcPts val="0"/>
              </a:spcAft>
              <a:buClr>
                <a:schemeClr val="dk1"/>
              </a:buClr>
              <a:buSzPts val="1200"/>
              <a:buChar char="●"/>
              <a:defRPr>
                <a:solidFill>
                  <a:schemeClr val="dk1"/>
                </a:solidFill>
              </a:defRPr>
            </a:lvl7pPr>
            <a:lvl8pPr marL="7315200" lvl="7" indent="-609600" rtl="0">
              <a:spcBef>
                <a:spcPts val="3200"/>
              </a:spcBef>
              <a:spcAft>
                <a:spcPts val="0"/>
              </a:spcAft>
              <a:buClr>
                <a:schemeClr val="dk1"/>
              </a:buClr>
              <a:buSzPts val="1200"/>
              <a:buChar char="○"/>
              <a:defRPr>
                <a:solidFill>
                  <a:schemeClr val="dk1"/>
                </a:solidFill>
              </a:defRPr>
            </a:lvl8pPr>
            <a:lvl9pPr marL="8229600" lvl="8" indent="-609600" rtl="0">
              <a:spcBef>
                <a:spcPts val="3200"/>
              </a:spcBef>
              <a:spcAft>
                <a:spcPts val="3200"/>
              </a:spcAft>
              <a:buClr>
                <a:schemeClr val="dk1"/>
              </a:buClr>
              <a:buSzPts val="1200"/>
              <a:buChar char="■"/>
              <a:defRPr>
                <a:solidFill>
                  <a:schemeClr val="dk1"/>
                </a:solidFill>
              </a:defRPr>
            </a:lvl9pPr>
          </a:lstStyle>
          <a:p>
            <a:endParaRPr/>
          </a:p>
        </p:txBody>
      </p:sp>
      <p:sp>
        <p:nvSpPr>
          <p:cNvPr id="416" name="Google Shape;416;p65"/>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pt-BR"/>
              <a:pPr marL="0" lvl="0" indent="0" algn="r" rtl="0">
                <a:spcBef>
                  <a:spcPts val="0"/>
                </a:spcBef>
                <a:spcAft>
                  <a:spcPts val="0"/>
                </a:spcAft>
                <a:buNone/>
              </a:pPr>
              <a:t>‹nº›</a:t>
            </a:fld>
            <a:endParaRP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Título e descrição de seção 1">
  <p:cSld name="SECTION_TITLE_AND_DESCRIPTION_1">
    <p:spTree>
      <p:nvGrpSpPr>
        <p:cNvPr id="1" name="Shape 417"/>
        <p:cNvGrpSpPr/>
        <p:nvPr/>
      </p:nvGrpSpPr>
      <p:grpSpPr>
        <a:xfrm>
          <a:off x="0" y="0"/>
          <a:ext cx="0" cy="0"/>
          <a:chOff x="0" y="0"/>
          <a:chExt cx="0" cy="0"/>
        </a:xfrm>
      </p:grpSpPr>
      <p:sp>
        <p:nvSpPr>
          <p:cNvPr id="418" name="Google Shape;418;p66"/>
          <p:cNvSpPr/>
          <p:nvPr/>
        </p:nvSpPr>
        <p:spPr>
          <a:xfrm>
            <a:off x="0" y="50"/>
            <a:ext cx="18288000" cy="10287000"/>
          </a:xfrm>
          <a:prstGeom prst="rect">
            <a:avLst/>
          </a:prstGeom>
          <a:gradFill>
            <a:gsLst>
              <a:gs pos="0">
                <a:srgbClr val="FF2C34"/>
              </a:gs>
              <a:gs pos="100000">
                <a:srgbClr val="6800FF"/>
              </a:gs>
            </a:gsLst>
            <a:lin ang="2698631" scaled="0"/>
          </a:gra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sz="5600"/>
          </a:p>
        </p:txBody>
      </p:sp>
      <p:sp>
        <p:nvSpPr>
          <p:cNvPr id="419" name="Google Shape;419;p66"/>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pt-BR"/>
              <a:pPr marL="0" lvl="0" indent="0" algn="r" rtl="0">
                <a:spcBef>
                  <a:spcPts val="0"/>
                </a:spcBef>
                <a:spcAft>
                  <a:spcPts val="0"/>
                </a:spcAft>
                <a:buNone/>
              </a:pPr>
              <a:t>‹nº›</a:t>
            </a:fld>
            <a:endParaRPr/>
          </a:p>
        </p:txBody>
      </p:sp>
      <p:sp>
        <p:nvSpPr>
          <p:cNvPr id="420" name="Google Shape;420;p66"/>
          <p:cNvSpPr txBox="1">
            <a:spLocks noGrp="1"/>
          </p:cNvSpPr>
          <p:nvPr>
            <p:ph type="title"/>
          </p:nvPr>
        </p:nvSpPr>
        <p:spPr>
          <a:xfrm>
            <a:off x="1080600" y="1042450"/>
            <a:ext cx="12757200" cy="11454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FFFFFF"/>
              </a:buClr>
              <a:buSzPts val="2000"/>
              <a:buNone/>
              <a:defRPr sz="4000">
                <a:solidFill>
                  <a:srgbClr val="FFFFFF"/>
                </a:solidFill>
              </a:defRPr>
            </a:lvl1pPr>
            <a:lvl2pPr lvl="1" rtl="0">
              <a:spcBef>
                <a:spcPts val="0"/>
              </a:spcBef>
              <a:spcAft>
                <a:spcPts val="0"/>
              </a:spcAft>
              <a:buClr>
                <a:srgbClr val="FFFFFF"/>
              </a:buClr>
              <a:buSzPts val="2000"/>
              <a:buNone/>
              <a:defRPr>
                <a:solidFill>
                  <a:srgbClr val="FFFFFF"/>
                </a:solidFill>
              </a:defRPr>
            </a:lvl2pPr>
            <a:lvl3pPr lvl="2" rtl="0">
              <a:spcBef>
                <a:spcPts val="0"/>
              </a:spcBef>
              <a:spcAft>
                <a:spcPts val="0"/>
              </a:spcAft>
              <a:buClr>
                <a:srgbClr val="FFFFFF"/>
              </a:buClr>
              <a:buSzPts val="2000"/>
              <a:buNone/>
              <a:defRPr>
                <a:solidFill>
                  <a:srgbClr val="FFFFFF"/>
                </a:solidFill>
              </a:defRPr>
            </a:lvl3pPr>
            <a:lvl4pPr lvl="3" rtl="0">
              <a:spcBef>
                <a:spcPts val="0"/>
              </a:spcBef>
              <a:spcAft>
                <a:spcPts val="0"/>
              </a:spcAft>
              <a:buClr>
                <a:srgbClr val="FFFFFF"/>
              </a:buClr>
              <a:buSzPts val="2000"/>
              <a:buNone/>
              <a:defRPr>
                <a:solidFill>
                  <a:srgbClr val="FFFFFF"/>
                </a:solidFill>
              </a:defRPr>
            </a:lvl4pPr>
            <a:lvl5pPr lvl="4" rtl="0">
              <a:spcBef>
                <a:spcPts val="0"/>
              </a:spcBef>
              <a:spcAft>
                <a:spcPts val="0"/>
              </a:spcAft>
              <a:buClr>
                <a:srgbClr val="FFFFFF"/>
              </a:buClr>
              <a:buSzPts val="2000"/>
              <a:buNone/>
              <a:defRPr>
                <a:solidFill>
                  <a:srgbClr val="FFFFFF"/>
                </a:solidFill>
              </a:defRPr>
            </a:lvl5pPr>
            <a:lvl6pPr lvl="5" rtl="0">
              <a:spcBef>
                <a:spcPts val="0"/>
              </a:spcBef>
              <a:spcAft>
                <a:spcPts val="0"/>
              </a:spcAft>
              <a:buClr>
                <a:srgbClr val="FFFFFF"/>
              </a:buClr>
              <a:buSzPts val="2000"/>
              <a:buNone/>
              <a:defRPr>
                <a:solidFill>
                  <a:srgbClr val="FFFFFF"/>
                </a:solidFill>
              </a:defRPr>
            </a:lvl6pPr>
            <a:lvl7pPr lvl="6" rtl="0">
              <a:spcBef>
                <a:spcPts val="0"/>
              </a:spcBef>
              <a:spcAft>
                <a:spcPts val="0"/>
              </a:spcAft>
              <a:buClr>
                <a:srgbClr val="FFFFFF"/>
              </a:buClr>
              <a:buSzPts val="2000"/>
              <a:buNone/>
              <a:defRPr>
                <a:solidFill>
                  <a:srgbClr val="FFFFFF"/>
                </a:solidFill>
              </a:defRPr>
            </a:lvl7pPr>
            <a:lvl8pPr lvl="7" rtl="0">
              <a:spcBef>
                <a:spcPts val="0"/>
              </a:spcBef>
              <a:spcAft>
                <a:spcPts val="0"/>
              </a:spcAft>
              <a:buClr>
                <a:srgbClr val="FFFFFF"/>
              </a:buClr>
              <a:buSzPts val="2000"/>
              <a:buNone/>
              <a:defRPr>
                <a:solidFill>
                  <a:srgbClr val="FFFFFF"/>
                </a:solidFill>
              </a:defRPr>
            </a:lvl8pPr>
            <a:lvl9pPr lvl="8" rtl="0">
              <a:spcBef>
                <a:spcPts val="0"/>
              </a:spcBef>
              <a:spcAft>
                <a:spcPts val="0"/>
              </a:spcAft>
              <a:buClr>
                <a:srgbClr val="FFFFFF"/>
              </a:buClr>
              <a:buSzPts val="2000"/>
              <a:buNone/>
              <a:defRPr>
                <a:solidFill>
                  <a:srgbClr val="FFFFFF"/>
                </a:solidFill>
              </a:defRPr>
            </a:lvl9pPr>
          </a:lstStyle>
          <a:p>
            <a:endParaRPr/>
          </a:p>
        </p:txBody>
      </p:sp>
      <p:sp>
        <p:nvSpPr>
          <p:cNvPr id="421" name="Google Shape;421;p66"/>
          <p:cNvSpPr txBox="1">
            <a:spLocks noGrp="1"/>
          </p:cNvSpPr>
          <p:nvPr>
            <p:ph type="body" idx="1"/>
          </p:nvPr>
        </p:nvSpPr>
        <p:spPr>
          <a:xfrm>
            <a:off x="1080600" y="3130350"/>
            <a:ext cx="15562200" cy="5891400"/>
          </a:xfrm>
          <a:prstGeom prst="rect">
            <a:avLst/>
          </a:prstGeom>
        </p:spPr>
        <p:txBody>
          <a:bodyPr spcFirstLastPara="1" wrap="square" lIns="91425" tIns="91425" rIns="91425" bIns="91425" anchor="t" anchorCtr="0">
            <a:noAutofit/>
          </a:bodyPr>
          <a:lstStyle>
            <a:lvl1pPr marL="914400" lvl="0" indent="-609600" rtl="0">
              <a:spcBef>
                <a:spcPts val="0"/>
              </a:spcBef>
              <a:spcAft>
                <a:spcPts val="0"/>
              </a:spcAft>
              <a:buClr>
                <a:srgbClr val="FFFFFF"/>
              </a:buClr>
              <a:buSzPts val="1200"/>
              <a:buChar char="●"/>
              <a:defRPr sz="2400">
                <a:solidFill>
                  <a:srgbClr val="FFFFFF"/>
                </a:solidFill>
              </a:defRPr>
            </a:lvl1pPr>
            <a:lvl2pPr marL="1828800" lvl="1" indent="-609600" rtl="0">
              <a:spcBef>
                <a:spcPts val="3200"/>
              </a:spcBef>
              <a:spcAft>
                <a:spcPts val="0"/>
              </a:spcAft>
              <a:buClr>
                <a:srgbClr val="FFFFFF"/>
              </a:buClr>
              <a:buSzPts val="1200"/>
              <a:buChar char="○"/>
              <a:defRPr sz="2400">
                <a:solidFill>
                  <a:srgbClr val="FFFFFF"/>
                </a:solidFill>
              </a:defRPr>
            </a:lvl2pPr>
            <a:lvl3pPr marL="2743200" lvl="2" indent="-584200" rtl="0">
              <a:spcBef>
                <a:spcPts val="3200"/>
              </a:spcBef>
              <a:spcAft>
                <a:spcPts val="0"/>
              </a:spcAft>
              <a:buClr>
                <a:srgbClr val="FFFFFF"/>
              </a:buClr>
              <a:buSzPts val="1000"/>
              <a:buChar char="■"/>
              <a:defRPr sz="2000">
                <a:solidFill>
                  <a:srgbClr val="FFFFFF"/>
                </a:solidFill>
              </a:defRPr>
            </a:lvl3pPr>
            <a:lvl4pPr marL="3657600" lvl="3" indent="-584200" rtl="0">
              <a:spcBef>
                <a:spcPts val="3200"/>
              </a:spcBef>
              <a:spcAft>
                <a:spcPts val="0"/>
              </a:spcAft>
              <a:buClr>
                <a:srgbClr val="FFFFFF"/>
              </a:buClr>
              <a:buSzPts val="1000"/>
              <a:buChar char="●"/>
              <a:defRPr sz="2000">
                <a:solidFill>
                  <a:srgbClr val="FFFFFF"/>
                </a:solidFill>
              </a:defRPr>
            </a:lvl4pPr>
            <a:lvl5pPr marL="4572000" lvl="4" indent="-558800" rtl="0">
              <a:spcBef>
                <a:spcPts val="3200"/>
              </a:spcBef>
              <a:spcAft>
                <a:spcPts val="0"/>
              </a:spcAft>
              <a:buClr>
                <a:srgbClr val="FFFFFF"/>
              </a:buClr>
              <a:buSzPts val="800"/>
              <a:buChar char="○"/>
              <a:defRPr sz="1600">
                <a:solidFill>
                  <a:srgbClr val="FFFFFF"/>
                </a:solidFill>
              </a:defRPr>
            </a:lvl5pPr>
            <a:lvl6pPr marL="5486400" lvl="5" indent="-558800" rtl="0">
              <a:spcBef>
                <a:spcPts val="3200"/>
              </a:spcBef>
              <a:spcAft>
                <a:spcPts val="0"/>
              </a:spcAft>
              <a:buClr>
                <a:srgbClr val="FFFFFF"/>
              </a:buClr>
              <a:buSzPts val="800"/>
              <a:buChar char="■"/>
              <a:defRPr sz="1600">
                <a:solidFill>
                  <a:srgbClr val="FFFFFF"/>
                </a:solidFill>
              </a:defRPr>
            </a:lvl6pPr>
            <a:lvl7pPr marL="6400800" lvl="6" indent="-609600" rtl="0">
              <a:spcBef>
                <a:spcPts val="3200"/>
              </a:spcBef>
              <a:spcAft>
                <a:spcPts val="0"/>
              </a:spcAft>
              <a:buClr>
                <a:srgbClr val="FFFFFF"/>
              </a:buClr>
              <a:buSzPts val="1200"/>
              <a:buChar char="●"/>
              <a:defRPr>
                <a:solidFill>
                  <a:srgbClr val="FFFFFF"/>
                </a:solidFill>
              </a:defRPr>
            </a:lvl7pPr>
            <a:lvl8pPr marL="7315200" lvl="7" indent="-609600" rtl="0">
              <a:spcBef>
                <a:spcPts val="3200"/>
              </a:spcBef>
              <a:spcAft>
                <a:spcPts val="0"/>
              </a:spcAft>
              <a:buClr>
                <a:srgbClr val="FFFFFF"/>
              </a:buClr>
              <a:buSzPts val="1200"/>
              <a:buChar char="○"/>
              <a:defRPr>
                <a:solidFill>
                  <a:srgbClr val="FFFFFF"/>
                </a:solidFill>
              </a:defRPr>
            </a:lvl8pPr>
            <a:lvl9pPr marL="8229600" lvl="8" indent="-609600" rtl="0">
              <a:spcBef>
                <a:spcPts val="3200"/>
              </a:spcBef>
              <a:spcAft>
                <a:spcPts val="3200"/>
              </a:spcAft>
              <a:buClr>
                <a:srgbClr val="FFFFFF"/>
              </a:buClr>
              <a:buSzPts val="1200"/>
              <a:buChar char="■"/>
              <a:defRPr>
                <a:solidFill>
                  <a:srgbClr val="FFFFFF"/>
                </a:solidFill>
              </a:defRPr>
            </a:lvl9pPr>
          </a:lstStyle>
          <a:p>
            <a:endParaRP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422"/>
        <p:cNvGrpSpPr/>
        <p:nvPr/>
      </p:nvGrpSpPr>
      <p:grpSpPr>
        <a:xfrm>
          <a:off x="0" y="0"/>
          <a:ext cx="0" cy="0"/>
          <a:chOff x="0" y="0"/>
          <a:chExt cx="0" cy="0"/>
        </a:xfrm>
      </p:grpSpPr>
      <p:pic>
        <p:nvPicPr>
          <p:cNvPr id="423" name="Google Shape;423;p6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0" y="1"/>
            <a:ext cx="12674904" cy="10287002"/>
          </a:xfrm>
          <a:prstGeom prst="rect">
            <a:avLst/>
          </a:prstGeom>
          <a:noFill/>
          <a:ln>
            <a:noFill/>
          </a:ln>
        </p:spPr>
      </p:pic>
      <p:sp>
        <p:nvSpPr>
          <p:cNvPr id="424" name="Google Shape;424;p67"/>
          <p:cNvSpPr txBox="1">
            <a:spLocks noGrp="1"/>
          </p:cNvSpPr>
          <p:nvPr>
            <p:ph type="body" idx="1"/>
          </p:nvPr>
        </p:nvSpPr>
        <p:spPr>
          <a:xfrm>
            <a:off x="10501650" y="3310800"/>
            <a:ext cx="5604000" cy="2827200"/>
          </a:xfrm>
          <a:prstGeom prst="rect">
            <a:avLst/>
          </a:prstGeom>
        </p:spPr>
        <p:txBody>
          <a:bodyPr spcFirstLastPara="1" wrap="square" lIns="91425" tIns="91425" rIns="91425" bIns="91425" anchor="ctr" anchorCtr="0">
            <a:noAutofit/>
          </a:bodyPr>
          <a:lstStyle>
            <a:lvl1pPr marL="914400" lvl="0" indent="-457200" rtl="0">
              <a:lnSpc>
                <a:spcPct val="100000"/>
              </a:lnSpc>
              <a:spcBef>
                <a:spcPts val="0"/>
              </a:spcBef>
              <a:spcAft>
                <a:spcPts val="0"/>
              </a:spcAft>
              <a:buSzPts val="2400"/>
              <a:buFont typeface="Montserrat"/>
              <a:buNone/>
              <a:defRPr sz="4800" b="1">
                <a:latin typeface="Montserrat"/>
                <a:ea typeface="Montserrat"/>
                <a:cs typeface="Montserrat"/>
                <a:sym typeface="Montserrat"/>
              </a:defRPr>
            </a:lvl1pPr>
          </a:lstStyle>
          <a:p>
            <a:endParaRPr/>
          </a:p>
        </p:txBody>
      </p:sp>
      <p:sp>
        <p:nvSpPr>
          <p:cNvPr id="425" name="Google Shape;425;p67"/>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pt-BR"/>
              <a:pPr marL="0" lvl="0" indent="0" algn="r" rtl="0">
                <a:spcBef>
                  <a:spcPts val="0"/>
                </a:spcBef>
                <a:spcAft>
                  <a:spcPts val="0"/>
                </a:spcAft>
                <a:buNone/>
              </a:pPr>
              <a:t>‹nº›</a:t>
            </a:fld>
            <a:endParaRP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426"/>
        <p:cNvGrpSpPr/>
        <p:nvPr/>
      </p:nvGrpSpPr>
      <p:grpSpPr>
        <a:xfrm>
          <a:off x="0" y="0"/>
          <a:ext cx="0" cy="0"/>
          <a:chOff x="0" y="0"/>
          <a:chExt cx="0" cy="0"/>
        </a:xfrm>
      </p:grpSpPr>
      <p:pic>
        <p:nvPicPr>
          <p:cNvPr id="427" name="Google Shape;427;p6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rot="10800000">
            <a:off x="2343692" y="5535591"/>
            <a:ext cx="13600608" cy="4751398"/>
          </a:xfrm>
          <a:prstGeom prst="rect">
            <a:avLst/>
          </a:prstGeom>
          <a:noFill/>
          <a:ln>
            <a:noFill/>
          </a:ln>
        </p:spPr>
      </p:pic>
      <p:sp>
        <p:nvSpPr>
          <p:cNvPr id="428" name="Google Shape;428;p68"/>
          <p:cNvSpPr txBox="1">
            <a:spLocks noGrp="1"/>
          </p:cNvSpPr>
          <p:nvPr>
            <p:ph type="title" hasCustomPrompt="1"/>
          </p:nvPr>
        </p:nvSpPr>
        <p:spPr>
          <a:xfrm>
            <a:off x="623400" y="688250"/>
            <a:ext cx="17041200" cy="3927000"/>
          </a:xfrm>
          <a:prstGeom prst="rect">
            <a:avLst/>
          </a:prstGeom>
        </p:spPr>
        <p:txBody>
          <a:bodyPr spcFirstLastPara="1" wrap="square" lIns="91425" tIns="91425" rIns="91425" bIns="91425" anchor="b" anchorCtr="0">
            <a:noAutofit/>
          </a:bodyPr>
          <a:lstStyle>
            <a:lvl1pPr lvl="0" algn="ctr" rtl="0">
              <a:spcBef>
                <a:spcPts val="0"/>
              </a:spcBef>
              <a:spcAft>
                <a:spcPts val="0"/>
              </a:spcAft>
              <a:buSzPts val="9600"/>
              <a:buNone/>
              <a:defRPr sz="19200"/>
            </a:lvl1pPr>
            <a:lvl2pPr lvl="1" algn="ctr" rtl="0">
              <a:spcBef>
                <a:spcPts val="0"/>
              </a:spcBef>
              <a:spcAft>
                <a:spcPts val="0"/>
              </a:spcAft>
              <a:buSzPts val="9600"/>
              <a:buNone/>
              <a:defRPr sz="19200"/>
            </a:lvl2pPr>
            <a:lvl3pPr lvl="2" algn="ctr" rtl="0">
              <a:spcBef>
                <a:spcPts val="0"/>
              </a:spcBef>
              <a:spcAft>
                <a:spcPts val="0"/>
              </a:spcAft>
              <a:buSzPts val="9600"/>
              <a:buNone/>
              <a:defRPr sz="19200"/>
            </a:lvl3pPr>
            <a:lvl4pPr lvl="3" algn="ctr" rtl="0">
              <a:spcBef>
                <a:spcPts val="0"/>
              </a:spcBef>
              <a:spcAft>
                <a:spcPts val="0"/>
              </a:spcAft>
              <a:buSzPts val="9600"/>
              <a:buNone/>
              <a:defRPr sz="19200"/>
            </a:lvl4pPr>
            <a:lvl5pPr lvl="4" algn="ctr" rtl="0">
              <a:spcBef>
                <a:spcPts val="0"/>
              </a:spcBef>
              <a:spcAft>
                <a:spcPts val="0"/>
              </a:spcAft>
              <a:buSzPts val="9600"/>
              <a:buNone/>
              <a:defRPr sz="19200"/>
            </a:lvl5pPr>
            <a:lvl6pPr lvl="5" algn="ctr" rtl="0">
              <a:spcBef>
                <a:spcPts val="0"/>
              </a:spcBef>
              <a:spcAft>
                <a:spcPts val="0"/>
              </a:spcAft>
              <a:buSzPts val="9600"/>
              <a:buNone/>
              <a:defRPr sz="19200"/>
            </a:lvl6pPr>
            <a:lvl7pPr lvl="6" algn="ctr" rtl="0">
              <a:spcBef>
                <a:spcPts val="0"/>
              </a:spcBef>
              <a:spcAft>
                <a:spcPts val="0"/>
              </a:spcAft>
              <a:buSzPts val="9600"/>
              <a:buNone/>
              <a:defRPr sz="19200"/>
            </a:lvl7pPr>
            <a:lvl8pPr lvl="7" algn="ctr" rtl="0">
              <a:spcBef>
                <a:spcPts val="0"/>
              </a:spcBef>
              <a:spcAft>
                <a:spcPts val="0"/>
              </a:spcAft>
              <a:buSzPts val="9600"/>
              <a:buNone/>
              <a:defRPr sz="19200"/>
            </a:lvl8pPr>
            <a:lvl9pPr lvl="8" algn="ctr" rtl="0">
              <a:spcBef>
                <a:spcPts val="0"/>
              </a:spcBef>
              <a:spcAft>
                <a:spcPts val="0"/>
              </a:spcAft>
              <a:buSzPts val="9600"/>
              <a:buNone/>
              <a:defRPr sz="19200"/>
            </a:lvl9pPr>
          </a:lstStyle>
          <a:p>
            <a:r>
              <a:t>xx%</a:t>
            </a:r>
          </a:p>
        </p:txBody>
      </p:sp>
      <p:sp>
        <p:nvSpPr>
          <p:cNvPr id="429" name="Google Shape;429;p68"/>
          <p:cNvSpPr txBox="1">
            <a:spLocks noGrp="1"/>
          </p:cNvSpPr>
          <p:nvPr>
            <p:ph type="body" idx="1"/>
          </p:nvPr>
        </p:nvSpPr>
        <p:spPr>
          <a:xfrm>
            <a:off x="623400" y="4780450"/>
            <a:ext cx="17041200" cy="2601600"/>
          </a:xfrm>
          <a:prstGeom prst="rect">
            <a:avLst/>
          </a:prstGeom>
        </p:spPr>
        <p:txBody>
          <a:bodyPr spcFirstLastPara="1" wrap="square" lIns="91425" tIns="91425" rIns="91425" bIns="91425" anchor="t" anchorCtr="0">
            <a:noAutofit/>
          </a:bodyPr>
          <a:lstStyle>
            <a:lvl1pPr marL="914400" lvl="0" indent="-609600" algn="ctr" rtl="0">
              <a:spcBef>
                <a:spcPts val="0"/>
              </a:spcBef>
              <a:spcAft>
                <a:spcPts val="0"/>
              </a:spcAft>
              <a:buSzPts val="1200"/>
              <a:buChar char="●"/>
              <a:defRPr/>
            </a:lvl1pPr>
            <a:lvl2pPr marL="1828800" lvl="1" indent="-609600" algn="ctr" rtl="0">
              <a:spcBef>
                <a:spcPts val="3200"/>
              </a:spcBef>
              <a:spcAft>
                <a:spcPts val="0"/>
              </a:spcAft>
              <a:buSzPts val="1200"/>
              <a:buChar char="○"/>
              <a:defRPr/>
            </a:lvl2pPr>
            <a:lvl3pPr marL="2743200" lvl="2" indent="-609600" algn="ctr" rtl="0">
              <a:spcBef>
                <a:spcPts val="3200"/>
              </a:spcBef>
              <a:spcAft>
                <a:spcPts val="0"/>
              </a:spcAft>
              <a:buSzPts val="1200"/>
              <a:buChar char="■"/>
              <a:defRPr/>
            </a:lvl3pPr>
            <a:lvl4pPr marL="3657600" lvl="3" indent="-609600" algn="ctr" rtl="0">
              <a:spcBef>
                <a:spcPts val="3200"/>
              </a:spcBef>
              <a:spcAft>
                <a:spcPts val="0"/>
              </a:spcAft>
              <a:buSzPts val="1200"/>
              <a:buChar char="●"/>
              <a:defRPr/>
            </a:lvl4pPr>
            <a:lvl5pPr marL="4572000" lvl="4" indent="-609600" algn="ctr" rtl="0">
              <a:spcBef>
                <a:spcPts val="3200"/>
              </a:spcBef>
              <a:spcAft>
                <a:spcPts val="0"/>
              </a:spcAft>
              <a:buSzPts val="1200"/>
              <a:buChar char="○"/>
              <a:defRPr/>
            </a:lvl5pPr>
            <a:lvl6pPr marL="5486400" lvl="5" indent="-609600" algn="ctr" rtl="0">
              <a:spcBef>
                <a:spcPts val="3200"/>
              </a:spcBef>
              <a:spcAft>
                <a:spcPts val="0"/>
              </a:spcAft>
              <a:buSzPts val="1200"/>
              <a:buChar char="■"/>
              <a:defRPr/>
            </a:lvl6pPr>
            <a:lvl7pPr marL="6400800" lvl="6" indent="-609600" algn="ctr" rtl="0">
              <a:spcBef>
                <a:spcPts val="3200"/>
              </a:spcBef>
              <a:spcAft>
                <a:spcPts val="0"/>
              </a:spcAft>
              <a:buSzPts val="1200"/>
              <a:buChar char="●"/>
              <a:defRPr/>
            </a:lvl7pPr>
            <a:lvl8pPr marL="7315200" lvl="7" indent="-609600" algn="ctr" rtl="0">
              <a:spcBef>
                <a:spcPts val="3200"/>
              </a:spcBef>
              <a:spcAft>
                <a:spcPts val="0"/>
              </a:spcAft>
              <a:buSzPts val="1200"/>
              <a:buChar char="○"/>
              <a:defRPr/>
            </a:lvl8pPr>
            <a:lvl9pPr marL="8229600" lvl="8" indent="-609600" algn="ctr" rtl="0">
              <a:spcBef>
                <a:spcPts val="3200"/>
              </a:spcBef>
              <a:spcAft>
                <a:spcPts val="3200"/>
              </a:spcAft>
              <a:buSzPts val="1200"/>
              <a:buChar char="■"/>
              <a:defRPr/>
            </a:lvl9pPr>
          </a:lstStyle>
          <a:p>
            <a:endParaRPr/>
          </a:p>
        </p:txBody>
      </p:sp>
      <p:sp>
        <p:nvSpPr>
          <p:cNvPr id="430" name="Google Shape;430;p68"/>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pt-BR"/>
              <a:pPr marL="0" lvl="0" indent="0" algn="r" rtl="0">
                <a:spcBef>
                  <a:spcPts val="0"/>
                </a:spcBef>
                <a:spcAft>
                  <a:spcPts val="0"/>
                </a:spcAft>
                <a:buNone/>
              </a:pPr>
              <a:t>‹nº›</a:t>
            </a:fld>
            <a:endParaRP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Somente título 2">
  <p:cSld name="1_Somente título 2">
    <p:spTree>
      <p:nvGrpSpPr>
        <p:cNvPr id="1" name="Shape 163"/>
        <p:cNvGrpSpPr/>
        <p:nvPr/>
      </p:nvGrpSpPr>
      <p:grpSpPr>
        <a:xfrm>
          <a:off x="0" y="0"/>
          <a:ext cx="0" cy="0"/>
          <a:chOff x="0" y="0"/>
          <a:chExt cx="0" cy="0"/>
        </a:xfrm>
      </p:grpSpPr>
      <p:pic>
        <p:nvPicPr>
          <p:cNvPr id="164" name="Google Shape;164;p2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0" y="0"/>
            <a:ext cx="18288000" cy="10287000"/>
          </a:xfrm>
          <a:prstGeom prst="rect">
            <a:avLst/>
          </a:prstGeom>
          <a:noFill/>
          <a:ln>
            <a:noFill/>
          </a:ln>
        </p:spPr>
      </p:pic>
      <p:sp>
        <p:nvSpPr>
          <p:cNvPr id="165" name="Google Shape;165;p25"/>
          <p:cNvSpPr txBox="1">
            <a:spLocks noGrp="1"/>
          </p:cNvSpPr>
          <p:nvPr>
            <p:ph type="title"/>
          </p:nvPr>
        </p:nvSpPr>
        <p:spPr>
          <a:xfrm>
            <a:off x="623400" y="4418400"/>
            <a:ext cx="17041200" cy="11454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2000"/>
              <a:buNone/>
              <a:defRPr/>
            </a:lvl1pPr>
            <a:lvl2pPr lvl="1" algn="ctr" rtl="0">
              <a:spcBef>
                <a:spcPts val="0"/>
              </a:spcBef>
              <a:spcAft>
                <a:spcPts val="0"/>
              </a:spcAft>
              <a:buSzPts val="2000"/>
              <a:buNone/>
              <a:defRPr/>
            </a:lvl2pPr>
            <a:lvl3pPr lvl="2" algn="ctr" rtl="0">
              <a:spcBef>
                <a:spcPts val="0"/>
              </a:spcBef>
              <a:spcAft>
                <a:spcPts val="0"/>
              </a:spcAft>
              <a:buSzPts val="2000"/>
              <a:buNone/>
              <a:defRPr/>
            </a:lvl3pPr>
            <a:lvl4pPr lvl="3" algn="ctr" rtl="0">
              <a:spcBef>
                <a:spcPts val="0"/>
              </a:spcBef>
              <a:spcAft>
                <a:spcPts val="0"/>
              </a:spcAft>
              <a:buSzPts val="2000"/>
              <a:buNone/>
              <a:defRPr/>
            </a:lvl4pPr>
            <a:lvl5pPr lvl="4" algn="ctr" rtl="0">
              <a:spcBef>
                <a:spcPts val="0"/>
              </a:spcBef>
              <a:spcAft>
                <a:spcPts val="0"/>
              </a:spcAft>
              <a:buSzPts val="2000"/>
              <a:buNone/>
              <a:defRPr/>
            </a:lvl5pPr>
            <a:lvl6pPr lvl="5" algn="ctr" rtl="0">
              <a:spcBef>
                <a:spcPts val="0"/>
              </a:spcBef>
              <a:spcAft>
                <a:spcPts val="0"/>
              </a:spcAft>
              <a:buSzPts val="2000"/>
              <a:buNone/>
              <a:defRPr/>
            </a:lvl6pPr>
            <a:lvl7pPr lvl="6" algn="ctr" rtl="0">
              <a:spcBef>
                <a:spcPts val="0"/>
              </a:spcBef>
              <a:spcAft>
                <a:spcPts val="0"/>
              </a:spcAft>
              <a:buSzPts val="2000"/>
              <a:buNone/>
              <a:defRPr/>
            </a:lvl7pPr>
            <a:lvl8pPr lvl="7" algn="ctr" rtl="0">
              <a:spcBef>
                <a:spcPts val="0"/>
              </a:spcBef>
              <a:spcAft>
                <a:spcPts val="0"/>
              </a:spcAft>
              <a:buSzPts val="2000"/>
              <a:buNone/>
              <a:defRPr/>
            </a:lvl8pPr>
            <a:lvl9pPr lvl="8" algn="ctr" rtl="0">
              <a:spcBef>
                <a:spcPts val="0"/>
              </a:spcBef>
              <a:spcAft>
                <a:spcPts val="0"/>
              </a:spcAft>
              <a:buSzPts val="2000"/>
              <a:buNone/>
              <a:defRPr/>
            </a:lvl9pPr>
          </a:lstStyle>
          <a:p>
            <a:endParaRPr/>
          </a:p>
        </p:txBody>
      </p:sp>
      <p:sp>
        <p:nvSpPr>
          <p:cNvPr id="166" name="Google Shape;166;p25"/>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pt-BR"/>
              <a:pPr marL="0" lvl="0" indent="0" algn="r" rtl="0">
                <a:spcBef>
                  <a:spcPts val="0"/>
                </a:spcBef>
                <a:spcAft>
                  <a:spcPts val="0"/>
                </a:spcAft>
                <a:buNone/>
              </a:pPr>
              <a:t>‹nº›</a:t>
            </a:fld>
            <a:endParaRPr/>
          </a:p>
        </p:txBody>
      </p:sp>
      <p:pic>
        <p:nvPicPr>
          <p:cNvPr id="167" name="Google Shape;167;p25"/>
          <p:cNvPicPr preferRelativeResize="0"/>
          <p:nvPr/>
        </p:nvPicPr>
        <p:blipFill>
          <a:blip r:embed="rId3" cstate="email">
            <a:alphaModFix/>
            <a:extLst>
              <a:ext uri="{28A0092B-C50C-407E-A947-70E740481C1C}">
                <a14:useLocalDpi xmlns:a14="http://schemas.microsoft.com/office/drawing/2010/main"/>
              </a:ext>
            </a:extLst>
          </a:blip>
          <a:stretch>
            <a:fillRect/>
          </a:stretch>
        </p:blipFill>
        <p:spPr>
          <a:xfrm>
            <a:off x="16183201" y="-304775"/>
            <a:ext cx="1799998" cy="1799998"/>
          </a:xfrm>
          <a:prstGeom prst="rect">
            <a:avLst/>
          </a:prstGeom>
          <a:noFill/>
          <a:ln>
            <a:noFill/>
          </a:ln>
        </p:spPr>
      </p:pic>
      <p:sp>
        <p:nvSpPr>
          <p:cNvPr id="168" name="Google Shape;168;p25"/>
          <p:cNvSpPr txBox="1">
            <a:spLocks noGrp="1"/>
          </p:cNvSpPr>
          <p:nvPr>
            <p:ph type="subTitle" idx="1"/>
          </p:nvPr>
        </p:nvSpPr>
        <p:spPr>
          <a:xfrm>
            <a:off x="8778900" y="8568450"/>
            <a:ext cx="9263400" cy="15852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9pPr>
          </a:lstStyle>
          <a:p>
            <a:endParaRPr/>
          </a:p>
        </p:txBody>
      </p:sp>
    </p:spTree>
    <p:extLst>
      <p:ext uri="{BB962C8B-B14F-4D97-AF65-F5344CB8AC3E}">
        <p14:creationId xmlns:p14="http://schemas.microsoft.com/office/powerpoint/2010/main" val="18370832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Section header" type="secHead">
  <p:cSld name="1_Section header">
    <p:spTree>
      <p:nvGrpSpPr>
        <p:cNvPr id="1" name="Shape 36"/>
        <p:cNvGrpSpPr/>
        <p:nvPr/>
      </p:nvGrpSpPr>
      <p:grpSpPr>
        <a:xfrm>
          <a:off x="0" y="0"/>
          <a:ext cx="0" cy="0"/>
          <a:chOff x="0" y="0"/>
          <a:chExt cx="0" cy="0"/>
        </a:xfrm>
      </p:grpSpPr>
      <p:sp>
        <p:nvSpPr>
          <p:cNvPr id="37" name="Google Shape;37;p6"/>
          <p:cNvSpPr txBox="1">
            <a:spLocks noGrp="1"/>
          </p:cNvSpPr>
          <p:nvPr>
            <p:ph type="title"/>
          </p:nvPr>
        </p:nvSpPr>
        <p:spPr>
          <a:xfrm>
            <a:off x="1747350" y="3996900"/>
            <a:ext cx="10482600" cy="1683600"/>
          </a:xfrm>
          <a:prstGeom prst="rect">
            <a:avLst/>
          </a:prstGeom>
        </p:spPr>
        <p:txBody>
          <a:bodyPr spcFirstLastPara="1" wrap="square" lIns="91425" tIns="91425" rIns="91425" bIns="91425" anchor="ctr" anchorCtr="0">
            <a:noAutofit/>
          </a:bodyPr>
          <a:lstStyle>
            <a:lvl1pPr lvl="0">
              <a:spcBef>
                <a:spcPts val="0"/>
              </a:spcBef>
              <a:spcAft>
                <a:spcPts val="0"/>
              </a:spcAft>
              <a:buSzPts val="3600"/>
              <a:buFont typeface="Montserrat"/>
              <a:buNone/>
              <a:defRPr sz="7200" b="1">
                <a:latin typeface="Montserrat"/>
                <a:ea typeface="Montserrat"/>
                <a:cs typeface="Montserrat"/>
                <a:sym typeface="Montserrat"/>
              </a:defRPr>
            </a:lvl1pPr>
            <a:lvl2pPr lvl="1">
              <a:spcBef>
                <a:spcPts val="0"/>
              </a:spcBef>
              <a:spcAft>
                <a:spcPts val="0"/>
              </a:spcAft>
              <a:buSzPts val="3600"/>
              <a:buFont typeface="Montserrat"/>
              <a:buNone/>
              <a:defRPr sz="7200" b="1">
                <a:latin typeface="Montserrat"/>
                <a:ea typeface="Montserrat"/>
                <a:cs typeface="Montserrat"/>
                <a:sym typeface="Montserrat"/>
              </a:defRPr>
            </a:lvl2pPr>
            <a:lvl3pPr lvl="2">
              <a:spcBef>
                <a:spcPts val="0"/>
              </a:spcBef>
              <a:spcAft>
                <a:spcPts val="0"/>
              </a:spcAft>
              <a:buSzPts val="3600"/>
              <a:buFont typeface="Montserrat"/>
              <a:buNone/>
              <a:defRPr sz="7200" b="1">
                <a:latin typeface="Montserrat"/>
                <a:ea typeface="Montserrat"/>
                <a:cs typeface="Montserrat"/>
                <a:sym typeface="Montserrat"/>
              </a:defRPr>
            </a:lvl3pPr>
            <a:lvl4pPr lvl="3">
              <a:spcBef>
                <a:spcPts val="0"/>
              </a:spcBef>
              <a:spcAft>
                <a:spcPts val="0"/>
              </a:spcAft>
              <a:buSzPts val="3600"/>
              <a:buFont typeface="Montserrat"/>
              <a:buNone/>
              <a:defRPr sz="7200" b="1">
                <a:latin typeface="Montserrat"/>
                <a:ea typeface="Montserrat"/>
                <a:cs typeface="Montserrat"/>
                <a:sym typeface="Montserrat"/>
              </a:defRPr>
            </a:lvl4pPr>
            <a:lvl5pPr lvl="4">
              <a:spcBef>
                <a:spcPts val="0"/>
              </a:spcBef>
              <a:spcAft>
                <a:spcPts val="0"/>
              </a:spcAft>
              <a:buSzPts val="3600"/>
              <a:buFont typeface="Montserrat"/>
              <a:buNone/>
              <a:defRPr sz="7200" b="1">
                <a:latin typeface="Montserrat"/>
                <a:ea typeface="Montserrat"/>
                <a:cs typeface="Montserrat"/>
                <a:sym typeface="Montserrat"/>
              </a:defRPr>
            </a:lvl5pPr>
            <a:lvl6pPr lvl="5">
              <a:spcBef>
                <a:spcPts val="0"/>
              </a:spcBef>
              <a:spcAft>
                <a:spcPts val="0"/>
              </a:spcAft>
              <a:buSzPts val="3600"/>
              <a:buFont typeface="Montserrat"/>
              <a:buNone/>
              <a:defRPr sz="7200" b="1">
                <a:latin typeface="Montserrat"/>
                <a:ea typeface="Montserrat"/>
                <a:cs typeface="Montserrat"/>
                <a:sym typeface="Montserrat"/>
              </a:defRPr>
            </a:lvl6pPr>
            <a:lvl7pPr lvl="6">
              <a:spcBef>
                <a:spcPts val="0"/>
              </a:spcBef>
              <a:spcAft>
                <a:spcPts val="0"/>
              </a:spcAft>
              <a:buSzPts val="3600"/>
              <a:buFont typeface="Montserrat"/>
              <a:buNone/>
              <a:defRPr sz="7200" b="1">
                <a:latin typeface="Montserrat"/>
                <a:ea typeface="Montserrat"/>
                <a:cs typeface="Montserrat"/>
                <a:sym typeface="Montserrat"/>
              </a:defRPr>
            </a:lvl7pPr>
            <a:lvl8pPr lvl="7">
              <a:spcBef>
                <a:spcPts val="0"/>
              </a:spcBef>
              <a:spcAft>
                <a:spcPts val="0"/>
              </a:spcAft>
              <a:buSzPts val="3600"/>
              <a:buFont typeface="Montserrat"/>
              <a:buNone/>
              <a:defRPr sz="7200" b="1">
                <a:latin typeface="Montserrat"/>
                <a:ea typeface="Montserrat"/>
                <a:cs typeface="Montserrat"/>
                <a:sym typeface="Montserrat"/>
              </a:defRPr>
            </a:lvl8pPr>
            <a:lvl9pPr lvl="8">
              <a:spcBef>
                <a:spcPts val="0"/>
              </a:spcBef>
              <a:spcAft>
                <a:spcPts val="0"/>
              </a:spcAft>
              <a:buSzPts val="3600"/>
              <a:buFont typeface="Montserrat"/>
              <a:buNone/>
              <a:defRPr sz="7200" b="1">
                <a:latin typeface="Montserrat"/>
                <a:ea typeface="Montserrat"/>
                <a:cs typeface="Montserrat"/>
                <a:sym typeface="Montserrat"/>
              </a:defRPr>
            </a:lvl9pPr>
          </a:lstStyle>
          <a:p>
            <a:endParaRPr/>
          </a:p>
        </p:txBody>
      </p:sp>
      <p:sp>
        <p:nvSpPr>
          <p:cNvPr id="38" name="Google Shape;38;p6"/>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pt-BR"/>
              <a:pPr marL="0" lvl="0" indent="0" algn="r" rtl="0">
                <a:spcBef>
                  <a:spcPts val="0"/>
                </a:spcBef>
                <a:spcAft>
                  <a:spcPts val="0"/>
                </a:spcAft>
                <a:buNone/>
              </a:pPr>
              <a:t>‹nº›</a:t>
            </a:fld>
            <a:endParaRPr/>
          </a:p>
        </p:txBody>
      </p:sp>
      <p:pic>
        <p:nvPicPr>
          <p:cNvPr id="39" name="Google Shape;39;p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rot="10800000">
            <a:off x="6918953" y="5260953"/>
            <a:ext cx="11388098" cy="5045098"/>
          </a:xfrm>
          <a:prstGeom prst="rect">
            <a:avLst/>
          </a:prstGeom>
          <a:noFill/>
          <a:ln>
            <a:noFill/>
          </a:ln>
        </p:spPr>
      </p:pic>
      <p:pic>
        <p:nvPicPr>
          <p:cNvPr id="40" name="Google Shape;40;p6"/>
          <p:cNvPicPr preferRelativeResize="0"/>
          <p:nvPr/>
        </p:nvPicPr>
        <p:blipFill>
          <a:blip r:embed="rId3" cstate="email">
            <a:alphaModFix/>
            <a:extLst>
              <a:ext uri="{28A0092B-C50C-407E-A947-70E740481C1C}">
                <a14:useLocalDpi xmlns:a14="http://schemas.microsoft.com/office/drawing/2010/main"/>
              </a:ext>
            </a:extLst>
          </a:blip>
          <a:stretch>
            <a:fillRect/>
          </a:stretch>
        </p:blipFill>
        <p:spPr>
          <a:xfrm>
            <a:off x="16183201" y="-304775"/>
            <a:ext cx="1799998" cy="1799998"/>
          </a:xfrm>
          <a:prstGeom prst="rect">
            <a:avLst/>
          </a:prstGeom>
          <a:noFill/>
          <a:ln>
            <a:noFill/>
          </a:ln>
        </p:spPr>
      </p:pic>
      <p:sp>
        <p:nvSpPr>
          <p:cNvPr id="41" name="Google Shape;41;p6"/>
          <p:cNvSpPr txBox="1">
            <a:spLocks noGrp="1"/>
          </p:cNvSpPr>
          <p:nvPr>
            <p:ph type="subTitle" idx="1"/>
          </p:nvPr>
        </p:nvSpPr>
        <p:spPr>
          <a:xfrm>
            <a:off x="8778900" y="8568450"/>
            <a:ext cx="9263400" cy="15852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9pPr>
          </a:lstStyle>
          <a:p>
            <a:endParaRPr/>
          </a:p>
        </p:txBody>
      </p:sp>
    </p:spTree>
    <p:extLst>
      <p:ext uri="{BB962C8B-B14F-4D97-AF65-F5344CB8AC3E}">
        <p14:creationId xmlns:p14="http://schemas.microsoft.com/office/powerpoint/2010/main" val="22214019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Cabeçalho de seção 1">
  <p:cSld name="Cabeçalho de seção 1">
    <p:spTree>
      <p:nvGrpSpPr>
        <p:cNvPr id="1" name="Shape 42"/>
        <p:cNvGrpSpPr/>
        <p:nvPr/>
      </p:nvGrpSpPr>
      <p:grpSpPr>
        <a:xfrm>
          <a:off x="0" y="0"/>
          <a:ext cx="0" cy="0"/>
          <a:chOff x="0" y="0"/>
          <a:chExt cx="0" cy="0"/>
        </a:xfrm>
      </p:grpSpPr>
      <p:sp>
        <p:nvSpPr>
          <p:cNvPr id="43" name="Google Shape;43;p7"/>
          <p:cNvSpPr txBox="1">
            <a:spLocks noGrp="1"/>
          </p:cNvSpPr>
          <p:nvPr>
            <p:ph type="title"/>
          </p:nvPr>
        </p:nvSpPr>
        <p:spPr>
          <a:xfrm>
            <a:off x="1747350" y="3996900"/>
            <a:ext cx="10482600" cy="1683600"/>
          </a:xfrm>
          <a:prstGeom prst="rect">
            <a:avLst/>
          </a:prstGeom>
        </p:spPr>
        <p:txBody>
          <a:bodyPr spcFirstLastPara="1" wrap="square" lIns="91425" tIns="91425" rIns="91425" bIns="91425" anchor="ctr" anchorCtr="0">
            <a:noAutofit/>
          </a:bodyPr>
          <a:lstStyle>
            <a:lvl1pPr lvl="0" rtl="0">
              <a:spcBef>
                <a:spcPts val="0"/>
              </a:spcBef>
              <a:spcAft>
                <a:spcPts val="0"/>
              </a:spcAft>
              <a:buSzPts val="3600"/>
              <a:buFont typeface="Montserrat"/>
              <a:buNone/>
              <a:defRPr sz="7200" b="1">
                <a:latin typeface="Montserrat"/>
                <a:ea typeface="Montserrat"/>
                <a:cs typeface="Montserrat"/>
                <a:sym typeface="Montserrat"/>
              </a:defRPr>
            </a:lvl1pPr>
            <a:lvl2pPr lvl="1" rtl="0">
              <a:spcBef>
                <a:spcPts val="0"/>
              </a:spcBef>
              <a:spcAft>
                <a:spcPts val="0"/>
              </a:spcAft>
              <a:buSzPts val="3600"/>
              <a:buFont typeface="Montserrat"/>
              <a:buNone/>
              <a:defRPr sz="7200" b="1">
                <a:latin typeface="Montserrat"/>
                <a:ea typeface="Montserrat"/>
                <a:cs typeface="Montserrat"/>
                <a:sym typeface="Montserrat"/>
              </a:defRPr>
            </a:lvl2pPr>
            <a:lvl3pPr lvl="2" rtl="0">
              <a:spcBef>
                <a:spcPts val="0"/>
              </a:spcBef>
              <a:spcAft>
                <a:spcPts val="0"/>
              </a:spcAft>
              <a:buSzPts val="3600"/>
              <a:buFont typeface="Montserrat"/>
              <a:buNone/>
              <a:defRPr sz="7200" b="1">
                <a:latin typeface="Montserrat"/>
                <a:ea typeface="Montserrat"/>
                <a:cs typeface="Montserrat"/>
                <a:sym typeface="Montserrat"/>
              </a:defRPr>
            </a:lvl3pPr>
            <a:lvl4pPr lvl="3" rtl="0">
              <a:spcBef>
                <a:spcPts val="0"/>
              </a:spcBef>
              <a:spcAft>
                <a:spcPts val="0"/>
              </a:spcAft>
              <a:buSzPts val="3600"/>
              <a:buFont typeface="Montserrat"/>
              <a:buNone/>
              <a:defRPr sz="7200" b="1">
                <a:latin typeface="Montserrat"/>
                <a:ea typeface="Montserrat"/>
                <a:cs typeface="Montserrat"/>
                <a:sym typeface="Montserrat"/>
              </a:defRPr>
            </a:lvl4pPr>
            <a:lvl5pPr lvl="4" rtl="0">
              <a:spcBef>
                <a:spcPts val="0"/>
              </a:spcBef>
              <a:spcAft>
                <a:spcPts val="0"/>
              </a:spcAft>
              <a:buSzPts val="3600"/>
              <a:buFont typeface="Montserrat"/>
              <a:buNone/>
              <a:defRPr sz="7200" b="1">
                <a:latin typeface="Montserrat"/>
                <a:ea typeface="Montserrat"/>
                <a:cs typeface="Montserrat"/>
                <a:sym typeface="Montserrat"/>
              </a:defRPr>
            </a:lvl5pPr>
            <a:lvl6pPr lvl="5" rtl="0">
              <a:spcBef>
                <a:spcPts val="0"/>
              </a:spcBef>
              <a:spcAft>
                <a:spcPts val="0"/>
              </a:spcAft>
              <a:buSzPts val="3600"/>
              <a:buFont typeface="Montserrat"/>
              <a:buNone/>
              <a:defRPr sz="7200" b="1">
                <a:latin typeface="Montserrat"/>
                <a:ea typeface="Montserrat"/>
                <a:cs typeface="Montserrat"/>
                <a:sym typeface="Montserrat"/>
              </a:defRPr>
            </a:lvl6pPr>
            <a:lvl7pPr lvl="6" rtl="0">
              <a:spcBef>
                <a:spcPts val="0"/>
              </a:spcBef>
              <a:spcAft>
                <a:spcPts val="0"/>
              </a:spcAft>
              <a:buSzPts val="3600"/>
              <a:buFont typeface="Montserrat"/>
              <a:buNone/>
              <a:defRPr sz="7200" b="1">
                <a:latin typeface="Montserrat"/>
                <a:ea typeface="Montserrat"/>
                <a:cs typeface="Montserrat"/>
                <a:sym typeface="Montserrat"/>
              </a:defRPr>
            </a:lvl7pPr>
            <a:lvl8pPr lvl="7" rtl="0">
              <a:spcBef>
                <a:spcPts val="0"/>
              </a:spcBef>
              <a:spcAft>
                <a:spcPts val="0"/>
              </a:spcAft>
              <a:buSzPts val="3600"/>
              <a:buFont typeface="Montserrat"/>
              <a:buNone/>
              <a:defRPr sz="7200" b="1">
                <a:latin typeface="Montserrat"/>
                <a:ea typeface="Montserrat"/>
                <a:cs typeface="Montserrat"/>
                <a:sym typeface="Montserrat"/>
              </a:defRPr>
            </a:lvl8pPr>
            <a:lvl9pPr lvl="8" rtl="0">
              <a:spcBef>
                <a:spcPts val="0"/>
              </a:spcBef>
              <a:spcAft>
                <a:spcPts val="0"/>
              </a:spcAft>
              <a:buSzPts val="3600"/>
              <a:buFont typeface="Montserrat"/>
              <a:buNone/>
              <a:defRPr sz="7200" b="1">
                <a:latin typeface="Montserrat"/>
                <a:ea typeface="Montserrat"/>
                <a:cs typeface="Montserrat"/>
                <a:sym typeface="Montserrat"/>
              </a:defRPr>
            </a:lvl9pPr>
          </a:lstStyle>
          <a:p>
            <a:endParaRPr/>
          </a:p>
        </p:txBody>
      </p:sp>
      <p:sp>
        <p:nvSpPr>
          <p:cNvPr id="44" name="Google Shape;44;p7"/>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pic>
        <p:nvPicPr>
          <p:cNvPr id="45" name="Google Shape;45;p7"/>
          <p:cNvPicPr preferRelativeResize="0"/>
          <p:nvPr/>
        </p:nvPicPr>
        <p:blipFill>
          <a:blip r:embed="rId2" cstate="email">
            <a:alphaModFix/>
            <a:extLst>
              <a:ext uri="{28A0092B-C50C-407E-A947-70E740481C1C}">
                <a14:useLocalDpi xmlns:a14="http://schemas.microsoft.com/office/drawing/2010/main"/>
              </a:ext>
            </a:extLst>
          </a:blip>
          <a:stretch>
            <a:fillRect/>
          </a:stretch>
        </p:blipFill>
        <p:spPr>
          <a:xfrm>
            <a:off x="16183203" y="-304775"/>
            <a:ext cx="1799998" cy="1799998"/>
          </a:xfrm>
          <a:prstGeom prst="rect">
            <a:avLst/>
          </a:prstGeom>
          <a:noFill/>
          <a:ln>
            <a:noFill/>
          </a:ln>
        </p:spPr>
      </p:pic>
      <p:sp>
        <p:nvSpPr>
          <p:cNvPr id="46" name="Google Shape;46;p7"/>
          <p:cNvSpPr txBox="1">
            <a:spLocks noGrp="1"/>
          </p:cNvSpPr>
          <p:nvPr>
            <p:ph type="subTitle" idx="1"/>
          </p:nvPr>
        </p:nvSpPr>
        <p:spPr>
          <a:xfrm>
            <a:off x="8778900" y="8568450"/>
            <a:ext cx="9263400" cy="15852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9pPr>
          </a:lstStyle>
          <a:p>
            <a:endParaRPr/>
          </a:p>
        </p:txBody>
      </p:sp>
      <p:sp>
        <p:nvSpPr>
          <p:cNvPr id="47" name="Google Shape;47;p7"/>
          <p:cNvSpPr/>
          <p:nvPr/>
        </p:nvSpPr>
        <p:spPr>
          <a:xfrm>
            <a:off x="1976250" y="5403666"/>
            <a:ext cx="16311600" cy="14400"/>
          </a:xfrm>
          <a:prstGeom prst="rect">
            <a:avLst/>
          </a:prstGeom>
          <a:gradFill>
            <a:gsLst>
              <a:gs pos="0">
                <a:srgbClr val="FF2C34"/>
              </a:gs>
              <a:gs pos="100000">
                <a:srgbClr val="6800FF"/>
              </a:gs>
            </a:gsLst>
            <a:lin ang="2698631" scaled="0"/>
          </a:gra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sz="2800"/>
          </a:p>
        </p:txBody>
      </p:sp>
    </p:spTree>
    <p:extLst>
      <p:ext uri="{BB962C8B-B14F-4D97-AF65-F5344CB8AC3E}">
        <p14:creationId xmlns:p14="http://schemas.microsoft.com/office/powerpoint/2010/main" val="15376500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Somente título 1 2 1" preserve="1">
  <p:cSld name="1_Somente título 1 2 1">
    <p:spTree>
      <p:nvGrpSpPr>
        <p:cNvPr id="1" name="Shape 122"/>
        <p:cNvGrpSpPr/>
        <p:nvPr/>
      </p:nvGrpSpPr>
      <p:grpSpPr>
        <a:xfrm>
          <a:off x="0" y="0"/>
          <a:ext cx="0" cy="0"/>
          <a:chOff x="0" y="0"/>
          <a:chExt cx="0" cy="0"/>
        </a:xfrm>
      </p:grpSpPr>
      <p:sp>
        <p:nvSpPr>
          <p:cNvPr id="123" name="Google Shape;123;p19"/>
          <p:cNvSpPr txBox="1">
            <a:spLocks noGrp="1"/>
          </p:cNvSpPr>
          <p:nvPr>
            <p:ph type="title"/>
          </p:nvPr>
        </p:nvSpPr>
        <p:spPr>
          <a:xfrm>
            <a:off x="623400" y="4418400"/>
            <a:ext cx="17041200" cy="11454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2000"/>
              <a:buNone/>
              <a:defRPr/>
            </a:lvl1pPr>
            <a:lvl2pPr lvl="1" algn="ctr" rtl="0">
              <a:spcBef>
                <a:spcPts val="0"/>
              </a:spcBef>
              <a:spcAft>
                <a:spcPts val="0"/>
              </a:spcAft>
              <a:buSzPts val="2000"/>
              <a:buNone/>
              <a:defRPr/>
            </a:lvl2pPr>
            <a:lvl3pPr lvl="2" algn="ctr" rtl="0">
              <a:spcBef>
                <a:spcPts val="0"/>
              </a:spcBef>
              <a:spcAft>
                <a:spcPts val="0"/>
              </a:spcAft>
              <a:buSzPts val="2000"/>
              <a:buNone/>
              <a:defRPr/>
            </a:lvl3pPr>
            <a:lvl4pPr lvl="3" algn="ctr" rtl="0">
              <a:spcBef>
                <a:spcPts val="0"/>
              </a:spcBef>
              <a:spcAft>
                <a:spcPts val="0"/>
              </a:spcAft>
              <a:buSzPts val="2000"/>
              <a:buNone/>
              <a:defRPr/>
            </a:lvl4pPr>
            <a:lvl5pPr lvl="4" algn="ctr" rtl="0">
              <a:spcBef>
                <a:spcPts val="0"/>
              </a:spcBef>
              <a:spcAft>
                <a:spcPts val="0"/>
              </a:spcAft>
              <a:buSzPts val="2000"/>
              <a:buNone/>
              <a:defRPr/>
            </a:lvl5pPr>
            <a:lvl6pPr lvl="5" algn="ctr" rtl="0">
              <a:spcBef>
                <a:spcPts val="0"/>
              </a:spcBef>
              <a:spcAft>
                <a:spcPts val="0"/>
              </a:spcAft>
              <a:buSzPts val="2000"/>
              <a:buNone/>
              <a:defRPr/>
            </a:lvl6pPr>
            <a:lvl7pPr lvl="6" algn="ctr" rtl="0">
              <a:spcBef>
                <a:spcPts val="0"/>
              </a:spcBef>
              <a:spcAft>
                <a:spcPts val="0"/>
              </a:spcAft>
              <a:buSzPts val="2000"/>
              <a:buNone/>
              <a:defRPr/>
            </a:lvl7pPr>
            <a:lvl8pPr lvl="7" algn="ctr" rtl="0">
              <a:spcBef>
                <a:spcPts val="0"/>
              </a:spcBef>
              <a:spcAft>
                <a:spcPts val="0"/>
              </a:spcAft>
              <a:buSzPts val="2000"/>
              <a:buNone/>
              <a:defRPr/>
            </a:lvl8pPr>
            <a:lvl9pPr lvl="8" algn="ctr" rtl="0">
              <a:spcBef>
                <a:spcPts val="0"/>
              </a:spcBef>
              <a:spcAft>
                <a:spcPts val="0"/>
              </a:spcAft>
              <a:buSzPts val="2000"/>
              <a:buNone/>
              <a:defRPr/>
            </a:lvl9pPr>
          </a:lstStyle>
          <a:p>
            <a:endParaRPr/>
          </a:p>
        </p:txBody>
      </p:sp>
      <p:sp>
        <p:nvSpPr>
          <p:cNvPr id="124" name="Google Shape;124;p19"/>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pic>
        <p:nvPicPr>
          <p:cNvPr id="125" name="Google Shape;125;p19"/>
          <p:cNvPicPr preferRelativeResize="0"/>
          <p:nvPr/>
        </p:nvPicPr>
        <p:blipFill>
          <a:blip r:embed="rId2" cstate="email">
            <a:alphaModFix/>
            <a:extLst>
              <a:ext uri="{28A0092B-C50C-407E-A947-70E740481C1C}">
                <a14:useLocalDpi xmlns:a14="http://schemas.microsoft.com/office/drawing/2010/main"/>
              </a:ext>
            </a:extLst>
          </a:blip>
          <a:stretch>
            <a:fillRect/>
          </a:stretch>
        </p:blipFill>
        <p:spPr>
          <a:xfrm>
            <a:off x="0" y="3"/>
            <a:ext cx="18288000" cy="10290014"/>
          </a:xfrm>
          <a:prstGeom prst="rect">
            <a:avLst/>
          </a:prstGeom>
          <a:noFill/>
          <a:ln>
            <a:noFill/>
          </a:ln>
        </p:spPr>
      </p:pic>
    </p:spTree>
    <p:extLst>
      <p:ext uri="{BB962C8B-B14F-4D97-AF65-F5344CB8AC3E}">
        <p14:creationId xmlns:p14="http://schemas.microsoft.com/office/powerpoint/2010/main" val="9468806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Section header" type="secHead" preserve="1">
  <p:cSld name="Section header">
    <p:spTree>
      <p:nvGrpSpPr>
        <p:cNvPr id="1" name="Shape 36"/>
        <p:cNvGrpSpPr/>
        <p:nvPr/>
      </p:nvGrpSpPr>
      <p:grpSpPr>
        <a:xfrm>
          <a:off x="0" y="0"/>
          <a:ext cx="0" cy="0"/>
          <a:chOff x="0" y="0"/>
          <a:chExt cx="0" cy="0"/>
        </a:xfrm>
      </p:grpSpPr>
      <p:sp>
        <p:nvSpPr>
          <p:cNvPr id="37" name="Google Shape;37;p6"/>
          <p:cNvSpPr txBox="1">
            <a:spLocks noGrp="1"/>
          </p:cNvSpPr>
          <p:nvPr>
            <p:ph type="title"/>
          </p:nvPr>
        </p:nvSpPr>
        <p:spPr>
          <a:xfrm>
            <a:off x="1747350" y="3996900"/>
            <a:ext cx="10482600" cy="1683600"/>
          </a:xfrm>
          <a:prstGeom prst="rect">
            <a:avLst/>
          </a:prstGeom>
        </p:spPr>
        <p:txBody>
          <a:bodyPr spcFirstLastPara="1" wrap="square" lIns="91425" tIns="91425" rIns="91425" bIns="91425" anchor="ctr" anchorCtr="0">
            <a:noAutofit/>
          </a:bodyPr>
          <a:lstStyle>
            <a:lvl1pPr lvl="0">
              <a:spcBef>
                <a:spcPts val="0"/>
              </a:spcBef>
              <a:spcAft>
                <a:spcPts val="0"/>
              </a:spcAft>
              <a:buSzPts val="3600"/>
              <a:buFont typeface="Montserrat"/>
              <a:buNone/>
              <a:defRPr sz="7200" b="1">
                <a:latin typeface="Montserrat"/>
                <a:ea typeface="Montserrat"/>
                <a:cs typeface="Montserrat"/>
                <a:sym typeface="Montserrat"/>
              </a:defRPr>
            </a:lvl1pPr>
            <a:lvl2pPr lvl="1">
              <a:spcBef>
                <a:spcPts val="0"/>
              </a:spcBef>
              <a:spcAft>
                <a:spcPts val="0"/>
              </a:spcAft>
              <a:buSzPts val="3600"/>
              <a:buFont typeface="Montserrat"/>
              <a:buNone/>
              <a:defRPr sz="7200" b="1">
                <a:latin typeface="Montserrat"/>
                <a:ea typeface="Montserrat"/>
                <a:cs typeface="Montserrat"/>
                <a:sym typeface="Montserrat"/>
              </a:defRPr>
            </a:lvl2pPr>
            <a:lvl3pPr lvl="2">
              <a:spcBef>
                <a:spcPts val="0"/>
              </a:spcBef>
              <a:spcAft>
                <a:spcPts val="0"/>
              </a:spcAft>
              <a:buSzPts val="3600"/>
              <a:buFont typeface="Montserrat"/>
              <a:buNone/>
              <a:defRPr sz="7200" b="1">
                <a:latin typeface="Montserrat"/>
                <a:ea typeface="Montserrat"/>
                <a:cs typeface="Montserrat"/>
                <a:sym typeface="Montserrat"/>
              </a:defRPr>
            </a:lvl3pPr>
            <a:lvl4pPr lvl="3">
              <a:spcBef>
                <a:spcPts val="0"/>
              </a:spcBef>
              <a:spcAft>
                <a:spcPts val="0"/>
              </a:spcAft>
              <a:buSzPts val="3600"/>
              <a:buFont typeface="Montserrat"/>
              <a:buNone/>
              <a:defRPr sz="7200" b="1">
                <a:latin typeface="Montserrat"/>
                <a:ea typeface="Montserrat"/>
                <a:cs typeface="Montserrat"/>
                <a:sym typeface="Montserrat"/>
              </a:defRPr>
            </a:lvl4pPr>
            <a:lvl5pPr lvl="4">
              <a:spcBef>
                <a:spcPts val="0"/>
              </a:spcBef>
              <a:spcAft>
                <a:spcPts val="0"/>
              </a:spcAft>
              <a:buSzPts val="3600"/>
              <a:buFont typeface="Montserrat"/>
              <a:buNone/>
              <a:defRPr sz="7200" b="1">
                <a:latin typeface="Montserrat"/>
                <a:ea typeface="Montserrat"/>
                <a:cs typeface="Montserrat"/>
                <a:sym typeface="Montserrat"/>
              </a:defRPr>
            </a:lvl5pPr>
            <a:lvl6pPr lvl="5">
              <a:spcBef>
                <a:spcPts val="0"/>
              </a:spcBef>
              <a:spcAft>
                <a:spcPts val="0"/>
              </a:spcAft>
              <a:buSzPts val="3600"/>
              <a:buFont typeface="Montserrat"/>
              <a:buNone/>
              <a:defRPr sz="7200" b="1">
                <a:latin typeface="Montserrat"/>
                <a:ea typeface="Montserrat"/>
                <a:cs typeface="Montserrat"/>
                <a:sym typeface="Montserrat"/>
              </a:defRPr>
            </a:lvl6pPr>
            <a:lvl7pPr lvl="6">
              <a:spcBef>
                <a:spcPts val="0"/>
              </a:spcBef>
              <a:spcAft>
                <a:spcPts val="0"/>
              </a:spcAft>
              <a:buSzPts val="3600"/>
              <a:buFont typeface="Montserrat"/>
              <a:buNone/>
              <a:defRPr sz="7200" b="1">
                <a:latin typeface="Montserrat"/>
                <a:ea typeface="Montserrat"/>
                <a:cs typeface="Montserrat"/>
                <a:sym typeface="Montserrat"/>
              </a:defRPr>
            </a:lvl7pPr>
            <a:lvl8pPr lvl="7">
              <a:spcBef>
                <a:spcPts val="0"/>
              </a:spcBef>
              <a:spcAft>
                <a:spcPts val="0"/>
              </a:spcAft>
              <a:buSzPts val="3600"/>
              <a:buFont typeface="Montserrat"/>
              <a:buNone/>
              <a:defRPr sz="7200" b="1">
                <a:latin typeface="Montserrat"/>
                <a:ea typeface="Montserrat"/>
                <a:cs typeface="Montserrat"/>
                <a:sym typeface="Montserrat"/>
              </a:defRPr>
            </a:lvl8pPr>
            <a:lvl9pPr lvl="8">
              <a:spcBef>
                <a:spcPts val="0"/>
              </a:spcBef>
              <a:spcAft>
                <a:spcPts val="0"/>
              </a:spcAft>
              <a:buSzPts val="3600"/>
              <a:buFont typeface="Montserrat"/>
              <a:buNone/>
              <a:defRPr sz="7200" b="1">
                <a:latin typeface="Montserrat"/>
                <a:ea typeface="Montserrat"/>
                <a:cs typeface="Montserrat"/>
                <a:sym typeface="Montserrat"/>
              </a:defRPr>
            </a:lvl9pPr>
          </a:lstStyle>
          <a:p>
            <a:endParaRPr/>
          </a:p>
        </p:txBody>
      </p:sp>
      <p:sp>
        <p:nvSpPr>
          <p:cNvPr id="38" name="Google Shape;38;p6"/>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pt-BR" smtClean="0"/>
              <a:pPr/>
              <a:t>‹nº›</a:t>
            </a:fld>
            <a:endParaRPr lang="pt-BR"/>
          </a:p>
        </p:txBody>
      </p:sp>
      <p:pic>
        <p:nvPicPr>
          <p:cNvPr id="39" name="Google Shape;39;p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rot="10800000">
            <a:off x="6918953" y="5260953"/>
            <a:ext cx="11388098" cy="5045098"/>
          </a:xfrm>
          <a:prstGeom prst="rect">
            <a:avLst/>
          </a:prstGeom>
          <a:noFill/>
          <a:ln>
            <a:noFill/>
          </a:ln>
        </p:spPr>
      </p:pic>
      <p:pic>
        <p:nvPicPr>
          <p:cNvPr id="40" name="Google Shape;40;p6"/>
          <p:cNvPicPr preferRelativeResize="0"/>
          <p:nvPr/>
        </p:nvPicPr>
        <p:blipFill>
          <a:blip r:embed="rId3" cstate="email">
            <a:alphaModFix/>
            <a:extLst>
              <a:ext uri="{28A0092B-C50C-407E-A947-70E740481C1C}">
                <a14:useLocalDpi xmlns:a14="http://schemas.microsoft.com/office/drawing/2010/main"/>
              </a:ext>
            </a:extLst>
          </a:blip>
          <a:stretch>
            <a:fillRect/>
          </a:stretch>
        </p:blipFill>
        <p:spPr>
          <a:xfrm>
            <a:off x="16183201" y="-304775"/>
            <a:ext cx="1799998" cy="1799998"/>
          </a:xfrm>
          <a:prstGeom prst="rect">
            <a:avLst/>
          </a:prstGeom>
          <a:noFill/>
          <a:ln>
            <a:noFill/>
          </a:ln>
        </p:spPr>
      </p:pic>
      <p:sp>
        <p:nvSpPr>
          <p:cNvPr id="41" name="Google Shape;41;p6"/>
          <p:cNvSpPr txBox="1">
            <a:spLocks noGrp="1"/>
          </p:cNvSpPr>
          <p:nvPr>
            <p:ph type="subTitle" idx="1"/>
          </p:nvPr>
        </p:nvSpPr>
        <p:spPr>
          <a:xfrm>
            <a:off x="8778900" y="8568450"/>
            <a:ext cx="9263400" cy="15852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9pPr>
          </a:lstStyle>
          <a:p>
            <a:endParaRPr/>
          </a:p>
        </p:txBody>
      </p:sp>
    </p:spTree>
    <p:extLst>
      <p:ext uri="{BB962C8B-B14F-4D97-AF65-F5344CB8AC3E}">
        <p14:creationId xmlns:p14="http://schemas.microsoft.com/office/powerpoint/2010/main" val="13650574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Somente título 2 1 1 4 3">
  <p:cSld name="Somente título 2 1 1 4 3">
    <p:spTree>
      <p:nvGrpSpPr>
        <p:cNvPr id="1" name="Shape 236"/>
        <p:cNvGrpSpPr/>
        <p:nvPr/>
      </p:nvGrpSpPr>
      <p:grpSpPr>
        <a:xfrm>
          <a:off x="0" y="0"/>
          <a:ext cx="0" cy="0"/>
          <a:chOff x="0" y="0"/>
          <a:chExt cx="0" cy="0"/>
        </a:xfrm>
      </p:grpSpPr>
      <p:sp>
        <p:nvSpPr>
          <p:cNvPr id="237" name="Google Shape;237;p36"/>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pic>
        <p:nvPicPr>
          <p:cNvPr id="238" name="Google Shape;238;p36"/>
          <p:cNvPicPr preferRelativeResize="0"/>
          <p:nvPr/>
        </p:nvPicPr>
        <p:blipFill>
          <a:blip r:embed="rId2">
            <a:alphaModFix/>
          </a:blip>
          <a:stretch>
            <a:fillRect/>
          </a:stretch>
        </p:blipFill>
        <p:spPr>
          <a:xfrm>
            <a:off x="1" y="0"/>
            <a:ext cx="18288010" cy="10287000"/>
          </a:xfrm>
          <a:prstGeom prst="rect">
            <a:avLst/>
          </a:prstGeom>
          <a:noFill/>
          <a:ln>
            <a:noFill/>
          </a:ln>
        </p:spPr>
      </p:pic>
      <p:sp>
        <p:nvSpPr>
          <p:cNvPr id="239" name="Google Shape;239;p36"/>
          <p:cNvSpPr txBox="1">
            <a:spLocks noGrp="1"/>
          </p:cNvSpPr>
          <p:nvPr>
            <p:ph type="title"/>
          </p:nvPr>
        </p:nvSpPr>
        <p:spPr>
          <a:xfrm>
            <a:off x="623400" y="4418400"/>
            <a:ext cx="17041200" cy="11454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2000"/>
              <a:buNone/>
              <a:defRPr/>
            </a:lvl1pPr>
            <a:lvl2pPr lvl="1" algn="ctr" rtl="0">
              <a:spcBef>
                <a:spcPts val="0"/>
              </a:spcBef>
              <a:spcAft>
                <a:spcPts val="0"/>
              </a:spcAft>
              <a:buSzPts val="2000"/>
              <a:buNone/>
              <a:defRPr/>
            </a:lvl2pPr>
            <a:lvl3pPr lvl="2" algn="ctr" rtl="0">
              <a:spcBef>
                <a:spcPts val="0"/>
              </a:spcBef>
              <a:spcAft>
                <a:spcPts val="0"/>
              </a:spcAft>
              <a:buSzPts val="2000"/>
              <a:buNone/>
              <a:defRPr/>
            </a:lvl3pPr>
            <a:lvl4pPr lvl="3" algn="ctr" rtl="0">
              <a:spcBef>
                <a:spcPts val="0"/>
              </a:spcBef>
              <a:spcAft>
                <a:spcPts val="0"/>
              </a:spcAft>
              <a:buSzPts val="2000"/>
              <a:buNone/>
              <a:defRPr/>
            </a:lvl4pPr>
            <a:lvl5pPr lvl="4" algn="ctr" rtl="0">
              <a:spcBef>
                <a:spcPts val="0"/>
              </a:spcBef>
              <a:spcAft>
                <a:spcPts val="0"/>
              </a:spcAft>
              <a:buSzPts val="2000"/>
              <a:buNone/>
              <a:defRPr/>
            </a:lvl5pPr>
            <a:lvl6pPr lvl="5" algn="ctr" rtl="0">
              <a:spcBef>
                <a:spcPts val="0"/>
              </a:spcBef>
              <a:spcAft>
                <a:spcPts val="0"/>
              </a:spcAft>
              <a:buSzPts val="2000"/>
              <a:buNone/>
              <a:defRPr/>
            </a:lvl6pPr>
            <a:lvl7pPr lvl="6" algn="ctr" rtl="0">
              <a:spcBef>
                <a:spcPts val="0"/>
              </a:spcBef>
              <a:spcAft>
                <a:spcPts val="0"/>
              </a:spcAft>
              <a:buSzPts val="2000"/>
              <a:buNone/>
              <a:defRPr/>
            </a:lvl7pPr>
            <a:lvl8pPr lvl="7" algn="ctr" rtl="0">
              <a:spcBef>
                <a:spcPts val="0"/>
              </a:spcBef>
              <a:spcAft>
                <a:spcPts val="0"/>
              </a:spcAft>
              <a:buSzPts val="2000"/>
              <a:buNone/>
              <a:defRPr/>
            </a:lvl8pPr>
            <a:lvl9pPr lvl="8" algn="ctr" rtl="0">
              <a:spcBef>
                <a:spcPts val="0"/>
              </a:spcBef>
              <a:spcAft>
                <a:spcPts val="0"/>
              </a:spcAft>
              <a:buSzPts val="2000"/>
              <a:buNone/>
              <a:defRPr/>
            </a:lvl9pPr>
          </a:lstStyle>
          <a:p>
            <a:endParaRPr/>
          </a:p>
        </p:txBody>
      </p:sp>
      <p:pic>
        <p:nvPicPr>
          <p:cNvPr id="240" name="Google Shape;240;p36"/>
          <p:cNvPicPr preferRelativeResize="0"/>
          <p:nvPr/>
        </p:nvPicPr>
        <p:blipFill>
          <a:blip r:embed="rId3" cstate="email">
            <a:alphaModFix/>
            <a:extLst>
              <a:ext uri="{28A0092B-C50C-407E-A947-70E740481C1C}">
                <a14:useLocalDpi xmlns:a14="http://schemas.microsoft.com/office/drawing/2010/main"/>
              </a:ext>
            </a:extLst>
          </a:blip>
          <a:stretch>
            <a:fillRect/>
          </a:stretch>
        </p:blipFill>
        <p:spPr>
          <a:xfrm>
            <a:off x="16183201" y="-304775"/>
            <a:ext cx="1799998" cy="1799998"/>
          </a:xfrm>
          <a:prstGeom prst="rect">
            <a:avLst/>
          </a:prstGeom>
          <a:noFill/>
          <a:ln>
            <a:noFill/>
          </a:ln>
        </p:spPr>
      </p:pic>
      <p:sp>
        <p:nvSpPr>
          <p:cNvPr id="241" name="Google Shape;241;p36"/>
          <p:cNvSpPr txBox="1">
            <a:spLocks noGrp="1"/>
          </p:cNvSpPr>
          <p:nvPr>
            <p:ph type="subTitle" idx="1"/>
          </p:nvPr>
        </p:nvSpPr>
        <p:spPr>
          <a:xfrm>
            <a:off x="8778900" y="8568450"/>
            <a:ext cx="9263400" cy="15852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9pPr>
          </a:lstStyle>
          <a:p>
            <a:endParaRPr/>
          </a:p>
        </p:txBody>
      </p:sp>
    </p:spTree>
    <p:extLst>
      <p:ext uri="{BB962C8B-B14F-4D97-AF65-F5344CB8AC3E}">
        <p14:creationId xmlns:p14="http://schemas.microsoft.com/office/powerpoint/2010/main" val="31969229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Somente título 2 1 1 4 2">
  <p:cSld name="Somente título 2 1 1 4 2">
    <p:spTree>
      <p:nvGrpSpPr>
        <p:cNvPr id="1" name="Shape 229"/>
        <p:cNvGrpSpPr/>
        <p:nvPr/>
      </p:nvGrpSpPr>
      <p:grpSpPr>
        <a:xfrm>
          <a:off x="0" y="0"/>
          <a:ext cx="0" cy="0"/>
          <a:chOff x="0" y="0"/>
          <a:chExt cx="0" cy="0"/>
        </a:xfrm>
      </p:grpSpPr>
      <p:sp>
        <p:nvSpPr>
          <p:cNvPr id="230" name="Google Shape;230;p35"/>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pic>
        <p:nvPicPr>
          <p:cNvPr id="231" name="Google Shape;231;p35"/>
          <p:cNvPicPr preferRelativeResize="0"/>
          <p:nvPr/>
        </p:nvPicPr>
        <p:blipFill>
          <a:blip r:embed="rId2">
            <a:alphaModFix/>
          </a:blip>
          <a:stretch>
            <a:fillRect/>
          </a:stretch>
        </p:blipFill>
        <p:spPr>
          <a:xfrm>
            <a:off x="0" y="1"/>
            <a:ext cx="18288000" cy="10286994"/>
          </a:xfrm>
          <a:prstGeom prst="rect">
            <a:avLst/>
          </a:prstGeom>
          <a:noFill/>
          <a:ln>
            <a:noFill/>
          </a:ln>
        </p:spPr>
      </p:pic>
      <p:pic>
        <p:nvPicPr>
          <p:cNvPr id="232" name="Google Shape;232;p35"/>
          <p:cNvPicPr preferRelativeResize="0"/>
          <p:nvPr/>
        </p:nvPicPr>
        <p:blipFill>
          <a:blip r:embed="rId3" cstate="email">
            <a:alphaModFix/>
            <a:extLst>
              <a:ext uri="{28A0092B-C50C-407E-A947-70E740481C1C}">
                <a14:useLocalDpi xmlns:a14="http://schemas.microsoft.com/office/drawing/2010/main"/>
              </a:ext>
            </a:extLst>
          </a:blip>
          <a:stretch>
            <a:fillRect/>
          </a:stretch>
        </p:blipFill>
        <p:spPr>
          <a:xfrm>
            <a:off x="16183201" y="-304775"/>
            <a:ext cx="1799998" cy="1799998"/>
          </a:xfrm>
          <a:prstGeom prst="rect">
            <a:avLst/>
          </a:prstGeom>
          <a:noFill/>
          <a:ln>
            <a:noFill/>
          </a:ln>
        </p:spPr>
      </p:pic>
      <p:sp>
        <p:nvSpPr>
          <p:cNvPr id="233" name="Google Shape;233;p35"/>
          <p:cNvSpPr txBox="1">
            <a:spLocks noGrp="1"/>
          </p:cNvSpPr>
          <p:nvPr>
            <p:ph type="subTitle" idx="1"/>
          </p:nvPr>
        </p:nvSpPr>
        <p:spPr>
          <a:xfrm>
            <a:off x="8778900" y="8568450"/>
            <a:ext cx="9263400" cy="15852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9pPr>
          </a:lstStyle>
          <a:p>
            <a:endParaRPr/>
          </a:p>
        </p:txBody>
      </p:sp>
      <p:sp>
        <p:nvSpPr>
          <p:cNvPr id="234" name="Google Shape;234;p35"/>
          <p:cNvSpPr txBox="1">
            <a:spLocks noGrp="1"/>
          </p:cNvSpPr>
          <p:nvPr>
            <p:ph type="title"/>
          </p:nvPr>
        </p:nvSpPr>
        <p:spPr>
          <a:xfrm>
            <a:off x="1230100" y="3009200"/>
            <a:ext cx="6692400" cy="2964600"/>
          </a:xfrm>
          <a:prstGeom prst="rect">
            <a:avLst/>
          </a:prstGeom>
        </p:spPr>
        <p:txBody>
          <a:bodyPr spcFirstLastPara="1" wrap="square" lIns="91425" tIns="91425" rIns="91425" bIns="91425" anchor="b" anchorCtr="0">
            <a:noAutofit/>
          </a:bodyPr>
          <a:lstStyle>
            <a:lvl1pPr lvl="0" rtl="0">
              <a:spcBef>
                <a:spcPts val="0"/>
              </a:spcBef>
              <a:spcAft>
                <a:spcPts val="0"/>
              </a:spcAft>
              <a:buSzPts val="3000"/>
              <a:buNone/>
              <a:defRPr sz="6000"/>
            </a:lvl1pPr>
            <a:lvl2pPr lvl="1" rtl="0">
              <a:spcBef>
                <a:spcPts val="0"/>
              </a:spcBef>
              <a:spcAft>
                <a:spcPts val="0"/>
              </a:spcAft>
              <a:buSzPts val="3600"/>
              <a:buNone/>
              <a:defRPr sz="7200"/>
            </a:lvl2pPr>
            <a:lvl3pPr lvl="2" rtl="0">
              <a:spcBef>
                <a:spcPts val="0"/>
              </a:spcBef>
              <a:spcAft>
                <a:spcPts val="0"/>
              </a:spcAft>
              <a:buSzPts val="3600"/>
              <a:buNone/>
              <a:defRPr sz="7200"/>
            </a:lvl3pPr>
            <a:lvl4pPr lvl="3" rtl="0">
              <a:spcBef>
                <a:spcPts val="0"/>
              </a:spcBef>
              <a:spcAft>
                <a:spcPts val="0"/>
              </a:spcAft>
              <a:buSzPts val="3600"/>
              <a:buNone/>
              <a:defRPr sz="7200"/>
            </a:lvl4pPr>
            <a:lvl5pPr lvl="4" rtl="0">
              <a:spcBef>
                <a:spcPts val="0"/>
              </a:spcBef>
              <a:spcAft>
                <a:spcPts val="0"/>
              </a:spcAft>
              <a:buSzPts val="3600"/>
              <a:buNone/>
              <a:defRPr sz="7200"/>
            </a:lvl5pPr>
            <a:lvl6pPr lvl="5" rtl="0">
              <a:spcBef>
                <a:spcPts val="0"/>
              </a:spcBef>
              <a:spcAft>
                <a:spcPts val="0"/>
              </a:spcAft>
              <a:buSzPts val="3600"/>
              <a:buNone/>
              <a:defRPr sz="7200"/>
            </a:lvl6pPr>
            <a:lvl7pPr lvl="6" rtl="0">
              <a:spcBef>
                <a:spcPts val="0"/>
              </a:spcBef>
              <a:spcAft>
                <a:spcPts val="0"/>
              </a:spcAft>
              <a:buSzPts val="3600"/>
              <a:buNone/>
              <a:defRPr sz="7200"/>
            </a:lvl7pPr>
            <a:lvl8pPr lvl="7" rtl="0">
              <a:spcBef>
                <a:spcPts val="0"/>
              </a:spcBef>
              <a:spcAft>
                <a:spcPts val="0"/>
              </a:spcAft>
              <a:buSzPts val="3600"/>
              <a:buNone/>
              <a:defRPr sz="7200"/>
            </a:lvl8pPr>
            <a:lvl9pPr lvl="8" rtl="0">
              <a:spcBef>
                <a:spcPts val="0"/>
              </a:spcBef>
              <a:spcAft>
                <a:spcPts val="0"/>
              </a:spcAft>
              <a:buSzPts val="3600"/>
              <a:buNone/>
              <a:defRPr sz="7200"/>
            </a:lvl9pPr>
          </a:lstStyle>
          <a:p>
            <a:endParaRPr/>
          </a:p>
        </p:txBody>
      </p:sp>
      <p:sp>
        <p:nvSpPr>
          <p:cNvPr id="235" name="Google Shape;235;p35"/>
          <p:cNvSpPr txBox="1">
            <a:spLocks noGrp="1"/>
          </p:cNvSpPr>
          <p:nvPr>
            <p:ph type="subTitle" idx="2"/>
          </p:nvPr>
        </p:nvSpPr>
        <p:spPr>
          <a:xfrm>
            <a:off x="1230100" y="6149000"/>
            <a:ext cx="6692400" cy="24702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200"/>
              <a:buNone/>
              <a:defRPr/>
            </a:lvl1pPr>
            <a:lvl2pPr lvl="1" rtl="0">
              <a:lnSpc>
                <a:spcPct val="100000"/>
              </a:lnSpc>
              <a:spcBef>
                <a:spcPts val="0"/>
              </a:spcBef>
              <a:spcAft>
                <a:spcPts val="0"/>
              </a:spcAft>
              <a:buSzPts val="1800"/>
              <a:buNone/>
              <a:defRPr sz="3600"/>
            </a:lvl2pPr>
            <a:lvl3pPr lvl="2" rtl="0">
              <a:lnSpc>
                <a:spcPct val="100000"/>
              </a:lnSpc>
              <a:spcBef>
                <a:spcPts val="0"/>
              </a:spcBef>
              <a:spcAft>
                <a:spcPts val="0"/>
              </a:spcAft>
              <a:buSzPts val="1800"/>
              <a:buNone/>
              <a:defRPr sz="3600"/>
            </a:lvl3pPr>
            <a:lvl4pPr lvl="3" rtl="0">
              <a:lnSpc>
                <a:spcPct val="100000"/>
              </a:lnSpc>
              <a:spcBef>
                <a:spcPts val="0"/>
              </a:spcBef>
              <a:spcAft>
                <a:spcPts val="0"/>
              </a:spcAft>
              <a:buSzPts val="1800"/>
              <a:buNone/>
              <a:defRPr sz="3600"/>
            </a:lvl4pPr>
            <a:lvl5pPr lvl="4" rtl="0">
              <a:lnSpc>
                <a:spcPct val="100000"/>
              </a:lnSpc>
              <a:spcBef>
                <a:spcPts val="0"/>
              </a:spcBef>
              <a:spcAft>
                <a:spcPts val="0"/>
              </a:spcAft>
              <a:buSzPts val="1800"/>
              <a:buNone/>
              <a:defRPr sz="3600"/>
            </a:lvl5pPr>
            <a:lvl6pPr lvl="5" rtl="0">
              <a:lnSpc>
                <a:spcPct val="100000"/>
              </a:lnSpc>
              <a:spcBef>
                <a:spcPts val="0"/>
              </a:spcBef>
              <a:spcAft>
                <a:spcPts val="0"/>
              </a:spcAft>
              <a:buSzPts val="1800"/>
              <a:buNone/>
              <a:defRPr sz="3600"/>
            </a:lvl6pPr>
            <a:lvl7pPr lvl="6" rtl="0">
              <a:lnSpc>
                <a:spcPct val="100000"/>
              </a:lnSpc>
              <a:spcBef>
                <a:spcPts val="0"/>
              </a:spcBef>
              <a:spcAft>
                <a:spcPts val="0"/>
              </a:spcAft>
              <a:buSzPts val="1800"/>
              <a:buNone/>
              <a:defRPr sz="3600"/>
            </a:lvl7pPr>
            <a:lvl8pPr lvl="7" rtl="0">
              <a:lnSpc>
                <a:spcPct val="100000"/>
              </a:lnSpc>
              <a:spcBef>
                <a:spcPts val="0"/>
              </a:spcBef>
              <a:spcAft>
                <a:spcPts val="0"/>
              </a:spcAft>
              <a:buSzPts val="1800"/>
              <a:buNone/>
              <a:defRPr sz="3600"/>
            </a:lvl8pPr>
            <a:lvl9pPr lvl="8" rtl="0">
              <a:lnSpc>
                <a:spcPct val="100000"/>
              </a:lnSpc>
              <a:spcBef>
                <a:spcPts val="0"/>
              </a:spcBef>
              <a:spcAft>
                <a:spcPts val="0"/>
              </a:spcAft>
              <a:buSzPts val="1800"/>
              <a:buNone/>
              <a:defRPr sz="3600"/>
            </a:lvl9pPr>
          </a:lstStyle>
          <a:p>
            <a:endParaRPr/>
          </a:p>
        </p:txBody>
      </p:sp>
    </p:spTree>
    <p:extLst>
      <p:ext uri="{BB962C8B-B14F-4D97-AF65-F5344CB8AC3E}">
        <p14:creationId xmlns:p14="http://schemas.microsoft.com/office/powerpoint/2010/main" val="32903595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Título e corpo 3 1" preserve="1">
  <p:cSld name="Título e corpo 3 1">
    <p:bg>
      <p:bgPr>
        <a:solidFill>
          <a:srgbClr val="FFFFFF"/>
        </a:solidFill>
        <a:effectLst/>
      </p:bgPr>
    </p:bg>
    <p:spTree>
      <p:nvGrpSpPr>
        <p:cNvPr id="1" name="Shape 68"/>
        <p:cNvGrpSpPr/>
        <p:nvPr/>
      </p:nvGrpSpPr>
      <p:grpSpPr>
        <a:xfrm>
          <a:off x="0" y="0"/>
          <a:ext cx="0" cy="0"/>
          <a:chOff x="0" y="0"/>
          <a:chExt cx="0" cy="0"/>
        </a:xfrm>
      </p:grpSpPr>
      <p:sp>
        <p:nvSpPr>
          <p:cNvPr id="69" name="Google Shape;69;p11"/>
          <p:cNvSpPr txBox="1">
            <a:spLocks noGrp="1"/>
          </p:cNvSpPr>
          <p:nvPr>
            <p:ph type="title"/>
          </p:nvPr>
        </p:nvSpPr>
        <p:spPr>
          <a:xfrm>
            <a:off x="1080600" y="1042450"/>
            <a:ext cx="10216200" cy="11454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222222"/>
              </a:buClr>
              <a:buSzPts val="2000"/>
              <a:buNone/>
              <a:defRPr sz="4000">
                <a:solidFill>
                  <a:srgbClr val="222222"/>
                </a:solidFill>
              </a:defRPr>
            </a:lvl1pPr>
            <a:lvl2pPr lvl="1" rtl="0">
              <a:spcBef>
                <a:spcPts val="0"/>
              </a:spcBef>
              <a:spcAft>
                <a:spcPts val="0"/>
              </a:spcAft>
              <a:buClr>
                <a:srgbClr val="222222"/>
              </a:buClr>
              <a:buSzPts val="2000"/>
              <a:buNone/>
              <a:defRPr>
                <a:solidFill>
                  <a:srgbClr val="222222"/>
                </a:solidFill>
              </a:defRPr>
            </a:lvl2pPr>
            <a:lvl3pPr lvl="2" rtl="0">
              <a:spcBef>
                <a:spcPts val="0"/>
              </a:spcBef>
              <a:spcAft>
                <a:spcPts val="0"/>
              </a:spcAft>
              <a:buClr>
                <a:srgbClr val="222222"/>
              </a:buClr>
              <a:buSzPts val="2000"/>
              <a:buNone/>
              <a:defRPr>
                <a:solidFill>
                  <a:srgbClr val="222222"/>
                </a:solidFill>
              </a:defRPr>
            </a:lvl3pPr>
            <a:lvl4pPr lvl="3" rtl="0">
              <a:spcBef>
                <a:spcPts val="0"/>
              </a:spcBef>
              <a:spcAft>
                <a:spcPts val="0"/>
              </a:spcAft>
              <a:buClr>
                <a:srgbClr val="222222"/>
              </a:buClr>
              <a:buSzPts val="2000"/>
              <a:buNone/>
              <a:defRPr>
                <a:solidFill>
                  <a:srgbClr val="222222"/>
                </a:solidFill>
              </a:defRPr>
            </a:lvl4pPr>
            <a:lvl5pPr lvl="4" rtl="0">
              <a:spcBef>
                <a:spcPts val="0"/>
              </a:spcBef>
              <a:spcAft>
                <a:spcPts val="0"/>
              </a:spcAft>
              <a:buClr>
                <a:srgbClr val="222222"/>
              </a:buClr>
              <a:buSzPts val="2000"/>
              <a:buNone/>
              <a:defRPr>
                <a:solidFill>
                  <a:srgbClr val="222222"/>
                </a:solidFill>
              </a:defRPr>
            </a:lvl5pPr>
            <a:lvl6pPr lvl="5" rtl="0">
              <a:spcBef>
                <a:spcPts val="0"/>
              </a:spcBef>
              <a:spcAft>
                <a:spcPts val="0"/>
              </a:spcAft>
              <a:buClr>
                <a:srgbClr val="222222"/>
              </a:buClr>
              <a:buSzPts val="2000"/>
              <a:buNone/>
              <a:defRPr>
                <a:solidFill>
                  <a:srgbClr val="222222"/>
                </a:solidFill>
              </a:defRPr>
            </a:lvl6pPr>
            <a:lvl7pPr lvl="6" rtl="0">
              <a:spcBef>
                <a:spcPts val="0"/>
              </a:spcBef>
              <a:spcAft>
                <a:spcPts val="0"/>
              </a:spcAft>
              <a:buClr>
                <a:srgbClr val="222222"/>
              </a:buClr>
              <a:buSzPts val="2000"/>
              <a:buNone/>
              <a:defRPr>
                <a:solidFill>
                  <a:srgbClr val="222222"/>
                </a:solidFill>
              </a:defRPr>
            </a:lvl7pPr>
            <a:lvl8pPr lvl="7" rtl="0">
              <a:spcBef>
                <a:spcPts val="0"/>
              </a:spcBef>
              <a:spcAft>
                <a:spcPts val="0"/>
              </a:spcAft>
              <a:buClr>
                <a:srgbClr val="222222"/>
              </a:buClr>
              <a:buSzPts val="2000"/>
              <a:buNone/>
              <a:defRPr>
                <a:solidFill>
                  <a:srgbClr val="222222"/>
                </a:solidFill>
              </a:defRPr>
            </a:lvl8pPr>
            <a:lvl9pPr lvl="8" rtl="0">
              <a:spcBef>
                <a:spcPts val="0"/>
              </a:spcBef>
              <a:spcAft>
                <a:spcPts val="0"/>
              </a:spcAft>
              <a:buClr>
                <a:srgbClr val="222222"/>
              </a:buClr>
              <a:buSzPts val="2000"/>
              <a:buNone/>
              <a:defRPr>
                <a:solidFill>
                  <a:srgbClr val="222222"/>
                </a:solidFill>
              </a:defRPr>
            </a:lvl9pPr>
          </a:lstStyle>
          <a:p>
            <a:endParaRPr/>
          </a:p>
        </p:txBody>
      </p:sp>
      <p:sp>
        <p:nvSpPr>
          <p:cNvPr id="70" name="Google Shape;70;p11"/>
          <p:cNvSpPr txBox="1">
            <a:spLocks noGrp="1"/>
          </p:cNvSpPr>
          <p:nvPr>
            <p:ph type="body" idx="1"/>
          </p:nvPr>
        </p:nvSpPr>
        <p:spPr>
          <a:xfrm>
            <a:off x="1080600" y="3130350"/>
            <a:ext cx="12462600" cy="5891400"/>
          </a:xfrm>
          <a:prstGeom prst="rect">
            <a:avLst/>
          </a:prstGeom>
        </p:spPr>
        <p:txBody>
          <a:bodyPr spcFirstLastPara="1" wrap="square" lIns="91425" tIns="91425" rIns="91425" bIns="91425" anchor="t" anchorCtr="0">
            <a:noAutofit/>
          </a:bodyPr>
          <a:lstStyle>
            <a:lvl1pPr marL="914400" lvl="0" indent="-609600" rtl="0">
              <a:spcBef>
                <a:spcPts val="0"/>
              </a:spcBef>
              <a:spcAft>
                <a:spcPts val="0"/>
              </a:spcAft>
              <a:buClr>
                <a:srgbClr val="222222"/>
              </a:buClr>
              <a:buSzPts val="1200"/>
              <a:buChar char="●"/>
              <a:defRPr sz="2400">
                <a:solidFill>
                  <a:srgbClr val="222222"/>
                </a:solidFill>
              </a:defRPr>
            </a:lvl1pPr>
            <a:lvl2pPr marL="1828800" lvl="1" indent="-609600" rtl="0">
              <a:spcBef>
                <a:spcPts val="3200"/>
              </a:spcBef>
              <a:spcAft>
                <a:spcPts val="0"/>
              </a:spcAft>
              <a:buClr>
                <a:srgbClr val="222222"/>
              </a:buClr>
              <a:buSzPts val="1200"/>
              <a:buChar char="○"/>
              <a:defRPr sz="2400">
                <a:solidFill>
                  <a:srgbClr val="222222"/>
                </a:solidFill>
              </a:defRPr>
            </a:lvl2pPr>
            <a:lvl3pPr marL="2743200" lvl="2" indent="-584200" rtl="0">
              <a:spcBef>
                <a:spcPts val="3200"/>
              </a:spcBef>
              <a:spcAft>
                <a:spcPts val="0"/>
              </a:spcAft>
              <a:buClr>
                <a:srgbClr val="222222"/>
              </a:buClr>
              <a:buSzPts val="1000"/>
              <a:buChar char="■"/>
              <a:defRPr sz="2000">
                <a:solidFill>
                  <a:srgbClr val="222222"/>
                </a:solidFill>
              </a:defRPr>
            </a:lvl3pPr>
            <a:lvl4pPr marL="3657600" lvl="3" indent="-584200" rtl="0">
              <a:spcBef>
                <a:spcPts val="3200"/>
              </a:spcBef>
              <a:spcAft>
                <a:spcPts val="0"/>
              </a:spcAft>
              <a:buClr>
                <a:srgbClr val="222222"/>
              </a:buClr>
              <a:buSzPts val="1000"/>
              <a:buChar char="●"/>
              <a:defRPr sz="2000">
                <a:solidFill>
                  <a:srgbClr val="222222"/>
                </a:solidFill>
              </a:defRPr>
            </a:lvl4pPr>
            <a:lvl5pPr marL="4572000" lvl="4" indent="-558800" rtl="0">
              <a:spcBef>
                <a:spcPts val="3200"/>
              </a:spcBef>
              <a:spcAft>
                <a:spcPts val="0"/>
              </a:spcAft>
              <a:buClr>
                <a:srgbClr val="222222"/>
              </a:buClr>
              <a:buSzPts val="800"/>
              <a:buChar char="○"/>
              <a:defRPr sz="1600">
                <a:solidFill>
                  <a:srgbClr val="222222"/>
                </a:solidFill>
              </a:defRPr>
            </a:lvl5pPr>
            <a:lvl6pPr marL="5486400" lvl="5" indent="-558800" rtl="0">
              <a:spcBef>
                <a:spcPts val="3200"/>
              </a:spcBef>
              <a:spcAft>
                <a:spcPts val="0"/>
              </a:spcAft>
              <a:buClr>
                <a:srgbClr val="222222"/>
              </a:buClr>
              <a:buSzPts val="800"/>
              <a:buChar char="■"/>
              <a:defRPr sz="1600">
                <a:solidFill>
                  <a:srgbClr val="222222"/>
                </a:solidFill>
              </a:defRPr>
            </a:lvl6pPr>
            <a:lvl7pPr marL="6400800" lvl="6" indent="-609600" rtl="0">
              <a:spcBef>
                <a:spcPts val="3200"/>
              </a:spcBef>
              <a:spcAft>
                <a:spcPts val="0"/>
              </a:spcAft>
              <a:buClr>
                <a:srgbClr val="222222"/>
              </a:buClr>
              <a:buSzPts val="1200"/>
              <a:buChar char="●"/>
              <a:defRPr>
                <a:solidFill>
                  <a:srgbClr val="222222"/>
                </a:solidFill>
              </a:defRPr>
            </a:lvl7pPr>
            <a:lvl8pPr marL="7315200" lvl="7" indent="-609600" rtl="0">
              <a:spcBef>
                <a:spcPts val="3200"/>
              </a:spcBef>
              <a:spcAft>
                <a:spcPts val="0"/>
              </a:spcAft>
              <a:buClr>
                <a:srgbClr val="222222"/>
              </a:buClr>
              <a:buSzPts val="1200"/>
              <a:buChar char="○"/>
              <a:defRPr>
                <a:solidFill>
                  <a:srgbClr val="222222"/>
                </a:solidFill>
              </a:defRPr>
            </a:lvl8pPr>
            <a:lvl9pPr marL="8229600" lvl="8" indent="-609600" rtl="0">
              <a:spcBef>
                <a:spcPts val="3200"/>
              </a:spcBef>
              <a:spcAft>
                <a:spcPts val="3200"/>
              </a:spcAft>
              <a:buClr>
                <a:srgbClr val="222222"/>
              </a:buClr>
              <a:buSzPts val="1200"/>
              <a:buChar char="■"/>
              <a:defRPr>
                <a:solidFill>
                  <a:srgbClr val="222222"/>
                </a:solidFill>
              </a:defRPr>
            </a:lvl9pPr>
          </a:lstStyle>
          <a:p>
            <a:endParaRPr/>
          </a:p>
        </p:txBody>
      </p:sp>
      <p:sp>
        <p:nvSpPr>
          <p:cNvPr id="71" name="Google Shape;71;p11"/>
          <p:cNvSpPr txBox="1">
            <a:spLocks noGrp="1"/>
          </p:cNvSpPr>
          <p:nvPr>
            <p:ph type="sldNum" idx="12"/>
          </p:nvPr>
        </p:nvSpPr>
        <p:spPr>
          <a:xfrm>
            <a:off x="149576" y="9326434"/>
            <a:ext cx="931024"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pic>
        <p:nvPicPr>
          <p:cNvPr id="72" name="Google Shape;72;p11"/>
          <p:cNvPicPr preferRelativeResize="0"/>
          <p:nvPr/>
        </p:nvPicPr>
        <p:blipFill>
          <a:blip r:embed="rId2" cstate="email">
            <a:alphaModFix/>
            <a:extLst>
              <a:ext uri="{28A0092B-C50C-407E-A947-70E740481C1C}">
                <a14:useLocalDpi xmlns:a14="http://schemas.microsoft.com/office/drawing/2010/main"/>
              </a:ext>
            </a:extLst>
          </a:blip>
          <a:stretch>
            <a:fillRect/>
          </a:stretch>
        </p:blipFill>
        <p:spPr>
          <a:xfrm>
            <a:off x="16183201" y="-304799"/>
            <a:ext cx="1799998" cy="1799998"/>
          </a:xfrm>
          <a:prstGeom prst="rect">
            <a:avLst/>
          </a:prstGeom>
          <a:noFill/>
          <a:ln>
            <a:noFill/>
          </a:ln>
        </p:spPr>
      </p:pic>
      <p:sp>
        <p:nvSpPr>
          <p:cNvPr id="73" name="Google Shape;73;p11"/>
          <p:cNvSpPr txBox="1">
            <a:spLocks noGrp="1"/>
          </p:cNvSpPr>
          <p:nvPr>
            <p:ph type="subTitle" idx="2"/>
          </p:nvPr>
        </p:nvSpPr>
        <p:spPr>
          <a:xfrm>
            <a:off x="8731280" y="8568450"/>
            <a:ext cx="9263400" cy="15852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9pPr>
          </a:lstStyle>
          <a:p>
            <a:endParaRPr/>
          </a:p>
        </p:txBody>
      </p:sp>
    </p:spTree>
    <p:extLst>
      <p:ext uri="{BB962C8B-B14F-4D97-AF65-F5344CB8AC3E}">
        <p14:creationId xmlns:p14="http://schemas.microsoft.com/office/powerpoint/2010/main" val="21328803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9"/>
        <p:cNvGrpSpPr/>
        <p:nvPr/>
      </p:nvGrpSpPr>
      <p:grpSpPr>
        <a:xfrm>
          <a:off x="0" y="0"/>
          <a:ext cx="0" cy="0"/>
          <a:chOff x="0" y="0"/>
          <a:chExt cx="0" cy="0"/>
        </a:xfrm>
      </p:grpSpPr>
      <p:sp>
        <p:nvSpPr>
          <p:cNvPr id="10" name="Google Shape;10;p2"/>
          <p:cNvSpPr txBox="1">
            <a:spLocks noGrp="1"/>
          </p:cNvSpPr>
          <p:nvPr>
            <p:ph type="title"/>
          </p:nvPr>
        </p:nvSpPr>
        <p:spPr>
          <a:xfrm>
            <a:off x="623400" y="4301700"/>
            <a:ext cx="17041200" cy="1683600"/>
          </a:xfrm>
          <a:prstGeom prst="rect">
            <a:avLst/>
          </a:prstGeom>
          <a:noFill/>
          <a:ln>
            <a:noFill/>
          </a:ln>
        </p:spPr>
        <p:txBody>
          <a:bodyPr spcFirstLastPara="1" wrap="square" lIns="91425" tIns="91425" rIns="91425" bIns="91425" anchor="ctr" anchorCtr="0">
            <a:normAutofit/>
          </a:bodyPr>
          <a:lstStyle>
            <a:lvl1pPr lvl="0" algn="ctr">
              <a:lnSpc>
                <a:spcPct val="100000"/>
              </a:lnSpc>
              <a:spcBef>
                <a:spcPts val="0"/>
              </a:spcBef>
              <a:spcAft>
                <a:spcPts val="0"/>
              </a:spcAft>
              <a:buSzPts val="3600"/>
              <a:buNone/>
              <a:defRPr sz="7200"/>
            </a:lvl1pPr>
            <a:lvl2pPr lvl="1" algn="ctr">
              <a:lnSpc>
                <a:spcPct val="100000"/>
              </a:lnSpc>
              <a:spcBef>
                <a:spcPts val="0"/>
              </a:spcBef>
              <a:spcAft>
                <a:spcPts val="0"/>
              </a:spcAft>
              <a:buSzPts val="3600"/>
              <a:buNone/>
              <a:defRPr sz="7200"/>
            </a:lvl2pPr>
            <a:lvl3pPr lvl="2" algn="ctr">
              <a:lnSpc>
                <a:spcPct val="100000"/>
              </a:lnSpc>
              <a:spcBef>
                <a:spcPts val="0"/>
              </a:spcBef>
              <a:spcAft>
                <a:spcPts val="0"/>
              </a:spcAft>
              <a:buSzPts val="3600"/>
              <a:buNone/>
              <a:defRPr sz="7200"/>
            </a:lvl3pPr>
            <a:lvl4pPr lvl="3" algn="ctr">
              <a:lnSpc>
                <a:spcPct val="100000"/>
              </a:lnSpc>
              <a:spcBef>
                <a:spcPts val="0"/>
              </a:spcBef>
              <a:spcAft>
                <a:spcPts val="0"/>
              </a:spcAft>
              <a:buSzPts val="3600"/>
              <a:buNone/>
              <a:defRPr sz="7200"/>
            </a:lvl4pPr>
            <a:lvl5pPr lvl="4" algn="ctr">
              <a:lnSpc>
                <a:spcPct val="100000"/>
              </a:lnSpc>
              <a:spcBef>
                <a:spcPts val="0"/>
              </a:spcBef>
              <a:spcAft>
                <a:spcPts val="0"/>
              </a:spcAft>
              <a:buSzPts val="3600"/>
              <a:buNone/>
              <a:defRPr sz="7200"/>
            </a:lvl5pPr>
            <a:lvl6pPr lvl="5" algn="ctr">
              <a:lnSpc>
                <a:spcPct val="100000"/>
              </a:lnSpc>
              <a:spcBef>
                <a:spcPts val="0"/>
              </a:spcBef>
              <a:spcAft>
                <a:spcPts val="0"/>
              </a:spcAft>
              <a:buSzPts val="3600"/>
              <a:buNone/>
              <a:defRPr sz="7200"/>
            </a:lvl6pPr>
            <a:lvl7pPr lvl="6" algn="ctr">
              <a:lnSpc>
                <a:spcPct val="100000"/>
              </a:lnSpc>
              <a:spcBef>
                <a:spcPts val="0"/>
              </a:spcBef>
              <a:spcAft>
                <a:spcPts val="0"/>
              </a:spcAft>
              <a:buSzPts val="3600"/>
              <a:buNone/>
              <a:defRPr sz="7200"/>
            </a:lvl7pPr>
            <a:lvl8pPr lvl="7" algn="ctr">
              <a:lnSpc>
                <a:spcPct val="100000"/>
              </a:lnSpc>
              <a:spcBef>
                <a:spcPts val="0"/>
              </a:spcBef>
              <a:spcAft>
                <a:spcPts val="0"/>
              </a:spcAft>
              <a:buSzPts val="3600"/>
              <a:buNone/>
              <a:defRPr sz="7200"/>
            </a:lvl8pPr>
            <a:lvl9pPr lvl="8" algn="ctr">
              <a:lnSpc>
                <a:spcPct val="100000"/>
              </a:lnSpc>
              <a:spcBef>
                <a:spcPts val="0"/>
              </a:spcBef>
              <a:spcAft>
                <a:spcPts val="0"/>
              </a:spcAft>
              <a:buSzPts val="3600"/>
              <a:buNone/>
              <a:defRPr sz="7200"/>
            </a:lvl9pPr>
          </a:lstStyle>
          <a:p>
            <a:endParaRPr/>
          </a:p>
        </p:txBody>
      </p:sp>
      <p:sp>
        <p:nvSpPr>
          <p:cNvPr id="11" name="Google Shape;11;p2"/>
          <p:cNvSpPr txBox="1">
            <a:spLocks noGrp="1"/>
          </p:cNvSpPr>
          <p:nvPr>
            <p:ph type="sldNum" idx="12"/>
          </p:nvPr>
        </p:nvSpPr>
        <p:spPr>
          <a:xfrm>
            <a:off x="16944916" y="9326434"/>
            <a:ext cx="1097400" cy="7872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39205359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12"/>
        <p:cNvGrpSpPr/>
        <p:nvPr/>
      </p:nvGrpSpPr>
      <p:grpSpPr>
        <a:xfrm>
          <a:off x="0" y="0"/>
          <a:ext cx="0" cy="0"/>
          <a:chOff x="0" y="0"/>
          <a:chExt cx="0" cy="0"/>
        </a:xfrm>
      </p:grpSpPr>
      <p:sp>
        <p:nvSpPr>
          <p:cNvPr id="13" name="Google Shape;13;p3"/>
          <p:cNvSpPr txBox="1">
            <a:spLocks noGrp="1"/>
          </p:cNvSpPr>
          <p:nvPr>
            <p:ph type="ctrTitle"/>
          </p:nvPr>
        </p:nvSpPr>
        <p:spPr>
          <a:xfrm>
            <a:off x="623416" y="1489150"/>
            <a:ext cx="17041200" cy="4105200"/>
          </a:xfrm>
          <a:prstGeom prst="rect">
            <a:avLst/>
          </a:prstGeom>
          <a:noFill/>
          <a:ln>
            <a:noFill/>
          </a:ln>
        </p:spPr>
        <p:txBody>
          <a:bodyPr spcFirstLastPara="1" wrap="square" lIns="91425" tIns="91425" rIns="91425" bIns="91425" anchor="b" anchorCtr="0">
            <a:normAutofit/>
          </a:bodyPr>
          <a:lstStyle>
            <a:lvl1pPr lvl="0" algn="ctr">
              <a:lnSpc>
                <a:spcPct val="100000"/>
              </a:lnSpc>
              <a:spcBef>
                <a:spcPts val="0"/>
              </a:spcBef>
              <a:spcAft>
                <a:spcPts val="0"/>
              </a:spcAft>
              <a:buSzPts val="5200"/>
              <a:buNone/>
              <a:defRPr sz="10400"/>
            </a:lvl1pPr>
            <a:lvl2pPr lvl="1" algn="ctr">
              <a:lnSpc>
                <a:spcPct val="100000"/>
              </a:lnSpc>
              <a:spcBef>
                <a:spcPts val="0"/>
              </a:spcBef>
              <a:spcAft>
                <a:spcPts val="0"/>
              </a:spcAft>
              <a:buSzPts val="5200"/>
              <a:buNone/>
              <a:defRPr sz="10400"/>
            </a:lvl2pPr>
            <a:lvl3pPr lvl="2" algn="ctr">
              <a:lnSpc>
                <a:spcPct val="100000"/>
              </a:lnSpc>
              <a:spcBef>
                <a:spcPts val="0"/>
              </a:spcBef>
              <a:spcAft>
                <a:spcPts val="0"/>
              </a:spcAft>
              <a:buSzPts val="5200"/>
              <a:buNone/>
              <a:defRPr sz="10400"/>
            </a:lvl3pPr>
            <a:lvl4pPr lvl="3" algn="ctr">
              <a:lnSpc>
                <a:spcPct val="100000"/>
              </a:lnSpc>
              <a:spcBef>
                <a:spcPts val="0"/>
              </a:spcBef>
              <a:spcAft>
                <a:spcPts val="0"/>
              </a:spcAft>
              <a:buSzPts val="5200"/>
              <a:buNone/>
              <a:defRPr sz="10400"/>
            </a:lvl4pPr>
            <a:lvl5pPr lvl="4" algn="ctr">
              <a:lnSpc>
                <a:spcPct val="100000"/>
              </a:lnSpc>
              <a:spcBef>
                <a:spcPts val="0"/>
              </a:spcBef>
              <a:spcAft>
                <a:spcPts val="0"/>
              </a:spcAft>
              <a:buSzPts val="5200"/>
              <a:buNone/>
              <a:defRPr sz="10400"/>
            </a:lvl5pPr>
            <a:lvl6pPr lvl="5" algn="ctr">
              <a:lnSpc>
                <a:spcPct val="100000"/>
              </a:lnSpc>
              <a:spcBef>
                <a:spcPts val="0"/>
              </a:spcBef>
              <a:spcAft>
                <a:spcPts val="0"/>
              </a:spcAft>
              <a:buSzPts val="5200"/>
              <a:buNone/>
              <a:defRPr sz="10400"/>
            </a:lvl6pPr>
            <a:lvl7pPr lvl="6" algn="ctr">
              <a:lnSpc>
                <a:spcPct val="100000"/>
              </a:lnSpc>
              <a:spcBef>
                <a:spcPts val="0"/>
              </a:spcBef>
              <a:spcAft>
                <a:spcPts val="0"/>
              </a:spcAft>
              <a:buSzPts val="5200"/>
              <a:buNone/>
              <a:defRPr sz="10400"/>
            </a:lvl7pPr>
            <a:lvl8pPr lvl="7" algn="ctr">
              <a:lnSpc>
                <a:spcPct val="100000"/>
              </a:lnSpc>
              <a:spcBef>
                <a:spcPts val="0"/>
              </a:spcBef>
              <a:spcAft>
                <a:spcPts val="0"/>
              </a:spcAft>
              <a:buSzPts val="5200"/>
              <a:buNone/>
              <a:defRPr sz="10400"/>
            </a:lvl8pPr>
            <a:lvl9pPr lvl="8" algn="ctr">
              <a:lnSpc>
                <a:spcPct val="100000"/>
              </a:lnSpc>
              <a:spcBef>
                <a:spcPts val="0"/>
              </a:spcBef>
              <a:spcAft>
                <a:spcPts val="0"/>
              </a:spcAft>
              <a:buSzPts val="5200"/>
              <a:buNone/>
              <a:defRPr sz="10400"/>
            </a:lvl9pPr>
          </a:lstStyle>
          <a:p>
            <a:endParaRPr/>
          </a:p>
        </p:txBody>
      </p:sp>
      <p:sp>
        <p:nvSpPr>
          <p:cNvPr id="14" name="Google Shape;14;p3"/>
          <p:cNvSpPr txBox="1">
            <a:spLocks noGrp="1"/>
          </p:cNvSpPr>
          <p:nvPr>
            <p:ph type="subTitle" idx="1"/>
          </p:nvPr>
        </p:nvSpPr>
        <p:spPr>
          <a:xfrm>
            <a:off x="623400" y="5668250"/>
            <a:ext cx="17041200" cy="1585200"/>
          </a:xfrm>
          <a:prstGeom prst="rect">
            <a:avLst/>
          </a:prstGeom>
          <a:noFill/>
          <a:ln>
            <a:noFill/>
          </a:ln>
        </p:spPr>
        <p:txBody>
          <a:bodyPr spcFirstLastPara="1" wrap="square" lIns="91425" tIns="91425" rIns="91425" bIns="91425" anchor="t" anchorCtr="0">
            <a:normAutofit/>
          </a:bodyPr>
          <a:lstStyle>
            <a:lvl1pPr lvl="0" algn="ctr">
              <a:lnSpc>
                <a:spcPct val="100000"/>
              </a:lnSpc>
              <a:spcBef>
                <a:spcPts val="0"/>
              </a:spcBef>
              <a:spcAft>
                <a:spcPts val="0"/>
              </a:spcAft>
              <a:buSzPts val="2800"/>
              <a:buNone/>
              <a:defRPr sz="5600"/>
            </a:lvl1pPr>
            <a:lvl2pPr lvl="1" algn="ctr">
              <a:lnSpc>
                <a:spcPct val="100000"/>
              </a:lnSpc>
              <a:spcBef>
                <a:spcPts val="0"/>
              </a:spcBef>
              <a:spcAft>
                <a:spcPts val="0"/>
              </a:spcAft>
              <a:buSzPts val="2800"/>
              <a:buNone/>
              <a:defRPr sz="5600"/>
            </a:lvl2pPr>
            <a:lvl3pPr lvl="2" algn="ctr">
              <a:lnSpc>
                <a:spcPct val="100000"/>
              </a:lnSpc>
              <a:spcBef>
                <a:spcPts val="0"/>
              </a:spcBef>
              <a:spcAft>
                <a:spcPts val="0"/>
              </a:spcAft>
              <a:buSzPts val="2800"/>
              <a:buNone/>
              <a:defRPr sz="5600"/>
            </a:lvl3pPr>
            <a:lvl4pPr lvl="3" algn="ctr">
              <a:lnSpc>
                <a:spcPct val="100000"/>
              </a:lnSpc>
              <a:spcBef>
                <a:spcPts val="0"/>
              </a:spcBef>
              <a:spcAft>
                <a:spcPts val="0"/>
              </a:spcAft>
              <a:buSzPts val="2800"/>
              <a:buNone/>
              <a:defRPr sz="5600"/>
            </a:lvl4pPr>
            <a:lvl5pPr lvl="4" algn="ctr">
              <a:lnSpc>
                <a:spcPct val="100000"/>
              </a:lnSpc>
              <a:spcBef>
                <a:spcPts val="0"/>
              </a:spcBef>
              <a:spcAft>
                <a:spcPts val="0"/>
              </a:spcAft>
              <a:buSzPts val="2800"/>
              <a:buNone/>
              <a:defRPr sz="5600"/>
            </a:lvl5pPr>
            <a:lvl6pPr lvl="5" algn="ctr">
              <a:lnSpc>
                <a:spcPct val="100000"/>
              </a:lnSpc>
              <a:spcBef>
                <a:spcPts val="0"/>
              </a:spcBef>
              <a:spcAft>
                <a:spcPts val="0"/>
              </a:spcAft>
              <a:buSzPts val="2800"/>
              <a:buNone/>
              <a:defRPr sz="5600"/>
            </a:lvl6pPr>
            <a:lvl7pPr lvl="6" algn="ctr">
              <a:lnSpc>
                <a:spcPct val="100000"/>
              </a:lnSpc>
              <a:spcBef>
                <a:spcPts val="0"/>
              </a:spcBef>
              <a:spcAft>
                <a:spcPts val="0"/>
              </a:spcAft>
              <a:buSzPts val="2800"/>
              <a:buNone/>
              <a:defRPr sz="5600"/>
            </a:lvl7pPr>
            <a:lvl8pPr lvl="7" algn="ctr">
              <a:lnSpc>
                <a:spcPct val="100000"/>
              </a:lnSpc>
              <a:spcBef>
                <a:spcPts val="0"/>
              </a:spcBef>
              <a:spcAft>
                <a:spcPts val="0"/>
              </a:spcAft>
              <a:buSzPts val="2800"/>
              <a:buNone/>
              <a:defRPr sz="5600"/>
            </a:lvl8pPr>
            <a:lvl9pPr lvl="8" algn="ctr">
              <a:lnSpc>
                <a:spcPct val="100000"/>
              </a:lnSpc>
              <a:spcBef>
                <a:spcPts val="0"/>
              </a:spcBef>
              <a:spcAft>
                <a:spcPts val="0"/>
              </a:spcAft>
              <a:buSzPts val="2800"/>
              <a:buNone/>
              <a:defRPr sz="5600"/>
            </a:lvl9pPr>
          </a:lstStyle>
          <a:p>
            <a:endParaRPr/>
          </a:p>
        </p:txBody>
      </p:sp>
      <p:sp>
        <p:nvSpPr>
          <p:cNvPr id="15" name="Google Shape;15;p3"/>
          <p:cNvSpPr txBox="1">
            <a:spLocks noGrp="1"/>
          </p:cNvSpPr>
          <p:nvPr>
            <p:ph type="sldNum" idx="12"/>
          </p:nvPr>
        </p:nvSpPr>
        <p:spPr>
          <a:xfrm>
            <a:off x="16944916" y="9326434"/>
            <a:ext cx="1097400" cy="7872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29907130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Título e corpo 3 1">
  <p:cSld name="Título e corpo 3 1">
    <p:bg>
      <p:bgPr>
        <a:solidFill>
          <a:srgbClr val="FFFFFF"/>
        </a:solidFill>
        <a:effectLst/>
      </p:bgPr>
    </p:bg>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1080600" y="1042450"/>
            <a:ext cx="10216200" cy="11454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Clr>
                <a:srgbClr val="222222"/>
              </a:buClr>
              <a:buSzPts val="2000"/>
              <a:buNone/>
              <a:defRPr sz="4000">
                <a:solidFill>
                  <a:srgbClr val="222222"/>
                </a:solidFill>
              </a:defRPr>
            </a:lvl1pPr>
            <a:lvl2pPr lvl="1" algn="l">
              <a:lnSpc>
                <a:spcPct val="100000"/>
              </a:lnSpc>
              <a:spcBef>
                <a:spcPts val="0"/>
              </a:spcBef>
              <a:spcAft>
                <a:spcPts val="0"/>
              </a:spcAft>
              <a:buClr>
                <a:srgbClr val="222222"/>
              </a:buClr>
              <a:buSzPts val="2000"/>
              <a:buNone/>
              <a:defRPr>
                <a:solidFill>
                  <a:srgbClr val="222222"/>
                </a:solidFill>
              </a:defRPr>
            </a:lvl2pPr>
            <a:lvl3pPr lvl="2" algn="l">
              <a:lnSpc>
                <a:spcPct val="100000"/>
              </a:lnSpc>
              <a:spcBef>
                <a:spcPts val="0"/>
              </a:spcBef>
              <a:spcAft>
                <a:spcPts val="0"/>
              </a:spcAft>
              <a:buClr>
                <a:srgbClr val="222222"/>
              </a:buClr>
              <a:buSzPts val="2000"/>
              <a:buNone/>
              <a:defRPr>
                <a:solidFill>
                  <a:srgbClr val="222222"/>
                </a:solidFill>
              </a:defRPr>
            </a:lvl3pPr>
            <a:lvl4pPr lvl="3" algn="l">
              <a:lnSpc>
                <a:spcPct val="100000"/>
              </a:lnSpc>
              <a:spcBef>
                <a:spcPts val="0"/>
              </a:spcBef>
              <a:spcAft>
                <a:spcPts val="0"/>
              </a:spcAft>
              <a:buClr>
                <a:srgbClr val="222222"/>
              </a:buClr>
              <a:buSzPts val="2000"/>
              <a:buNone/>
              <a:defRPr>
                <a:solidFill>
                  <a:srgbClr val="222222"/>
                </a:solidFill>
              </a:defRPr>
            </a:lvl4pPr>
            <a:lvl5pPr lvl="4" algn="l">
              <a:lnSpc>
                <a:spcPct val="100000"/>
              </a:lnSpc>
              <a:spcBef>
                <a:spcPts val="0"/>
              </a:spcBef>
              <a:spcAft>
                <a:spcPts val="0"/>
              </a:spcAft>
              <a:buClr>
                <a:srgbClr val="222222"/>
              </a:buClr>
              <a:buSzPts val="2000"/>
              <a:buNone/>
              <a:defRPr>
                <a:solidFill>
                  <a:srgbClr val="222222"/>
                </a:solidFill>
              </a:defRPr>
            </a:lvl5pPr>
            <a:lvl6pPr lvl="5" algn="l">
              <a:lnSpc>
                <a:spcPct val="100000"/>
              </a:lnSpc>
              <a:spcBef>
                <a:spcPts val="0"/>
              </a:spcBef>
              <a:spcAft>
                <a:spcPts val="0"/>
              </a:spcAft>
              <a:buClr>
                <a:srgbClr val="222222"/>
              </a:buClr>
              <a:buSzPts val="2000"/>
              <a:buNone/>
              <a:defRPr>
                <a:solidFill>
                  <a:srgbClr val="222222"/>
                </a:solidFill>
              </a:defRPr>
            </a:lvl6pPr>
            <a:lvl7pPr lvl="6" algn="l">
              <a:lnSpc>
                <a:spcPct val="100000"/>
              </a:lnSpc>
              <a:spcBef>
                <a:spcPts val="0"/>
              </a:spcBef>
              <a:spcAft>
                <a:spcPts val="0"/>
              </a:spcAft>
              <a:buClr>
                <a:srgbClr val="222222"/>
              </a:buClr>
              <a:buSzPts val="2000"/>
              <a:buNone/>
              <a:defRPr>
                <a:solidFill>
                  <a:srgbClr val="222222"/>
                </a:solidFill>
              </a:defRPr>
            </a:lvl7pPr>
            <a:lvl8pPr lvl="7" algn="l">
              <a:lnSpc>
                <a:spcPct val="100000"/>
              </a:lnSpc>
              <a:spcBef>
                <a:spcPts val="0"/>
              </a:spcBef>
              <a:spcAft>
                <a:spcPts val="0"/>
              </a:spcAft>
              <a:buClr>
                <a:srgbClr val="222222"/>
              </a:buClr>
              <a:buSzPts val="2000"/>
              <a:buNone/>
              <a:defRPr>
                <a:solidFill>
                  <a:srgbClr val="222222"/>
                </a:solidFill>
              </a:defRPr>
            </a:lvl8pPr>
            <a:lvl9pPr lvl="8" algn="l">
              <a:lnSpc>
                <a:spcPct val="100000"/>
              </a:lnSpc>
              <a:spcBef>
                <a:spcPts val="0"/>
              </a:spcBef>
              <a:spcAft>
                <a:spcPts val="0"/>
              </a:spcAft>
              <a:buClr>
                <a:srgbClr val="222222"/>
              </a:buClr>
              <a:buSzPts val="2000"/>
              <a:buNone/>
              <a:defRPr>
                <a:solidFill>
                  <a:srgbClr val="222222"/>
                </a:solidFill>
              </a:defRPr>
            </a:lvl9pPr>
          </a:lstStyle>
          <a:p>
            <a:endParaRPr/>
          </a:p>
        </p:txBody>
      </p:sp>
      <p:sp>
        <p:nvSpPr>
          <p:cNvPr id="18" name="Google Shape;18;p4"/>
          <p:cNvSpPr txBox="1">
            <a:spLocks noGrp="1"/>
          </p:cNvSpPr>
          <p:nvPr>
            <p:ph type="body" idx="1"/>
          </p:nvPr>
        </p:nvSpPr>
        <p:spPr>
          <a:xfrm>
            <a:off x="1080600" y="3130350"/>
            <a:ext cx="12462600" cy="5891400"/>
          </a:xfrm>
          <a:prstGeom prst="rect">
            <a:avLst/>
          </a:prstGeom>
          <a:noFill/>
          <a:ln>
            <a:noFill/>
          </a:ln>
        </p:spPr>
        <p:txBody>
          <a:bodyPr spcFirstLastPara="1" wrap="square" lIns="91425" tIns="91425" rIns="91425" bIns="91425" anchor="t" anchorCtr="0">
            <a:noAutofit/>
          </a:bodyPr>
          <a:lstStyle>
            <a:lvl1pPr marL="914400" lvl="0" indent="-609600" algn="l">
              <a:lnSpc>
                <a:spcPct val="115000"/>
              </a:lnSpc>
              <a:spcBef>
                <a:spcPts val="0"/>
              </a:spcBef>
              <a:spcAft>
                <a:spcPts val="0"/>
              </a:spcAft>
              <a:buClr>
                <a:srgbClr val="222222"/>
              </a:buClr>
              <a:buSzPts val="1200"/>
              <a:buChar char="●"/>
              <a:defRPr sz="2400">
                <a:solidFill>
                  <a:srgbClr val="222222"/>
                </a:solidFill>
              </a:defRPr>
            </a:lvl1pPr>
            <a:lvl2pPr marL="1828800" lvl="1" indent="-609600" algn="l">
              <a:lnSpc>
                <a:spcPct val="115000"/>
              </a:lnSpc>
              <a:spcBef>
                <a:spcPts val="3200"/>
              </a:spcBef>
              <a:spcAft>
                <a:spcPts val="0"/>
              </a:spcAft>
              <a:buClr>
                <a:srgbClr val="222222"/>
              </a:buClr>
              <a:buSzPts val="1200"/>
              <a:buChar char="○"/>
              <a:defRPr sz="2400">
                <a:solidFill>
                  <a:srgbClr val="222222"/>
                </a:solidFill>
              </a:defRPr>
            </a:lvl2pPr>
            <a:lvl3pPr marL="2743200" lvl="2" indent="-584200" algn="l">
              <a:lnSpc>
                <a:spcPct val="115000"/>
              </a:lnSpc>
              <a:spcBef>
                <a:spcPts val="3200"/>
              </a:spcBef>
              <a:spcAft>
                <a:spcPts val="0"/>
              </a:spcAft>
              <a:buClr>
                <a:srgbClr val="222222"/>
              </a:buClr>
              <a:buSzPts val="1000"/>
              <a:buChar char="■"/>
              <a:defRPr sz="2000">
                <a:solidFill>
                  <a:srgbClr val="222222"/>
                </a:solidFill>
              </a:defRPr>
            </a:lvl3pPr>
            <a:lvl4pPr marL="3657600" lvl="3" indent="-584200" algn="l">
              <a:lnSpc>
                <a:spcPct val="115000"/>
              </a:lnSpc>
              <a:spcBef>
                <a:spcPts val="3200"/>
              </a:spcBef>
              <a:spcAft>
                <a:spcPts val="0"/>
              </a:spcAft>
              <a:buClr>
                <a:srgbClr val="222222"/>
              </a:buClr>
              <a:buSzPts val="1000"/>
              <a:buChar char="●"/>
              <a:defRPr sz="2000">
                <a:solidFill>
                  <a:srgbClr val="222222"/>
                </a:solidFill>
              </a:defRPr>
            </a:lvl4pPr>
            <a:lvl5pPr marL="4572000" lvl="4" indent="-558800" algn="l">
              <a:lnSpc>
                <a:spcPct val="115000"/>
              </a:lnSpc>
              <a:spcBef>
                <a:spcPts val="3200"/>
              </a:spcBef>
              <a:spcAft>
                <a:spcPts val="0"/>
              </a:spcAft>
              <a:buClr>
                <a:srgbClr val="222222"/>
              </a:buClr>
              <a:buSzPts val="800"/>
              <a:buChar char="○"/>
              <a:defRPr sz="1600">
                <a:solidFill>
                  <a:srgbClr val="222222"/>
                </a:solidFill>
              </a:defRPr>
            </a:lvl5pPr>
            <a:lvl6pPr marL="5486400" lvl="5" indent="-558800" algn="l">
              <a:lnSpc>
                <a:spcPct val="115000"/>
              </a:lnSpc>
              <a:spcBef>
                <a:spcPts val="3200"/>
              </a:spcBef>
              <a:spcAft>
                <a:spcPts val="0"/>
              </a:spcAft>
              <a:buClr>
                <a:srgbClr val="222222"/>
              </a:buClr>
              <a:buSzPts val="800"/>
              <a:buChar char="■"/>
              <a:defRPr sz="1600">
                <a:solidFill>
                  <a:srgbClr val="222222"/>
                </a:solidFill>
              </a:defRPr>
            </a:lvl6pPr>
            <a:lvl7pPr marL="6400800" lvl="6" indent="-609600" algn="l">
              <a:lnSpc>
                <a:spcPct val="115000"/>
              </a:lnSpc>
              <a:spcBef>
                <a:spcPts val="3200"/>
              </a:spcBef>
              <a:spcAft>
                <a:spcPts val="0"/>
              </a:spcAft>
              <a:buClr>
                <a:srgbClr val="222222"/>
              </a:buClr>
              <a:buSzPts val="1200"/>
              <a:buChar char="●"/>
              <a:defRPr>
                <a:solidFill>
                  <a:srgbClr val="222222"/>
                </a:solidFill>
              </a:defRPr>
            </a:lvl7pPr>
            <a:lvl8pPr marL="7315200" lvl="7" indent="-609600" algn="l">
              <a:lnSpc>
                <a:spcPct val="115000"/>
              </a:lnSpc>
              <a:spcBef>
                <a:spcPts val="3200"/>
              </a:spcBef>
              <a:spcAft>
                <a:spcPts val="0"/>
              </a:spcAft>
              <a:buClr>
                <a:srgbClr val="222222"/>
              </a:buClr>
              <a:buSzPts val="1200"/>
              <a:buChar char="○"/>
              <a:defRPr>
                <a:solidFill>
                  <a:srgbClr val="222222"/>
                </a:solidFill>
              </a:defRPr>
            </a:lvl8pPr>
            <a:lvl9pPr marL="8229600" lvl="8" indent="-609600" algn="l">
              <a:lnSpc>
                <a:spcPct val="115000"/>
              </a:lnSpc>
              <a:spcBef>
                <a:spcPts val="3200"/>
              </a:spcBef>
              <a:spcAft>
                <a:spcPts val="3200"/>
              </a:spcAft>
              <a:buClr>
                <a:srgbClr val="222222"/>
              </a:buClr>
              <a:buSzPts val="1200"/>
              <a:buChar char="■"/>
              <a:defRPr>
                <a:solidFill>
                  <a:srgbClr val="222222"/>
                </a:solidFill>
              </a:defRPr>
            </a:lvl9pPr>
          </a:lstStyle>
          <a:p>
            <a:endParaRPr/>
          </a:p>
        </p:txBody>
      </p:sp>
      <p:sp>
        <p:nvSpPr>
          <p:cNvPr id="19" name="Google Shape;19;p4"/>
          <p:cNvSpPr txBox="1">
            <a:spLocks noGrp="1"/>
          </p:cNvSpPr>
          <p:nvPr>
            <p:ph type="sldNum" idx="12"/>
          </p:nvPr>
        </p:nvSpPr>
        <p:spPr>
          <a:xfrm>
            <a:off x="16944916" y="9326434"/>
            <a:ext cx="1097400" cy="7872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2000" b="0" i="0" u="none" strike="noStrike" cap="none">
                <a:solidFill>
                  <a:srgbClr val="ADADAD"/>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2000" b="0" i="0" u="none" strike="noStrike" cap="none">
                <a:solidFill>
                  <a:srgbClr val="ADADAD"/>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2000" b="0" i="0" u="none" strike="noStrike" cap="none">
                <a:solidFill>
                  <a:srgbClr val="ADADAD"/>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2000" b="0" i="0" u="none" strike="noStrike" cap="none">
                <a:solidFill>
                  <a:srgbClr val="ADADAD"/>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2000" b="0" i="0" u="none" strike="noStrike" cap="none">
                <a:solidFill>
                  <a:srgbClr val="ADADAD"/>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2000" b="0" i="0" u="none" strike="noStrike" cap="none">
                <a:solidFill>
                  <a:srgbClr val="ADADAD"/>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2000" b="0" i="0" u="none" strike="noStrike" cap="none">
                <a:solidFill>
                  <a:srgbClr val="ADADAD"/>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2000" b="0" i="0" u="none" strike="noStrike" cap="none">
                <a:solidFill>
                  <a:srgbClr val="ADADAD"/>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2000" b="0" i="0" u="none" strike="noStrike" cap="none">
                <a:solidFill>
                  <a:srgbClr val="ADADAD"/>
                </a:solidFill>
                <a:latin typeface="Arial"/>
                <a:ea typeface="Arial"/>
                <a:cs typeface="Arial"/>
                <a:sym typeface="Arial"/>
              </a:defRPr>
            </a:lvl9pPr>
          </a:lstStyle>
          <a:p>
            <a:fld id="{00000000-1234-1234-1234-123412341234}" type="slidenum">
              <a:rPr lang="pt-BR" smtClean="0"/>
              <a:pPr/>
              <a:t>‹nº›</a:t>
            </a:fld>
            <a:endParaRPr lang="pt-BR"/>
          </a:p>
        </p:txBody>
      </p:sp>
      <p:pic>
        <p:nvPicPr>
          <p:cNvPr id="20" name="Google Shape;20;p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6183205" y="-304799"/>
            <a:ext cx="1799998" cy="1799998"/>
          </a:xfrm>
          <a:prstGeom prst="rect">
            <a:avLst/>
          </a:prstGeom>
          <a:noFill/>
          <a:ln>
            <a:noFill/>
          </a:ln>
        </p:spPr>
      </p:pic>
      <p:sp>
        <p:nvSpPr>
          <p:cNvPr id="21" name="Google Shape;21;p4"/>
          <p:cNvSpPr txBox="1">
            <a:spLocks noGrp="1"/>
          </p:cNvSpPr>
          <p:nvPr>
            <p:ph type="subTitle" idx="2"/>
          </p:nvPr>
        </p:nvSpPr>
        <p:spPr>
          <a:xfrm>
            <a:off x="8778900" y="8568450"/>
            <a:ext cx="9263400" cy="1585200"/>
          </a:xfrm>
          <a:prstGeom prst="rect">
            <a:avLst/>
          </a:prstGeom>
          <a:noFill/>
          <a:ln>
            <a:noFill/>
          </a:ln>
        </p:spPr>
        <p:txBody>
          <a:bodyPr spcFirstLastPara="1" wrap="square" lIns="91425" tIns="91425" rIns="91425" bIns="91425" anchor="b" anchorCtr="0">
            <a:noAutofit/>
          </a:bodyPr>
          <a:lstStyle>
            <a:lvl1pPr lvl="0" algn="r">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1pPr>
            <a:lvl2pPr lvl="1" algn="r">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2pPr>
            <a:lvl3pPr lvl="2" algn="r">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3pPr>
            <a:lvl4pPr lvl="3" algn="r">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4pPr>
            <a:lvl5pPr lvl="4" algn="r">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5pPr>
            <a:lvl6pPr lvl="5" algn="r">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6pPr>
            <a:lvl7pPr lvl="6" algn="r">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7pPr>
            <a:lvl8pPr lvl="7" algn="r">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8pPr>
            <a:lvl9pPr lvl="8" algn="r">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9pPr>
          </a:lstStyle>
          <a:p>
            <a:endParaRPr/>
          </a:p>
        </p:txBody>
      </p:sp>
    </p:spTree>
    <p:extLst>
      <p:ext uri="{BB962C8B-B14F-4D97-AF65-F5344CB8AC3E}">
        <p14:creationId xmlns:p14="http://schemas.microsoft.com/office/powerpoint/2010/main" val="30931500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22"/>
        <p:cNvGrpSpPr/>
        <p:nvPr/>
      </p:nvGrpSpPr>
      <p:grpSpPr>
        <a:xfrm>
          <a:off x="0" y="0"/>
          <a:ext cx="0" cy="0"/>
          <a:chOff x="0" y="0"/>
          <a:chExt cx="0" cy="0"/>
        </a:xfrm>
      </p:grpSpPr>
      <p:sp>
        <p:nvSpPr>
          <p:cNvPr id="23" name="Google Shape;23;p5"/>
          <p:cNvSpPr txBox="1">
            <a:spLocks noGrp="1"/>
          </p:cNvSpPr>
          <p:nvPr>
            <p:ph type="title"/>
          </p:nvPr>
        </p:nvSpPr>
        <p:spPr>
          <a:xfrm>
            <a:off x="623400" y="890050"/>
            <a:ext cx="17041200" cy="1145400"/>
          </a:xfrm>
          <a:prstGeom prst="rect">
            <a:avLst/>
          </a:prstGeom>
          <a:noFill/>
          <a:ln>
            <a:noFill/>
          </a:ln>
        </p:spPr>
        <p:txBody>
          <a:bodyPr spcFirstLastPara="1" wrap="square" lIns="91425" tIns="91425" rIns="91425" bIns="91425" anchor="t" anchorCtr="0">
            <a:norm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24" name="Google Shape;24;p5"/>
          <p:cNvSpPr txBox="1">
            <a:spLocks noGrp="1"/>
          </p:cNvSpPr>
          <p:nvPr>
            <p:ph type="body" idx="1"/>
          </p:nvPr>
        </p:nvSpPr>
        <p:spPr>
          <a:xfrm>
            <a:off x="623400" y="2304950"/>
            <a:ext cx="17041200" cy="6832800"/>
          </a:xfrm>
          <a:prstGeom prst="rect">
            <a:avLst/>
          </a:prstGeom>
          <a:noFill/>
          <a:ln>
            <a:noFill/>
          </a:ln>
        </p:spPr>
        <p:txBody>
          <a:bodyPr spcFirstLastPara="1" wrap="square" lIns="91425" tIns="91425" rIns="91425" bIns="91425" anchor="t" anchorCtr="0">
            <a:normAutofit/>
          </a:bodyPr>
          <a:lstStyle>
            <a:lvl1pPr marL="914400" lvl="0" indent="-685800" algn="l">
              <a:lnSpc>
                <a:spcPct val="115000"/>
              </a:lnSpc>
              <a:spcBef>
                <a:spcPts val="0"/>
              </a:spcBef>
              <a:spcAft>
                <a:spcPts val="0"/>
              </a:spcAft>
              <a:buSzPts val="1800"/>
              <a:buChar char="●"/>
              <a:defRPr/>
            </a:lvl1pPr>
            <a:lvl2pPr marL="1828800" lvl="1" indent="-635000" algn="l">
              <a:lnSpc>
                <a:spcPct val="115000"/>
              </a:lnSpc>
              <a:spcBef>
                <a:spcPts val="0"/>
              </a:spcBef>
              <a:spcAft>
                <a:spcPts val="0"/>
              </a:spcAft>
              <a:buSzPts val="1400"/>
              <a:buChar char="○"/>
              <a:defRPr/>
            </a:lvl2pPr>
            <a:lvl3pPr marL="2743200" lvl="2" indent="-635000" algn="l">
              <a:lnSpc>
                <a:spcPct val="115000"/>
              </a:lnSpc>
              <a:spcBef>
                <a:spcPts val="0"/>
              </a:spcBef>
              <a:spcAft>
                <a:spcPts val="0"/>
              </a:spcAft>
              <a:buSzPts val="1400"/>
              <a:buChar char="■"/>
              <a:defRPr/>
            </a:lvl3pPr>
            <a:lvl4pPr marL="3657600" lvl="3" indent="-635000" algn="l">
              <a:lnSpc>
                <a:spcPct val="115000"/>
              </a:lnSpc>
              <a:spcBef>
                <a:spcPts val="0"/>
              </a:spcBef>
              <a:spcAft>
                <a:spcPts val="0"/>
              </a:spcAft>
              <a:buSzPts val="1400"/>
              <a:buChar char="●"/>
              <a:defRPr/>
            </a:lvl4pPr>
            <a:lvl5pPr marL="4572000" lvl="4" indent="-635000" algn="l">
              <a:lnSpc>
                <a:spcPct val="115000"/>
              </a:lnSpc>
              <a:spcBef>
                <a:spcPts val="0"/>
              </a:spcBef>
              <a:spcAft>
                <a:spcPts val="0"/>
              </a:spcAft>
              <a:buSzPts val="1400"/>
              <a:buChar char="○"/>
              <a:defRPr/>
            </a:lvl5pPr>
            <a:lvl6pPr marL="5486400" lvl="5" indent="-635000" algn="l">
              <a:lnSpc>
                <a:spcPct val="115000"/>
              </a:lnSpc>
              <a:spcBef>
                <a:spcPts val="0"/>
              </a:spcBef>
              <a:spcAft>
                <a:spcPts val="0"/>
              </a:spcAft>
              <a:buSzPts val="1400"/>
              <a:buChar char="■"/>
              <a:defRPr/>
            </a:lvl6pPr>
            <a:lvl7pPr marL="6400800" lvl="6" indent="-635000" algn="l">
              <a:lnSpc>
                <a:spcPct val="115000"/>
              </a:lnSpc>
              <a:spcBef>
                <a:spcPts val="0"/>
              </a:spcBef>
              <a:spcAft>
                <a:spcPts val="0"/>
              </a:spcAft>
              <a:buSzPts val="1400"/>
              <a:buChar char="●"/>
              <a:defRPr/>
            </a:lvl7pPr>
            <a:lvl8pPr marL="7315200" lvl="7" indent="-635000" algn="l">
              <a:lnSpc>
                <a:spcPct val="115000"/>
              </a:lnSpc>
              <a:spcBef>
                <a:spcPts val="0"/>
              </a:spcBef>
              <a:spcAft>
                <a:spcPts val="0"/>
              </a:spcAft>
              <a:buSzPts val="1400"/>
              <a:buChar char="○"/>
              <a:defRPr/>
            </a:lvl8pPr>
            <a:lvl9pPr marL="8229600" lvl="8" indent="-635000" algn="l">
              <a:lnSpc>
                <a:spcPct val="115000"/>
              </a:lnSpc>
              <a:spcBef>
                <a:spcPts val="0"/>
              </a:spcBef>
              <a:spcAft>
                <a:spcPts val="0"/>
              </a:spcAft>
              <a:buSzPts val="1400"/>
              <a:buChar char="■"/>
              <a:defRPr/>
            </a:lvl9pPr>
          </a:lstStyle>
          <a:p>
            <a:endParaRPr/>
          </a:p>
        </p:txBody>
      </p:sp>
      <p:sp>
        <p:nvSpPr>
          <p:cNvPr id="25" name="Google Shape;25;p5"/>
          <p:cNvSpPr txBox="1">
            <a:spLocks noGrp="1"/>
          </p:cNvSpPr>
          <p:nvPr>
            <p:ph type="sldNum" idx="12"/>
          </p:nvPr>
        </p:nvSpPr>
        <p:spPr>
          <a:xfrm>
            <a:off x="16944916" y="9326434"/>
            <a:ext cx="1097400" cy="7872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9375324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26"/>
        <p:cNvGrpSpPr/>
        <p:nvPr/>
      </p:nvGrpSpPr>
      <p:grpSpPr>
        <a:xfrm>
          <a:off x="0" y="0"/>
          <a:ext cx="0" cy="0"/>
          <a:chOff x="0" y="0"/>
          <a:chExt cx="0" cy="0"/>
        </a:xfrm>
      </p:grpSpPr>
      <p:sp>
        <p:nvSpPr>
          <p:cNvPr id="27" name="Google Shape;27;p6"/>
          <p:cNvSpPr txBox="1">
            <a:spLocks noGrp="1"/>
          </p:cNvSpPr>
          <p:nvPr>
            <p:ph type="title"/>
          </p:nvPr>
        </p:nvSpPr>
        <p:spPr>
          <a:xfrm>
            <a:off x="623400" y="890050"/>
            <a:ext cx="17041200" cy="1145400"/>
          </a:xfrm>
          <a:prstGeom prst="rect">
            <a:avLst/>
          </a:prstGeom>
          <a:noFill/>
          <a:ln>
            <a:noFill/>
          </a:ln>
        </p:spPr>
        <p:txBody>
          <a:bodyPr spcFirstLastPara="1" wrap="square" lIns="91425" tIns="91425" rIns="91425" bIns="91425" anchor="t" anchorCtr="0">
            <a:norm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28" name="Google Shape;28;p6"/>
          <p:cNvSpPr txBox="1">
            <a:spLocks noGrp="1"/>
          </p:cNvSpPr>
          <p:nvPr>
            <p:ph type="body" idx="1"/>
          </p:nvPr>
        </p:nvSpPr>
        <p:spPr>
          <a:xfrm>
            <a:off x="623400" y="2304950"/>
            <a:ext cx="7999800" cy="6832800"/>
          </a:xfrm>
          <a:prstGeom prst="rect">
            <a:avLst/>
          </a:prstGeom>
          <a:noFill/>
          <a:ln>
            <a:noFill/>
          </a:ln>
        </p:spPr>
        <p:txBody>
          <a:bodyPr spcFirstLastPara="1" wrap="square" lIns="91425" tIns="91425" rIns="91425" bIns="91425" anchor="t" anchorCtr="0">
            <a:normAutofit/>
          </a:bodyPr>
          <a:lstStyle>
            <a:lvl1pPr marL="914400" lvl="0" indent="-635000" algn="l">
              <a:lnSpc>
                <a:spcPct val="115000"/>
              </a:lnSpc>
              <a:spcBef>
                <a:spcPts val="0"/>
              </a:spcBef>
              <a:spcAft>
                <a:spcPts val="0"/>
              </a:spcAft>
              <a:buSzPts val="1400"/>
              <a:buChar char="●"/>
              <a:defRPr sz="2800"/>
            </a:lvl1pPr>
            <a:lvl2pPr marL="1828800" lvl="1" indent="-609600" algn="l">
              <a:lnSpc>
                <a:spcPct val="115000"/>
              </a:lnSpc>
              <a:spcBef>
                <a:spcPts val="0"/>
              </a:spcBef>
              <a:spcAft>
                <a:spcPts val="0"/>
              </a:spcAft>
              <a:buSzPts val="1200"/>
              <a:buChar char="○"/>
              <a:defRPr sz="2400"/>
            </a:lvl2pPr>
            <a:lvl3pPr marL="2743200" lvl="2" indent="-609600" algn="l">
              <a:lnSpc>
                <a:spcPct val="115000"/>
              </a:lnSpc>
              <a:spcBef>
                <a:spcPts val="0"/>
              </a:spcBef>
              <a:spcAft>
                <a:spcPts val="0"/>
              </a:spcAft>
              <a:buSzPts val="1200"/>
              <a:buChar char="■"/>
              <a:defRPr sz="2400"/>
            </a:lvl3pPr>
            <a:lvl4pPr marL="3657600" lvl="3" indent="-609600" algn="l">
              <a:lnSpc>
                <a:spcPct val="115000"/>
              </a:lnSpc>
              <a:spcBef>
                <a:spcPts val="0"/>
              </a:spcBef>
              <a:spcAft>
                <a:spcPts val="0"/>
              </a:spcAft>
              <a:buSzPts val="1200"/>
              <a:buChar char="●"/>
              <a:defRPr sz="2400"/>
            </a:lvl4pPr>
            <a:lvl5pPr marL="4572000" lvl="4" indent="-609600" algn="l">
              <a:lnSpc>
                <a:spcPct val="115000"/>
              </a:lnSpc>
              <a:spcBef>
                <a:spcPts val="0"/>
              </a:spcBef>
              <a:spcAft>
                <a:spcPts val="0"/>
              </a:spcAft>
              <a:buSzPts val="1200"/>
              <a:buChar char="○"/>
              <a:defRPr sz="2400"/>
            </a:lvl5pPr>
            <a:lvl6pPr marL="5486400" lvl="5" indent="-609600" algn="l">
              <a:lnSpc>
                <a:spcPct val="115000"/>
              </a:lnSpc>
              <a:spcBef>
                <a:spcPts val="0"/>
              </a:spcBef>
              <a:spcAft>
                <a:spcPts val="0"/>
              </a:spcAft>
              <a:buSzPts val="1200"/>
              <a:buChar char="■"/>
              <a:defRPr sz="2400"/>
            </a:lvl6pPr>
            <a:lvl7pPr marL="6400800" lvl="6" indent="-609600" algn="l">
              <a:lnSpc>
                <a:spcPct val="115000"/>
              </a:lnSpc>
              <a:spcBef>
                <a:spcPts val="0"/>
              </a:spcBef>
              <a:spcAft>
                <a:spcPts val="0"/>
              </a:spcAft>
              <a:buSzPts val="1200"/>
              <a:buChar char="●"/>
              <a:defRPr sz="2400"/>
            </a:lvl7pPr>
            <a:lvl8pPr marL="7315200" lvl="7" indent="-609600" algn="l">
              <a:lnSpc>
                <a:spcPct val="115000"/>
              </a:lnSpc>
              <a:spcBef>
                <a:spcPts val="0"/>
              </a:spcBef>
              <a:spcAft>
                <a:spcPts val="0"/>
              </a:spcAft>
              <a:buSzPts val="1200"/>
              <a:buChar char="○"/>
              <a:defRPr sz="2400"/>
            </a:lvl8pPr>
            <a:lvl9pPr marL="8229600" lvl="8" indent="-609600" algn="l">
              <a:lnSpc>
                <a:spcPct val="115000"/>
              </a:lnSpc>
              <a:spcBef>
                <a:spcPts val="0"/>
              </a:spcBef>
              <a:spcAft>
                <a:spcPts val="0"/>
              </a:spcAft>
              <a:buSzPts val="1200"/>
              <a:buChar char="■"/>
              <a:defRPr sz="2400"/>
            </a:lvl9pPr>
          </a:lstStyle>
          <a:p>
            <a:endParaRPr/>
          </a:p>
        </p:txBody>
      </p:sp>
      <p:sp>
        <p:nvSpPr>
          <p:cNvPr id="29" name="Google Shape;29;p6"/>
          <p:cNvSpPr txBox="1">
            <a:spLocks noGrp="1"/>
          </p:cNvSpPr>
          <p:nvPr>
            <p:ph type="body" idx="2"/>
          </p:nvPr>
        </p:nvSpPr>
        <p:spPr>
          <a:xfrm>
            <a:off x="9664800" y="2304950"/>
            <a:ext cx="7999800" cy="6832800"/>
          </a:xfrm>
          <a:prstGeom prst="rect">
            <a:avLst/>
          </a:prstGeom>
          <a:noFill/>
          <a:ln>
            <a:noFill/>
          </a:ln>
        </p:spPr>
        <p:txBody>
          <a:bodyPr spcFirstLastPara="1" wrap="square" lIns="91425" tIns="91425" rIns="91425" bIns="91425" anchor="t" anchorCtr="0">
            <a:normAutofit/>
          </a:bodyPr>
          <a:lstStyle>
            <a:lvl1pPr marL="914400" lvl="0" indent="-635000" algn="l">
              <a:lnSpc>
                <a:spcPct val="115000"/>
              </a:lnSpc>
              <a:spcBef>
                <a:spcPts val="0"/>
              </a:spcBef>
              <a:spcAft>
                <a:spcPts val="0"/>
              </a:spcAft>
              <a:buSzPts val="1400"/>
              <a:buChar char="●"/>
              <a:defRPr sz="2800"/>
            </a:lvl1pPr>
            <a:lvl2pPr marL="1828800" lvl="1" indent="-609600" algn="l">
              <a:lnSpc>
                <a:spcPct val="115000"/>
              </a:lnSpc>
              <a:spcBef>
                <a:spcPts val="0"/>
              </a:spcBef>
              <a:spcAft>
                <a:spcPts val="0"/>
              </a:spcAft>
              <a:buSzPts val="1200"/>
              <a:buChar char="○"/>
              <a:defRPr sz="2400"/>
            </a:lvl2pPr>
            <a:lvl3pPr marL="2743200" lvl="2" indent="-609600" algn="l">
              <a:lnSpc>
                <a:spcPct val="115000"/>
              </a:lnSpc>
              <a:spcBef>
                <a:spcPts val="0"/>
              </a:spcBef>
              <a:spcAft>
                <a:spcPts val="0"/>
              </a:spcAft>
              <a:buSzPts val="1200"/>
              <a:buChar char="■"/>
              <a:defRPr sz="2400"/>
            </a:lvl3pPr>
            <a:lvl4pPr marL="3657600" lvl="3" indent="-609600" algn="l">
              <a:lnSpc>
                <a:spcPct val="115000"/>
              </a:lnSpc>
              <a:spcBef>
                <a:spcPts val="0"/>
              </a:spcBef>
              <a:spcAft>
                <a:spcPts val="0"/>
              </a:spcAft>
              <a:buSzPts val="1200"/>
              <a:buChar char="●"/>
              <a:defRPr sz="2400"/>
            </a:lvl4pPr>
            <a:lvl5pPr marL="4572000" lvl="4" indent="-609600" algn="l">
              <a:lnSpc>
                <a:spcPct val="115000"/>
              </a:lnSpc>
              <a:spcBef>
                <a:spcPts val="0"/>
              </a:spcBef>
              <a:spcAft>
                <a:spcPts val="0"/>
              </a:spcAft>
              <a:buSzPts val="1200"/>
              <a:buChar char="○"/>
              <a:defRPr sz="2400"/>
            </a:lvl5pPr>
            <a:lvl6pPr marL="5486400" lvl="5" indent="-609600" algn="l">
              <a:lnSpc>
                <a:spcPct val="115000"/>
              </a:lnSpc>
              <a:spcBef>
                <a:spcPts val="0"/>
              </a:spcBef>
              <a:spcAft>
                <a:spcPts val="0"/>
              </a:spcAft>
              <a:buSzPts val="1200"/>
              <a:buChar char="■"/>
              <a:defRPr sz="2400"/>
            </a:lvl6pPr>
            <a:lvl7pPr marL="6400800" lvl="6" indent="-609600" algn="l">
              <a:lnSpc>
                <a:spcPct val="115000"/>
              </a:lnSpc>
              <a:spcBef>
                <a:spcPts val="0"/>
              </a:spcBef>
              <a:spcAft>
                <a:spcPts val="0"/>
              </a:spcAft>
              <a:buSzPts val="1200"/>
              <a:buChar char="●"/>
              <a:defRPr sz="2400"/>
            </a:lvl7pPr>
            <a:lvl8pPr marL="7315200" lvl="7" indent="-609600" algn="l">
              <a:lnSpc>
                <a:spcPct val="115000"/>
              </a:lnSpc>
              <a:spcBef>
                <a:spcPts val="0"/>
              </a:spcBef>
              <a:spcAft>
                <a:spcPts val="0"/>
              </a:spcAft>
              <a:buSzPts val="1200"/>
              <a:buChar char="○"/>
              <a:defRPr sz="2400"/>
            </a:lvl8pPr>
            <a:lvl9pPr marL="8229600" lvl="8" indent="-609600" algn="l">
              <a:lnSpc>
                <a:spcPct val="115000"/>
              </a:lnSpc>
              <a:spcBef>
                <a:spcPts val="0"/>
              </a:spcBef>
              <a:spcAft>
                <a:spcPts val="0"/>
              </a:spcAft>
              <a:buSzPts val="1200"/>
              <a:buChar char="■"/>
              <a:defRPr sz="2400"/>
            </a:lvl9pPr>
          </a:lstStyle>
          <a:p>
            <a:endParaRPr/>
          </a:p>
        </p:txBody>
      </p:sp>
      <p:sp>
        <p:nvSpPr>
          <p:cNvPr id="30" name="Google Shape;30;p6"/>
          <p:cNvSpPr txBox="1">
            <a:spLocks noGrp="1"/>
          </p:cNvSpPr>
          <p:nvPr>
            <p:ph type="sldNum" idx="12"/>
          </p:nvPr>
        </p:nvSpPr>
        <p:spPr>
          <a:xfrm>
            <a:off x="16944916" y="9326434"/>
            <a:ext cx="1097400" cy="7872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21621836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31"/>
        <p:cNvGrpSpPr/>
        <p:nvPr/>
      </p:nvGrpSpPr>
      <p:grpSpPr>
        <a:xfrm>
          <a:off x="0" y="0"/>
          <a:ext cx="0" cy="0"/>
          <a:chOff x="0" y="0"/>
          <a:chExt cx="0" cy="0"/>
        </a:xfrm>
      </p:grpSpPr>
      <p:sp>
        <p:nvSpPr>
          <p:cNvPr id="32" name="Google Shape;32;p7"/>
          <p:cNvSpPr txBox="1">
            <a:spLocks noGrp="1"/>
          </p:cNvSpPr>
          <p:nvPr>
            <p:ph type="title"/>
          </p:nvPr>
        </p:nvSpPr>
        <p:spPr>
          <a:xfrm>
            <a:off x="623400" y="890050"/>
            <a:ext cx="17041200" cy="1145400"/>
          </a:xfrm>
          <a:prstGeom prst="rect">
            <a:avLst/>
          </a:prstGeom>
          <a:noFill/>
          <a:ln>
            <a:noFill/>
          </a:ln>
        </p:spPr>
        <p:txBody>
          <a:bodyPr spcFirstLastPara="1" wrap="square" lIns="91425" tIns="91425" rIns="91425" bIns="91425" anchor="t" anchorCtr="0">
            <a:norm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33" name="Google Shape;33;p7"/>
          <p:cNvSpPr txBox="1">
            <a:spLocks noGrp="1"/>
          </p:cNvSpPr>
          <p:nvPr>
            <p:ph type="sldNum" idx="12"/>
          </p:nvPr>
        </p:nvSpPr>
        <p:spPr>
          <a:xfrm>
            <a:off x="16944916" y="9326434"/>
            <a:ext cx="1097400" cy="7872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18376613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34"/>
        <p:cNvGrpSpPr/>
        <p:nvPr/>
      </p:nvGrpSpPr>
      <p:grpSpPr>
        <a:xfrm>
          <a:off x="0" y="0"/>
          <a:ext cx="0" cy="0"/>
          <a:chOff x="0" y="0"/>
          <a:chExt cx="0" cy="0"/>
        </a:xfrm>
      </p:grpSpPr>
      <p:sp>
        <p:nvSpPr>
          <p:cNvPr id="35" name="Google Shape;35;p8"/>
          <p:cNvSpPr txBox="1">
            <a:spLocks noGrp="1"/>
          </p:cNvSpPr>
          <p:nvPr>
            <p:ph type="title"/>
          </p:nvPr>
        </p:nvSpPr>
        <p:spPr>
          <a:xfrm>
            <a:off x="623400" y="1111200"/>
            <a:ext cx="5616000" cy="1511400"/>
          </a:xfrm>
          <a:prstGeom prst="rect">
            <a:avLst/>
          </a:prstGeom>
          <a:noFill/>
          <a:ln>
            <a:noFill/>
          </a:ln>
        </p:spPr>
        <p:txBody>
          <a:bodyPr spcFirstLastPara="1" wrap="square" lIns="91425" tIns="91425" rIns="91425" bIns="91425" anchor="b" anchorCtr="0">
            <a:normAutofit/>
          </a:bodyPr>
          <a:lstStyle>
            <a:lvl1pPr lvl="0" algn="l">
              <a:lnSpc>
                <a:spcPct val="100000"/>
              </a:lnSpc>
              <a:spcBef>
                <a:spcPts val="0"/>
              </a:spcBef>
              <a:spcAft>
                <a:spcPts val="0"/>
              </a:spcAft>
              <a:buSzPts val="2400"/>
              <a:buNone/>
              <a:defRPr sz="4800"/>
            </a:lvl1pPr>
            <a:lvl2pPr lvl="1" algn="l">
              <a:lnSpc>
                <a:spcPct val="100000"/>
              </a:lnSpc>
              <a:spcBef>
                <a:spcPts val="0"/>
              </a:spcBef>
              <a:spcAft>
                <a:spcPts val="0"/>
              </a:spcAft>
              <a:buSzPts val="2400"/>
              <a:buNone/>
              <a:defRPr sz="4800"/>
            </a:lvl2pPr>
            <a:lvl3pPr lvl="2" algn="l">
              <a:lnSpc>
                <a:spcPct val="100000"/>
              </a:lnSpc>
              <a:spcBef>
                <a:spcPts val="0"/>
              </a:spcBef>
              <a:spcAft>
                <a:spcPts val="0"/>
              </a:spcAft>
              <a:buSzPts val="2400"/>
              <a:buNone/>
              <a:defRPr sz="4800"/>
            </a:lvl3pPr>
            <a:lvl4pPr lvl="3" algn="l">
              <a:lnSpc>
                <a:spcPct val="100000"/>
              </a:lnSpc>
              <a:spcBef>
                <a:spcPts val="0"/>
              </a:spcBef>
              <a:spcAft>
                <a:spcPts val="0"/>
              </a:spcAft>
              <a:buSzPts val="2400"/>
              <a:buNone/>
              <a:defRPr sz="4800"/>
            </a:lvl4pPr>
            <a:lvl5pPr lvl="4" algn="l">
              <a:lnSpc>
                <a:spcPct val="100000"/>
              </a:lnSpc>
              <a:spcBef>
                <a:spcPts val="0"/>
              </a:spcBef>
              <a:spcAft>
                <a:spcPts val="0"/>
              </a:spcAft>
              <a:buSzPts val="2400"/>
              <a:buNone/>
              <a:defRPr sz="4800"/>
            </a:lvl5pPr>
            <a:lvl6pPr lvl="5" algn="l">
              <a:lnSpc>
                <a:spcPct val="100000"/>
              </a:lnSpc>
              <a:spcBef>
                <a:spcPts val="0"/>
              </a:spcBef>
              <a:spcAft>
                <a:spcPts val="0"/>
              </a:spcAft>
              <a:buSzPts val="2400"/>
              <a:buNone/>
              <a:defRPr sz="4800"/>
            </a:lvl6pPr>
            <a:lvl7pPr lvl="6" algn="l">
              <a:lnSpc>
                <a:spcPct val="100000"/>
              </a:lnSpc>
              <a:spcBef>
                <a:spcPts val="0"/>
              </a:spcBef>
              <a:spcAft>
                <a:spcPts val="0"/>
              </a:spcAft>
              <a:buSzPts val="2400"/>
              <a:buNone/>
              <a:defRPr sz="4800"/>
            </a:lvl7pPr>
            <a:lvl8pPr lvl="7" algn="l">
              <a:lnSpc>
                <a:spcPct val="100000"/>
              </a:lnSpc>
              <a:spcBef>
                <a:spcPts val="0"/>
              </a:spcBef>
              <a:spcAft>
                <a:spcPts val="0"/>
              </a:spcAft>
              <a:buSzPts val="2400"/>
              <a:buNone/>
              <a:defRPr sz="4800"/>
            </a:lvl8pPr>
            <a:lvl9pPr lvl="8" algn="l">
              <a:lnSpc>
                <a:spcPct val="100000"/>
              </a:lnSpc>
              <a:spcBef>
                <a:spcPts val="0"/>
              </a:spcBef>
              <a:spcAft>
                <a:spcPts val="0"/>
              </a:spcAft>
              <a:buSzPts val="2400"/>
              <a:buNone/>
              <a:defRPr sz="4800"/>
            </a:lvl9pPr>
          </a:lstStyle>
          <a:p>
            <a:endParaRPr/>
          </a:p>
        </p:txBody>
      </p:sp>
      <p:sp>
        <p:nvSpPr>
          <p:cNvPr id="36" name="Google Shape;36;p8"/>
          <p:cNvSpPr txBox="1">
            <a:spLocks noGrp="1"/>
          </p:cNvSpPr>
          <p:nvPr>
            <p:ph type="body" idx="1"/>
          </p:nvPr>
        </p:nvSpPr>
        <p:spPr>
          <a:xfrm>
            <a:off x="623400" y="2779200"/>
            <a:ext cx="5616000" cy="6358800"/>
          </a:xfrm>
          <a:prstGeom prst="rect">
            <a:avLst/>
          </a:prstGeom>
          <a:noFill/>
          <a:ln>
            <a:noFill/>
          </a:ln>
        </p:spPr>
        <p:txBody>
          <a:bodyPr spcFirstLastPara="1" wrap="square" lIns="91425" tIns="91425" rIns="91425" bIns="91425" anchor="t" anchorCtr="0">
            <a:normAutofit/>
          </a:bodyPr>
          <a:lstStyle>
            <a:lvl1pPr marL="914400" lvl="0" indent="-609600" algn="l">
              <a:lnSpc>
                <a:spcPct val="115000"/>
              </a:lnSpc>
              <a:spcBef>
                <a:spcPts val="0"/>
              </a:spcBef>
              <a:spcAft>
                <a:spcPts val="0"/>
              </a:spcAft>
              <a:buSzPts val="1200"/>
              <a:buChar char="●"/>
              <a:defRPr sz="2400"/>
            </a:lvl1pPr>
            <a:lvl2pPr marL="1828800" lvl="1" indent="-609600" algn="l">
              <a:lnSpc>
                <a:spcPct val="115000"/>
              </a:lnSpc>
              <a:spcBef>
                <a:spcPts val="0"/>
              </a:spcBef>
              <a:spcAft>
                <a:spcPts val="0"/>
              </a:spcAft>
              <a:buSzPts val="1200"/>
              <a:buChar char="○"/>
              <a:defRPr sz="2400"/>
            </a:lvl2pPr>
            <a:lvl3pPr marL="2743200" lvl="2" indent="-609600" algn="l">
              <a:lnSpc>
                <a:spcPct val="115000"/>
              </a:lnSpc>
              <a:spcBef>
                <a:spcPts val="0"/>
              </a:spcBef>
              <a:spcAft>
                <a:spcPts val="0"/>
              </a:spcAft>
              <a:buSzPts val="1200"/>
              <a:buChar char="■"/>
              <a:defRPr sz="2400"/>
            </a:lvl3pPr>
            <a:lvl4pPr marL="3657600" lvl="3" indent="-609600" algn="l">
              <a:lnSpc>
                <a:spcPct val="115000"/>
              </a:lnSpc>
              <a:spcBef>
                <a:spcPts val="0"/>
              </a:spcBef>
              <a:spcAft>
                <a:spcPts val="0"/>
              </a:spcAft>
              <a:buSzPts val="1200"/>
              <a:buChar char="●"/>
              <a:defRPr sz="2400"/>
            </a:lvl4pPr>
            <a:lvl5pPr marL="4572000" lvl="4" indent="-609600" algn="l">
              <a:lnSpc>
                <a:spcPct val="115000"/>
              </a:lnSpc>
              <a:spcBef>
                <a:spcPts val="0"/>
              </a:spcBef>
              <a:spcAft>
                <a:spcPts val="0"/>
              </a:spcAft>
              <a:buSzPts val="1200"/>
              <a:buChar char="○"/>
              <a:defRPr sz="2400"/>
            </a:lvl5pPr>
            <a:lvl6pPr marL="5486400" lvl="5" indent="-609600" algn="l">
              <a:lnSpc>
                <a:spcPct val="115000"/>
              </a:lnSpc>
              <a:spcBef>
                <a:spcPts val="0"/>
              </a:spcBef>
              <a:spcAft>
                <a:spcPts val="0"/>
              </a:spcAft>
              <a:buSzPts val="1200"/>
              <a:buChar char="■"/>
              <a:defRPr sz="2400"/>
            </a:lvl6pPr>
            <a:lvl7pPr marL="6400800" lvl="6" indent="-609600" algn="l">
              <a:lnSpc>
                <a:spcPct val="115000"/>
              </a:lnSpc>
              <a:spcBef>
                <a:spcPts val="0"/>
              </a:spcBef>
              <a:spcAft>
                <a:spcPts val="0"/>
              </a:spcAft>
              <a:buSzPts val="1200"/>
              <a:buChar char="●"/>
              <a:defRPr sz="2400"/>
            </a:lvl7pPr>
            <a:lvl8pPr marL="7315200" lvl="7" indent="-609600" algn="l">
              <a:lnSpc>
                <a:spcPct val="115000"/>
              </a:lnSpc>
              <a:spcBef>
                <a:spcPts val="0"/>
              </a:spcBef>
              <a:spcAft>
                <a:spcPts val="0"/>
              </a:spcAft>
              <a:buSzPts val="1200"/>
              <a:buChar char="○"/>
              <a:defRPr sz="2400"/>
            </a:lvl8pPr>
            <a:lvl9pPr marL="8229600" lvl="8" indent="-609600" algn="l">
              <a:lnSpc>
                <a:spcPct val="115000"/>
              </a:lnSpc>
              <a:spcBef>
                <a:spcPts val="0"/>
              </a:spcBef>
              <a:spcAft>
                <a:spcPts val="0"/>
              </a:spcAft>
              <a:buSzPts val="1200"/>
              <a:buChar char="■"/>
              <a:defRPr sz="2400"/>
            </a:lvl9pPr>
          </a:lstStyle>
          <a:p>
            <a:endParaRPr/>
          </a:p>
        </p:txBody>
      </p:sp>
      <p:sp>
        <p:nvSpPr>
          <p:cNvPr id="37" name="Google Shape;37;p8"/>
          <p:cNvSpPr txBox="1">
            <a:spLocks noGrp="1"/>
          </p:cNvSpPr>
          <p:nvPr>
            <p:ph type="sldNum" idx="12"/>
          </p:nvPr>
        </p:nvSpPr>
        <p:spPr>
          <a:xfrm>
            <a:off x="16944916" y="9326434"/>
            <a:ext cx="1097400" cy="7872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208368520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Cabeçalho de seção 1" preserve="1">
  <p:cSld name="Cabeçalho de seção 1">
    <p:spTree>
      <p:nvGrpSpPr>
        <p:cNvPr id="1" name="Shape 42"/>
        <p:cNvGrpSpPr/>
        <p:nvPr/>
      </p:nvGrpSpPr>
      <p:grpSpPr>
        <a:xfrm>
          <a:off x="0" y="0"/>
          <a:ext cx="0" cy="0"/>
          <a:chOff x="0" y="0"/>
          <a:chExt cx="0" cy="0"/>
        </a:xfrm>
      </p:grpSpPr>
      <p:sp>
        <p:nvSpPr>
          <p:cNvPr id="43" name="Google Shape;43;p7"/>
          <p:cNvSpPr txBox="1">
            <a:spLocks noGrp="1"/>
          </p:cNvSpPr>
          <p:nvPr>
            <p:ph type="title"/>
          </p:nvPr>
        </p:nvSpPr>
        <p:spPr>
          <a:xfrm>
            <a:off x="1747350" y="3996900"/>
            <a:ext cx="10482600" cy="1683600"/>
          </a:xfrm>
          <a:prstGeom prst="rect">
            <a:avLst/>
          </a:prstGeom>
        </p:spPr>
        <p:txBody>
          <a:bodyPr spcFirstLastPara="1" wrap="square" lIns="91425" tIns="91425" rIns="91425" bIns="91425" anchor="ctr" anchorCtr="0">
            <a:noAutofit/>
          </a:bodyPr>
          <a:lstStyle>
            <a:lvl1pPr lvl="0" rtl="0">
              <a:spcBef>
                <a:spcPts val="0"/>
              </a:spcBef>
              <a:spcAft>
                <a:spcPts val="0"/>
              </a:spcAft>
              <a:buSzPts val="3600"/>
              <a:buFont typeface="Montserrat"/>
              <a:buNone/>
              <a:defRPr sz="7200" b="1">
                <a:latin typeface="Montserrat"/>
                <a:ea typeface="Montserrat"/>
                <a:cs typeface="Montserrat"/>
                <a:sym typeface="Montserrat"/>
              </a:defRPr>
            </a:lvl1pPr>
            <a:lvl2pPr lvl="1" rtl="0">
              <a:spcBef>
                <a:spcPts val="0"/>
              </a:spcBef>
              <a:spcAft>
                <a:spcPts val="0"/>
              </a:spcAft>
              <a:buSzPts val="3600"/>
              <a:buFont typeface="Montserrat"/>
              <a:buNone/>
              <a:defRPr sz="7200" b="1">
                <a:latin typeface="Montserrat"/>
                <a:ea typeface="Montserrat"/>
                <a:cs typeface="Montserrat"/>
                <a:sym typeface="Montserrat"/>
              </a:defRPr>
            </a:lvl2pPr>
            <a:lvl3pPr lvl="2" rtl="0">
              <a:spcBef>
                <a:spcPts val="0"/>
              </a:spcBef>
              <a:spcAft>
                <a:spcPts val="0"/>
              </a:spcAft>
              <a:buSzPts val="3600"/>
              <a:buFont typeface="Montserrat"/>
              <a:buNone/>
              <a:defRPr sz="7200" b="1">
                <a:latin typeface="Montserrat"/>
                <a:ea typeface="Montserrat"/>
                <a:cs typeface="Montserrat"/>
                <a:sym typeface="Montserrat"/>
              </a:defRPr>
            </a:lvl3pPr>
            <a:lvl4pPr lvl="3" rtl="0">
              <a:spcBef>
                <a:spcPts val="0"/>
              </a:spcBef>
              <a:spcAft>
                <a:spcPts val="0"/>
              </a:spcAft>
              <a:buSzPts val="3600"/>
              <a:buFont typeface="Montserrat"/>
              <a:buNone/>
              <a:defRPr sz="7200" b="1">
                <a:latin typeface="Montserrat"/>
                <a:ea typeface="Montserrat"/>
                <a:cs typeface="Montserrat"/>
                <a:sym typeface="Montserrat"/>
              </a:defRPr>
            </a:lvl4pPr>
            <a:lvl5pPr lvl="4" rtl="0">
              <a:spcBef>
                <a:spcPts val="0"/>
              </a:spcBef>
              <a:spcAft>
                <a:spcPts val="0"/>
              </a:spcAft>
              <a:buSzPts val="3600"/>
              <a:buFont typeface="Montserrat"/>
              <a:buNone/>
              <a:defRPr sz="7200" b="1">
                <a:latin typeface="Montserrat"/>
                <a:ea typeface="Montserrat"/>
                <a:cs typeface="Montserrat"/>
                <a:sym typeface="Montserrat"/>
              </a:defRPr>
            </a:lvl5pPr>
            <a:lvl6pPr lvl="5" rtl="0">
              <a:spcBef>
                <a:spcPts val="0"/>
              </a:spcBef>
              <a:spcAft>
                <a:spcPts val="0"/>
              </a:spcAft>
              <a:buSzPts val="3600"/>
              <a:buFont typeface="Montserrat"/>
              <a:buNone/>
              <a:defRPr sz="7200" b="1">
                <a:latin typeface="Montserrat"/>
                <a:ea typeface="Montserrat"/>
                <a:cs typeface="Montserrat"/>
                <a:sym typeface="Montserrat"/>
              </a:defRPr>
            </a:lvl6pPr>
            <a:lvl7pPr lvl="6" rtl="0">
              <a:spcBef>
                <a:spcPts val="0"/>
              </a:spcBef>
              <a:spcAft>
                <a:spcPts val="0"/>
              </a:spcAft>
              <a:buSzPts val="3600"/>
              <a:buFont typeface="Montserrat"/>
              <a:buNone/>
              <a:defRPr sz="7200" b="1">
                <a:latin typeface="Montserrat"/>
                <a:ea typeface="Montserrat"/>
                <a:cs typeface="Montserrat"/>
                <a:sym typeface="Montserrat"/>
              </a:defRPr>
            </a:lvl7pPr>
            <a:lvl8pPr lvl="7" rtl="0">
              <a:spcBef>
                <a:spcPts val="0"/>
              </a:spcBef>
              <a:spcAft>
                <a:spcPts val="0"/>
              </a:spcAft>
              <a:buSzPts val="3600"/>
              <a:buFont typeface="Montserrat"/>
              <a:buNone/>
              <a:defRPr sz="7200" b="1">
                <a:latin typeface="Montserrat"/>
                <a:ea typeface="Montserrat"/>
                <a:cs typeface="Montserrat"/>
                <a:sym typeface="Montserrat"/>
              </a:defRPr>
            </a:lvl8pPr>
            <a:lvl9pPr lvl="8" rtl="0">
              <a:spcBef>
                <a:spcPts val="0"/>
              </a:spcBef>
              <a:spcAft>
                <a:spcPts val="0"/>
              </a:spcAft>
              <a:buSzPts val="3600"/>
              <a:buFont typeface="Montserrat"/>
              <a:buNone/>
              <a:defRPr sz="7200" b="1">
                <a:latin typeface="Montserrat"/>
                <a:ea typeface="Montserrat"/>
                <a:cs typeface="Montserrat"/>
                <a:sym typeface="Montserrat"/>
              </a:defRPr>
            </a:lvl9pPr>
          </a:lstStyle>
          <a:p>
            <a:endParaRPr/>
          </a:p>
        </p:txBody>
      </p:sp>
      <p:sp>
        <p:nvSpPr>
          <p:cNvPr id="44" name="Google Shape;44;p7"/>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pic>
        <p:nvPicPr>
          <p:cNvPr id="45" name="Google Shape;45;p7"/>
          <p:cNvPicPr preferRelativeResize="0"/>
          <p:nvPr/>
        </p:nvPicPr>
        <p:blipFill>
          <a:blip r:embed="rId2" cstate="email">
            <a:alphaModFix/>
            <a:extLst>
              <a:ext uri="{28A0092B-C50C-407E-A947-70E740481C1C}">
                <a14:useLocalDpi xmlns:a14="http://schemas.microsoft.com/office/drawing/2010/main"/>
              </a:ext>
            </a:extLst>
          </a:blip>
          <a:stretch>
            <a:fillRect/>
          </a:stretch>
        </p:blipFill>
        <p:spPr>
          <a:xfrm>
            <a:off x="16183201" y="-304775"/>
            <a:ext cx="1799998" cy="1799998"/>
          </a:xfrm>
          <a:prstGeom prst="rect">
            <a:avLst/>
          </a:prstGeom>
          <a:noFill/>
          <a:ln>
            <a:noFill/>
          </a:ln>
        </p:spPr>
      </p:pic>
      <p:sp>
        <p:nvSpPr>
          <p:cNvPr id="46" name="Google Shape;46;p7"/>
          <p:cNvSpPr txBox="1">
            <a:spLocks noGrp="1"/>
          </p:cNvSpPr>
          <p:nvPr>
            <p:ph type="subTitle" idx="1"/>
          </p:nvPr>
        </p:nvSpPr>
        <p:spPr>
          <a:xfrm>
            <a:off x="8778900" y="8568450"/>
            <a:ext cx="9263400" cy="15852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9pPr>
          </a:lstStyle>
          <a:p>
            <a:endParaRPr/>
          </a:p>
        </p:txBody>
      </p:sp>
      <p:sp>
        <p:nvSpPr>
          <p:cNvPr id="47" name="Google Shape;47;p7"/>
          <p:cNvSpPr/>
          <p:nvPr/>
        </p:nvSpPr>
        <p:spPr>
          <a:xfrm>
            <a:off x="1976250" y="5403666"/>
            <a:ext cx="16311600" cy="14400"/>
          </a:xfrm>
          <a:prstGeom prst="rect">
            <a:avLst/>
          </a:prstGeom>
          <a:gradFill>
            <a:gsLst>
              <a:gs pos="0">
                <a:srgbClr val="FF2C34"/>
              </a:gs>
              <a:gs pos="100000">
                <a:srgbClr val="6800FF"/>
              </a:gs>
            </a:gsLst>
            <a:lin ang="2698631" scaled="0"/>
          </a:gra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sz="2800"/>
          </a:p>
        </p:txBody>
      </p:sp>
    </p:spTree>
    <p:extLst>
      <p:ext uri="{BB962C8B-B14F-4D97-AF65-F5344CB8AC3E}">
        <p14:creationId xmlns:p14="http://schemas.microsoft.com/office/powerpoint/2010/main" val="39504224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38"/>
        <p:cNvGrpSpPr/>
        <p:nvPr/>
      </p:nvGrpSpPr>
      <p:grpSpPr>
        <a:xfrm>
          <a:off x="0" y="0"/>
          <a:ext cx="0" cy="0"/>
          <a:chOff x="0" y="0"/>
          <a:chExt cx="0" cy="0"/>
        </a:xfrm>
      </p:grpSpPr>
      <p:sp>
        <p:nvSpPr>
          <p:cNvPr id="39" name="Google Shape;39;p9"/>
          <p:cNvSpPr txBox="1">
            <a:spLocks noGrp="1"/>
          </p:cNvSpPr>
          <p:nvPr>
            <p:ph type="title"/>
          </p:nvPr>
        </p:nvSpPr>
        <p:spPr>
          <a:xfrm>
            <a:off x="980500" y="900300"/>
            <a:ext cx="12735600" cy="8181600"/>
          </a:xfrm>
          <a:prstGeom prst="rect">
            <a:avLst/>
          </a:prstGeom>
          <a:noFill/>
          <a:ln>
            <a:noFill/>
          </a:ln>
        </p:spPr>
        <p:txBody>
          <a:bodyPr spcFirstLastPara="1" wrap="square" lIns="91425" tIns="91425" rIns="91425" bIns="91425" anchor="ctr" anchorCtr="0">
            <a:normAutofit/>
          </a:bodyPr>
          <a:lstStyle>
            <a:lvl1pPr lvl="0" algn="l">
              <a:lnSpc>
                <a:spcPct val="100000"/>
              </a:lnSpc>
              <a:spcBef>
                <a:spcPts val="0"/>
              </a:spcBef>
              <a:spcAft>
                <a:spcPts val="0"/>
              </a:spcAft>
              <a:buSzPts val="4800"/>
              <a:buNone/>
              <a:defRPr sz="9600"/>
            </a:lvl1pPr>
            <a:lvl2pPr lvl="1" algn="l">
              <a:lnSpc>
                <a:spcPct val="100000"/>
              </a:lnSpc>
              <a:spcBef>
                <a:spcPts val="0"/>
              </a:spcBef>
              <a:spcAft>
                <a:spcPts val="0"/>
              </a:spcAft>
              <a:buSzPts val="4800"/>
              <a:buNone/>
              <a:defRPr sz="9600"/>
            </a:lvl2pPr>
            <a:lvl3pPr lvl="2" algn="l">
              <a:lnSpc>
                <a:spcPct val="100000"/>
              </a:lnSpc>
              <a:spcBef>
                <a:spcPts val="0"/>
              </a:spcBef>
              <a:spcAft>
                <a:spcPts val="0"/>
              </a:spcAft>
              <a:buSzPts val="4800"/>
              <a:buNone/>
              <a:defRPr sz="9600"/>
            </a:lvl3pPr>
            <a:lvl4pPr lvl="3" algn="l">
              <a:lnSpc>
                <a:spcPct val="100000"/>
              </a:lnSpc>
              <a:spcBef>
                <a:spcPts val="0"/>
              </a:spcBef>
              <a:spcAft>
                <a:spcPts val="0"/>
              </a:spcAft>
              <a:buSzPts val="4800"/>
              <a:buNone/>
              <a:defRPr sz="9600"/>
            </a:lvl4pPr>
            <a:lvl5pPr lvl="4" algn="l">
              <a:lnSpc>
                <a:spcPct val="100000"/>
              </a:lnSpc>
              <a:spcBef>
                <a:spcPts val="0"/>
              </a:spcBef>
              <a:spcAft>
                <a:spcPts val="0"/>
              </a:spcAft>
              <a:buSzPts val="4800"/>
              <a:buNone/>
              <a:defRPr sz="9600"/>
            </a:lvl5pPr>
            <a:lvl6pPr lvl="5" algn="l">
              <a:lnSpc>
                <a:spcPct val="100000"/>
              </a:lnSpc>
              <a:spcBef>
                <a:spcPts val="0"/>
              </a:spcBef>
              <a:spcAft>
                <a:spcPts val="0"/>
              </a:spcAft>
              <a:buSzPts val="4800"/>
              <a:buNone/>
              <a:defRPr sz="9600"/>
            </a:lvl6pPr>
            <a:lvl7pPr lvl="6" algn="l">
              <a:lnSpc>
                <a:spcPct val="100000"/>
              </a:lnSpc>
              <a:spcBef>
                <a:spcPts val="0"/>
              </a:spcBef>
              <a:spcAft>
                <a:spcPts val="0"/>
              </a:spcAft>
              <a:buSzPts val="4800"/>
              <a:buNone/>
              <a:defRPr sz="9600"/>
            </a:lvl7pPr>
            <a:lvl8pPr lvl="7" algn="l">
              <a:lnSpc>
                <a:spcPct val="100000"/>
              </a:lnSpc>
              <a:spcBef>
                <a:spcPts val="0"/>
              </a:spcBef>
              <a:spcAft>
                <a:spcPts val="0"/>
              </a:spcAft>
              <a:buSzPts val="4800"/>
              <a:buNone/>
              <a:defRPr sz="9600"/>
            </a:lvl8pPr>
            <a:lvl9pPr lvl="8" algn="l">
              <a:lnSpc>
                <a:spcPct val="100000"/>
              </a:lnSpc>
              <a:spcBef>
                <a:spcPts val="0"/>
              </a:spcBef>
              <a:spcAft>
                <a:spcPts val="0"/>
              </a:spcAft>
              <a:buSzPts val="4800"/>
              <a:buNone/>
              <a:defRPr sz="9600"/>
            </a:lvl9pPr>
          </a:lstStyle>
          <a:p>
            <a:endParaRPr/>
          </a:p>
        </p:txBody>
      </p:sp>
      <p:sp>
        <p:nvSpPr>
          <p:cNvPr id="40" name="Google Shape;40;p9"/>
          <p:cNvSpPr txBox="1">
            <a:spLocks noGrp="1"/>
          </p:cNvSpPr>
          <p:nvPr>
            <p:ph type="sldNum" idx="12"/>
          </p:nvPr>
        </p:nvSpPr>
        <p:spPr>
          <a:xfrm>
            <a:off x="16944916" y="9326434"/>
            <a:ext cx="1097400" cy="7872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3904177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41"/>
        <p:cNvGrpSpPr/>
        <p:nvPr/>
      </p:nvGrpSpPr>
      <p:grpSpPr>
        <a:xfrm>
          <a:off x="0" y="0"/>
          <a:ext cx="0" cy="0"/>
          <a:chOff x="0" y="0"/>
          <a:chExt cx="0" cy="0"/>
        </a:xfrm>
      </p:grpSpPr>
      <p:sp>
        <p:nvSpPr>
          <p:cNvPr id="42" name="Google Shape;42;p10"/>
          <p:cNvSpPr/>
          <p:nvPr/>
        </p:nvSpPr>
        <p:spPr>
          <a:xfrm>
            <a:off x="9144000" y="-250"/>
            <a:ext cx="9144000" cy="10287000"/>
          </a:xfrm>
          <a:prstGeom prst="rect">
            <a:avLst/>
          </a:prstGeom>
          <a:solidFill>
            <a:schemeClr val="lt2"/>
          </a:solidFill>
          <a:ln>
            <a:noFill/>
          </a:ln>
        </p:spPr>
        <p:txBody>
          <a:bodyPr spcFirstLastPara="1" wrap="square" lIns="182850" tIns="182850" rIns="182850" bIns="18285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2800" b="0" i="0" u="none" strike="noStrike" cap="none">
              <a:solidFill>
                <a:srgbClr val="000000"/>
              </a:solidFill>
              <a:latin typeface="Arial"/>
              <a:ea typeface="Arial"/>
              <a:cs typeface="Arial"/>
              <a:sym typeface="Arial"/>
            </a:endParaRPr>
          </a:p>
        </p:txBody>
      </p:sp>
      <p:sp>
        <p:nvSpPr>
          <p:cNvPr id="43" name="Google Shape;43;p10"/>
          <p:cNvSpPr txBox="1">
            <a:spLocks noGrp="1"/>
          </p:cNvSpPr>
          <p:nvPr>
            <p:ph type="title"/>
          </p:nvPr>
        </p:nvSpPr>
        <p:spPr>
          <a:xfrm>
            <a:off x="531000" y="2466350"/>
            <a:ext cx="8090400" cy="2964600"/>
          </a:xfrm>
          <a:prstGeom prst="rect">
            <a:avLst/>
          </a:prstGeom>
          <a:noFill/>
          <a:ln>
            <a:noFill/>
          </a:ln>
        </p:spPr>
        <p:txBody>
          <a:bodyPr spcFirstLastPara="1" wrap="square" lIns="91425" tIns="91425" rIns="91425" bIns="91425" anchor="b" anchorCtr="0">
            <a:normAutofit/>
          </a:bodyPr>
          <a:lstStyle>
            <a:lvl1pPr lvl="0" algn="ctr">
              <a:lnSpc>
                <a:spcPct val="100000"/>
              </a:lnSpc>
              <a:spcBef>
                <a:spcPts val="0"/>
              </a:spcBef>
              <a:spcAft>
                <a:spcPts val="0"/>
              </a:spcAft>
              <a:buSzPts val="4200"/>
              <a:buNone/>
              <a:defRPr sz="8400"/>
            </a:lvl1pPr>
            <a:lvl2pPr lvl="1" algn="ctr">
              <a:lnSpc>
                <a:spcPct val="100000"/>
              </a:lnSpc>
              <a:spcBef>
                <a:spcPts val="0"/>
              </a:spcBef>
              <a:spcAft>
                <a:spcPts val="0"/>
              </a:spcAft>
              <a:buSzPts val="4200"/>
              <a:buNone/>
              <a:defRPr sz="8400"/>
            </a:lvl2pPr>
            <a:lvl3pPr lvl="2" algn="ctr">
              <a:lnSpc>
                <a:spcPct val="100000"/>
              </a:lnSpc>
              <a:spcBef>
                <a:spcPts val="0"/>
              </a:spcBef>
              <a:spcAft>
                <a:spcPts val="0"/>
              </a:spcAft>
              <a:buSzPts val="4200"/>
              <a:buNone/>
              <a:defRPr sz="8400"/>
            </a:lvl3pPr>
            <a:lvl4pPr lvl="3" algn="ctr">
              <a:lnSpc>
                <a:spcPct val="100000"/>
              </a:lnSpc>
              <a:spcBef>
                <a:spcPts val="0"/>
              </a:spcBef>
              <a:spcAft>
                <a:spcPts val="0"/>
              </a:spcAft>
              <a:buSzPts val="4200"/>
              <a:buNone/>
              <a:defRPr sz="8400"/>
            </a:lvl4pPr>
            <a:lvl5pPr lvl="4" algn="ctr">
              <a:lnSpc>
                <a:spcPct val="100000"/>
              </a:lnSpc>
              <a:spcBef>
                <a:spcPts val="0"/>
              </a:spcBef>
              <a:spcAft>
                <a:spcPts val="0"/>
              </a:spcAft>
              <a:buSzPts val="4200"/>
              <a:buNone/>
              <a:defRPr sz="8400"/>
            </a:lvl5pPr>
            <a:lvl6pPr lvl="5" algn="ctr">
              <a:lnSpc>
                <a:spcPct val="100000"/>
              </a:lnSpc>
              <a:spcBef>
                <a:spcPts val="0"/>
              </a:spcBef>
              <a:spcAft>
                <a:spcPts val="0"/>
              </a:spcAft>
              <a:buSzPts val="4200"/>
              <a:buNone/>
              <a:defRPr sz="8400"/>
            </a:lvl6pPr>
            <a:lvl7pPr lvl="6" algn="ctr">
              <a:lnSpc>
                <a:spcPct val="100000"/>
              </a:lnSpc>
              <a:spcBef>
                <a:spcPts val="0"/>
              </a:spcBef>
              <a:spcAft>
                <a:spcPts val="0"/>
              </a:spcAft>
              <a:buSzPts val="4200"/>
              <a:buNone/>
              <a:defRPr sz="8400"/>
            </a:lvl7pPr>
            <a:lvl8pPr lvl="7" algn="ctr">
              <a:lnSpc>
                <a:spcPct val="100000"/>
              </a:lnSpc>
              <a:spcBef>
                <a:spcPts val="0"/>
              </a:spcBef>
              <a:spcAft>
                <a:spcPts val="0"/>
              </a:spcAft>
              <a:buSzPts val="4200"/>
              <a:buNone/>
              <a:defRPr sz="8400"/>
            </a:lvl8pPr>
            <a:lvl9pPr lvl="8" algn="ctr">
              <a:lnSpc>
                <a:spcPct val="100000"/>
              </a:lnSpc>
              <a:spcBef>
                <a:spcPts val="0"/>
              </a:spcBef>
              <a:spcAft>
                <a:spcPts val="0"/>
              </a:spcAft>
              <a:buSzPts val="4200"/>
              <a:buNone/>
              <a:defRPr sz="8400"/>
            </a:lvl9pPr>
          </a:lstStyle>
          <a:p>
            <a:endParaRPr/>
          </a:p>
        </p:txBody>
      </p:sp>
      <p:sp>
        <p:nvSpPr>
          <p:cNvPr id="44" name="Google Shape;44;p10"/>
          <p:cNvSpPr txBox="1">
            <a:spLocks noGrp="1"/>
          </p:cNvSpPr>
          <p:nvPr>
            <p:ph type="subTitle" idx="1"/>
          </p:nvPr>
        </p:nvSpPr>
        <p:spPr>
          <a:xfrm>
            <a:off x="531000" y="5606150"/>
            <a:ext cx="8090400" cy="2470200"/>
          </a:xfrm>
          <a:prstGeom prst="rect">
            <a:avLst/>
          </a:prstGeom>
          <a:noFill/>
          <a:ln>
            <a:noFill/>
          </a:ln>
        </p:spPr>
        <p:txBody>
          <a:bodyPr spcFirstLastPara="1" wrap="square" lIns="91425" tIns="91425" rIns="91425" bIns="91425" anchor="t" anchorCtr="0">
            <a:normAutofit/>
          </a:bodyPr>
          <a:lstStyle>
            <a:lvl1pPr lvl="0" algn="ctr">
              <a:lnSpc>
                <a:spcPct val="100000"/>
              </a:lnSpc>
              <a:spcBef>
                <a:spcPts val="0"/>
              </a:spcBef>
              <a:spcAft>
                <a:spcPts val="0"/>
              </a:spcAft>
              <a:buSzPts val="2100"/>
              <a:buNone/>
              <a:defRPr sz="4200"/>
            </a:lvl1pPr>
            <a:lvl2pPr lvl="1" algn="ctr">
              <a:lnSpc>
                <a:spcPct val="100000"/>
              </a:lnSpc>
              <a:spcBef>
                <a:spcPts val="0"/>
              </a:spcBef>
              <a:spcAft>
                <a:spcPts val="0"/>
              </a:spcAft>
              <a:buSzPts val="2100"/>
              <a:buNone/>
              <a:defRPr sz="4200"/>
            </a:lvl2pPr>
            <a:lvl3pPr lvl="2" algn="ctr">
              <a:lnSpc>
                <a:spcPct val="100000"/>
              </a:lnSpc>
              <a:spcBef>
                <a:spcPts val="0"/>
              </a:spcBef>
              <a:spcAft>
                <a:spcPts val="0"/>
              </a:spcAft>
              <a:buSzPts val="2100"/>
              <a:buNone/>
              <a:defRPr sz="4200"/>
            </a:lvl3pPr>
            <a:lvl4pPr lvl="3" algn="ctr">
              <a:lnSpc>
                <a:spcPct val="100000"/>
              </a:lnSpc>
              <a:spcBef>
                <a:spcPts val="0"/>
              </a:spcBef>
              <a:spcAft>
                <a:spcPts val="0"/>
              </a:spcAft>
              <a:buSzPts val="2100"/>
              <a:buNone/>
              <a:defRPr sz="4200"/>
            </a:lvl4pPr>
            <a:lvl5pPr lvl="4" algn="ctr">
              <a:lnSpc>
                <a:spcPct val="100000"/>
              </a:lnSpc>
              <a:spcBef>
                <a:spcPts val="0"/>
              </a:spcBef>
              <a:spcAft>
                <a:spcPts val="0"/>
              </a:spcAft>
              <a:buSzPts val="2100"/>
              <a:buNone/>
              <a:defRPr sz="4200"/>
            </a:lvl5pPr>
            <a:lvl6pPr lvl="5" algn="ctr">
              <a:lnSpc>
                <a:spcPct val="100000"/>
              </a:lnSpc>
              <a:spcBef>
                <a:spcPts val="0"/>
              </a:spcBef>
              <a:spcAft>
                <a:spcPts val="0"/>
              </a:spcAft>
              <a:buSzPts val="2100"/>
              <a:buNone/>
              <a:defRPr sz="4200"/>
            </a:lvl6pPr>
            <a:lvl7pPr lvl="6" algn="ctr">
              <a:lnSpc>
                <a:spcPct val="100000"/>
              </a:lnSpc>
              <a:spcBef>
                <a:spcPts val="0"/>
              </a:spcBef>
              <a:spcAft>
                <a:spcPts val="0"/>
              </a:spcAft>
              <a:buSzPts val="2100"/>
              <a:buNone/>
              <a:defRPr sz="4200"/>
            </a:lvl7pPr>
            <a:lvl8pPr lvl="7" algn="ctr">
              <a:lnSpc>
                <a:spcPct val="100000"/>
              </a:lnSpc>
              <a:spcBef>
                <a:spcPts val="0"/>
              </a:spcBef>
              <a:spcAft>
                <a:spcPts val="0"/>
              </a:spcAft>
              <a:buSzPts val="2100"/>
              <a:buNone/>
              <a:defRPr sz="4200"/>
            </a:lvl8pPr>
            <a:lvl9pPr lvl="8" algn="ctr">
              <a:lnSpc>
                <a:spcPct val="100000"/>
              </a:lnSpc>
              <a:spcBef>
                <a:spcPts val="0"/>
              </a:spcBef>
              <a:spcAft>
                <a:spcPts val="0"/>
              </a:spcAft>
              <a:buSzPts val="2100"/>
              <a:buNone/>
              <a:defRPr sz="4200"/>
            </a:lvl9pPr>
          </a:lstStyle>
          <a:p>
            <a:endParaRPr/>
          </a:p>
        </p:txBody>
      </p:sp>
      <p:sp>
        <p:nvSpPr>
          <p:cNvPr id="45" name="Google Shape;45;p10"/>
          <p:cNvSpPr txBox="1">
            <a:spLocks noGrp="1"/>
          </p:cNvSpPr>
          <p:nvPr>
            <p:ph type="body" idx="2"/>
          </p:nvPr>
        </p:nvSpPr>
        <p:spPr>
          <a:xfrm>
            <a:off x="9879000" y="1448150"/>
            <a:ext cx="7674000" cy="7390200"/>
          </a:xfrm>
          <a:prstGeom prst="rect">
            <a:avLst/>
          </a:prstGeom>
          <a:noFill/>
          <a:ln>
            <a:noFill/>
          </a:ln>
        </p:spPr>
        <p:txBody>
          <a:bodyPr spcFirstLastPara="1" wrap="square" lIns="91425" tIns="91425" rIns="91425" bIns="91425" anchor="ctr" anchorCtr="0">
            <a:normAutofit/>
          </a:bodyPr>
          <a:lstStyle>
            <a:lvl1pPr marL="914400" lvl="0" indent="-685800" algn="l">
              <a:lnSpc>
                <a:spcPct val="115000"/>
              </a:lnSpc>
              <a:spcBef>
                <a:spcPts val="0"/>
              </a:spcBef>
              <a:spcAft>
                <a:spcPts val="0"/>
              </a:spcAft>
              <a:buSzPts val="1800"/>
              <a:buChar char="●"/>
              <a:defRPr/>
            </a:lvl1pPr>
            <a:lvl2pPr marL="1828800" lvl="1" indent="-635000" algn="l">
              <a:lnSpc>
                <a:spcPct val="115000"/>
              </a:lnSpc>
              <a:spcBef>
                <a:spcPts val="0"/>
              </a:spcBef>
              <a:spcAft>
                <a:spcPts val="0"/>
              </a:spcAft>
              <a:buSzPts val="1400"/>
              <a:buChar char="○"/>
              <a:defRPr/>
            </a:lvl2pPr>
            <a:lvl3pPr marL="2743200" lvl="2" indent="-635000" algn="l">
              <a:lnSpc>
                <a:spcPct val="115000"/>
              </a:lnSpc>
              <a:spcBef>
                <a:spcPts val="0"/>
              </a:spcBef>
              <a:spcAft>
                <a:spcPts val="0"/>
              </a:spcAft>
              <a:buSzPts val="1400"/>
              <a:buChar char="■"/>
              <a:defRPr/>
            </a:lvl3pPr>
            <a:lvl4pPr marL="3657600" lvl="3" indent="-635000" algn="l">
              <a:lnSpc>
                <a:spcPct val="115000"/>
              </a:lnSpc>
              <a:spcBef>
                <a:spcPts val="0"/>
              </a:spcBef>
              <a:spcAft>
                <a:spcPts val="0"/>
              </a:spcAft>
              <a:buSzPts val="1400"/>
              <a:buChar char="●"/>
              <a:defRPr/>
            </a:lvl4pPr>
            <a:lvl5pPr marL="4572000" lvl="4" indent="-635000" algn="l">
              <a:lnSpc>
                <a:spcPct val="115000"/>
              </a:lnSpc>
              <a:spcBef>
                <a:spcPts val="0"/>
              </a:spcBef>
              <a:spcAft>
                <a:spcPts val="0"/>
              </a:spcAft>
              <a:buSzPts val="1400"/>
              <a:buChar char="○"/>
              <a:defRPr/>
            </a:lvl5pPr>
            <a:lvl6pPr marL="5486400" lvl="5" indent="-635000" algn="l">
              <a:lnSpc>
                <a:spcPct val="115000"/>
              </a:lnSpc>
              <a:spcBef>
                <a:spcPts val="0"/>
              </a:spcBef>
              <a:spcAft>
                <a:spcPts val="0"/>
              </a:spcAft>
              <a:buSzPts val="1400"/>
              <a:buChar char="■"/>
              <a:defRPr/>
            </a:lvl6pPr>
            <a:lvl7pPr marL="6400800" lvl="6" indent="-635000" algn="l">
              <a:lnSpc>
                <a:spcPct val="115000"/>
              </a:lnSpc>
              <a:spcBef>
                <a:spcPts val="0"/>
              </a:spcBef>
              <a:spcAft>
                <a:spcPts val="0"/>
              </a:spcAft>
              <a:buSzPts val="1400"/>
              <a:buChar char="●"/>
              <a:defRPr/>
            </a:lvl7pPr>
            <a:lvl8pPr marL="7315200" lvl="7" indent="-635000" algn="l">
              <a:lnSpc>
                <a:spcPct val="115000"/>
              </a:lnSpc>
              <a:spcBef>
                <a:spcPts val="0"/>
              </a:spcBef>
              <a:spcAft>
                <a:spcPts val="0"/>
              </a:spcAft>
              <a:buSzPts val="1400"/>
              <a:buChar char="○"/>
              <a:defRPr/>
            </a:lvl8pPr>
            <a:lvl9pPr marL="8229600" lvl="8" indent="-635000" algn="l">
              <a:lnSpc>
                <a:spcPct val="115000"/>
              </a:lnSpc>
              <a:spcBef>
                <a:spcPts val="0"/>
              </a:spcBef>
              <a:spcAft>
                <a:spcPts val="0"/>
              </a:spcAft>
              <a:buSzPts val="1400"/>
              <a:buChar char="■"/>
              <a:defRPr/>
            </a:lvl9pPr>
          </a:lstStyle>
          <a:p>
            <a:endParaRPr/>
          </a:p>
        </p:txBody>
      </p:sp>
      <p:sp>
        <p:nvSpPr>
          <p:cNvPr id="46" name="Google Shape;46;p10"/>
          <p:cNvSpPr txBox="1">
            <a:spLocks noGrp="1"/>
          </p:cNvSpPr>
          <p:nvPr>
            <p:ph type="sldNum" idx="12"/>
          </p:nvPr>
        </p:nvSpPr>
        <p:spPr>
          <a:xfrm>
            <a:off x="16944916" y="9326434"/>
            <a:ext cx="1097400" cy="7872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32555368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Big number">
  <p:cSld name="Big number">
    <p:spTree>
      <p:nvGrpSpPr>
        <p:cNvPr id="1" name="Shape 49"/>
        <p:cNvGrpSpPr/>
        <p:nvPr/>
      </p:nvGrpSpPr>
      <p:grpSpPr>
        <a:xfrm>
          <a:off x="0" y="0"/>
          <a:ext cx="0" cy="0"/>
          <a:chOff x="0" y="0"/>
          <a:chExt cx="0" cy="0"/>
        </a:xfrm>
      </p:grpSpPr>
      <p:sp>
        <p:nvSpPr>
          <p:cNvPr id="50" name="Google Shape;50;p12"/>
          <p:cNvSpPr txBox="1">
            <a:spLocks noGrp="1"/>
          </p:cNvSpPr>
          <p:nvPr>
            <p:ph type="title" hasCustomPrompt="1"/>
          </p:nvPr>
        </p:nvSpPr>
        <p:spPr>
          <a:xfrm>
            <a:off x="623400" y="2212250"/>
            <a:ext cx="17041200" cy="3927000"/>
          </a:xfrm>
          <a:prstGeom prst="rect">
            <a:avLst/>
          </a:prstGeom>
          <a:noFill/>
          <a:ln>
            <a:noFill/>
          </a:ln>
        </p:spPr>
        <p:txBody>
          <a:bodyPr spcFirstLastPara="1" wrap="square" lIns="91425" tIns="91425" rIns="91425" bIns="91425" anchor="b" anchorCtr="0">
            <a:normAutofit/>
          </a:bodyPr>
          <a:lstStyle>
            <a:lvl1pPr lvl="0" algn="ctr">
              <a:lnSpc>
                <a:spcPct val="100000"/>
              </a:lnSpc>
              <a:spcBef>
                <a:spcPts val="0"/>
              </a:spcBef>
              <a:spcAft>
                <a:spcPts val="0"/>
              </a:spcAft>
              <a:buSzPts val="12000"/>
              <a:buNone/>
              <a:defRPr sz="24000"/>
            </a:lvl1pPr>
            <a:lvl2pPr lvl="1" algn="ctr">
              <a:lnSpc>
                <a:spcPct val="100000"/>
              </a:lnSpc>
              <a:spcBef>
                <a:spcPts val="0"/>
              </a:spcBef>
              <a:spcAft>
                <a:spcPts val="0"/>
              </a:spcAft>
              <a:buSzPts val="12000"/>
              <a:buNone/>
              <a:defRPr sz="24000"/>
            </a:lvl2pPr>
            <a:lvl3pPr lvl="2" algn="ctr">
              <a:lnSpc>
                <a:spcPct val="100000"/>
              </a:lnSpc>
              <a:spcBef>
                <a:spcPts val="0"/>
              </a:spcBef>
              <a:spcAft>
                <a:spcPts val="0"/>
              </a:spcAft>
              <a:buSzPts val="12000"/>
              <a:buNone/>
              <a:defRPr sz="24000"/>
            </a:lvl3pPr>
            <a:lvl4pPr lvl="3" algn="ctr">
              <a:lnSpc>
                <a:spcPct val="100000"/>
              </a:lnSpc>
              <a:spcBef>
                <a:spcPts val="0"/>
              </a:spcBef>
              <a:spcAft>
                <a:spcPts val="0"/>
              </a:spcAft>
              <a:buSzPts val="12000"/>
              <a:buNone/>
              <a:defRPr sz="24000"/>
            </a:lvl4pPr>
            <a:lvl5pPr lvl="4" algn="ctr">
              <a:lnSpc>
                <a:spcPct val="100000"/>
              </a:lnSpc>
              <a:spcBef>
                <a:spcPts val="0"/>
              </a:spcBef>
              <a:spcAft>
                <a:spcPts val="0"/>
              </a:spcAft>
              <a:buSzPts val="12000"/>
              <a:buNone/>
              <a:defRPr sz="24000"/>
            </a:lvl5pPr>
            <a:lvl6pPr lvl="5" algn="ctr">
              <a:lnSpc>
                <a:spcPct val="100000"/>
              </a:lnSpc>
              <a:spcBef>
                <a:spcPts val="0"/>
              </a:spcBef>
              <a:spcAft>
                <a:spcPts val="0"/>
              </a:spcAft>
              <a:buSzPts val="12000"/>
              <a:buNone/>
              <a:defRPr sz="24000"/>
            </a:lvl6pPr>
            <a:lvl7pPr lvl="6" algn="ctr">
              <a:lnSpc>
                <a:spcPct val="100000"/>
              </a:lnSpc>
              <a:spcBef>
                <a:spcPts val="0"/>
              </a:spcBef>
              <a:spcAft>
                <a:spcPts val="0"/>
              </a:spcAft>
              <a:buSzPts val="12000"/>
              <a:buNone/>
              <a:defRPr sz="24000"/>
            </a:lvl7pPr>
            <a:lvl8pPr lvl="7" algn="ctr">
              <a:lnSpc>
                <a:spcPct val="100000"/>
              </a:lnSpc>
              <a:spcBef>
                <a:spcPts val="0"/>
              </a:spcBef>
              <a:spcAft>
                <a:spcPts val="0"/>
              </a:spcAft>
              <a:buSzPts val="12000"/>
              <a:buNone/>
              <a:defRPr sz="24000"/>
            </a:lvl8pPr>
            <a:lvl9pPr lvl="8" algn="ctr">
              <a:lnSpc>
                <a:spcPct val="100000"/>
              </a:lnSpc>
              <a:spcBef>
                <a:spcPts val="0"/>
              </a:spcBef>
              <a:spcAft>
                <a:spcPts val="0"/>
              </a:spcAft>
              <a:buSzPts val="12000"/>
              <a:buNone/>
              <a:defRPr sz="24000"/>
            </a:lvl9pPr>
          </a:lstStyle>
          <a:p>
            <a:r>
              <a:t>xx%</a:t>
            </a:r>
          </a:p>
        </p:txBody>
      </p:sp>
      <p:sp>
        <p:nvSpPr>
          <p:cNvPr id="51" name="Google Shape;51;p12"/>
          <p:cNvSpPr txBox="1">
            <a:spLocks noGrp="1"/>
          </p:cNvSpPr>
          <p:nvPr>
            <p:ph type="body" idx="1"/>
          </p:nvPr>
        </p:nvSpPr>
        <p:spPr>
          <a:xfrm>
            <a:off x="623400" y="6304450"/>
            <a:ext cx="17041200" cy="2601600"/>
          </a:xfrm>
          <a:prstGeom prst="rect">
            <a:avLst/>
          </a:prstGeom>
          <a:noFill/>
          <a:ln>
            <a:noFill/>
          </a:ln>
        </p:spPr>
        <p:txBody>
          <a:bodyPr spcFirstLastPara="1" wrap="square" lIns="91425" tIns="91425" rIns="91425" bIns="91425" anchor="t" anchorCtr="0">
            <a:normAutofit/>
          </a:bodyPr>
          <a:lstStyle>
            <a:lvl1pPr marL="914400" lvl="0" indent="-685800" algn="ctr">
              <a:lnSpc>
                <a:spcPct val="115000"/>
              </a:lnSpc>
              <a:spcBef>
                <a:spcPts val="0"/>
              </a:spcBef>
              <a:spcAft>
                <a:spcPts val="0"/>
              </a:spcAft>
              <a:buSzPts val="1800"/>
              <a:buChar char="●"/>
              <a:defRPr/>
            </a:lvl1pPr>
            <a:lvl2pPr marL="1828800" lvl="1" indent="-635000" algn="ctr">
              <a:lnSpc>
                <a:spcPct val="115000"/>
              </a:lnSpc>
              <a:spcBef>
                <a:spcPts val="0"/>
              </a:spcBef>
              <a:spcAft>
                <a:spcPts val="0"/>
              </a:spcAft>
              <a:buSzPts val="1400"/>
              <a:buChar char="○"/>
              <a:defRPr/>
            </a:lvl2pPr>
            <a:lvl3pPr marL="2743200" lvl="2" indent="-635000" algn="ctr">
              <a:lnSpc>
                <a:spcPct val="115000"/>
              </a:lnSpc>
              <a:spcBef>
                <a:spcPts val="0"/>
              </a:spcBef>
              <a:spcAft>
                <a:spcPts val="0"/>
              </a:spcAft>
              <a:buSzPts val="1400"/>
              <a:buChar char="■"/>
              <a:defRPr/>
            </a:lvl3pPr>
            <a:lvl4pPr marL="3657600" lvl="3" indent="-635000" algn="ctr">
              <a:lnSpc>
                <a:spcPct val="115000"/>
              </a:lnSpc>
              <a:spcBef>
                <a:spcPts val="0"/>
              </a:spcBef>
              <a:spcAft>
                <a:spcPts val="0"/>
              </a:spcAft>
              <a:buSzPts val="1400"/>
              <a:buChar char="●"/>
              <a:defRPr/>
            </a:lvl4pPr>
            <a:lvl5pPr marL="4572000" lvl="4" indent="-635000" algn="ctr">
              <a:lnSpc>
                <a:spcPct val="115000"/>
              </a:lnSpc>
              <a:spcBef>
                <a:spcPts val="0"/>
              </a:spcBef>
              <a:spcAft>
                <a:spcPts val="0"/>
              </a:spcAft>
              <a:buSzPts val="1400"/>
              <a:buChar char="○"/>
              <a:defRPr/>
            </a:lvl5pPr>
            <a:lvl6pPr marL="5486400" lvl="5" indent="-635000" algn="ctr">
              <a:lnSpc>
                <a:spcPct val="115000"/>
              </a:lnSpc>
              <a:spcBef>
                <a:spcPts val="0"/>
              </a:spcBef>
              <a:spcAft>
                <a:spcPts val="0"/>
              </a:spcAft>
              <a:buSzPts val="1400"/>
              <a:buChar char="■"/>
              <a:defRPr/>
            </a:lvl6pPr>
            <a:lvl7pPr marL="6400800" lvl="6" indent="-635000" algn="ctr">
              <a:lnSpc>
                <a:spcPct val="115000"/>
              </a:lnSpc>
              <a:spcBef>
                <a:spcPts val="0"/>
              </a:spcBef>
              <a:spcAft>
                <a:spcPts val="0"/>
              </a:spcAft>
              <a:buSzPts val="1400"/>
              <a:buChar char="●"/>
              <a:defRPr/>
            </a:lvl7pPr>
            <a:lvl8pPr marL="7315200" lvl="7" indent="-635000" algn="ctr">
              <a:lnSpc>
                <a:spcPct val="115000"/>
              </a:lnSpc>
              <a:spcBef>
                <a:spcPts val="0"/>
              </a:spcBef>
              <a:spcAft>
                <a:spcPts val="0"/>
              </a:spcAft>
              <a:buSzPts val="1400"/>
              <a:buChar char="○"/>
              <a:defRPr/>
            </a:lvl8pPr>
            <a:lvl9pPr marL="8229600" lvl="8" indent="-635000" algn="ctr">
              <a:lnSpc>
                <a:spcPct val="115000"/>
              </a:lnSpc>
              <a:spcBef>
                <a:spcPts val="0"/>
              </a:spcBef>
              <a:spcAft>
                <a:spcPts val="0"/>
              </a:spcAft>
              <a:buSzPts val="1400"/>
              <a:buChar char="■"/>
              <a:defRPr/>
            </a:lvl9pPr>
          </a:lstStyle>
          <a:p>
            <a:endParaRPr/>
          </a:p>
        </p:txBody>
      </p:sp>
      <p:sp>
        <p:nvSpPr>
          <p:cNvPr id="52" name="Google Shape;52;p12"/>
          <p:cNvSpPr txBox="1">
            <a:spLocks noGrp="1"/>
          </p:cNvSpPr>
          <p:nvPr>
            <p:ph type="sldNum" idx="12"/>
          </p:nvPr>
        </p:nvSpPr>
        <p:spPr>
          <a:xfrm>
            <a:off x="16944916" y="9326434"/>
            <a:ext cx="1097400" cy="7872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26695470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Blank" type="blank">
  <p:cSld name="Blank">
    <p:bg>
      <p:bgPr>
        <a:solidFill>
          <a:srgbClr val="222222"/>
        </a:solidFill>
        <a:effectLst/>
      </p:bgPr>
    </p:bg>
    <p:spTree>
      <p:nvGrpSpPr>
        <p:cNvPr id="1" name="Shape 53"/>
        <p:cNvGrpSpPr/>
        <p:nvPr/>
      </p:nvGrpSpPr>
      <p:grpSpPr>
        <a:xfrm>
          <a:off x="0" y="0"/>
          <a:ext cx="0" cy="0"/>
          <a:chOff x="0" y="0"/>
          <a:chExt cx="0" cy="0"/>
        </a:xfrm>
      </p:grpSpPr>
      <p:sp>
        <p:nvSpPr>
          <p:cNvPr id="54" name="Google Shape;54;p13"/>
          <p:cNvSpPr txBox="1">
            <a:spLocks noGrp="1"/>
          </p:cNvSpPr>
          <p:nvPr>
            <p:ph type="sldNum" idx="12"/>
          </p:nvPr>
        </p:nvSpPr>
        <p:spPr>
          <a:xfrm>
            <a:off x="16944916" y="9326434"/>
            <a:ext cx="1097400" cy="7872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9pPr>
          </a:lstStyle>
          <a:p>
            <a:fld id="{00000000-1234-1234-1234-123412341234}" type="slidenum">
              <a:rPr lang="pt-BR" smtClean="0"/>
              <a:pPr/>
              <a:t>‹nº›</a:t>
            </a:fld>
            <a:endParaRPr lang="pt-BR"/>
          </a:p>
        </p:txBody>
      </p:sp>
      <p:pic>
        <p:nvPicPr>
          <p:cNvPr id="55" name="Google Shape;55;p1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rot="3253804">
            <a:off x="4319434" y="-4725512"/>
            <a:ext cx="10473528" cy="12517332"/>
          </a:xfrm>
          <a:prstGeom prst="rect">
            <a:avLst/>
          </a:prstGeom>
          <a:noFill/>
          <a:ln>
            <a:noFill/>
          </a:ln>
        </p:spPr>
      </p:pic>
    </p:spTree>
    <p:extLst>
      <p:ext uri="{BB962C8B-B14F-4D97-AF65-F5344CB8AC3E}">
        <p14:creationId xmlns:p14="http://schemas.microsoft.com/office/powerpoint/2010/main" val="30436561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Slide de título 1 1">
  <p:cSld name="Slide de título 1 1">
    <p:bg>
      <p:bgPr>
        <a:solidFill>
          <a:srgbClr val="0091E7"/>
        </a:solidFill>
        <a:effectLst/>
      </p:bgPr>
    </p:bg>
    <p:spTree>
      <p:nvGrpSpPr>
        <p:cNvPr id="1" name="Shape 56"/>
        <p:cNvGrpSpPr/>
        <p:nvPr/>
      </p:nvGrpSpPr>
      <p:grpSpPr>
        <a:xfrm>
          <a:off x="0" y="0"/>
          <a:ext cx="0" cy="0"/>
          <a:chOff x="0" y="0"/>
          <a:chExt cx="0" cy="0"/>
        </a:xfrm>
      </p:grpSpPr>
      <p:grpSp>
        <p:nvGrpSpPr>
          <p:cNvPr id="57" name="Google Shape;57;p14"/>
          <p:cNvGrpSpPr/>
          <p:nvPr/>
        </p:nvGrpSpPr>
        <p:grpSpPr>
          <a:xfrm>
            <a:off x="1398914" y="487700"/>
            <a:ext cx="16479824" cy="369312"/>
            <a:chOff x="699457" y="243850"/>
            <a:chExt cx="8239912" cy="184656"/>
          </a:xfrm>
        </p:grpSpPr>
        <p:grpSp>
          <p:nvGrpSpPr>
            <p:cNvPr id="58" name="Google Shape;58;p14"/>
            <p:cNvGrpSpPr/>
            <p:nvPr/>
          </p:nvGrpSpPr>
          <p:grpSpPr>
            <a:xfrm>
              <a:off x="699457" y="243855"/>
              <a:ext cx="1911578" cy="184651"/>
              <a:chOff x="135728" y="68630"/>
              <a:chExt cx="1911578" cy="184651"/>
            </a:xfrm>
          </p:grpSpPr>
          <p:sp>
            <p:nvSpPr>
              <p:cNvPr id="59" name="Google Shape;59;p14"/>
              <p:cNvSpPr txBox="1"/>
              <p:nvPr/>
            </p:nvSpPr>
            <p:spPr>
              <a:xfrm>
                <a:off x="135728" y="68630"/>
                <a:ext cx="902400" cy="184651"/>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pt-BR" sz="1200">
                    <a:solidFill>
                      <a:srgbClr val="F7F7F7"/>
                    </a:solidFill>
                    <a:latin typeface="Montserrat Medium"/>
                    <a:ea typeface="Montserrat Medium"/>
                    <a:cs typeface="Montserrat Medium"/>
                    <a:sym typeface="Montserrat Medium"/>
                  </a:rPr>
                  <a:t>We create future</a:t>
                </a:r>
                <a:endParaRPr sz="1200">
                  <a:solidFill>
                    <a:srgbClr val="F7F7F7"/>
                  </a:solidFill>
                  <a:latin typeface="Montserrat Medium"/>
                  <a:ea typeface="Montserrat Medium"/>
                  <a:cs typeface="Montserrat Medium"/>
                  <a:sym typeface="Montserrat Medium"/>
                </a:endParaRPr>
              </a:p>
            </p:txBody>
          </p:sp>
          <p:sp>
            <p:nvSpPr>
              <p:cNvPr id="60" name="Google Shape;60;p14"/>
              <p:cNvSpPr txBox="1"/>
              <p:nvPr/>
            </p:nvSpPr>
            <p:spPr>
              <a:xfrm>
                <a:off x="1144906" y="68630"/>
                <a:ext cx="902400" cy="184651"/>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pt-BR" sz="1200">
                    <a:solidFill>
                      <a:srgbClr val="F7F7F7"/>
                    </a:solidFill>
                    <a:latin typeface="Montserrat Medium"/>
                    <a:ea typeface="Montserrat Medium"/>
                    <a:cs typeface="Montserrat Medium"/>
                    <a:sym typeface="Montserrat Medium"/>
                  </a:rPr>
                  <a:t>GH Branding</a:t>
                </a:r>
                <a:endParaRPr sz="1200">
                  <a:solidFill>
                    <a:srgbClr val="F7F7F7"/>
                  </a:solidFill>
                  <a:latin typeface="Montserrat Medium"/>
                  <a:ea typeface="Montserrat Medium"/>
                  <a:cs typeface="Montserrat Medium"/>
                  <a:sym typeface="Montserrat Medium"/>
                </a:endParaRPr>
              </a:p>
            </p:txBody>
          </p:sp>
        </p:grpSp>
        <p:sp>
          <p:nvSpPr>
            <p:cNvPr id="61" name="Google Shape;61;p14"/>
            <p:cNvSpPr txBox="1"/>
            <p:nvPr/>
          </p:nvSpPr>
          <p:spPr>
            <a:xfrm>
              <a:off x="7673069" y="243850"/>
              <a:ext cx="1266300" cy="184651"/>
            </a:xfrm>
            <a:prstGeom prst="rect">
              <a:avLst/>
            </a:prstGeom>
            <a:noFill/>
            <a:ln>
              <a:noFill/>
            </a:ln>
          </p:spPr>
          <p:txBody>
            <a:bodyPr spcFirstLastPara="1" wrap="square" lIns="91425" tIns="91425" rIns="91425" bIns="91425" anchor="t" anchorCtr="0">
              <a:spAutoFit/>
            </a:bodyPr>
            <a:lstStyle/>
            <a:p>
              <a:pPr marL="0" lvl="0" indent="0" algn="r" rtl="0">
                <a:spcBef>
                  <a:spcPts val="0"/>
                </a:spcBef>
                <a:spcAft>
                  <a:spcPts val="0"/>
                </a:spcAft>
                <a:buNone/>
              </a:pPr>
              <a:r>
                <a:rPr lang="pt-BR" sz="1200">
                  <a:solidFill>
                    <a:srgbClr val="F7F7F7"/>
                  </a:solidFill>
                  <a:latin typeface="Montserrat Medium"/>
                  <a:ea typeface="Montserrat Medium"/>
                  <a:cs typeface="Montserrat Medium"/>
                  <a:sym typeface="Montserrat Medium"/>
                </a:rPr>
                <a:t>ghbranding.com.br</a:t>
              </a:r>
              <a:endParaRPr sz="1200">
                <a:solidFill>
                  <a:srgbClr val="F7F7F7"/>
                </a:solidFill>
                <a:latin typeface="Montserrat Medium"/>
                <a:ea typeface="Montserrat Medium"/>
                <a:cs typeface="Montserrat Medium"/>
                <a:sym typeface="Montserrat Medium"/>
              </a:endParaRPr>
            </a:p>
          </p:txBody>
        </p:sp>
      </p:grpSp>
      <p:cxnSp>
        <p:nvCxnSpPr>
          <p:cNvPr id="62" name="Google Shape;62;p14"/>
          <p:cNvCxnSpPr/>
          <p:nvPr/>
        </p:nvCxnSpPr>
        <p:spPr>
          <a:xfrm>
            <a:off x="545900" y="1410248"/>
            <a:ext cx="17166000" cy="0"/>
          </a:xfrm>
          <a:prstGeom prst="straightConnector1">
            <a:avLst/>
          </a:prstGeom>
          <a:noFill/>
          <a:ln w="9525" cap="flat" cmpd="sng">
            <a:solidFill>
              <a:srgbClr val="F7F7F7"/>
            </a:solidFill>
            <a:prstDash val="solid"/>
            <a:round/>
            <a:headEnd type="none" w="med" len="med"/>
            <a:tailEnd type="none" w="med" len="med"/>
          </a:ln>
        </p:spPr>
      </p:cxnSp>
      <p:grpSp>
        <p:nvGrpSpPr>
          <p:cNvPr id="63" name="Google Shape;63;p14"/>
          <p:cNvGrpSpPr/>
          <p:nvPr/>
        </p:nvGrpSpPr>
        <p:grpSpPr>
          <a:xfrm>
            <a:off x="16695009" y="9568949"/>
            <a:ext cx="1016894" cy="265050"/>
            <a:chOff x="8347504" y="4784474"/>
            <a:chExt cx="508447" cy="132525"/>
          </a:xfrm>
        </p:grpSpPr>
        <p:pic>
          <p:nvPicPr>
            <p:cNvPr id="64" name="Google Shape;64;p14"/>
            <p:cNvPicPr preferRelativeResize="0"/>
            <p:nvPr/>
          </p:nvPicPr>
          <p:blipFill>
            <a:blip r:embed="rId2" cstate="email">
              <a:alphaModFix/>
              <a:extLst>
                <a:ext uri="{28A0092B-C50C-407E-A947-70E740481C1C}">
                  <a14:useLocalDpi xmlns:a14="http://schemas.microsoft.com/office/drawing/2010/main"/>
                </a:ext>
              </a:extLst>
            </a:blip>
            <a:stretch>
              <a:fillRect/>
            </a:stretch>
          </p:blipFill>
          <p:spPr>
            <a:xfrm>
              <a:off x="8347504" y="4784475"/>
              <a:ext cx="220180" cy="132520"/>
            </a:xfrm>
            <a:prstGeom prst="rect">
              <a:avLst/>
            </a:prstGeom>
            <a:noFill/>
            <a:ln>
              <a:noFill/>
            </a:ln>
          </p:spPr>
        </p:pic>
        <p:pic>
          <p:nvPicPr>
            <p:cNvPr id="65" name="Google Shape;65;p14"/>
            <p:cNvPicPr preferRelativeResize="0"/>
            <p:nvPr/>
          </p:nvPicPr>
          <p:blipFill>
            <a:blip r:embed="rId3" cstate="email">
              <a:alphaModFix/>
              <a:extLst>
                <a:ext uri="{28A0092B-C50C-407E-A947-70E740481C1C}">
                  <a14:useLocalDpi xmlns:a14="http://schemas.microsoft.com/office/drawing/2010/main"/>
                </a:ext>
              </a:extLst>
            </a:blip>
            <a:stretch>
              <a:fillRect/>
            </a:stretch>
          </p:blipFill>
          <p:spPr>
            <a:xfrm>
              <a:off x="8635766" y="4784474"/>
              <a:ext cx="220185" cy="132525"/>
            </a:xfrm>
            <a:prstGeom prst="rect">
              <a:avLst/>
            </a:prstGeom>
            <a:noFill/>
            <a:ln>
              <a:noFill/>
            </a:ln>
          </p:spPr>
        </p:pic>
      </p:grpSp>
      <p:pic>
        <p:nvPicPr>
          <p:cNvPr id="66" name="Google Shape;66;p14"/>
          <p:cNvPicPr preferRelativeResize="0"/>
          <p:nvPr/>
        </p:nvPicPr>
        <p:blipFill>
          <a:blip r:embed="rId4" cstate="email">
            <a:alphaModFix/>
            <a:extLst>
              <a:ext uri="{28A0092B-C50C-407E-A947-70E740481C1C}">
                <a14:useLocalDpi xmlns:a14="http://schemas.microsoft.com/office/drawing/2010/main"/>
              </a:ext>
            </a:extLst>
          </a:blip>
          <a:stretch>
            <a:fillRect/>
          </a:stretch>
        </p:blipFill>
        <p:spPr>
          <a:xfrm>
            <a:off x="545900" y="388256"/>
            <a:ext cx="691352" cy="691388"/>
          </a:xfrm>
          <a:prstGeom prst="rect">
            <a:avLst/>
          </a:prstGeom>
          <a:noFill/>
          <a:ln>
            <a:noFill/>
          </a:ln>
        </p:spPr>
      </p:pic>
    </p:spTree>
    <p:extLst>
      <p:ext uri="{BB962C8B-B14F-4D97-AF65-F5344CB8AC3E}">
        <p14:creationId xmlns:p14="http://schemas.microsoft.com/office/powerpoint/2010/main" val="26394878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TITLE_1">
  <p:cSld name="TITLE_1">
    <p:bg>
      <p:bgPr>
        <a:solidFill>
          <a:srgbClr val="F7F7F7"/>
        </a:solidFill>
        <a:effectLst/>
      </p:bgPr>
    </p:bg>
    <p:spTree>
      <p:nvGrpSpPr>
        <p:cNvPr id="1" name="Shape 67"/>
        <p:cNvGrpSpPr/>
        <p:nvPr/>
      </p:nvGrpSpPr>
      <p:grpSpPr>
        <a:xfrm>
          <a:off x="0" y="0"/>
          <a:ext cx="0" cy="0"/>
          <a:chOff x="0" y="0"/>
          <a:chExt cx="0" cy="0"/>
        </a:xfrm>
      </p:grpSpPr>
      <p:grpSp>
        <p:nvGrpSpPr>
          <p:cNvPr id="68" name="Google Shape;68;p15"/>
          <p:cNvGrpSpPr/>
          <p:nvPr/>
        </p:nvGrpSpPr>
        <p:grpSpPr>
          <a:xfrm>
            <a:off x="1398914" y="487700"/>
            <a:ext cx="16479824" cy="369312"/>
            <a:chOff x="699457" y="243850"/>
            <a:chExt cx="8239912" cy="184656"/>
          </a:xfrm>
        </p:grpSpPr>
        <p:grpSp>
          <p:nvGrpSpPr>
            <p:cNvPr id="69" name="Google Shape;69;p15"/>
            <p:cNvGrpSpPr/>
            <p:nvPr/>
          </p:nvGrpSpPr>
          <p:grpSpPr>
            <a:xfrm>
              <a:off x="699457" y="243855"/>
              <a:ext cx="1911578" cy="184651"/>
              <a:chOff x="135728" y="68630"/>
              <a:chExt cx="1911578" cy="184651"/>
            </a:xfrm>
          </p:grpSpPr>
          <p:sp>
            <p:nvSpPr>
              <p:cNvPr id="70" name="Google Shape;70;p15"/>
              <p:cNvSpPr txBox="1"/>
              <p:nvPr/>
            </p:nvSpPr>
            <p:spPr>
              <a:xfrm>
                <a:off x="135728" y="68630"/>
                <a:ext cx="902400" cy="184651"/>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pt-BR" sz="1200">
                    <a:solidFill>
                      <a:schemeClr val="dk1"/>
                    </a:solidFill>
                    <a:latin typeface="Montserrat Medium"/>
                    <a:ea typeface="Montserrat Medium"/>
                    <a:cs typeface="Montserrat Medium"/>
                    <a:sym typeface="Montserrat Medium"/>
                  </a:rPr>
                  <a:t>We create future</a:t>
                </a:r>
                <a:endParaRPr sz="1200">
                  <a:solidFill>
                    <a:schemeClr val="dk1"/>
                  </a:solidFill>
                  <a:latin typeface="Montserrat Medium"/>
                  <a:ea typeface="Montserrat Medium"/>
                  <a:cs typeface="Montserrat Medium"/>
                  <a:sym typeface="Montserrat Medium"/>
                </a:endParaRPr>
              </a:p>
            </p:txBody>
          </p:sp>
          <p:sp>
            <p:nvSpPr>
              <p:cNvPr id="71" name="Google Shape;71;p15"/>
              <p:cNvSpPr txBox="1"/>
              <p:nvPr/>
            </p:nvSpPr>
            <p:spPr>
              <a:xfrm>
                <a:off x="1144906" y="68630"/>
                <a:ext cx="902400" cy="184651"/>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pt-BR" sz="1200">
                    <a:solidFill>
                      <a:srgbClr val="050505"/>
                    </a:solidFill>
                    <a:latin typeface="Montserrat Medium"/>
                    <a:ea typeface="Montserrat Medium"/>
                    <a:cs typeface="Montserrat Medium"/>
                    <a:sym typeface="Montserrat Medium"/>
                  </a:rPr>
                  <a:t>GH Branding</a:t>
                </a:r>
                <a:endParaRPr sz="1200">
                  <a:solidFill>
                    <a:srgbClr val="050505"/>
                  </a:solidFill>
                  <a:latin typeface="Montserrat Medium"/>
                  <a:ea typeface="Montserrat Medium"/>
                  <a:cs typeface="Montserrat Medium"/>
                  <a:sym typeface="Montserrat Medium"/>
                </a:endParaRPr>
              </a:p>
            </p:txBody>
          </p:sp>
        </p:grpSp>
        <p:sp>
          <p:nvSpPr>
            <p:cNvPr id="72" name="Google Shape;72;p15"/>
            <p:cNvSpPr txBox="1"/>
            <p:nvPr/>
          </p:nvSpPr>
          <p:spPr>
            <a:xfrm>
              <a:off x="7673069" y="243850"/>
              <a:ext cx="1266300" cy="184651"/>
            </a:xfrm>
            <a:prstGeom prst="rect">
              <a:avLst/>
            </a:prstGeom>
            <a:noFill/>
            <a:ln>
              <a:noFill/>
            </a:ln>
          </p:spPr>
          <p:txBody>
            <a:bodyPr spcFirstLastPara="1" wrap="square" lIns="91425" tIns="91425" rIns="91425" bIns="91425" anchor="t" anchorCtr="0">
              <a:spAutoFit/>
            </a:bodyPr>
            <a:lstStyle/>
            <a:p>
              <a:pPr marL="0" lvl="0" indent="0" algn="r" rtl="0">
                <a:spcBef>
                  <a:spcPts val="0"/>
                </a:spcBef>
                <a:spcAft>
                  <a:spcPts val="0"/>
                </a:spcAft>
                <a:buNone/>
              </a:pPr>
              <a:r>
                <a:rPr lang="pt-BR" sz="1200">
                  <a:solidFill>
                    <a:srgbClr val="050505"/>
                  </a:solidFill>
                  <a:latin typeface="Montserrat Medium"/>
                  <a:ea typeface="Montserrat Medium"/>
                  <a:cs typeface="Montserrat Medium"/>
                  <a:sym typeface="Montserrat Medium"/>
                </a:rPr>
                <a:t>ghbranding.com.br</a:t>
              </a:r>
              <a:endParaRPr sz="1200">
                <a:solidFill>
                  <a:srgbClr val="050505"/>
                </a:solidFill>
                <a:latin typeface="Montserrat Medium"/>
                <a:ea typeface="Montserrat Medium"/>
                <a:cs typeface="Montserrat Medium"/>
                <a:sym typeface="Montserrat Medium"/>
              </a:endParaRPr>
            </a:p>
          </p:txBody>
        </p:sp>
      </p:grpSp>
      <p:cxnSp>
        <p:nvCxnSpPr>
          <p:cNvPr id="73" name="Google Shape;73;p15"/>
          <p:cNvCxnSpPr/>
          <p:nvPr/>
        </p:nvCxnSpPr>
        <p:spPr>
          <a:xfrm>
            <a:off x="545900" y="1410248"/>
            <a:ext cx="17166000" cy="0"/>
          </a:xfrm>
          <a:prstGeom prst="straightConnector1">
            <a:avLst/>
          </a:prstGeom>
          <a:noFill/>
          <a:ln w="9525" cap="flat" cmpd="sng">
            <a:solidFill>
              <a:srgbClr val="D9D9D9"/>
            </a:solidFill>
            <a:prstDash val="solid"/>
            <a:round/>
            <a:headEnd type="none" w="med" len="med"/>
            <a:tailEnd type="none" w="med" len="med"/>
          </a:ln>
        </p:spPr>
      </p:cxnSp>
      <p:pic>
        <p:nvPicPr>
          <p:cNvPr id="74" name="Google Shape;74;p15"/>
          <p:cNvPicPr preferRelativeResize="0"/>
          <p:nvPr/>
        </p:nvPicPr>
        <p:blipFill>
          <a:blip r:embed="rId2" cstate="email">
            <a:alphaModFix/>
            <a:extLst>
              <a:ext uri="{28A0092B-C50C-407E-A947-70E740481C1C}">
                <a14:useLocalDpi xmlns:a14="http://schemas.microsoft.com/office/drawing/2010/main"/>
              </a:ext>
            </a:extLst>
          </a:blip>
          <a:stretch>
            <a:fillRect/>
          </a:stretch>
        </p:blipFill>
        <p:spPr>
          <a:xfrm>
            <a:off x="545904" y="388283"/>
            <a:ext cx="691352" cy="691302"/>
          </a:xfrm>
          <a:prstGeom prst="rect">
            <a:avLst/>
          </a:prstGeom>
          <a:noFill/>
          <a:ln>
            <a:noFill/>
          </a:ln>
        </p:spPr>
      </p:pic>
      <p:grpSp>
        <p:nvGrpSpPr>
          <p:cNvPr id="75" name="Google Shape;75;p15"/>
          <p:cNvGrpSpPr/>
          <p:nvPr/>
        </p:nvGrpSpPr>
        <p:grpSpPr>
          <a:xfrm>
            <a:off x="16695009" y="9568949"/>
            <a:ext cx="1016894" cy="265050"/>
            <a:chOff x="8347504" y="4784474"/>
            <a:chExt cx="508447" cy="132525"/>
          </a:xfrm>
        </p:grpSpPr>
        <p:pic>
          <p:nvPicPr>
            <p:cNvPr id="76" name="Google Shape;76;p15"/>
            <p:cNvPicPr preferRelativeResize="0"/>
            <p:nvPr/>
          </p:nvPicPr>
          <p:blipFill>
            <a:blip r:embed="rId3" cstate="email">
              <a:alphaModFix/>
              <a:extLst>
                <a:ext uri="{28A0092B-C50C-407E-A947-70E740481C1C}">
                  <a14:useLocalDpi xmlns:a14="http://schemas.microsoft.com/office/drawing/2010/main"/>
                </a:ext>
              </a:extLst>
            </a:blip>
            <a:stretch>
              <a:fillRect/>
            </a:stretch>
          </p:blipFill>
          <p:spPr>
            <a:xfrm>
              <a:off x="8347504" y="4784475"/>
              <a:ext cx="220180" cy="132520"/>
            </a:xfrm>
            <a:prstGeom prst="rect">
              <a:avLst/>
            </a:prstGeom>
            <a:noFill/>
            <a:ln>
              <a:noFill/>
            </a:ln>
          </p:spPr>
        </p:pic>
        <p:pic>
          <p:nvPicPr>
            <p:cNvPr id="77" name="Google Shape;77;p15"/>
            <p:cNvPicPr preferRelativeResize="0"/>
            <p:nvPr/>
          </p:nvPicPr>
          <p:blipFill>
            <a:blip r:embed="rId4" cstate="email">
              <a:alphaModFix/>
              <a:extLst>
                <a:ext uri="{28A0092B-C50C-407E-A947-70E740481C1C}">
                  <a14:useLocalDpi xmlns:a14="http://schemas.microsoft.com/office/drawing/2010/main"/>
                </a:ext>
              </a:extLst>
            </a:blip>
            <a:stretch>
              <a:fillRect/>
            </a:stretch>
          </p:blipFill>
          <p:spPr>
            <a:xfrm>
              <a:off x="8635766" y="4784474"/>
              <a:ext cx="220185" cy="132525"/>
            </a:xfrm>
            <a:prstGeom prst="rect">
              <a:avLst/>
            </a:prstGeom>
            <a:noFill/>
            <a:ln>
              <a:noFill/>
            </a:ln>
          </p:spPr>
        </p:pic>
      </p:grpSp>
    </p:spTree>
    <p:extLst>
      <p:ext uri="{BB962C8B-B14F-4D97-AF65-F5344CB8AC3E}">
        <p14:creationId xmlns:p14="http://schemas.microsoft.com/office/powerpoint/2010/main" val="376985601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Em Branco">
  <p:cSld name="Em Branco">
    <p:spTree>
      <p:nvGrpSpPr>
        <p:cNvPr id="1" name="Shape 78"/>
        <p:cNvGrpSpPr/>
        <p:nvPr/>
      </p:nvGrpSpPr>
      <p:grpSpPr>
        <a:xfrm>
          <a:off x="0" y="0"/>
          <a:ext cx="0" cy="0"/>
          <a:chOff x="0" y="0"/>
          <a:chExt cx="0" cy="0"/>
        </a:xfrm>
      </p:grpSpPr>
      <p:sp>
        <p:nvSpPr>
          <p:cNvPr id="79" name="Google Shape;79;p16"/>
          <p:cNvSpPr txBox="1">
            <a:spLocks noGrp="1"/>
          </p:cNvSpPr>
          <p:nvPr>
            <p:ph type="sldNum" idx="12"/>
          </p:nvPr>
        </p:nvSpPr>
        <p:spPr>
          <a:xfrm>
            <a:off x="16642764" y="9502731"/>
            <a:ext cx="388200" cy="623217"/>
          </a:xfrm>
          <a:prstGeom prst="rect">
            <a:avLst/>
          </a:prstGeom>
          <a:noFill/>
          <a:ln>
            <a:noFill/>
          </a:ln>
        </p:spPr>
        <p:txBody>
          <a:bodyPr spcFirstLastPara="1" wrap="square" lIns="34275" tIns="34275" rIns="34275" bIns="34275" anchor="ctr" anchorCtr="0">
            <a:spAutoFit/>
          </a:bodyPr>
          <a:lstStyle>
            <a:lvl1pPr marL="0" marR="0" lvl="0" indent="0" algn="r" rtl="0">
              <a:lnSpc>
                <a:spcPct val="100000"/>
              </a:lnSpc>
              <a:spcBef>
                <a:spcPts val="0"/>
              </a:spcBef>
              <a:spcAft>
                <a:spcPts val="0"/>
              </a:spcAft>
              <a:buClr>
                <a:srgbClr val="888888"/>
              </a:buClr>
              <a:buSzPts val="900"/>
              <a:buFont typeface="Calibri"/>
              <a:buNone/>
              <a:defRPr sz="1800" b="0" i="0" u="none" strike="noStrike" cap="none">
                <a:solidFill>
                  <a:srgbClr val="888888"/>
                </a:solidFill>
                <a:latin typeface="Calibri"/>
                <a:ea typeface="Calibri"/>
                <a:cs typeface="Calibri"/>
                <a:sym typeface="Calibri"/>
              </a:defRPr>
            </a:lvl1pPr>
            <a:lvl2pPr marL="0" marR="0" lvl="1" indent="0" algn="r" rtl="0">
              <a:lnSpc>
                <a:spcPct val="100000"/>
              </a:lnSpc>
              <a:spcBef>
                <a:spcPts val="0"/>
              </a:spcBef>
              <a:spcAft>
                <a:spcPts val="0"/>
              </a:spcAft>
              <a:buClr>
                <a:srgbClr val="888888"/>
              </a:buClr>
              <a:buSzPts val="900"/>
              <a:buFont typeface="Calibri"/>
              <a:buNone/>
              <a:defRPr sz="1800" b="0" i="0" u="none" strike="noStrike" cap="none">
                <a:solidFill>
                  <a:srgbClr val="888888"/>
                </a:solidFill>
                <a:latin typeface="Calibri"/>
                <a:ea typeface="Calibri"/>
                <a:cs typeface="Calibri"/>
                <a:sym typeface="Calibri"/>
              </a:defRPr>
            </a:lvl2pPr>
            <a:lvl3pPr marL="0" marR="0" lvl="2" indent="0" algn="r" rtl="0">
              <a:lnSpc>
                <a:spcPct val="100000"/>
              </a:lnSpc>
              <a:spcBef>
                <a:spcPts val="0"/>
              </a:spcBef>
              <a:spcAft>
                <a:spcPts val="0"/>
              </a:spcAft>
              <a:buClr>
                <a:srgbClr val="888888"/>
              </a:buClr>
              <a:buSzPts val="900"/>
              <a:buFont typeface="Calibri"/>
              <a:buNone/>
              <a:defRPr sz="1800" b="0" i="0" u="none" strike="noStrike" cap="none">
                <a:solidFill>
                  <a:srgbClr val="888888"/>
                </a:solidFill>
                <a:latin typeface="Calibri"/>
                <a:ea typeface="Calibri"/>
                <a:cs typeface="Calibri"/>
                <a:sym typeface="Calibri"/>
              </a:defRPr>
            </a:lvl3pPr>
            <a:lvl4pPr marL="0" marR="0" lvl="3" indent="0" algn="r" rtl="0">
              <a:lnSpc>
                <a:spcPct val="100000"/>
              </a:lnSpc>
              <a:spcBef>
                <a:spcPts val="0"/>
              </a:spcBef>
              <a:spcAft>
                <a:spcPts val="0"/>
              </a:spcAft>
              <a:buClr>
                <a:srgbClr val="888888"/>
              </a:buClr>
              <a:buSzPts val="900"/>
              <a:buFont typeface="Calibri"/>
              <a:buNone/>
              <a:defRPr sz="1800" b="0" i="0" u="none" strike="noStrike" cap="none">
                <a:solidFill>
                  <a:srgbClr val="888888"/>
                </a:solidFill>
                <a:latin typeface="Calibri"/>
                <a:ea typeface="Calibri"/>
                <a:cs typeface="Calibri"/>
                <a:sym typeface="Calibri"/>
              </a:defRPr>
            </a:lvl4pPr>
            <a:lvl5pPr marL="0" marR="0" lvl="4" indent="0" algn="r" rtl="0">
              <a:lnSpc>
                <a:spcPct val="100000"/>
              </a:lnSpc>
              <a:spcBef>
                <a:spcPts val="0"/>
              </a:spcBef>
              <a:spcAft>
                <a:spcPts val="0"/>
              </a:spcAft>
              <a:buClr>
                <a:srgbClr val="888888"/>
              </a:buClr>
              <a:buSzPts val="900"/>
              <a:buFont typeface="Calibri"/>
              <a:buNone/>
              <a:defRPr sz="1800" b="0" i="0" u="none" strike="noStrike" cap="none">
                <a:solidFill>
                  <a:srgbClr val="888888"/>
                </a:solidFill>
                <a:latin typeface="Calibri"/>
                <a:ea typeface="Calibri"/>
                <a:cs typeface="Calibri"/>
                <a:sym typeface="Calibri"/>
              </a:defRPr>
            </a:lvl5pPr>
            <a:lvl6pPr marL="0" marR="0" lvl="5" indent="0" algn="r" rtl="0">
              <a:lnSpc>
                <a:spcPct val="100000"/>
              </a:lnSpc>
              <a:spcBef>
                <a:spcPts val="0"/>
              </a:spcBef>
              <a:spcAft>
                <a:spcPts val="0"/>
              </a:spcAft>
              <a:buClr>
                <a:srgbClr val="888888"/>
              </a:buClr>
              <a:buSzPts val="900"/>
              <a:buFont typeface="Calibri"/>
              <a:buNone/>
              <a:defRPr sz="1800" b="0" i="0" u="none" strike="noStrike" cap="none">
                <a:solidFill>
                  <a:srgbClr val="888888"/>
                </a:solidFill>
                <a:latin typeface="Calibri"/>
                <a:ea typeface="Calibri"/>
                <a:cs typeface="Calibri"/>
                <a:sym typeface="Calibri"/>
              </a:defRPr>
            </a:lvl6pPr>
            <a:lvl7pPr marL="0" marR="0" lvl="6" indent="0" algn="r" rtl="0">
              <a:lnSpc>
                <a:spcPct val="100000"/>
              </a:lnSpc>
              <a:spcBef>
                <a:spcPts val="0"/>
              </a:spcBef>
              <a:spcAft>
                <a:spcPts val="0"/>
              </a:spcAft>
              <a:buClr>
                <a:srgbClr val="888888"/>
              </a:buClr>
              <a:buSzPts val="900"/>
              <a:buFont typeface="Calibri"/>
              <a:buNone/>
              <a:defRPr sz="1800" b="0" i="0" u="none" strike="noStrike" cap="none">
                <a:solidFill>
                  <a:srgbClr val="888888"/>
                </a:solidFill>
                <a:latin typeface="Calibri"/>
                <a:ea typeface="Calibri"/>
                <a:cs typeface="Calibri"/>
                <a:sym typeface="Calibri"/>
              </a:defRPr>
            </a:lvl7pPr>
            <a:lvl8pPr marL="0" marR="0" lvl="7" indent="0" algn="r" rtl="0">
              <a:lnSpc>
                <a:spcPct val="100000"/>
              </a:lnSpc>
              <a:spcBef>
                <a:spcPts val="0"/>
              </a:spcBef>
              <a:spcAft>
                <a:spcPts val="0"/>
              </a:spcAft>
              <a:buClr>
                <a:srgbClr val="888888"/>
              </a:buClr>
              <a:buSzPts val="900"/>
              <a:buFont typeface="Calibri"/>
              <a:buNone/>
              <a:defRPr sz="1800" b="0" i="0" u="none" strike="noStrike" cap="none">
                <a:solidFill>
                  <a:srgbClr val="888888"/>
                </a:solidFill>
                <a:latin typeface="Calibri"/>
                <a:ea typeface="Calibri"/>
                <a:cs typeface="Calibri"/>
                <a:sym typeface="Calibri"/>
              </a:defRPr>
            </a:lvl8pPr>
            <a:lvl9pPr marL="0" marR="0" lvl="8" indent="0" algn="r" rtl="0">
              <a:lnSpc>
                <a:spcPct val="100000"/>
              </a:lnSpc>
              <a:spcBef>
                <a:spcPts val="0"/>
              </a:spcBef>
              <a:spcAft>
                <a:spcPts val="0"/>
              </a:spcAft>
              <a:buClr>
                <a:srgbClr val="888888"/>
              </a:buClr>
              <a:buSzPts val="900"/>
              <a:buFont typeface="Calibri"/>
              <a:buNone/>
              <a:defRPr sz="1800" b="0" i="0" u="none" strike="noStrike" cap="none">
                <a:solidFill>
                  <a:srgbClr val="888888"/>
                </a:solidFill>
                <a:latin typeface="Calibri"/>
                <a:ea typeface="Calibri"/>
                <a:cs typeface="Calibri"/>
                <a:sym typeface="Calibri"/>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3959547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_Slide de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90959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ítulo e Conteúdo">
    <p:spTree>
      <p:nvGrpSpPr>
        <p:cNvPr id="1" name=""/>
        <p:cNvGrpSpPr/>
        <p:nvPr/>
      </p:nvGrpSpPr>
      <p:grpSpPr>
        <a:xfrm>
          <a:off x="0" y="0"/>
          <a:ext cx="0" cy="0"/>
          <a:chOff x="0" y="0"/>
          <a:chExt cx="0" cy="0"/>
        </a:xfrm>
      </p:grpSpPr>
      <p:pic>
        <p:nvPicPr>
          <p:cNvPr id="3" name="Imagem 2" descr="Padrão do plano de fundo&#10;&#10;Descrição gerada automaticamente">
            <a:extLst>
              <a:ext uri="{FF2B5EF4-FFF2-40B4-BE49-F238E27FC236}">
                <a16:creationId xmlns:a16="http://schemas.microsoft.com/office/drawing/2014/main" id="{637C310E-A861-0D23-FA5B-56C478A74C1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8288000" cy="10287000"/>
          </a:xfrm>
          <a:prstGeom prst="rect">
            <a:avLst/>
          </a:prstGeom>
        </p:spPr>
      </p:pic>
    </p:spTree>
    <p:extLst>
      <p:ext uri="{BB962C8B-B14F-4D97-AF65-F5344CB8AC3E}">
        <p14:creationId xmlns:p14="http://schemas.microsoft.com/office/powerpoint/2010/main" val="11999118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Título e corpo 1">
  <p:cSld name="Título e corpo 1">
    <p:bg>
      <p:bgPr>
        <a:solidFill>
          <a:srgbClr val="FFFFFF"/>
        </a:solidFill>
        <a:effectLst/>
      </p:bgPr>
    </p:bg>
    <p:spTree>
      <p:nvGrpSpPr>
        <p:cNvPr id="1" name="Shape 85"/>
        <p:cNvGrpSpPr/>
        <p:nvPr/>
      </p:nvGrpSpPr>
      <p:grpSpPr>
        <a:xfrm>
          <a:off x="0" y="0"/>
          <a:ext cx="0" cy="0"/>
          <a:chOff x="0" y="0"/>
          <a:chExt cx="0" cy="0"/>
        </a:xfrm>
      </p:grpSpPr>
      <p:sp>
        <p:nvSpPr>
          <p:cNvPr id="86" name="Google Shape;86;p12"/>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sp>
        <p:nvSpPr>
          <p:cNvPr id="87" name="Google Shape;87;p12"/>
          <p:cNvSpPr txBox="1">
            <a:spLocks noGrp="1"/>
          </p:cNvSpPr>
          <p:nvPr>
            <p:ph type="title"/>
          </p:nvPr>
        </p:nvSpPr>
        <p:spPr>
          <a:xfrm>
            <a:off x="1080600" y="1042450"/>
            <a:ext cx="10216200" cy="11454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222222"/>
              </a:buClr>
              <a:buSzPts val="2000"/>
              <a:buNone/>
              <a:defRPr sz="4000">
                <a:solidFill>
                  <a:srgbClr val="222222"/>
                </a:solidFill>
              </a:defRPr>
            </a:lvl1pPr>
            <a:lvl2pPr lvl="1" rtl="0">
              <a:spcBef>
                <a:spcPts val="0"/>
              </a:spcBef>
              <a:spcAft>
                <a:spcPts val="0"/>
              </a:spcAft>
              <a:buClr>
                <a:srgbClr val="222222"/>
              </a:buClr>
              <a:buSzPts val="2000"/>
              <a:buNone/>
              <a:defRPr>
                <a:solidFill>
                  <a:srgbClr val="222222"/>
                </a:solidFill>
              </a:defRPr>
            </a:lvl2pPr>
            <a:lvl3pPr lvl="2" rtl="0">
              <a:spcBef>
                <a:spcPts val="0"/>
              </a:spcBef>
              <a:spcAft>
                <a:spcPts val="0"/>
              </a:spcAft>
              <a:buClr>
                <a:srgbClr val="222222"/>
              </a:buClr>
              <a:buSzPts val="2000"/>
              <a:buNone/>
              <a:defRPr>
                <a:solidFill>
                  <a:srgbClr val="222222"/>
                </a:solidFill>
              </a:defRPr>
            </a:lvl3pPr>
            <a:lvl4pPr lvl="3" rtl="0">
              <a:spcBef>
                <a:spcPts val="0"/>
              </a:spcBef>
              <a:spcAft>
                <a:spcPts val="0"/>
              </a:spcAft>
              <a:buClr>
                <a:srgbClr val="222222"/>
              </a:buClr>
              <a:buSzPts val="2000"/>
              <a:buNone/>
              <a:defRPr>
                <a:solidFill>
                  <a:srgbClr val="222222"/>
                </a:solidFill>
              </a:defRPr>
            </a:lvl4pPr>
            <a:lvl5pPr lvl="4" rtl="0">
              <a:spcBef>
                <a:spcPts val="0"/>
              </a:spcBef>
              <a:spcAft>
                <a:spcPts val="0"/>
              </a:spcAft>
              <a:buClr>
                <a:srgbClr val="222222"/>
              </a:buClr>
              <a:buSzPts val="2000"/>
              <a:buNone/>
              <a:defRPr>
                <a:solidFill>
                  <a:srgbClr val="222222"/>
                </a:solidFill>
              </a:defRPr>
            </a:lvl5pPr>
            <a:lvl6pPr lvl="5" rtl="0">
              <a:spcBef>
                <a:spcPts val="0"/>
              </a:spcBef>
              <a:spcAft>
                <a:spcPts val="0"/>
              </a:spcAft>
              <a:buClr>
                <a:srgbClr val="222222"/>
              </a:buClr>
              <a:buSzPts val="2000"/>
              <a:buNone/>
              <a:defRPr>
                <a:solidFill>
                  <a:srgbClr val="222222"/>
                </a:solidFill>
              </a:defRPr>
            </a:lvl6pPr>
            <a:lvl7pPr lvl="6" rtl="0">
              <a:spcBef>
                <a:spcPts val="0"/>
              </a:spcBef>
              <a:spcAft>
                <a:spcPts val="0"/>
              </a:spcAft>
              <a:buClr>
                <a:srgbClr val="222222"/>
              </a:buClr>
              <a:buSzPts val="2000"/>
              <a:buNone/>
              <a:defRPr>
                <a:solidFill>
                  <a:srgbClr val="222222"/>
                </a:solidFill>
              </a:defRPr>
            </a:lvl7pPr>
            <a:lvl8pPr lvl="7" rtl="0">
              <a:spcBef>
                <a:spcPts val="0"/>
              </a:spcBef>
              <a:spcAft>
                <a:spcPts val="0"/>
              </a:spcAft>
              <a:buClr>
                <a:srgbClr val="222222"/>
              </a:buClr>
              <a:buSzPts val="2000"/>
              <a:buNone/>
              <a:defRPr>
                <a:solidFill>
                  <a:srgbClr val="222222"/>
                </a:solidFill>
              </a:defRPr>
            </a:lvl8pPr>
            <a:lvl9pPr lvl="8" rtl="0">
              <a:spcBef>
                <a:spcPts val="0"/>
              </a:spcBef>
              <a:spcAft>
                <a:spcPts val="0"/>
              </a:spcAft>
              <a:buClr>
                <a:srgbClr val="222222"/>
              </a:buClr>
              <a:buSzPts val="2000"/>
              <a:buNone/>
              <a:defRPr>
                <a:solidFill>
                  <a:srgbClr val="222222"/>
                </a:solidFill>
              </a:defRPr>
            </a:lvl9pPr>
          </a:lstStyle>
          <a:p>
            <a:endParaRPr/>
          </a:p>
        </p:txBody>
      </p:sp>
      <p:sp>
        <p:nvSpPr>
          <p:cNvPr id="88" name="Google Shape;88;p12"/>
          <p:cNvSpPr txBox="1">
            <a:spLocks noGrp="1"/>
          </p:cNvSpPr>
          <p:nvPr>
            <p:ph type="body" idx="1"/>
          </p:nvPr>
        </p:nvSpPr>
        <p:spPr>
          <a:xfrm>
            <a:off x="1080600" y="3130350"/>
            <a:ext cx="12462600" cy="5891400"/>
          </a:xfrm>
          <a:prstGeom prst="rect">
            <a:avLst/>
          </a:prstGeom>
        </p:spPr>
        <p:txBody>
          <a:bodyPr spcFirstLastPara="1" wrap="square" lIns="91425" tIns="91425" rIns="91425" bIns="91425" anchor="t" anchorCtr="0">
            <a:noAutofit/>
          </a:bodyPr>
          <a:lstStyle>
            <a:lvl1pPr marL="914424" lvl="0" indent="-609616" rtl="0">
              <a:spcBef>
                <a:spcPts val="0"/>
              </a:spcBef>
              <a:spcAft>
                <a:spcPts val="0"/>
              </a:spcAft>
              <a:buClr>
                <a:srgbClr val="222222"/>
              </a:buClr>
              <a:buSzPts val="1200"/>
              <a:buChar char="●"/>
              <a:defRPr sz="2400">
                <a:solidFill>
                  <a:srgbClr val="222222"/>
                </a:solidFill>
              </a:defRPr>
            </a:lvl1pPr>
            <a:lvl2pPr marL="1828848" lvl="1" indent="-609616" rtl="0">
              <a:spcBef>
                <a:spcPts val="3200"/>
              </a:spcBef>
              <a:spcAft>
                <a:spcPts val="0"/>
              </a:spcAft>
              <a:buClr>
                <a:srgbClr val="222222"/>
              </a:buClr>
              <a:buSzPts val="1200"/>
              <a:buChar char="○"/>
              <a:defRPr sz="2400">
                <a:solidFill>
                  <a:srgbClr val="222222"/>
                </a:solidFill>
              </a:defRPr>
            </a:lvl2pPr>
            <a:lvl3pPr marL="2743270" lvl="2" indent="-584216" rtl="0">
              <a:spcBef>
                <a:spcPts val="3200"/>
              </a:spcBef>
              <a:spcAft>
                <a:spcPts val="0"/>
              </a:spcAft>
              <a:buClr>
                <a:srgbClr val="222222"/>
              </a:buClr>
              <a:buSzPts val="1000"/>
              <a:buChar char="■"/>
              <a:defRPr sz="2000">
                <a:solidFill>
                  <a:srgbClr val="222222"/>
                </a:solidFill>
              </a:defRPr>
            </a:lvl3pPr>
            <a:lvl4pPr marL="3657692" lvl="3" indent="-584216" rtl="0">
              <a:spcBef>
                <a:spcPts val="3200"/>
              </a:spcBef>
              <a:spcAft>
                <a:spcPts val="0"/>
              </a:spcAft>
              <a:buClr>
                <a:srgbClr val="222222"/>
              </a:buClr>
              <a:buSzPts val="1000"/>
              <a:buChar char="●"/>
              <a:defRPr sz="2000">
                <a:solidFill>
                  <a:srgbClr val="222222"/>
                </a:solidFill>
              </a:defRPr>
            </a:lvl4pPr>
            <a:lvl5pPr marL="4572114" lvl="4" indent="-558814" rtl="0">
              <a:spcBef>
                <a:spcPts val="3200"/>
              </a:spcBef>
              <a:spcAft>
                <a:spcPts val="0"/>
              </a:spcAft>
              <a:buClr>
                <a:srgbClr val="222222"/>
              </a:buClr>
              <a:buSzPts val="800"/>
              <a:buChar char="○"/>
              <a:defRPr sz="1600">
                <a:solidFill>
                  <a:srgbClr val="222222"/>
                </a:solidFill>
              </a:defRPr>
            </a:lvl5pPr>
            <a:lvl6pPr marL="5486538" lvl="5" indent="-558814" rtl="0">
              <a:spcBef>
                <a:spcPts val="3200"/>
              </a:spcBef>
              <a:spcAft>
                <a:spcPts val="0"/>
              </a:spcAft>
              <a:buClr>
                <a:srgbClr val="222222"/>
              </a:buClr>
              <a:buSzPts val="800"/>
              <a:buChar char="■"/>
              <a:defRPr sz="1600">
                <a:solidFill>
                  <a:srgbClr val="222222"/>
                </a:solidFill>
              </a:defRPr>
            </a:lvl6pPr>
            <a:lvl7pPr marL="6400960" lvl="6" indent="-609616" rtl="0">
              <a:spcBef>
                <a:spcPts val="3200"/>
              </a:spcBef>
              <a:spcAft>
                <a:spcPts val="0"/>
              </a:spcAft>
              <a:buClr>
                <a:srgbClr val="222222"/>
              </a:buClr>
              <a:buSzPts val="1200"/>
              <a:buChar char="●"/>
              <a:defRPr>
                <a:solidFill>
                  <a:srgbClr val="222222"/>
                </a:solidFill>
              </a:defRPr>
            </a:lvl7pPr>
            <a:lvl8pPr marL="7315384" lvl="7" indent="-609616" rtl="0">
              <a:spcBef>
                <a:spcPts val="3200"/>
              </a:spcBef>
              <a:spcAft>
                <a:spcPts val="0"/>
              </a:spcAft>
              <a:buClr>
                <a:srgbClr val="222222"/>
              </a:buClr>
              <a:buSzPts val="1200"/>
              <a:buChar char="○"/>
              <a:defRPr>
                <a:solidFill>
                  <a:srgbClr val="222222"/>
                </a:solidFill>
              </a:defRPr>
            </a:lvl8pPr>
            <a:lvl9pPr marL="8229806" lvl="8" indent="-609616" rtl="0">
              <a:spcBef>
                <a:spcPts val="3200"/>
              </a:spcBef>
              <a:spcAft>
                <a:spcPts val="3200"/>
              </a:spcAft>
              <a:buClr>
                <a:srgbClr val="222222"/>
              </a:buClr>
              <a:buSzPts val="1200"/>
              <a:buChar char="■"/>
              <a:defRPr>
                <a:solidFill>
                  <a:srgbClr val="222222"/>
                </a:solidFill>
              </a:defRPr>
            </a:lvl9pPr>
          </a:lstStyle>
          <a:p>
            <a:endParaRPr/>
          </a:p>
        </p:txBody>
      </p:sp>
    </p:spTree>
    <p:extLst>
      <p:ext uri="{BB962C8B-B14F-4D97-AF65-F5344CB8AC3E}">
        <p14:creationId xmlns:p14="http://schemas.microsoft.com/office/powerpoint/2010/main" val="28760903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Cabeçalho de seção 1 1" preserve="1">
  <p:cSld name="Cabeçalho de seção 1 1">
    <p:bg>
      <p:bgPr>
        <a:gradFill>
          <a:gsLst>
            <a:gs pos="0">
              <a:srgbClr val="FF2C34"/>
            </a:gs>
            <a:gs pos="100000">
              <a:srgbClr val="6800FF"/>
            </a:gs>
          </a:gsLst>
          <a:lin ang="2698631" scaled="0"/>
        </a:gradFill>
        <a:effectLst/>
      </p:bgPr>
    </p:bg>
    <p:spTree>
      <p:nvGrpSpPr>
        <p:cNvPr id="1" name="Shape 48"/>
        <p:cNvGrpSpPr/>
        <p:nvPr/>
      </p:nvGrpSpPr>
      <p:grpSpPr>
        <a:xfrm>
          <a:off x="0" y="0"/>
          <a:ext cx="0" cy="0"/>
          <a:chOff x="0" y="0"/>
          <a:chExt cx="0" cy="0"/>
        </a:xfrm>
      </p:grpSpPr>
      <p:sp>
        <p:nvSpPr>
          <p:cNvPr id="49" name="Google Shape;49;p8"/>
          <p:cNvSpPr txBox="1">
            <a:spLocks noGrp="1"/>
          </p:cNvSpPr>
          <p:nvPr>
            <p:ph type="title"/>
          </p:nvPr>
        </p:nvSpPr>
        <p:spPr>
          <a:xfrm>
            <a:off x="1747350" y="3996900"/>
            <a:ext cx="10482600" cy="1683600"/>
          </a:xfrm>
          <a:prstGeom prst="rect">
            <a:avLst/>
          </a:prstGeom>
        </p:spPr>
        <p:txBody>
          <a:bodyPr spcFirstLastPara="1" wrap="square" lIns="91425" tIns="91425" rIns="91425" bIns="91425" anchor="ctr" anchorCtr="0">
            <a:noAutofit/>
          </a:bodyPr>
          <a:lstStyle>
            <a:lvl1pPr lvl="0" rtl="0">
              <a:spcBef>
                <a:spcPts val="0"/>
              </a:spcBef>
              <a:spcAft>
                <a:spcPts val="0"/>
              </a:spcAft>
              <a:buSzPts val="3600"/>
              <a:buFont typeface="Montserrat"/>
              <a:buNone/>
              <a:defRPr sz="7200" b="1">
                <a:latin typeface="Montserrat"/>
                <a:ea typeface="Montserrat"/>
                <a:cs typeface="Montserrat"/>
                <a:sym typeface="Montserrat"/>
              </a:defRPr>
            </a:lvl1pPr>
            <a:lvl2pPr lvl="1" rtl="0">
              <a:spcBef>
                <a:spcPts val="0"/>
              </a:spcBef>
              <a:spcAft>
                <a:spcPts val="0"/>
              </a:spcAft>
              <a:buSzPts val="3600"/>
              <a:buFont typeface="Montserrat"/>
              <a:buNone/>
              <a:defRPr sz="7200" b="1">
                <a:latin typeface="Montserrat"/>
                <a:ea typeface="Montserrat"/>
                <a:cs typeface="Montserrat"/>
                <a:sym typeface="Montserrat"/>
              </a:defRPr>
            </a:lvl2pPr>
            <a:lvl3pPr lvl="2" rtl="0">
              <a:spcBef>
                <a:spcPts val="0"/>
              </a:spcBef>
              <a:spcAft>
                <a:spcPts val="0"/>
              </a:spcAft>
              <a:buSzPts val="3600"/>
              <a:buFont typeface="Montserrat"/>
              <a:buNone/>
              <a:defRPr sz="7200" b="1">
                <a:latin typeface="Montserrat"/>
                <a:ea typeface="Montserrat"/>
                <a:cs typeface="Montserrat"/>
                <a:sym typeface="Montserrat"/>
              </a:defRPr>
            </a:lvl3pPr>
            <a:lvl4pPr lvl="3" rtl="0">
              <a:spcBef>
                <a:spcPts val="0"/>
              </a:spcBef>
              <a:spcAft>
                <a:spcPts val="0"/>
              </a:spcAft>
              <a:buSzPts val="3600"/>
              <a:buFont typeface="Montserrat"/>
              <a:buNone/>
              <a:defRPr sz="7200" b="1">
                <a:latin typeface="Montserrat"/>
                <a:ea typeface="Montserrat"/>
                <a:cs typeface="Montserrat"/>
                <a:sym typeface="Montserrat"/>
              </a:defRPr>
            </a:lvl4pPr>
            <a:lvl5pPr lvl="4" rtl="0">
              <a:spcBef>
                <a:spcPts val="0"/>
              </a:spcBef>
              <a:spcAft>
                <a:spcPts val="0"/>
              </a:spcAft>
              <a:buSzPts val="3600"/>
              <a:buFont typeface="Montserrat"/>
              <a:buNone/>
              <a:defRPr sz="7200" b="1">
                <a:latin typeface="Montserrat"/>
                <a:ea typeface="Montserrat"/>
                <a:cs typeface="Montserrat"/>
                <a:sym typeface="Montserrat"/>
              </a:defRPr>
            </a:lvl5pPr>
            <a:lvl6pPr lvl="5" rtl="0">
              <a:spcBef>
                <a:spcPts val="0"/>
              </a:spcBef>
              <a:spcAft>
                <a:spcPts val="0"/>
              </a:spcAft>
              <a:buSzPts val="3600"/>
              <a:buFont typeface="Montserrat"/>
              <a:buNone/>
              <a:defRPr sz="7200" b="1">
                <a:latin typeface="Montserrat"/>
                <a:ea typeface="Montserrat"/>
                <a:cs typeface="Montserrat"/>
                <a:sym typeface="Montserrat"/>
              </a:defRPr>
            </a:lvl6pPr>
            <a:lvl7pPr lvl="6" rtl="0">
              <a:spcBef>
                <a:spcPts val="0"/>
              </a:spcBef>
              <a:spcAft>
                <a:spcPts val="0"/>
              </a:spcAft>
              <a:buSzPts val="3600"/>
              <a:buFont typeface="Montserrat"/>
              <a:buNone/>
              <a:defRPr sz="7200" b="1">
                <a:latin typeface="Montserrat"/>
                <a:ea typeface="Montserrat"/>
                <a:cs typeface="Montserrat"/>
                <a:sym typeface="Montserrat"/>
              </a:defRPr>
            </a:lvl7pPr>
            <a:lvl8pPr lvl="7" rtl="0">
              <a:spcBef>
                <a:spcPts val="0"/>
              </a:spcBef>
              <a:spcAft>
                <a:spcPts val="0"/>
              </a:spcAft>
              <a:buSzPts val="3600"/>
              <a:buFont typeface="Montserrat"/>
              <a:buNone/>
              <a:defRPr sz="7200" b="1">
                <a:latin typeface="Montserrat"/>
                <a:ea typeface="Montserrat"/>
                <a:cs typeface="Montserrat"/>
                <a:sym typeface="Montserrat"/>
              </a:defRPr>
            </a:lvl8pPr>
            <a:lvl9pPr lvl="8" rtl="0">
              <a:spcBef>
                <a:spcPts val="0"/>
              </a:spcBef>
              <a:spcAft>
                <a:spcPts val="0"/>
              </a:spcAft>
              <a:buSzPts val="3600"/>
              <a:buFont typeface="Montserrat"/>
              <a:buNone/>
              <a:defRPr sz="7200" b="1">
                <a:latin typeface="Montserrat"/>
                <a:ea typeface="Montserrat"/>
                <a:cs typeface="Montserrat"/>
                <a:sym typeface="Montserrat"/>
              </a:defRPr>
            </a:lvl9pPr>
          </a:lstStyle>
          <a:p>
            <a:endParaRPr/>
          </a:p>
        </p:txBody>
      </p:sp>
      <p:sp>
        <p:nvSpPr>
          <p:cNvPr id="50" name="Google Shape;50;p8"/>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pic>
        <p:nvPicPr>
          <p:cNvPr id="51" name="Google Shape;51;p8"/>
          <p:cNvPicPr preferRelativeResize="0"/>
          <p:nvPr/>
        </p:nvPicPr>
        <p:blipFill>
          <a:blip r:embed="rId2" cstate="email">
            <a:alphaModFix/>
            <a:extLst>
              <a:ext uri="{28A0092B-C50C-407E-A947-70E740481C1C}">
                <a14:useLocalDpi xmlns:a14="http://schemas.microsoft.com/office/drawing/2010/main"/>
              </a:ext>
            </a:extLst>
          </a:blip>
          <a:stretch>
            <a:fillRect/>
          </a:stretch>
        </p:blipFill>
        <p:spPr>
          <a:xfrm>
            <a:off x="16183201" y="-304775"/>
            <a:ext cx="1799998" cy="1799998"/>
          </a:xfrm>
          <a:prstGeom prst="rect">
            <a:avLst/>
          </a:prstGeom>
          <a:noFill/>
          <a:ln>
            <a:noFill/>
          </a:ln>
        </p:spPr>
      </p:pic>
      <p:sp>
        <p:nvSpPr>
          <p:cNvPr id="52" name="Google Shape;52;p8"/>
          <p:cNvSpPr txBox="1">
            <a:spLocks noGrp="1"/>
          </p:cNvSpPr>
          <p:nvPr>
            <p:ph type="subTitle" idx="1"/>
          </p:nvPr>
        </p:nvSpPr>
        <p:spPr>
          <a:xfrm>
            <a:off x="8778900" y="8568450"/>
            <a:ext cx="9263400" cy="15852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9pPr>
          </a:lstStyle>
          <a:p>
            <a:endParaRPr/>
          </a:p>
        </p:txBody>
      </p:sp>
      <p:sp>
        <p:nvSpPr>
          <p:cNvPr id="53" name="Google Shape;53;p8"/>
          <p:cNvSpPr/>
          <p:nvPr/>
        </p:nvSpPr>
        <p:spPr>
          <a:xfrm>
            <a:off x="1976250" y="5403666"/>
            <a:ext cx="16311600" cy="14400"/>
          </a:xfrm>
          <a:prstGeom prst="rect">
            <a:avLst/>
          </a:prstGeom>
          <a:solidFill>
            <a:srgbClr val="222222"/>
          </a:soli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sz="2800"/>
          </a:p>
        </p:txBody>
      </p:sp>
    </p:spTree>
    <p:extLst>
      <p:ext uri="{BB962C8B-B14F-4D97-AF65-F5344CB8AC3E}">
        <p14:creationId xmlns:p14="http://schemas.microsoft.com/office/powerpoint/2010/main" val="36700646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Somente título 2 1 1 4 3">
  <p:cSld name="Somente título 2 1 1 4 3">
    <p:spTree>
      <p:nvGrpSpPr>
        <p:cNvPr id="1" name="Shape 236"/>
        <p:cNvGrpSpPr/>
        <p:nvPr/>
      </p:nvGrpSpPr>
      <p:grpSpPr>
        <a:xfrm>
          <a:off x="0" y="0"/>
          <a:ext cx="0" cy="0"/>
          <a:chOff x="0" y="0"/>
          <a:chExt cx="0" cy="0"/>
        </a:xfrm>
      </p:grpSpPr>
      <p:sp>
        <p:nvSpPr>
          <p:cNvPr id="237" name="Google Shape;237;p36"/>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pic>
        <p:nvPicPr>
          <p:cNvPr id="238" name="Google Shape;238;p36"/>
          <p:cNvPicPr preferRelativeResize="0"/>
          <p:nvPr/>
        </p:nvPicPr>
        <p:blipFill>
          <a:blip r:embed="rId2">
            <a:alphaModFix/>
          </a:blip>
          <a:stretch>
            <a:fillRect/>
          </a:stretch>
        </p:blipFill>
        <p:spPr>
          <a:xfrm>
            <a:off x="1" y="0"/>
            <a:ext cx="18288010" cy="10287000"/>
          </a:xfrm>
          <a:prstGeom prst="rect">
            <a:avLst/>
          </a:prstGeom>
          <a:noFill/>
          <a:ln>
            <a:noFill/>
          </a:ln>
        </p:spPr>
      </p:pic>
      <p:sp>
        <p:nvSpPr>
          <p:cNvPr id="239" name="Google Shape;239;p36"/>
          <p:cNvSpPr txBox="1">
            <a:spLocks noGrp="1"/>
          </p:cNvSpPr>
          <p:nvPr>
            <p:ph type="title"/>
          </p:nvPr>
        </p:nvSpPr>
        <p:spPr>
          <a:xfrm>
            <a:off x="623400" y="4418400"/>
            <a:ext cx="17041200" cy="11454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2000"/>
              <a:buNone/>
              <a:defRPr/>
            </a:lvl1pPr>
            <a:lvl2pPr lvl="1" algn="ctr" rtl="0">
              <a:spcBef>
                <a:spcPts val="0"/>
              </a:spcBef>
              <a:spcAft>
                <a:spcPts val="0"/>
              </a:spcAft>
              <a:buSzPts val="2000"/>
              <a:buNone/>
              <a:defRPr/>
            </a:lvl2pPr>
            <a:lvl3pPr lvl="2" algn="ctr" rtl="0">
              <a:spcBef>
                <a:spcPts val="0"/>
              </a:spcBef>
              <a:spcAft>
                <a:spcPts val="0"/>
              </a:spcAft>
              <a:buSzPts val="2000"/>
              <a:buNone/>
              <a:defRPr/>
            </a:lvl3pPr>
            <a:lvl4pPr lvl="3" algn="ctr" rtl="0">
              <a:spcBef>
                <a:spcPts val="0"/>
              </a:spcBef>
              <a:spcAft>
                <a:spcPts val="0"/>
              </a:spcAft>
              <a:buSzPts val="2000"/>
              <a:buNone/>
              <a:defRPr/>
            </a:lvl4pPr>
            <a:lvl5pPr lvl="4" algn="ctr" rtl="0">
              <a:spcBef>
                <a:spcPts val="0"/>
              </a:spcBef>
              <a:spcAft>
                <a:spcPts val="0"/>
              </a:spcAft>
              <a:buSzPts val="2000"/>
              <a:buNone/>
              <a:defRPr/>
            </a:lvl5pPr>
            <a:lvl6pPr lvl="5" algn="ctr" rtl="0">
              <a:spcBef>
                <a:spcPts val="0"/>
              </a:spcBef>
              <a:spcAft>
                <a:spcPts val="0"/>
              </a:spcAft>
              <a:buSzPts val="2000"/>
              <a:buNone/>
              <a:defRPr/>
            </a:lvl6pPr>
            <a:lvl7pPr lvl="6" algn="ctr" rtl="0">
              <a:spcBef>
                <a:spcPts val="0"/>
              </a:spcBef>
              <a:spcAft>
                <a:spcPts val="0"/>
              </a:spcAft>
              <a:buSzPts val="2000"/>
              <a:buNone/>
              <a:defRPr/>
            </a:lvl7pPr>
            <a:lvl8pPr lvl="7" algn="ctr" rtl="0">
              <a:spcBef>
                <a:spcPts val="0"/>
              </a:spcBef>
              <a:spcAft>
                <a:spcPts val="0"/>
              </a:spcAft>
              <a:buSzPts val="2000"/>
              <a:buNone/>
              <a:defRPr/>
            </a:lvl8pPr>
            <a:lvl9pPr lvl="8" algn="ctr" rtl="0">
              <a:spcBef>
                <a:spcPts val="0"/>
              </a:spcBef>
              <a:spcAft>
                <a:spcPts val="0"/>
              </a:spcAft>
              <a:buSzPts val="2000"/>
              <a:buNone/>
              <a:defRPr/>
            </a:lvl9pPr>
          </a:lstStyle>
          <a:p>
            <a:endParaRPr/>
          </a:p>
        </p:txBody>
      </p:sp>
      <p:pic>
        <p:nvPicPr>
          <p:cNvPr id="240" name="Google Shape;240;p36"/>
          <p:cNvPicPr preferRelativeResize="0"/>
          <p:nvPr/>
        </p:nvPicPr>
        <p:blipFill>
          <a:blip r:embed="rId3" cstate="email">
            <a:alphaModFix/>
            <a:extLst>
              <a:ext uri="{28A0092B-C50C-407E-A947-70E740481C1C}">
                <a14:useLocalDpi xmlns:a14="http://schemas.microsoft.com/office/drawing/2010/main"/>
              </a:ext>
            </a:extLst>
          </a:blip>
          <a:stretch>
            <a:fillRect/>
          </a:stretch>
        </p:blipFill>
        <p:spPr>
          <a:xfrm>
            <a:off x="16183201" y="-304775"/>
            <a:ext cx="1799998" cy="1799998"/>
          </a:xfrm>
          <a:prstGeom prst="rect">
            <a:avLst/>
          </a:prstGeom>
          <a:noFill/>
          <a:ln>
            <a:noFill/>
          </a:ln>
        </p:spPr>
      </p:pic>
      <p:sp>
        <p:nvSpPr>
          <p:cNvPr id="241" name="Google Shape;241;p36"/>
          <p:cNvSpPr txBox="1">
            <a:spLocks noGrp="1"/>
          </p:cNvSpPr>
          <p:nvPr>
            <p:ph type="subTitle" idx="1"/>
          </p:nvPr>
        </p:nvSpPr>
        <p:spPr>
          <a:xfrm>
            <a:off x="8778900" y="8568450"/>
            <a:ext cx="9263400" cy="15852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FFFFFF"/>
              </a:buClr>
              <a:buSzPts val="800"/>
              <a:buFont typeface="Montserrat Light"/>
              <a:buNone/>
              <a:defRPr sz="1600">
                <a:solidFill>
                  <a:srgbClr val="FFFFFF"/>
                </a:solidFill>
                <a:latin typeface="Montserrat Light"/>
                <a:ea typeface="Montserrat Light"/>
                <a:cs typeface="Montserrat Light"/>
                <a:sym typeface="Montserrat Light"/>
              </a:defRPr>
            </a:lvl9pPr>
          </a:lstStyle>
          <a:p>
            <a:endParaRPr/>
          </a:p>
        </p:txBody>
      </p:sp>
    </p:spTree>
    <p:extLst>
      <p:ext uri="{BB962C8B-B14F-4D97-AF65-F5344CB8AC3E}">
        <p14:creationId xmlns:p14="http://schemas.microsoft.com/office/powerpoint/2010/main" val="251234438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Título e corpo 3 1" preserve="1" userDrawn="1">
  <p:cSld name="Título e corpo 3 1">
    <p:bg>
      <p:bgPr>
        <a:solidFill>
          <a:srgbClr val="FFFFFF"/>
        </a:solidFill>
        <a:effectLst/>
      </p:bgPr>
    </p:bg>
    <p:spTree>
      <p:nvGrpSpPr>
        <p:cNvPr id="1" name="Shape 68"/>
        <p:cNvGrpSpPr/>
        <p:nvPr/>
      </p:nvGrpSpPr>
      <p:grpSpPr>
        <a:xfrm>
          <a:off x="0" y="0"/>
          <a:ext cx="0" cy="0"/>
          <a:chOff x="0" y="0"/>
          <a:chExt cx="0" cy="0"/>
        </a:xfrm>
      </p:grpSpPr>
      <p:sp>
        <p:nvSpPr>
          <p:cNvPr id="2" name="TextBox 18">
            <a:extLst>
              <a:ext uri="{FF2B5EF4-FFF2-40B4-BE49-F238E27FC236}">
                <a16:creationId xmlns:a16="http://schemas.microsoft.com/office/drawing/2014/main" id="{35655103-B5E5-ECB7-F1A0-664BA0E0EDC0}"/>
              </a:ext>
            </a:extLst>
          </p:cNvPr>
          <p:cNvSpPr txBox="1"/>
          <p:nvPr userDrawn="1"/>
        </p:nvSpPr>
        <p:spPr>
          <a:xfrm>
            <a:off x="719138" y="9367022"/>
            <a:ext cx="3255318" cy="459876"/>
          </a:xfrm>
          <a:prstGeom prst="rect">
            <a:avLst/>
          </a:prstGeom>
        </p:spPr>
        <p:txBody>
          <a:bodyPr lIns="0" tIns="0" rIns="0" bIns="0" rtlCol="0" anchor="t">
            <a:spAutoFit/>
          </a:bodyPr>
          <a:lstStyle/>
          <a:p>
            <a:pPr algn="l">
              <a:lnSpc>
                <a:spcPts val="2940"/>
              </a:lnSpc>
            </a:pPr>
            <a:r>
              <a:rPr lang="en-US" sz="1500">
                <a:solidFill>
                  <a:srgbClr val="575758"/>
                </a:solidFill>
                <a:latin typeface="Montserrat"/>
                <a:ea typeface="Montserrat"/>
                <a:cs typeface="Montserrat"/>
                <a:sym typeface="Montserrat"/>
              </a:rPr>
              <a:t>accelerate your essence</a:t>
            </a:r>
          </a:p>
        </p:txBody>
      </p:sp>
      <p:pic>
        <p:nvPicPr>
          <p:cNvPr id="4" name="Google Shape;72;p11">
            <a:extLst>
              <a:ext uri="{FF2B5EF4-FFF2-40B4-BE49-F238E27FC236}">
                <a16:creationId xmlns:a16="http://schemas.microsoft.com/office/drawing/2014/main" id="{161EBBE8-01BF-9FD6-7EFA-7E58DB6A4064}"/>
              </a:ext>
            </a:extLst>
          </p:cNvPr>
          <p:cNvPicPr preferRelativeResize="0"/>
          <p:nvPr userDrawn="1"/>
        </p:nvPicPr>
        <p:blipFill>
          <a:blip r:embed="rId2">
            <a:alphaModFix/>
          </a:blip>
          <a:stretch>
            <a:fillRect/>
          </a:stretch>
        </p:blipFill>
        <p:spPr>
          <a:xfrm>
            <a:off x="16132400" y="8860293"/>
            <a:ext cx="1800000" cy="1800000"/>
          </a:xfrm>
          <a:prstGeom prst="rect">
            <a:avLst/>
          </a:prstGeom>
          <a:noFill/>
          <a:ln>
            <a:noFill/>
          </a:ln>
        </p:spPr>
      </p:pic>
    </p:spTree>
    <p:extLst>
      <p:ext uri="{BB962C8B-B14F-4D97-AF65-F5344CB8AC3E}">
        <p14:creationId xmlns:p14="http://schemas.microsoft.com/office/powerpoint/2010/main" val="21244309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5/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º›</a:t>
            </a:fld>
            <a:endParaRPr lang="en-US"/>
          </a:p>
        </p:txBody>
      </p:sp>
    </p:spTree>
    <p:extLst>
      <p:ext uri="{BB962C8B-B14F-4D97-AF65-F5344CB8AC3E}">
        <p14:creationId xmlns:p14="http://schemas.microsoft.com/office/powerpoint/2010/main" val="25494361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5/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º›</a:t>
            </a:fld>
            <a:endParaRPr lang="en-US"/>
          </a:p>
        </p:txBody>
      </p:sp>
    </p:spTree>
    <p:extLst>
      <p:ext uri="{BB962C8B-B14F-4D97-AF65-F5344CB8AC3E}">
        <p14:creationId xmlns:p14="http://schemas.microsoft.com/office/powerpoint/2010/main" val="34729837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5/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º›</a:t>
            </a:fld>
            <a:endParaRPr lang="en-US"/>
          </a:p>
        </p:txBody>
      </p:sp>
    </p:spTree>
    <p:extLst>
      <p:ext uri="{BB962C8B-B14F-4D97-AF65-F5344CB8AC3E}">
        <p14:creationId xmlns:p14="http://schemas.microsoft.com/office/powerpoint/2010/main" val="13240775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5/9/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nº›</a:t>
            </a:fld>
            <a:endParaRPr lang="en-US"/>
          </a:p>
        </p:txBody>
      </p:sp>
    </p:spTree>
    <p:extLst>
      <p:ext uri="{BB962C8B-B14F-4D97-AF65-F5344CB8AC3E}">
        <p14:creationId xmlns:p14="http://schemas.microsoft.com/office/powerpoint/2010/main" val="40447740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5/9/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nº›</a:t>
            </a:fld>
            <a:endParaRPr lang="en-US"/>
          </a:p>
        </p:txBody>
      </p:sp>
    </p:spTree>
    <p:extLst>
      <p:ext uri="{BB962C8B-B14F-4D97-AF65-F5344CB8AC3E}">
        <p14:creationId xmlns:p14="http://schemas.microsoft.com/office/powerpoint/2010/main" val="148521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5/9/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nº›</a:t>
            </a:fld>
            <a:endParaRPr lang="en-US"/>
          </a:p>
        </p:txBody>
      </p:sp>
    </p:spTree>
    <p:extLst>
      <p:ext uri="{BB962C8B-B14F-4D97-AF65-F5344CB8AC3E}">
        <p14:creationId xmlns:p14="http://schemas.microsoft.com/office/powerpoint/2010/main" val="7106592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5/9/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nº›</a:t>
            </a:fld>
            <a:endParaRPr lang="en-US"/>
          </a:p>
        </p:txBody>
      </p:sp>
    </p:spTree>
    <p:extLst>
      <p:ext uri="{BB962C8B-B14F-4D97-AF65-F5344CB8AC3E}">
        <p14:creationId xmlns:p14="http://schemas.microsoft.com/office/powerpoint/2010/main" val="7054264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5/9/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nº›</a:t>
            </a:fld>
            <a:endParaRPr lang="en-US"/>
          </a:p>
        </p:txBody>
      </p:sp>
    </p:spTree>
    <p:extLst>
      <p:ext uri="{BB962C8B-B14F-4D97-AF65-F5344CB8AC3E}">
        <p14:creationId xmlns:p14="http://schemas.microsoft.com/office/powerpoint/2010/main" val="13205202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itle and body" type="tx" preserve="1">
  <p:cSld name="Title and body">
    <p:bg>
      <p:bgPr>
        <a:solidFill>
          <a:srgbClr val="FFFFFF"/>
        </a:solidFill>
        <a:effectLst/>
      </p:bgPr>
    </p:bg>
    <p:spTree>
      <p:nvGrpSpPr>
        <p:cNvPr id="1" name="Shape 54"/>
        <p:cNvGrpSpPr/>
        <p:nvPr/>
      </p:nvGrpSpPr>
      <p:grpSpPr>
        <a:xfrm>
          <a:off x="0" y="0"/>
          <a:ext cx="0" cy="0"/>
          <a:chOff x="0" y="0"/>
          <a:chExt cx="0" cy="0"/>
        </a:xfrm>
      </p:grpSpPr>
      <p:sp>
        <p:nvSpPr>
          <p:cNvPr id="55" name="Google Shape;55;p9"/>
          <p:cNvSpPr txBox="1">
            <a:spLocks noGrp="1"/>
          </p:cNvSpPr>
          <p:nvPr>
            <p:ph type="title"/>
          </p:nvPr>
        </p:nvSpPr>
        <p:spPr>
          <a:xfrm>
            <a:off x="1080600" y="1042450"/>
            <a:ext cx="10216200" cy="1145400"/>
          </a:xfrm>
          <a:prstGeom prst="rect">
            <a:avLst/>
          </a:prstGeom>
        </p:spPr>
        <p:txBody>
          <a:bodyPr spcFirstLastPara="1" wrap="square" lIns="91425" tIns="91425" rIns="91425" bIns="91425" anchor="t" anchorCtr="0">
            <a:noAutofit/>
          </a:bodyPr>
          <a:lstStyle>
            <a:lvl1pPr lvl="0">
              <a:spcBef>
                <a:spcPts val="0"/>
              </a:spcBef>
              <a:spcAft>
                <a:spcPts val="0"/>
              </a:spcAft>
              <a:buClr>
                <a:srgbClr val="222222"/>
              </a:buClr>
              <a:buSzPts val="2000"/>
              <a:buNone/>
              <a:defRPr sz="4000">
                <a:solidFill>
                  <a:srgbClr val="222222"/>
                </a:solidFill>
              </a:defRPr>
            </a:lvl1pPr>
            <a:lvl2pPr lvl="1">
              <a:spcBef>
                <a:spcPts val="0"/>
              </a:spcBef>
              <a:spcAft>
                <a:spcPts val="0"/>
              </a:spcAft>
              <a:buClr>
                <a:srgbClr val="222222"/>
              </a:buClr>
              <a:buSzPts val="2000"/>
              <a:buNone/>
              <a:defRPr>
                <a:solidFill>
                  <a:srgbClr val="222222"/>
                </a:solidFill>
              </a:defRPr>
            </a:lvl2pPr>
            <a:lvl3pPr lvl="2">
              <a:spcBef>
                <a:spcPts val="0"/>
              </a:spcBef>
              <a:spcAft>
                <a:spcPts val="0"/>
              </a:spcAft>
              <a:buClr>
                <a:srgbClr val="222222"/>
              </a:buClr>
              <a:buSzPts val="2000"/>
              <a:buNone/>
              <a:defRPr>
                <a:solidFill>
                  <a:srgbClr val="222222"/>
                </a:solidFill>
              </a:defRPr>
            </a:lvl3pPr>
            <a:lvl4pPr lvl="3">
              <a:spcBef>
                <a:spcPts val="0"/>
              </a:spcBef>
              <a:spcAft>
                <a:spcPts val="0"/>
              </a:spcAft>
              <a:buClr>
                <a:srgbClr val="222222"/>
              </a:buClr>
              <a:buSzPts val="2000"/>
              <a:buNone/>
              <a:defRPr>
                <a:solidFill>
                  <a:srgbClr val="222222"/>
                </a:solidFill>
              </a:defRPr>
            </a:lvl4pPr>
            <a:lvl5pPr lvl="4">
              <a:spcBef>
                <a:spcPts val="0"/>
              </a:spcBef>
              <a:spcAft>
                <a:spcPts val="0"/>
              </a:spcAft>
              <a:buClr>
                <a:srgbClr val="222222"/>
              </a:buClr>
              <a:buSzPts val="2000"/>
              <a:buNone/>
              <a:defRPr>
                <a:solidFill>
                  <a:srgbClr val="222222"/>
                </a:solidFill>
              </a:defRPr>
            </a:lvl5pPr>
            <a:lvl6pPr lvl="5">
              <a:spcBef>
                <a:spcPts val="0"/>
              </a:spcBef>
              <a:spcAft>
                <a:spcPts val="0"/>
              </a:spcAft>
              <a:buClr>
                <a:srgbClr val="222222"/>
              </a:buClr>
              <a:buSzPts val="2000"/>
              <a:buNone/>
              <a:defRPr>
                <a:solidFill>
                  <a:srgbClr val="222222"/>
                </a:solidFill>
              </a:defRPr>
            </a:lvl6pPr>
            <a:lvl7pPr lvl="6">
              <a:spcBef>
                <a:spcPts val="0"/>
              </a:spcBef>
              <a:spcAft>
                <a:spcPts val="0"/>
              </a:spcAft>
              <a:buClr>
                <a:srgbClr val="222222"/>
              </a:buClr>
              <a:buSzPts val="2000"/>
              <a:buNone/>
              <a:defRPr>
                <a:solidFill>
                  <a:srgbClr val="222222"/>
                </a:solidFill>
              </a:defRPr>
            </a:lvl7pPr>
            <a:lvl8pPr lvl="7">
              <a:spcBef>
                <a:spcPts val="0"/>
              </a:spcBef>
              <a:spcAft>
                <a:spcPts val="0"/>
              </a:spcAft>
              <a:buClr>
                <a:srgbClr val="222222"/>
              </a:buClr>
              <a:buSzPts val="2000"/>
              <a:buNone/>
              <a:defRPr>
                <a:solidFill>
                  <a:srgbClr val="222222"/>
                </a:solidFill>
              </a:defRPr>
            </a:lvl8pPr>
            <a:lvl9pPr lvl="8">
              <a:spcBef>
                <a:spcPts val="0"/>
              </a:spcBef>
              <a:spcAft>
                <a:spcPts val="0"/>
              </a:spcAft>
              <a:buClr>
                <a:srgbClr val="222222"/>
              </a:buClr>
              <a:buSzPts val="2000"/>
              <a:buNone/>
              <a:defRPr>
                <a:solidFill>
                  <a:srgbClr val="222222"/>
                </a:solidFill>
              </a:defRPr>
            </a:lvl9pPr>
          </a:lstStyle>
          <a:p>
            <a:endParaRPr/>
          </a:p>
        </p:txBody>
      </p:sp>
      <p:sp>
        <p:nvSpPr>
          <p:cNvPr id="56" name="Google Shape;56;p9"/>
          <p:cNvSpPr txBox="1">
            <a:spLocks noGrp="1"/>
          </p:cNvSpPr>
          <p:nvPr>
            <p:ph type="body" idx="1"/>
          </p:nvPr>
        </p:nvSpPr>
        <p:spPr>
          <a:xfrm>
            <a:off x="1080600" y="3130350"/>
            <a:ext cx="12462600" cy="5891400"/>
          </a:xfrm>
          <a:prstGeom prst="rect">
            <a:avLst/>
          </a:prstGeom>
        </p:spPr>
        <p:txBody>
          <a:bodyPr spcFirstLastPara="1" wrap="square" lIns="91425" tIns="91425" rIns="91425" bIns="91425" anchor="t" anchorCtr="0">
            <a:noAutofit/>
          </a:bodyPr>
          <a:lstStyle>
            <a:lvl1pPr marL="914400" lvl="0" indent="-609600">
              <a:spcBef>
                <a:spcPts val="0"/>
              </a:spcBef>
              <a:spcAft>
                <a:spcPts val="0"/>
              </a:spcAft>
              <a:buClr>
                <a:srgbClr val="222222"/>
              </a:buClr>
              <a:buSzPts val="1200"/>
              <a:buChar char="●"/>
              <a:defRPr sz="2400">
                <a:solidFill>
                  <a:srgbClr val="222222"/>
                </a:solidFill>
              </a:defRPr>
            </a:lvl1pPr>
            <a:lvl2pPr marL="1828800" lvl="1" indent="-609600">
              <a:spcBef>
                <a:spcPts val="3200"/>
              </a:spcBef>
              <a:spcAft>
                <a:spcPts val="0"/>
              </a:spcAft>
              <a:buClr>
                <a:srgbClr val="222222"/>
              </a:buClr>
              <a:buSzPts val="1200"/>
              <a:buChar char="○"/>
              <a:defRPr sz="2400">
                <a:solidFill>
                  <a:srgbClr val="222222"/>
                </a:solidFill>
              </a:defRPr>
            </a:lvl2pPr>
            <a:lvl3pPr marL="2743200" lvl="2" indent="-584200">
              <a:spcBef>
                <a:spcPts val="3200"/>
              </a:spcBef>
              <a:spcAft>
                <a:spcPts val="0"/>
              </a:spcAft>
              <a:buClr>
                <a:srgbClr val="222222"/>
              </a:buClr>
              <a:buSzPts val="1000"/>
              <a:buChar char="■"/>
              <a:defRPr sz="2000">
                <a:solidFill>
                  <a:srgbClr val="222222"/>
                </a:solidFill>
              </a:defRPr>
            </a:lvl3pPr>
            <a:lvl4pPr marL="3657600" lvl="3" indent="-584200">
              <a:spcBef>
                <a:spcPts val="3200"/>
              </a:spcBef>
              <a:spcAft>
                <a:spcPts val="0"/>
              </a:spcAft>
              <a:buClr>
                <a:srgbClr val="222222"/>
              </a:buClr>
              <a:buSzPts val="1000"/>
              <a:buChar char="●"/>
              <a:defRPr sz="2000">
                <a:solidFill>
                  <a:srgbClr val="222222"/>
                </a:solidFill>
              </a:defRPr>
            </a:lvl4pPr>
            <a:lvl5pPr marL="4572000" lvl="4" indent="-558800">
              <a:spcBef>
                <a:spcPts val="3200"/>
              </a:spcBef>
              <a:spcAft>
                <a:spcPts val="0"/>
              </a:spcAft>
              <a:buClr>
                <a:srgbClr val="222222"/>
              </a:buClr>
              <a:buSzPts val="800"/>
              <a:buChar char="○"/>
              <a:defRPr sz="1600">
                <a:solidFill>
                  <a:srgbClr val="222222"/>
                </a:solidFill>
              </a:defRPr>
            </a:lvl5pPr>
            <a:lvl6pPr marL="5486400" lvl="5" indent="-558800">
              <a:spcBef>
                <a:spcPts val="3200"/>
              </a:spcBef>
              <a:spcAft>
                <a:spcPts val="0"/>
              </a:spcAft>
              <a:buClr>
                <a:srgbClr val="222222"/>
              </a:buClr>
              <a:buSzPts val="800"/>
              <a:buChar char="■"/>
              <a:defRPr sz="1600">
                <a:solidFill>
                  <a:srgbClr val="222222"/>
                </a:solidFill>
              </a:defRPr>
            </a:lvl6pPr>
            <a:lvl7pPr marL="6400800" lvl="6" indent="-609600">
              <a:spcBef>
                <a:spcPts val="3200"/>
              </a:spcBef>
              <a:spcAft>
                <a:spcPts val="0"/>
              </a:spcAft>
              <a:buClr>
                <a:srgbClr val="222222"/>
              </a:buClr>
              <a:buSzPts val="1200"/>
              <a:buChar char="●"/>
              <a:defRPr>
                <a:solidFill>
                  <a:srgbClr val="222222"/>
                </a:solidFill>
              </a:defRPr>
            </a:lvl7pPr>
            <a:lvl8pPr marL="7315200" lvl="7" indent="-609600">
              <a:spcBef>
                <a:spcPts val="3200"/>
              </a:spcBef>
              <a:spcAft>
                <a:spcPts val="0"/>
              </a:spcAft>
              <a:buClr>
                <a:srgbClr val="222222"/>
              </a:buClr>
              <a:buSzPts val="1200"/>
              <a:buChar char="○"/>
              <a:defRPr>
                <a:solidFill>
                  <a:srgbClr val="222222"/>
                </a:solidFill>
              </a:defRPr>
            </a:lvl8pPr>
            <a:lvl9pPr marL="8229600" lvl="8" indent="-609600">
              <a:spcBef>
                <a:spcPts val="3200"/>
              </a:spcBef>
              <a:spcAft>
                <a:spcPts val="3200"/>
              </a:spcAft>
              <a:buClr>
                <a:srgbClr val="222222"/>
              </a:buClr>
              <a:buSzPts val="1200"/>
              <a:buChar char="■"/>
              <a:defRPr>
                <a:solidFill>
                  <a:srgbClr val="222222"/>
                </a:solidFill>
              </a:defRPr>
            </a:lvl9pPr>
          </a:lstStyle>
          <a:p>
            <a:endParaRPr/>
          </a:p>
        </p:txBody>
      </p:sp>
      <p:sp>
        <p:nvSpPr>
          <p:cNvPr id="57" name="Google Shape;57;p9"/>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pt-BR" smtClean="0"/>
              <a:pPr/>
              <a:t>‹nº›</a:t>
            </a:fld>
            <a:endParaRPr lang="pt-BR"/>
          </a:p>
        </p:txBody>
      </p:sp>
      <p:pic>
        <p:nvPicPr>
          <p:cNvPr id="58" name="Google Shape;58;p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3543251" y="0"/>
            <a:ext cx="4744754" cy="4093548"/>
          </a:xfrm>
          <a:prstGeom prst="rect">
            <a:avLst/>
          </a:prstGeom>
          <a:noFill/>
          <a:ln>
            <a:noFill/>
          </a:ln>
        </p:spPr>
      </p:pic>
      <p:pic>
        <p:nvPicPr>
          <p:cNvPr id="59" name="Google Shape;59;p9"/>
          <p:cNvPicPr preferRelativeResize="0"/>
          <p:nvPr/>
        </p:nvPicPr>
        <p:blipFill>
          <a:blip r:embed="rId3" cstate="email">
            <a:alphaModFix/>
            <a:extLst>
              <a:ext uri="{28A0092B-C50C-407E-A947-70E740481C1C}">
                <a14:useLocalDpi xmlns:a14="http://schemas.microsoft.com/office/drawing/2010/main"/>
              </a:ext>
            </a:extLst>
          </a:blip>
          <a:stretch>
            <a:fillRect/>
          </a:stretch>
        </p:blipFill>
        <p:spPr>
          <a:xfrm>
            <a:off x="16183201" y="-304799"/>
            <a:ext cx="1799998" cy="1799998"/>
          </a:xfrm>
          <a:prstGeom prst="rect">
            <a:avLst/>
          </a:prstGeom>
          <a:noFill/>
          <a:ln>
            <a:noFill/>
          </a:ln>
        </p:spPr>
      </p:pic>
      <p:sp>
        <p:nvSpPr>
          <p:cNvPr id="60" name="Google Shape;60;p9"/>
          <p:cNvSpPr txBox="1">
            <a:spLocks noGrp="1"/>
          </p:cNvSpPr>
          <p:nvPr>
            <p:ph type="subTitle" idx="2"/>
          </p:nvPr>
        </p:nvSpPr>
        <p:spPr>
          <a:xfrm>
            <a:off x="8778900" y="8568450"/>
            <a:ext cx="9263400" cy="15852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9pPr>
          </a:lstStyle>
          <a:p>
            <a:endParaRPr/>
          </a:p>
        </p:txBody>
      </p:sp>
    </p:spTree>
    <p:extLst>
      <p:ext uri="{BB962C8B-B14F-4D97-AF65-F5344CB8AC3E}">
        <p14:creationId xmlns:p14="http://schemas.microsoft.com/office/powerpoint/2010/main" val="20315185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5/9/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nº›</a:t>
            </a:fld>
            <a:endParaRPr lang="en-US"/>
          </a:p>
        </p:txBody>
      </p:sp>
    </p:spTree>
    <p:extLst>
      <p:ext uri="{BB962C8B-B14F-4D97-AF65-F5344CB8AC3E}">
        <p14:creationId xmlns:p14="http://schemas.microsoft.com/office/powerpoint/2010/main" val="36382464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5/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º›</a:t>
            </a:fld>
            <a:endParaRPr lang="en-US"/>
          </a:p>
        </p:txBody>
      </p:sp>
    </p:spTree>
    <p:extLst>
      <p:ext uri="{BB962C8B-B14F-4D97-AF65-F5344CB8AC3E}">
        <p14:creationId xmlns:p14="http://schemas.microsoft.com/office/powerpoint/2010/main" val="25135338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5/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º›</a:t>
            </a:fld>
            <a:endParaRPr lang="en-US"/>
          </a:p>
        </p:txBody>
      </p:sp>
    </p:spTree>
    <p:extLst>
      <p:ext uri="{BB962C8B-B14F-4D97-AF65-F5344CB8AC3E}">
        <p14:creationId xmlns:p14="http://schemas.microsoft.com/office/powerpoint/2010/main" val="39757030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Somente título 1 1">
  <p:cSld name="Somente título 1 1">
    <p:spTree>
      <p:nvGrpSpPr>
        <p:cNvPr id="1" name="Shape 394"/>
        <p:cNvGrpSpPr/>
        <p:nvPr/>
      </p:nvGrpSpPr>
      <p:grpSpPr>
        <a:xfrm>
          <a:off x="0" y="0"/>
          <a:ext cx="0" cy="0"/>
          <a:chOff x="0" y="0"/>
          <a:chExt cx="0" cy="0"/>
        </a:xfrm>
      </p:grpSpPr>
      <p:pic>
        <p:nvPicPr>
          <p:cNvPr id="395" name="Google Shape;395;p61"/>
          <p:cNvPicPr preferRelativeResize="0"/>
          <p:nvPr/>
        </p:nvPicPr>
        <p:blipFill rotWithShape="1">
          <a:blip r:embed="rId2">
            <a:alphaModFix/>
          </a:blip>
          <a:srcRect t="12968" b="2657"/>
          <a:stretch/>
        </p:blipFill>
        <p:spPr>
          <a:xfrm>
            <a:off x="0" y="1"/>
            <a:ext cx="18288012" cy="10286993"/>
          </a:xfrm>
          <a:prstGeom prst="rect">
            <a:avLst/>
          </a:prstGeom>
          <a:noFill/>
          <a:ln>
            <a:noFill/>
          </a:ln>
        </p:spPr>
      </p:pic>
      <p:sp>
        <p:nvSpPr>
          <p:cNvPr id="396" name="Google Shape;396;p61"/>
          <p:cNvSpPr txBox="1">
            <a:spLocks noGrp="1"/>
          </p:cNvSpPr>
          <p:nvPr>
            <p:ph type="title"/>
          </p:nvPr>
        </p:nvSpPr>
        <p:spPr>
          <a:xfrm>
            <a:off x="623400" y="4418400"/>
            <a:ext cx="17041200" cy="11454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2000"/>
              <a:buNone/>
              <a:defRPr/>
            </a:lvl1pPr>
            <a:lvl2pPr lvl="1" algn="ctr" rtl="0">
              <a:spcBef>
                <a:spcPts val="0"/>
              </a:spcBef>
              <a:spcAft>
                <a:spcPts val="0"/>
              </a:spcAft>
              <a:buSzPts val="2000"/>
              <a:buNone/>
              <a:defRPr/>
            </a:lvl2pPr>
            <a:lvl3pPr lvl="2" algn="ctr" rtl="0">
              <a:spcBef>
                <a:spcPts val="0"/>
              </a:spcBef>
              <a:spcAft>
                <a:spcPts val="0"/>
              </a:spcAft>
              <a:buSzPts val="2000"/>
              <a:buNone/>
              <a:defRPr/>
            </a:lvl3pPr>
            <a:lvl4pPr lvl="3" algn="ctr" rtl="0">
              <a:spcBef>
                <a:spcPts val="0"/>
              </a:spcBef>
              <a:spcAft>
                <a:spcPts val="0"/>
              </a:spcAft>
              <a:buSzPts val="2000"/>
              <a:buNone/>
              <a:defRPr/>
            </a:lvl4pPr>
            <a:lvl5pPr lvl="4" algn="ctr" rtl="0">
              <a:spcBef>
                <a:spcPts val="0"/>
              </a:spcBef>
              <a:spcAft>
                <a:spcPts val="0"/>
              </a:spcAft>
              <a:buSzPts val="2000"/>
              <a:buNone/>
              <a:defRPr/>
            </a:lvl5pPr>
            <a:lvl6pPr lvl="5" algn="ctr" rtl="0">
              <a:spcBef>
                <a:spcPts val="0"/>
              </a:spcBef>
              <a:spcAft>
                <a:spcPts val="0"/>
              </a:spcAft>
              <a:buSzPts val="2000"/>
              <a:buNone/>
              <a:defRPr/>
            </a:lvl6pPr>
            <a:lvl7pPr lvl="6" algn="ctr" rtl="0">
              <a:spcBef>
                <a:spcPts val="0"/>
              </a:spcBef>
              <a:spcAft>
                <a:spcPts val="0"/>
              </a:spcAft>
              <a:buSzPts val="2000"/>
              <a:buNone/>
              <a:defRPr/>
            </a:lvl7pPr>
            <a:lvl8pPr lvl="7" algn="ctr" rtl="0">
              <a:spcBef>
                <a:spcPts val="0"/>
              </a:spcBef>
              <a:spcAft>
                <a:spcPts val="0"/>
              </a:spcAft>
              <a:buSzPts val="2000"/>
              <a:buNone/>
              <a:defRPr/>
            </a:lvl8pPr>
            <a:lvl9pPr lvl="8" algn="ctr" rtl="0">
              <a:spcBef>
                <a:spcPts val="0"/>
              </a:spcBef>
              <a:spcAft>
                <a:spcPts val="0"/>
              </a:spcAft>
              <a:buSzPts val="2000"/>
              <a:buNone/>
              <a:defRPr/>
            </a:lvl9pPr>
          </a:lstStyle>
          <a:p>
            <a:endParaRPr/>
          </a:p>
        </p:txBody>
      </p:sp>
      <p:sp>
        <p:nvSpPr>
          <p:cNvPr id="397" name="Google Shape;397;p61"/>
          <p:cNvSpPr txBox="1">
            <a:spLocks noGrp="1"/>
          </p:cNvSpPr>
          <p:nvPr>
            <p:ph type="sldNum" idx="12"/>
          </p:nvPr>
        </p:nvSpPr>
        <p:spPr>
          <a:xfrm>
            <a:off x="16944917" y="9326435"/>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marR="0" lvl="0" indent="0" algn="r" defTabSz="1828755"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pt-BR" sz="2000" b="0" i="0" u="none" strike="noStrike" kern="0" cap="none" spc="0" normalizeH="0" baseline="0" noProof="0">
                <a:ln>
                  <a:noFill/>
                </a:ln>
                <a:solidFill>
                  <a:srgbClr val="ADADAD"/>
                </a:solidFill>
                <a:effectLst/>
                <a:uLnTx/>
                <a:uFillTx/>
                <a:latin typeface="Arial"/>
                <a:cs typeface="Arial"/>
                <a:sym typeface="Arial"/>
              </a:rPr>
              <a:pPr marL="0" marR="0" lvl="0" indent="0" algn="r" defTabSz="1828755" rtl="0" eaLnBrk="1" fontAlgn="auto" latinLnBrk="0" hangingPunct="1">
                <a:lnSpc>
                  <a:spcPct val="100000"/>
                </a:lnSpc>
                <a:spcBef>
                  <a:spcPts val="0"/>
                </a:spcBef>
                <a:spcAft>
                  <a:spcPts val="0"/>
                </a:spcAft>
                <a:buClr>
                  <a:srgbClr val="000000"/>
                </a:buClr>
                <a:buSzTx/>
                <a:buFont typeface="Arial"/>
                <a:buNone/>
                <a:tabLst/>
                <a:defRPr/>
              </a:pPr>
              <a:t>‹nº›</a:t>
            </a:fld>
            <a:endParaRPr kumimoji="0" sz="2000" b="0" i="0" u="none" strike="noStrike" kern="0" cap="none" spc="0" normalizeH="0" baseline="0" noProof="0">
              <a:ln>
                <a:noFill/>
              </a:ln>
              <a:solidFill>
                <a:srgbClr val="ADADAD"/>
              </a:solidFill>
              <a:effectLst/>
              <a:uLnTx/>
              <a:uFillTx/>
              <a:latin typeface="Arial"/>
              <a:cs typeface="Arial"/>
              <a:sym typeface="Arial"/>
            </a:endParaRPr>
          </a:p>
        </p:txBody>
      </p:sp>
    </p:spTree>
    <p:extLst>
      <p:ext uri="{BB962C8B-B14F-4D97-AF65-F5344CB8AC3E}">
        <p14:creationId xmlns:p14="http://schemas.microsoft.com/office/powerpoint/2010/main" val="36773418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9"/>
        <p:cNvGrpSpPr/>
        <p:nvPr/>
      </p:nvGrpSpPr>
      <p:grpSpPr>
        <a:xfrm>
          <a:off x="0" y="0"/>
          <a:ext cx="0" cy="0"/>
          <a:chOff x="0" y="0"/>
          <a:chExt cx="0" cy="0"/>
        </a:xfrm>
      </p:grpSpPr>
      <p:sp>
        <p:nvSpPr>
          <p:cNvPr id="10" name="Google Shape;10;p2"/>
          <p:cNvSpPr txBox="1">
            <a:spLocks noGrp="1"/>
          </p:cNvSpPr>
          <p:nvPr>
            <p:ph type="ctrTitle"/>
          </p:nvPr>
        </p:nvSpPr>
        <p:spPr>
          <a:xfrm>
            <a:off x="623416" y="1489150"/>
            <a:ext cx="17041200" cy="4105200"/>
          </a:xfrm>
          <a:prstGeom prst="rect">
            <a:avLst/>
          </a:prstGeom>
        </p:spPr>
        <p:txBody>
          <a:bodyPr spcFirstLastPara="1" wrap="square" lIns="91425" tIns="91425" rIns="91425" bIns="91425" anchor="b" anchorCtr="0">
            <a:normAutofit/>
          </a:bodyPr>
          <a:lstStyle>
            <a:lvl1pPr lvl="0" algn="ctr">
              <a:spcBef>
                <a:spcPts val="0"/>
              </a:spcBef>
              <a:spcAft>
                <a:spcPts val="0"/>
              </a:spcAft>
              <a:buSzPts val="5200"/>
              <a:buNone/>
              <a:defRPr sz="10400"/>
            </a:lvl1pPr>
            <a:lvl2pPr lvl="1" algn="ctr">
              <a:spcBef>
                <a:spcPts val="0"/>
              </a:spcBef>
              <a:spcAft>
                <a:spcPts val="0"/>
              </a:spcAft>
              <a:buSzPts val="5200"/>
              <a:buNone/>
              <a:defRPr sz="10400"/>
            </a:lvl2pPr>
            <a:lvl3pPr lvl="2" algn="ctr">
              <a:spcBef>
                <a:spcPts val="0"/>
              </a:spcBef>
              <a:spcAft>
                <a:spcPts val="0"/>
              </a:spcAft>
              <a:buSzPts val="5200"/>
              <a:buNone/>
              <a:defRPr sz="10400"/>
            </a:lvl3pPr>
            <a:lvl4pPr lvl="3" algn="ctr">
              <a:spcBef>
                <a:spcPts val="0"/>
              </a:spcBef>
              <a:spcAft>
                <a:spcPts val="0"/>
              </a:spcAft>
              <a:buSzPts val="5200"/>
              <a:buNone/>
              <a:defRPr sz="10400"/>
            </a:lvl4pPr>
            <a:lvl5pPr lvl="4" algn="ctr">
              <a:spcBef>
                <a:spcPts val="0"/>
              </a:spcBef>
              <a:spcAft>
                <a:spcPts val="0"/>
              </a:spcAft>
              <a:buSzPts val="5200"/>
              <a:buNone/>
              <a:defRPr sz="10400"/>
            </a:lvl5pPr>
            <a:lvl6pPr lvl="5" algn="ctr">
              <a:spcBef>
                <a:spcPts val="0"/>
              </a:spcBef>
              <a:spcAft>
                <a:spcPts val="0"/>
              </a:spcAft>
              <a:buSzPts val="5200"/>
              <a:buNone/>
              <a:defRPr sz="10400"/>
            </a:lvl6pPr>
            <a:lvl7pPr lvl="6" algn="ctr">
              <a:spcBef>
                <a:spcPts val="0"/>
              </a:spcBef>
              <a:spcAft>
                <a:spcPts val="0"/>
              </a:spcAft>
              <a:buSzPts val="5200"/>
              <a:buNone/>
              <a:defRPr sz="10400"/>
            </a:lvl7pPr>
            <a:lvl8pPr lvl="7" algn="ctr">
              <a:spcBef>
                <a:spcPts val="0"/>
              </a:spcBef>
              <a:spcAft>
                <a:spcPts val="0"/>
              </a:spcAft>
              <a:buSzPts val="5200"/>
              <a:buNone/>
              <a:defRPr sz="10400"/>
            </a:lvl8pPr>
            <a:lvl9pPr lvl="8" algn="ctr">
              <a:spcBef>
                <a:spcPts val="0"/>
              </a:spcBef>
              <a:spcAft>
                <a:spcPts val="0"/>
              </a:spcAft>
              <a:buSzPts val="5200"/>
              <a:buNone/>
              <a:defRPr sz="10400"/>
            </a:lvl9pPr>
          </a:lstStyle>
          <a:p>
            <a:endParaRPr/>
          </a:p>
        </p:txBody>
      </p:sp>
      <p:sp>
        <p:nvSpPr>
          <p:cNvPr id="11" name="Google Shape;11;p2"/>
          <p:cNvSpPr txBox="1">
            <a:spLocks noGrp="1"/>
          </p:cNvSpPr>
          <p:nvPr>
            <p:ph type="subTitle" idx="1"/>
          </p:nvPr>
        </p:nvSpPr>
        <p:spPr>
          <a:xfrm>
            <a:off x="623400" y="5668250"/>
            <a:ext cx="17041200" cy="1585200"/>
          </a:xfrm>
          <a:prstGeom prst="rect">
            <a:avLst/>
          </a:prstGeom>
        </p:spPr>
        <p:txBody>
          <a:bodyPr spcFirstLastPara="1" wrap="square" lIns="91425" tIns="91425" rIns="91425" bIns="91425" anchor="t" anchorCtr="0">
            <a:normAutofit/>
          </a:bodyPr>
          <a:lstStyle>
            <a:lvl1pPr lvl="0" algn="ctr">
              <a:lnSpc>
                <a:spcPct val="100000"/>
              </a:lnSpc>
              <a:spcBef>
                <a:spcPts val="0"/>
              </a:spcBef>
              <a:spcAft>
                <a:spcPts val="0"/>
              </a:spcAft>
              <a:buSzPts val="2800"/>
              <a:buNone/>
              <a:defRPr sz="5600"/>
            </a:lvl1pPr>
            <a:lvl2pPr lvl="1" algn="ctr">
              <a:lnSpc>
                <a:spcPct val="100000"/>
              </a:lnSpc>
              <a:spcBef>
                <a:spcPts val="0"/>
              </a:spcBef>
              <a:spcAft>
                <a:spcPts val="0"/>
              </a:spcAft>
              <a:buSzPts val="2800"/>
              <a:buNone/>
              <a:defRPr sz="5600"/>
            </a:lvl2pPr>
            <a:lvl3pPr lvl="2" algn="ctr">
              <a:lnSpc>
                <a:spcPct val="100000"/>
              </a:lnSpc>
              <a:spcBef>
                <a:spcPts val="0"/>
              </a:spcBef>
              <a:spcAft>
                <a:spcPts val="0"/>
              </a:spcAft>
              <a:buSzPts val="2800"/>
              <a:buNone/>
              <a:defRPr sz="5600"/>
            </a:lvl3pPr>
            <a:lvl4pPr lvl="3" algn="ctr">
              <a:lnSpc>
                <a:spcPct val="100000"/>
              </a:lnSpc>
              <a:spcBef>
                <a:spcPts val="0"/>
              </a:spcBef>
              <a:spcAft>
                <a:spcPts val="0"/>
              </a:spcAft>
              <a:buSzPts val="2800"/>
              <a:buNone/>
              <a:defRPr sz="5600"/>
            </a:lvl4pPr>
            <a:lvl5pPr lvl="4" algn="ctr">
              <a:lnSpc>
                <a:spcPct val="100000"/>
              </a:lnSpc>
              <a:spcBef>
                <a:spcPts val="0"/>
              </a:spcBef>
              <a:spcAft>
                <a:spcPts val="0"/>
              </a:spcAft>
              <a:buSzPts val="2800"/>
              <a:buNone/>
              <a:defRPr sz="5600"/>
            </a:lvl5pPr>
            <a:lvl6pPr lvl="5" algn="ctr">
              <a:lnSpc>
                <a:spcPct val="100000"/>
              </a:lnSpc>
              <a:spcBef>
                <a:spcPts val="0"/>
              </a:spcBef>
              <a:spcAft>
                <a:spcPts val="0"/>
              </a:spcAft>
              <a:buSzPts val="2800"/>
              <a:buNone/>
              <a:defRPr sz="5600"/>
            </a:lvl6pPr>
            <a:lvl7pPr lvl="6" algn="ctr">
              <a:lnSpc>
                <a:spcPct val="100000"/>
              </a:lnSpc>
              <a:spcBef>
                <a:spcPts val="0"/>
              </a:spcBef>
              <a:spcAft>
                <a:spcPts val="0"/>
              </a:spcAft>
              <a:buSzPts val="2800"/>
              <a:buNone/>
              <a:defRPr sz="5600"/>
            </a:lvl7pPr>
            <a:lvl8pPr lvl="7" algn="ctr">
              <a:lnSpc>
                <a:spcPct val="100000"/>
              </a:lnSpc>
              <a:spcBef>
                <a:spcPts val="0"/>
              </a:spcBef>
              <a:spcAft>
                <a:spcPts val="0"/>
              </a:spcAft>
              <a:buSzPts val="2800"/>
              <a:buNone/>
              <a:defRPr sz="5600"/>
            </a:lvl8pPr>
            <a:lvl9pPr lvl="8" algn="ctr">
              <a:lnSpc>
                <a:spcPct val="100000"/>
              </a:lnSpc>
              <a:spcBef>
                <a:spcPts val="0"/>
              </a:spcBef>
              <a:spcAft>
                <a:spcPts val="0"/>
              </a:spcAft>
              <a:buSzPts val="2800"/>
              <a:buNone/>
              <a:defRPr sz="5600"/>
            </a:lvl9pPr>
          </a:lstStyle>
          <a:p>
            <a:endParaRPr/>
          </a:p>
        </p:txBody>
      </p:sp>
      <p:sp>
        <p:nvSpPr>
          <p:cNvPr id="12" name="Google Shape;12;p2"/>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181206555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3"/>
        <p:cNvGrpSpPr/>
        <p:nvPr/>
      </p:nvGrpSpPr>
      <p:grpSpPr>
        <a:xfrm>
          <a:off x="0" y="0"/>
          <a:ext cx="0" cy="0"/>
          <a:chOff x="0" y="0"/>
          <a:chExt cx="0" cy="0"/>
        </a:xfrm>
      </p:grpSpPr>
      <p:sp>
        <p:nvSpPr>
          <p:cNvPr id="14" name="Google Shape;14;p3"/>
          <p:cNvSpPr txBox="1">
            <a:spLocks noGrp="1"/>
          </p:cNvSpPr>
          <p:nvPr>
            <p:ph type="title"/>
          </p:nvPr>
        </p:nvSpPr>
        <p:spPr>
          <a:xfrm>
            <a:off x="623400" y="4301700"/>
            <a:ext cx="17041200" cy="1683600"/>
          </a:xfrm>
          <a:prstGeom prst="rect">
            <a:avLst/>
          </a:prstGeom>
        </p:spPr>
        <p:txBody>
          <a:bodyPr spcFirstLastPara="1" wrap="square" lIns="91425" tIns="91425" rIns="91425" bIns="91425" anchor="ctr" anchorCtr="0">
            <a:normAutofit/>
          </a:bodyPr>
          <a:lstStyle>
            <a:lvl1pPr lvl="0" algn="ctr">
              <a:spcBef>
                <a:spcPts val="0"/>
              </a:spcBef>
              <a:spcAft>
                <a:spcPts val="0"/>
              </a:spcAft>
              <a:buSzPts val="3600"/>
              <a:buNone/>
              <a:defRPr sz="7200"/>
            </a:lvl1pPr>
            <a:lvl2pPr lvl="1" algn="ctr">
              <a:spcBef>
                <a:spcPts val="0"/>
              </a:spcBef>
              <a:spcAft>
                <a:spcPts val="0"/>
              </a:spcAft>
              <a:buSzPts val="3600"/>
              <a:buNone/>
              <a:defRPr sz="7200"/>
            </a:lvl2pPr>
            <a:lvl3pPr lvl="2" algn="ctr">
              <a:spcBef>
                <a:spcPts val="0"/>
              </a:spcBef>
              <a:spcAft>
                <a:spcPts val="0"/>
              </a:spcAft>
              <a:buSzPts val="3600"/>
              <a:buNone/>
              <a:defRPr sz="7200"/>
            </a:lvl3pPr>
            <a:lvl4pPr lvl="3" algn="ctr">
              <a:spcBef>
                <a:spcPts val="0"/>
              </a:spcBef>
              <a:spcAft>
                <a:spcPts val="0"/>
              </a:spcAft>
              <a:buSzPts val="3600"/>
              <a:buNone/>
              <a:defRPr sz="7200"/>
            </a:lvl4pPr>
            <a:lvl5pPr lvl="4" algn="ctr">
              <a:spcBef>
                <a:spcPts val="0"/>
              </a:spcBef>
              <a:spcAft>
                <a:spcPts val="0"/>
              </a:spcAft>
              <a:buSzPts val="3600"/>
              <a:buNone/>
              <a:defRPr sz="7200"/>
            </a:lvl5pPr>
            <a:lvl6pPr lvl="5" algn="ctr">
              <a:spcBef>
                <a:spcPts val="0"/>
              </a:spcBef>
              <a:spcAft>
                <a:spcPts val="0"/>
              </a:spcAft>
              <a:buSzPts val="3600"/>
              <a:buNone/>
              <a:defRPr sz="7200"/>
            </a:lvl6pPr>
            <a:lvl7pPr lvl="6" algn="ctr">
              <a:spcBef>
                <a:spcPts val="0"/>
              </a:spcBef>
              <a:spcAft>
                <a:spcPts val="0"/>
              </a:spcAft>
              <a:buSzPts val="3600"/>
              <a:buNone/>
              <a:defRPr sz="7200"/>
            </a:lvl7pPr>
            <a:lvl8pPr lvl="7" algn="ctr">
              <a:spcBef>
                <a:spcPts val="0"/>
              </a:spcBef>
              <a:spcAft>
                <a:spcPts val="0"/>
              </a:spcAft>
              <a:buSzPts val="3600"/>
              <a:buNone/>
              <a:defRPr sz="7200"/>
            </a:lvl8pPr>
            <a:lvl9pPr lvl="8" algn="ctr">
              <a:spcBef>
                <a:spcPts val="0"/>
              </a:spcBef>
              <a:spcAft>
                <a:spcPts val="0"/>
              </a:spcAft>
              <a:buSzPts val="3600"/>
              <a:buNone/>
              <a:defRPr sz="7200"/>
            </a:lvl9pPr>
          </a:lstStyle>
          <a:p>
            <a:endParaRPr/>
          </a:p>
        </p:txBody>
      </p:sp>
      <p:sp>
        <p:nvSpPr>
          <p:cNvPr id="15" name="Google Shape;15;p3"/>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6801593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623400" y="890050"/>
            <a:ext cx="17041200" cy="11454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623400" y="2304950"/>
            <a:ext cx="17041200" cy="6832800"/>
          </a:xfrm>
          <a:prstGeom prst="rect">
            <a:avLst/>
          </a:prstGeom>
        </p:spPr>
        <p:txBody>
          <a:bodyPr spcFirstLastPara="1" wrap="square" lIns="91425" tIns="91425" rIns="91425" bIns="91425" anchor="t" anchorCtr="0">
            <a:normAutofit/>
          </a:bodyPr>
          <a:lstStyle>
            <a:lvl1pPr marL="914400" lvl="0" indent="-685800">
              <a:spcBef>
                <a:spcPts val="0"/>
              </a:spcBef>
              <a:spcAft>
                <a:spcPts val="0"/>
              </a:spcAft>
              <a:buSzPts val="1800"/>
              <a:buChar char="●"/>
              <a:defRPr/>
            </a:lvl1pPr>
            <a:lvl2pPr marL="1828800" lvl="1" indent="-635000">
              <a:spcBef>
                <a:spcPts val="0"/>
              </a:spcBef>
              <a:spcAft>
                <a:spcPts val="0"/>
              </a:spcAft>
              <a:buSzPts val="1400"/>
              <a:buChar char="○"/>
              <a:defRPr/>
            </a:lvl2pPr>
            <a:lvl3pPr marL="2743200" lvl="2" indent="-635000">
              <a:spcBef>
                <a:spcPts val="0"/>
              </a:spcBef>
              <a:spcAft>
                <a:spcPts val="0"/>
              </a:spcAft>
              <a:buSzPts val="1400"/>
              <a:buChar char="■"/>
              <a:defRPr/>
            </a:lvl3pPr>
            <a:lvl4pPr marL="3657600" lvl="3" indent="-635000">
              <a:spcBef>
                <a:spcPts val="0"/>
              </a:spcBef>
              <a:spcAft>
                <a:spcPts val="0"/>
              </a:spcAft>
              <a:buSzPts val="1400"/>
              <a:buChar char="●"/>
              <a:defRPr/>
            </a:lvl4pPr>
            <a:lvl5pPr marL="4572000" lvl="4" indent="-635000">
              <a:spcBef>
                <a:spcPts val="0"/>
              </a:spcBef>
              <a:spcAft>
                <a:spcPts val="0"/>
              </a:spcAft>
              <a:buSzPts val="1400"/>
              <a:buChar char="○"/>
              <a:defRPr/>
            </a:lvl5pPr>
            <a:lvl6pPr marL="5486400" lvl="5" indent="-635000">
              <a:spcBef>
                <a:spcPts val="0"/>
              </a:spcBef>
              <a:spcAft>
                <a:spcPts val="0"/>
              </a:spcAft>
              <a:buSzPts val="1400"/>
              <a:buChar char="■"/>
              <a:defRPr/>
            </a:lvl6pPr>
            <a:lvl7pPr marL="6400800" lvl="6" indent="-635000">
              <a:spcBef>
                <a:spcPts val="0"/>
              </a:spcBef>
              <a:spcAft>
                <a:spcPts val="0"/>
              </a:spcAft>
              <a:buSzPts val="1400"/>
              <a:buChar char="●"/>
              <a:defRPr/>
            </a:lvl7pPr>
            <a:lvl8pPr marL="7315200" lvl="7" indent="-635000">
              <a:spcBef>
                <a:spcPts val="0"/>
              </a:spcBef>
              <a:spcAft>
                <a:spcPts val="0"/>
              </a:spcAft>
              <a:buSzPts val="1400"/>
              <a:buChar char="○"/>
              <a:defRPr/>
            </a:lvl8pPr>
            <a:lvl9pPr marL="8229600" lvl="8" indent="-635000">
              <a:spcBef>
                <a:spcPts val="0"/>
              </a:spcBef>
              <a:spcAft>
                <a:spcPts val="0"/>
              </a:spcAft>
              <a:buSzPts val="1400"/>
              <a:buChar char="■"/>
              <a:defRPr/>
            </a:lvl9pPr>
          </a:lstStyle>
          <a:p>
            <a:endParaRPr/>
          </a:p>
        </p:txBody>
      </p:sp>
      <p:sp>
        <p:nvSpPr>
          <p:cNvPr id="19" name="Google Shape;19;p4"/>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39426723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20"/>
        <p:cNvGrpSpPr/>
        <p:nvPr/>
      </p:nvGrpSpPr>
      <p:grpSpPr>
        <a:xfrm>
          <a:off x="0" y="0"/>
          <a:ext cx="0" cy="0"/>
          <a:chOff x="0" y="0"/>
          <a:chExt cx="0" cy="0"/>
        </a:xfrm>
      </p:grpSpPr>
      <p:sp>
        <p:nvSpPr>
          <p:cNvPr id="21" name="Google Shape;21;p5"/>
          <p:cNvSpPr txBox="1">
            <a:spLocks noGrp="1"/>
          </p:cNvSpPr>
          <p:nvPr>
            <p:ph type="title"/>
          </p:nvPr>
        </p:nvSpPr>
        <p:spPr>
          <a:xfrm>
            <a:off x="623400" y="890050"/>
            <a:ext cx="17041200" cy="11454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2" name="Google Shape;22;p5"/>
          <p:cNvSpPr txBox="1">
            <a:spLocks noGrp="1"/>
          </p:cNvSpPr>
          <p:nvPr>
            <p:ph type="body" idx="1"/>
          </p:nvPr>
        </p:nvSpPr>
        <p:spPr>
          <a:xfrm>
            <a:off x="623400" y="2304950"/>
            <a:ext cx="7999800" cy="6832800"/>
          </a:xfrm>
          <a:prstGeom prst="rect">
            <a:avLst/>
          </a:prstGeom>
        </p:spPr>
        <p:txBody>
          <a:bodyPr spcFirstLastPara="1" wrap="square" lIns="91425" tIns="91425" rIns="91425" bIns="91425" anchor="t" anchorCtr="0">
            <a:normAutofit/>
          </a:bodyPr>
          <a:lstStyle>
            <a:lvl1pPr marL="914400" lvl="0" indent="-635000">
              <a:spcBef>
                <a:spcPts val="0"/>
              </a:spcBef>
              <a:spcAft>
                <a:spcPts val="0"/>
              </a:spcAft>
              <a:buSzPts val="1400"/>
              <a:buChar char="●"/>
              <a:defRPr sz="2800"/>
            </a:lvl1pPr>
            <a:lvl2pPr marL="1828800" lvl="1" indent="-609600">
              <a:spcBef>
                <a:spcPts val="0"/>
              </a:spcBef>
              <a:spcAft>
                <a:spcPts val="0"/>
              </a:spcAft>
              <a:buSzPts val="1200"/>
              <a:buChar char="○"/>
              <a:defRPr sz="2400"/>
            </a:lvl2pPr>
            <a:lvl3pPr marL="2743200" lvl="2" indent="-609600">
              <a:spcBef>
                <a:spcPts val="0"/>
              </a:spcBef>
              <a:spcAft>
                <a:spcPts val="0"/>
              </a:spcAft>
              <a:buSzPts val="1200"/>
              <a:buChar char="■"/>
              <a:defRPr sz="2400"/>
            </a:lvl3pPr>
            <a:lvl4pPr marL="3657600" lvl="3" indent="-609600">
              <a:spcBef>
                <a:spcPts val="0"/>
              </a:spcBef>
              <a:spcAft>
                <a:spcPts val="0"/>
              </a:spcAft>
              <a:buSzPts val="1200"/>
              <a:buChar char="●"/>
              <a:defRPr sz="2400"/>
            </a:lvl4pPr>
            <a:lvl5pPr marL="4572000" lvl="4" indent="-609600">
              <a:spcBef>
                <a:spcPts val="0"/>
              </a:spcBef>
              <a:spcAft>
                <a:spcPts val="0"/>
              </a:spcAft>
              <a:buSzPts val="1200"/>
              <a:buChar char="○"/>
              <a:defRPr sz="2400"/>
            </a:lvl5pPr>
            <a:lvl6pPr marL="5486400" lvl="5" indent="-609600">
              <a:spcBef>
                <a:spcPts val="0"/>
              </a:spcBef>
              <a:spcAft>
                <a:spcPts val="0"/>
              </a:spcAft>
              <a:buSzPts val="1200"/>
              <a:buChar char="■"/>
              <a:defRPr sz="2400"/>
            </a:lvl6pPr>
            <a:lvl7pPr marL="6400800" lvl="6" indent="-609600">
              <a:spcBef>
                <a:spcPts val="0"/>
              </a:spcBef>
              <a:spcAft>
                <a:spcPts val="0"/>
              </a:spcAft>
              <a:buSzPts val="1200"/>
              <a:buChar char="●"/>
              <a:defRPr sz="2400"/>
            </a:lvl7pPr>
            <a:lvl8pPr marL="7315200" lvl="7" indent="-609600">
              <a:spcBef>
                <a:spcPts val="0"/>
              </a:spcBef>
              <a:spcAft>
                <a:spcPts val="0"/>
              </a:spcAft>
              <a:buSzPts val="1200"/>
              <a:buChar char="○"/>
              <a:defRPr sz="2400"/>
            </a:lvl8pPr>
            <a:lvl9pPr marL="8229600" lvl="8" indent="-609600">
              <a:spcBef>
                <a:spcPts val="0"/>
              </a:spcBef>
              <a:spcAft>
                <a:spcPts val="0"/>
              </a:spcAft>
              <a:buSzPts val="1200"/>
              <a:buChar char="■"/>
              <a:defRPr sz="2400"/>
            </a:lvl9pPr>
          </a:lstStyle>
          <a:p>
            <a:endParaRPr/>
          </a:p>
        </p:txBody>
      </p:sp>
      <p:sp>
        <p:nvSpPr>
          <p:cNvPr id="23" name="Google Shape;23;p5"/>
          <p:cNvSpPr txBox="1">
            <a:spLocks noGrp="1"/>
          </p:cNvSpPr>
          <p:nvPr>
            <p:ph type="body" idx="2"/>
          </p:nvPr>
        </p:nvSpPr>
        <p:spPr>
          <a:xfrm>
            <a:off x="9664800" y="2304950"/>
            <a:ext cx="7999800" cy="6832800"/>
          </a:xfrm>
          <a:prstGeom prst="rect">
            <a:avLst/>
          </a:prstGeom>
        </p:spPr>
        <p:txBody>
          <a:bodyPr spcFirstLastPara="1" wrap="square" lIns="91425" tIns="91425" rIns="91425" bIns="91425" anchor="t" anchorCtr="0">
            <a:normAutofit/>
          </a:bodyPr>
          <a:lstStyle>
            <a:lvl1pPr marL="914400" lvl="0" indent="-635000">
              <a:spcBef>
                <a:spcPts val="0"/>
              </a:spcBef>
              <a:spcAft>
                <a:spcPts val="0"/>
              </a:spcAft>
              <a:buSzPts val="1400"/>
              <a:buChar char="●"/>
              <a:defRPr sz="2800"/>
            </a:lvl1pPr>
            <a:lvl2pPr marL="1828800" lvl="1" indent="-609600">
              <a:spcBef>
                <a:spcPts val="0"/>
              </a:spcBef>
              <a:spcAft>
                <a:spcPts val="0"/>
              </a:spcAft>
              <a:buSzPts val="1200"/>
              <a:buChar char="○"/>
              <a:defRPr sz="2400"/>
            </a:lvl2pPr>
            <a:lvl3pPr marL="2743200" lvl="2" indent="-609600">
              <a:spcBef>
                <a:spcPts val="0"/>
              </a:spcBef>
              <a:spcAft>
                <a:spcPts val="0"/>
              </a:spcAft>
              <a:buSzPts val="1200"/>
              <a:buChar char="■"/>
              <a:defRPr sz="2400"/>
            </a:lvl3pPr>
            <a:lvl4pPr marL="3657600" lvl="3" indent="-609600">
              <a:spcBef>
                <a:spcPts val="0"/>
              </a:spcBef>
              <a:spcAft>
                <a:spcPts val="0"/>
              </a:spcAft>
              <a:buSzPts val="1200"/>
              <a:buChar char="●"/>
              <a:defRPr sz="2400"/>
            </a:lvl4pPr>
            <a:lvl5pPr marL="4572000" lvl="4" indent="-609600">
              <a:spcBef>
                <a:spcPts val="0"/>
              </a:spcBef>
              <a:spcAft>
                <a:spcPts val="0"/>
              </a:spcAft>
              <a:buSzPts val="1200"/>
              <a:buChar char="○"/>
              <a:defRPr sz="2400"/>
            </a:lvl5pPr>
            <a:lvl6pPr marL="5486400" lvl="5" indent="-609600">
              <a:spcBef>
                <a:spcPts val="0"/>
              </a:spcBef>
              <a:spcAft>
                <a:spcPts val="0"/>
              </a:spcAft>
              <a:buSzPts val="1200"/>
              <a:buChar char="■"/>
              <a:defRPr sz="2400"/>
            </a:lvl6pPr>
            <a:lvl7pPr marL="6400800" lvl="6" indent="-609600">
              <a:spcBef>
                <a:spcPts val="0"/>
              </a:spcBef>
              <a:spcAft>
                <a:spcPts val="0"/>
              </a:spcAft>
              <a:buSzPts val="1200"/>
              <a:buChar char="●"/>
              <a:defRPr sz="2400"/>
            </a:lvl7pPr>
            <a:lvl8pPr marL="7315200" lvl="7" indent="-609600">
              <a:spcBef>
                <a:spcPts val="0"/>
              </a:spcBef>
              <a:spcAft>
                <a:spcPts val="0"/>
              </a:spcAft>
              <a:buSzPts val="1200"/>
              <a:buChar char="○"/>
              <a:defRPr sz="2400"/>
            </a:lvl8pPr>
            <a:lvl9pPr marL="8229600" lvl="8" indent="-609600">
              <a:spcBef>
                <a:spcPts val="0"/>
              </a:spcBef>
              <a:spcAft>
                <a:spcPts val="0"/>
              </a:spcAft>
              <a:buSzPts val="1200"/>
              <a:buChar char="■"/>
              <a:defRPr sz="2400"/>
            </a:lvl9pPr>
          </a:lstStyle>
          <a:p>
            <a:endParaRPr/>
          </a:p>
        </p:txBody>
      </p:sp>
      <p:sp>
        <p:nvSpPr>
          <p:cNvPr id="24" name="Google Shape;24;p5"/>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757019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25"/>
        <p:cNvGrpSpPr/>
        <p:nvPr/>
      </p:nvGrpSpPr>
      <p:grpSpPr>
        <a:xfrm>
          <a:off x="0" y="0"/>
          <a:ext cx="0" cy="0"/>
          <a:chOff x="0" y="0"/>
          <a:chExt cx="0" cy="0"/>
        </a:xfrm>
      </p:grpSpPr>
      <p:sp>
        <p:nvSpPr>
          <p:cNvPr id="26" name="Google Shape;26;p6"/>
          <p:cNvSpPr txBox="1">
            <a:spLocks noGrp="1"/>
          </p:cNvSpPr>
          <p:nvPr>
            <p:ph type="title"/>
          </p:nvPr>
        </p:nvSpPr>
        <p:spPr>
          <a:xfrm>
            <a:off x="623400" y="890050"/>
            <a:ext cx="17041200" cy="11454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7" name="Google Shape;27;p6"/>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248662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28"/>
        <p:cNvGrpSpPr/>
        <p:nvPr/>
      </p:nvGrpSpPr>
      <p:grpSpPr>
        <a:xfrm>
          <a:off x="0" y="0"/>
          <a:ext cx="0" cy="0"/>
          <a:chOff x="0" y="0"/>
          <a:chExt cx="0" cy="0"/>
        </a:xfrm>
      </p:grpSpPr>
      <p:sp>
        <p:nvSpPr>
          <p:cNvPr id="29" name="Google Shape;29;p7"/>
          <p:cNvSpPr txBox="1">
            <a:spLocks noGrp="1"/>
          </p:cNvSpPr>
          <p:nvPr>
            <p:ph type="title"/>
          </p:nvPr>
        </p:nvSpPr>
        <p:spPr>
          <a:xfrm>
            <a:off x="623400" y="1111200"/>
            <a:ext cx="5616000" cy="1511400"/>
          </a:xfrm>
          <a:prstGeom prst="rect">
            <a:avLst/>
          </a:prstGeom>
        </p:spPr>
        <p:txBody>
          <a:bodyPr spcFirstLastPara="1" wrap="square" lIns="91425" tIns="91425" rIns="91425" bIns="91425" anchor="b" anchorCtr="0">
            <a:normAutofit/>
          </a:bodyPr>
          <a:lstStyle>
            <a:lvl1pPr lvl="0">
              <a:spcBef>
                <a:spcPts val="0"/>
              </a:spcBef>
              <a:spcAft>
                <a:spcPts val="0"/>
              </a:spcAft>
              <a:buSzPts val="2400"/>
              <a:buNone/>
              <a:defRPr sz="4800"/>
            </a:lvl1pPr>
            <a:lvl2pPr lvl="1">
              <a:spcBef>
                <a:spcPts val="0"/>
              </a:spcBef>
              <a:spcAft>
                <a:spcPts val="0"/>
              </a:spcAft>
              <a:buSzPts val="2400"/>
              <a:buNone/>
              <a:defRPr sz="4800"/>
            </a:lvl2pPr>
            <a:lvl3pPr lvl="2">
              <a:spcBef>
                <a:spcPts val="0"/>
              </a:spcBef>
              <a:spcAft>
                <a:spcPts val="0"/>
              </a:spcAft>
              <a:buSzPts val="2400"/>
              <a:buNone/>
              <a:defRPr sz="4800"/>
            </a:lvl3pPr>
            <a:lvl4pPr lvl="3">
              <a:spcBef>
                <a:spcPts val="0"/>
              </a:spcBef>
              <a:spcAft>
                <a:spcPts val="0"/>
              </a:spcAft>
              <a:buSzPts val="2400"/>
              <a:buNone/>
              <a:defRPr sz="4800"/>
            </a:lvl4pPr>
            <a:lvl5pPr lvl="4">
              <a:spcBef>
                <a:spcPts val="0"/>
              </a:spcBef>
              <a:spcAft>
                <a:spcPts val="0"/>
              </a:spcAft>
              <a:buSzPts val="2400"/>
              <a:buNone/>
              <a:defRPr sz="4800"/>
            </a:lvl5pPr>
            <a:lvl6pPr lvl="5">
              <a:spcBef>
                <a:spcPts val="0"/>
              </a:spcBef>
              <a:spcAft>
                <a:spcPts val="0"/>
              </a:spcAft>
              <a:buSzPts val="2400"/>
              <a:buNone/>
              <a:defRPr sz="4800"/>
            </a:lvl6pPr>
            <a:lvl7pPr lvl="6">
              <a:spcBef>
                <a:spcPts val="0"/>
              </a:spcBef>
              <a:spcAft>
                <a:spcPts val="0"/>
              </a:spcAft>
              <a:buSzPts val="2400"/>
              <a:buNone/>
              <a:defRPr sz="4800"/>
            </a:lvl7pPr>
            <a:lvl8pPr lvl="7">
              <a:spcBef>
                <a:spcPts val="0"/>
              </a:spcBef>
              <a:spcAft>
                <a:spcPts val="0"/>
              </a:spcAft>
              <a:buSzPts val="2400"/>
              <a:buNone/>
              <a:defRPr sz="4800"/>
            </a:lvl8pPr>
            <a:lvl9pPr lvl="8">
              <a:spcBef>
                <a:spcPts val="0"/>
              </a:spcBef>
              <a:spcAft>
                <a:spcPts val="0"/>
              </a:spcAft>
              <a:buSzPts val="2400"/>
              <a:buNone/>
              <a:defRPr sz="4800"/>
            </a:lvl9pPr>
          </a:lstStyle>
          <a:p>
            <a:endParaRPr/>
          </a:p>
        </p:txBody>
      </p:sp>
      <p:sp>
        <p:nvSpPr>
          <p:cNvPr id="30" name="Google Shape;30;p7"/>
          <p:cNvSpPr txBox="1">
            <a:spLocks noGrp="1"/>
          </p:cNvSpPr>
          <p:nvPr>
            <p:ph type="body" idx="1"/>
          </p:nvPr>
        </p:nvSpPr>
        <p:spPr>
          <a:xfrm>
            <a:off x="623400" y="2779200"/>
            <a:ext cx="5616000" cy="6358800"/>
          </a:xfrm>
          <a:prstGeom prst="rect">
            <a:avLst/>
          </a:prstGeom>
        </p:spPr>
        <p:txBody>
          <a:bodyPr spcFirstLastPara="1" wrap="square" lIns="91425" tIns="91425" rIns="91425" bIns="91425" anchor="t" anchorCtr="0">
            <a:normAutofit/>
          </a:bodyPr>
          <a:lstStyle>
            <a:lvl1pPr marL="914400" lvl="0" indent="-609600">
              <a:spcBef>
                <a:spcPts val="0"/>
              </a:spcBef>
              <a:spcAft>
                <a:spcPts val="0"/>
              </a:spcAft>
              <a:buSzPts val="1200"/>
              <a:buChar char="●"/>
              <a:defRPr sz="2400"/>
            </a:lvl1pPr>
            <a:lvl2pPr marL="1828800" lvl="1" indent="-609600">
              <a:spcBef>
                <a:spcPts val="0"/>
              </a:spcBef>
              <a:spcAft>
                <a:spcPts val="0"/>
              </a:spcAft>
              <a:buSzPts val="1200"/>
              <a:buChar char="○"/>
              <a:defRPr sz="2400"/>
            </a:lvl2pPr>
            <a:lvl3pPr marL="2743200" lvl="2" indent="-609600">
              <a:spcBef>
                <a:spcPts val="0"/>
              </a:spcBef>
              <a:spcAft>
                <a:spcPts val="0"/>
              </a:spcAft>
              <a:buSzPts val="1200"/>
              <a:buChar char="■"/>
              <a:defRPr sz="2400"/>
            </a:lvl3pPr>
            <a:lvl4pPr marL="3657600" lvl="3" indent="-609600">
              <a:spcBef>
                <a:spcPts val="0"/>
              </a:spcBef>
              <a:spcAft>
                <a:spcPts val="0"/>
              </a:spcAft>
              <a:buSzPts val="1200"/>
              <a:buChar char="●"/>
              <a:defRPr sz="2400"/>
            </a:lvl4pPr>
            <a:lvl5pPr marL="4572000" lvl="4" indent="-609600">
              <a:spcBef>
                <a:spcPts val="0"/>
              </a:spcBef>
              <a:spcAft>
                <a:spcPts val="0"/>
              </a:spcAft>
              <a:buSzPts val="1200"/>
              <a:buChar char="○"/>
              <a:defRPr sz="2400"/>
            </a:lvl5pPr>
            <a:lvl6pPr marL="5486400" lvl="5" indent="-609600">
              <a:spcBef>
                <a:spcPts val="0"/>
              </a:spcBef>
              <a:spcAft>
                <a:spcPts val="0"/>
              </a:spcAft>
              <a:buSzPts val="1200"/>
              <a:buChar char="■"/>
              <a:defRPr sz="2400"/>
            </a:lvl6pPr>
            <a:lvl7pPr marL="6400800" lvl="6" indent="-609600">
              <a:spcBef>
                <a:spcPts val="0"/>
              </a:spcBef>
              <a:spcAft>
                <a:spcPts val="0"/>
              </a:spcAft>
              <a:buSzPts val="1200"/>
              <a:buChar char="●"/>
              <a:defRPr sz="2400"/>
            </a:lvl7pPr>
            <a:lvl8pPr marL="7315200" lvl="7" indent="-609600">
              <a:spcBef>
                <a:spcPts val="0"/>
              </a:spcBef>
              <a:spcAft>
                <a:spcPts val="0"/>
              </a:spcAft>
              <a:buSzPts val="1200"/>
              <a:buChar char="○"/>
              <a:defRPr sz="2400"/>
            </a:lvl8pPr>
            <a:lvl9pPr marL="8229600" lvl="8" indent="-609600">
              <a:spcBef>
                <a:spcPts val="0"/>
              </a:spcBef>
              <a:spcAft>
                <a:spcPts val="0"/>
              </a:spcAft>
              <a:buSzPts val="1200"/>
              <a:buChar char="■"/>
              <a:defRPr sz="2400"/>
            </a:lvl9pPr>
          </a:lstStyle>
          <a:p>
            <a:endParaRPr/>
          </a:p>
        </p:txBody>
      </p:sp>
      <p:sp>
        <p:nvSpPr>
          <p:cNvPr id="31" name="Google Shape;31;p7"/>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25960178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ítulo e corpo 3" preserve="1">
  <p:cSld name="Título e corpo 3">
    <p:bg>
      <p:bgPr>
        <a:solidFill>
          <a:srgbClr val="FFFFFF"/>
        </a:solidFill>
        <a:effectLst/>
      </p:bgPr>
    </p:bg>
    <p:spTree>
      <p:nvGrpSpPr>
        <p:cNvPr id="1" name="Shape 61"/>
        <p:cNvGrpSpPr/>
        <p:nvPr/>
      </p:nvGrpSpPr>
      <p:grpSpPr>
        <a:xfrm>
          <a:off x="0" y="0"/>
          <a:ext cx="0" cy="0"/>
          <a:chOff x="0" y="0"/>
          <a:chExt cx="0" cy="0"/>
        </a:xfrm>
      </p:grpSpPr>
      <p:sp>
        <p:nvSpPr>
          <p:cNvPr id="62" name="Google Shape;62;p10"/>
          <p:cNvSpPr txBox="1">
            <a:spLocks noGrp="1"/>
          </p:cNvSpPr>
          <p:nvPr>
            <p:ph type="title"/>
          </p:nvPr>
        </p:nvSpPr>
        <p:spPr>
          <a:xfrm>
            <a:off x="1080600" y="1042450"/>
            <a:ext cx="10216200" cy="11454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222222"/>
              </a:buClr>
              <a:buSzPts val="2000"/>
              <a:buNone/>
              <a:defRPr sz="4000">
                <a:solidFill>
                  <a:srgbClr val="222222"/>
                </a:solidFill>
              </a:defRPr>
            </a:lvl1pPr>
            <a:lvl2pPr lvl="1" rtl="0">
              <a:spcBef>
                <a:spcPts val="0"/>
              </a:spcBef>
              <a:spcAft>
                <a:spcPts val="0"/>
              </a:spcAft>
              <a:buClr>
                <a:srgbClr val="222222"/>
              </a:buClr>
              <a:buSzPts val="2000"/>
              <a:buNone/>
              <a:defRPr>
                <a:solidFill>
                  <a:srgbClr val="222222"/>
                </a:solidFill>
              </a:defRPr>
            </a:lvl2pPr>
            <a:lvl3pPr lvl="2" rtl="0">
              <a:spcBef>
                <a:spcPts val="0"/>
              </a:spcBef>
              <a:spcAft>
                <a:spcPts val="0"/>
              </a:spcAft>
              <a:buClr>
                <a:srgbClr val="222222"/>
              </a:buClr>
              <a:buSzPts val="2000"/>
              <a:buNone/>
              <a:defRPr>
                <a:solidFill>
                  <a:srgbClr val="222222"/>
                </a:solidFill>
              </a:defRPr>
            </a:lvl3pPr>
            <a:lvl4pPr lvl="3" rtl="0">
              <a:spcBef>
                <a:spcPts val="0"/>
              </a:spcBef>
              <a:spcAft>
                <a:spcPts val="0"/>
              </a:spcAft>
              <a:buClr>
                <a:srgbClr val="222222"/>
              </a:buClr>
              <a:buSzPts val="2000"/>
              <a:buNone/>
              <a:defRPr>
                <a:solidFill>
                  <a:srgbClr val="222222"/>
                </a:solidFill>
              </a:defRPr>
            </a:lvl4pPr>
            <a:lvl5pPr lvl="4" rtl="0">
              <a:spcBef>
                <a:spcPts val="0"/>
              </a:spcBef>
              <a:spcAft>
                <a:spcPts val="0"/>
              </a:spcAft>
              <a:buClr>
                <a:srgbClr val="222222"/>
              </a:buClr>
              <a:buSzPts val="2000"/>
              <a:buNone/>
              <a:defRPr>
                <a:solidFill>
                  <a:srgbClr val="222222"/>
                </a:solidFill>
              </a:defRPr>
            </a:lvl5pPr>
            <a:lvl6pPr lvl="5" rtl="0">
              <a:spcBef>
                <a:spcPts val="0"/>
              </a:spcBef>
              <a:spcAft>
                <a:spcPts val="0"/>
              </a:spcAft>
              <a:buClr>
                <a:srgbClr val="222222"/>
              </a:buClr>
              <a:buSzPts val="2000"/>
              <a:buNone/>
              <a:defRPr>
                <a:solidFill>
                  <a:srgbClr val="222222"/>
                </a:solidFill>
              </a:defRPr>
            </a:lvl6pPr>
            <a:lvl7pPr lvl="6" rtl="0">
              <a:spcBef>
                <a:spcPts val="0"/>
              </a:spcBef>
              <a:spcAft>
                <a:spcPts val="0"/>
              </a:spcAft>
              <a:buClr>
                <a:srgbClr val="222222"/>
              </a:buClr>
              <a:buSzPts val="2000"/>
              <a:buNone/>
              <a:defRPr>
                <a:solidFill>
                  <a:srgbClr val="222222"/>
                </a:solidFill>
              </a:defRPr>
            </a:lvl7pPr>
            <a:lvl8pPr lvl="7" rtl="0">
              <a:spcBef>
                <a:spcPts val="0"/>
              </a:spcBef>
              <a:spcAft>
                <a:spcPts val="0"/>
              </a:spcAft>
              <a:buClr>
                <a:srgbClr val="222222"/>
              </a:buClr>
              <a:buSzPts val="2000"/>
              <a:buNone/>
              <a:defRPr>
                <a:solidFill>
                  <a:srgbClr val="222222"/>
                </a:solidFill>
              </a:defRPr>
            </a:lvl8pPr>
            <a:lvl9pPr lvl="8" rtl="0">
              <a:spcBef>
                <a:spcPts val="0"/>
              </a:spcBef>
              <a:spcAft>
                <a:spcPts val="0"/>
              </a:spcAft>
              <a:buClr>
                <a:srgbClr val="222222"/>
              </a:buClr>
              <a:buSzPts val="2000"/>
              <a:buNone/>
              <a:defRPr>
                <a:solidFill>
                  <a:srgbClr val="222222"/>
                </a:solidFill>
              </a:defRPr>
            </a:lvl9pPr>
          </a:lstStyle>
          <a:p>
            <a:endParaRPr/>
          </a:p>
        </p:txBody>
      </p:sp>
      <p:sp>
        <p:nvSpPr>
          <p:cNvPr id="63" name="Google Shape;63;p10"/>
          <p:cNvSpPr txBox="1">
            <a:spLocks noGrp="1"/>
          </p:cNvSpPr>
          <p:nvPr>
            <p:ph type="body" idx="1"/>
          </p:nvPr>
        </p:nvSpPr>
        <p:spPr>
          <a:xfrm>
            <a:off x="1080600" y="3130350"/>
            <a:ext cx="12462600" cy="5891400"/>
          </a:xfrm>
          <a:prstGeom prst="rect">
            <a:avLst/>
          </a:prstGeom>
        </p:spPr>
        <p:txBody>
          <a:bodyPr spcFirstLastPara="1" wrap="square" lIns="91425" tIns="91425" rIns="91425" bIns="91425" anchor="t" anchorCtr="0">
            <a:noAutofit/>
          </a:bodyPr>
          <a:lstStyle>
            <a:lvl1pPr marL="914400" lvl="0" indent="-609600" rtl="0">
              <a:spcBef>
                <a:spcPts val="0"/>
              </a:spcBef>
              <a:spcAft>
                <a:spcPts val="0"/>
              </a:spcAft>
              <a:buClr>
                <a:srgbClr val="222222"/>
              </a:buClr>
              <a:buSzPts val="1200"/>
              <a:buChar char="●"/>
              <a:defRPr sz="2400">
                <a:solidFill>
                  <a:srgbClr val="222222"/>
                </a:solidFill>
              </a:defRPr>
            </a:lvl1pPr>
            <a:lvl2pPr marL="1828800" lvl="1" indent="-609600" rtl="0">
              <a:spcBef>
                <a:spcPts val="3200"/>
              </a:spcBef>
              <a:spcAft>
                <a:spcPts val="0"/>
              </a:spcAft>
              <a:buClr>
                <a:srgbClr val="222222"/>
              </a:buClr>
              <a:buSzPts val="1200"/>
              <a:buChar char="○"/>
              <a:defRPr sz="2400">
                <a:solidFill>
                  <a:srgbClr val="222222"/>
                </a:solidFill>
              </a:defRPr>
            </a:lvl2pPr>
            <a:lvl3pPr marL="2743200" lvl="2" indent="-584200" rtl="0">
              <a:spcBef>
                <a:spcPts val="3200"/>
              </a:spcBef>
              <a:spcAft>
                <a:spcPts val="0"/>
              </a:spcAft>
              <a:buClr>
                <a:srgbClr val="222222"/>
              </a:buClr>
              <a:buSzPts val="1000"/>
              <a:buChar char="■"/>
              <a:defRPr sz="2000">
                <a:solidFill>
                  <a:srgbClr val="222222"/>
                </a:solidFill>
              </a:defRPr>
            </a:lvl3pPr>
            <a:lvl4pPr marL="3657600" lvl="3" indent="-584200" rtl="0">
              <a:spcBef>
                <a:spcPts val="3200"/>
              </a:spcBef>
              <a:spcAft>
                <a:spcPts val="0"/>
              </a:spcAft>
              <a:buClr>
                <a:srgbClr val="222222"/>
              </a:buClr>
              <a:buSzPts val="1000"/>
              <a:buChar char="●"/>
              <a:defRPr sz="2000">
                <a:solidFill>
                  <a:srgbClr val="222222"/>
                </a:solidFill>
              </a:defRPr>
            </a:lvl4pPr>
            <a:lvl5pPr marL="4572000" lvl="4" indent="-558800" rtl="0">
              <a:spcBef>
                <a:spcPts val="3200"/>
              </a:spcBef>
              <a:spcAft>
                <a:spcPts val="0"/>
              </a:spcAft>
              <a:buClr>
                <a:srgbClr val="222222"/>
              </a:buClr>
              <a:buSzPts val="800"/>
              <a:buChar char="○"/>
              <a:defRPr sz="1600">
                <a:solidFill>
                  <a:srgbClr val="222222"/>
                </a:solidFill>
              </a:defRPr>
            </a:lvl5pPr>
            <a:lvl6pPr marL="5486400" lvl="5" indent="-558800" rtl="0">
              <a:spcBef>
                <a:spcPts val="3200"/>
              </a:spcBef>
              <a:spcAft>
                <a:spcPts val="0"/>
              </a:spcAft>
              <a:buClr>
                <a:srgbClr val="222222"/>
              </a:buClr>
              <a:buSzPts val="800"/>
              <a:buChar char="■"/>
              <a:defRPr sz="1600">
                <a:solidFill>
                  <a:srgbClr val="222222"/>
                </a:solidFill>
              </a:defRPr>
            </a:lvl6pPr>
            <a:lvl7pPr marL="6400800" lvl="6" indent="-609600" rtl="0">
              <a:spcBef>
                <a:spcPts val="3200"/>
              </a:spcBef>
              <a:spcAft>
                <a:spcPts val="0"/>
              </a:spcAft>
              <a:buClr>
                <a:srgbClr val="222222"/>
              </a:buClr>
              <a:buSzPts val="1200"/>
              <a:buChar char="●"/>
              <a:defRPr>
                <a:solidFill>
                  <a:srgbClr val="222222"/>
                </a:solidFill>
              </a:defRPr>
            </a:lvl7pPr>
            <a:lvl8pPr marL="7315200" lvl="7" indent="-609600" rtl="0">
              <a:spcBef>
                <a:spcPts val="3200"/>
              </a:spcBef>
              <a:spcAft>
                <a:spcPts val="0"/>
              </a:spcAft>
              <a:buClr>
                <a:srgbClr val="222222"/>
              </a:buClr>
              <a:buSzPts val="1200"/>
              <a:buChar char="○"/>
              <a:defRPr>
                <a:solidFill>
                  <a:srgbClr val="222222"/>
                </a:solidFill>
              </a:defRPr>
            </a:lvl8pPr>
            <a:lvl9pPr marL="8229600" lvl="8" indent="-609600" rtl="0">
              <a:spcBef>
                <a:spcPts val="3200"/>
              </a:spcBef>
              <a:spcAft>
                <a:spcPts val="3200"/>
              </a:spcAft>
              <a:buClr>
                <a:srgbClr val="222222"/>
              </a:buClr>
              <a:buSzPts val="1200"/>
              <a:buChar char="■"/>
              <a:defRPr>
                <a:solidFill>
                  <a:srgbClr val="222222"/>
                </a:solidFill>
              </a:defRPr>
            </a:lvl9pPr>
          </a:lstStyle>
          <a:p>
            <a:endParaRPr/>
          </a:p>
        </p:txBody>
      </p:sp>
      <p:sp>
        <p:nvSpPr>
          <p:cNvPr id="64" name="Google Shape;64;p10"/>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pic>
        <p:nvPicPr>
          <p:cNvPr id="65" name="Google Shape;65;p10"/>
          <p:cNvPicPr preferRelativeResize="0"/>
          <p:nvPr/>
        </p:nvPicPr>
        <p:blipFill>
          <a:blip r:embed="rId2" cstate="email">
            <a:alphaModFix/>
            <a:extLst>
              <a:ext uri="{28A0092B-C50C-407E-A947-70E740481C1C}">
                <a14:useLocalDpi xmlns:a14="http://schemas.microsoft.com/office/drawing/2010/main"/>
              </a:ext>
            </a:extLst>
          </a:blip>
          <a:stretch>
            <a:fillRect/>
          </a:stretch>
        </p:blipFill>
        <p:spPr>
          <a:xfrm>
            <a:off x="16183201" y="-304799"/>
            <a:ext cx="1799998" cy="1799998"/>
          </a:xfrm>
          <a:prstGeom prst="rect">
            <a:avLst/>
          </a:prstGeom>
          <a:noFill/>
          <a:ln>
            <a:noFill/>
          </a:ln>
        </p:spPr>
      </p:pic>
      <p:sp>
        <p:nvSpPr>
          <p:cNvPr id="66" name="Google Shape;66;p10"/>
          <p:cNvSpPr txBox="1">
            <a:spLocks noGrp="1"/>
          </p:cNvSpPr>
          <p:nvPr>
            <p:ph type="subTitle" idx="2"/>
          </p:nvPr>
        </p:nvSpPr>
        <p:spPr>
          <a:xfrm>
            <a:off x="8778900" y="8568450"/>
            <a:ext cx="9263400" cy="15852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222222"/>
              </a:buClr>
              <a:buSzPts val="800"/>
              <a:buFont typeface="Montserrat Light"/>
              <a:buNone/>
              <a:defRPr sz="1600">
                <a:solidFill>
                  <a:srgbClr val="222222"/>
                </a:solidFill>
                <a:latin typeface="Montserrat Light"/>
                <a:ea typeface="Montserrat Light"/>
                <a:cs typeface="Montserrat Light"/>
                <a:sym typeface="Montserrat Light"/>
              </a:defRPr>
            </a:lvl9pPr>
          </a:lstStyle>
          <a:p>
            <a:endParaRPr/>
          </a:p>
        </p:txBody>
      </p:sp>
      <p:sp>
        <p:nvSpPr>
          <p:cNvPr id="67" name="Google Shape;67;p10"/>
          <p:cNvSpPr/>
          <p:nvPr/>
        </p:nvSpPr>
        <p:spPr>
          <a:xfrm>
            <a:off x="0" y="600300"/>
            <a:ext cx="15748800" cy="14400"/>
          </a:xfrm>
          <a:prstGeom prst="rect">
            <a:avLst/>
          </a:prstGeom>
          <a:gradFill>
            <a:gsLst>
              <a:gs pos="0">
                <a:srgbClr val="FF2C34"/>
              </a:gs>
              <a:gs pos="100000">
                <a:srgbClr val="6800FF"/>
              </a:gs>
            </a:gsLst>
            <a:lin ang="2698631" scaled="0"/>
          </a:gra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sz="2800"/>
          </a:p>
        </p:txBody>
      </p:sp>
    </p:spTree>
    <p:extLst>
      <p:ext uri="{BB962C8B-B14F-4D97-AF65-F5344CB8AC3E}">
        <p14:creationId xmlns:p14="http://schemas.microsoft.com/office/powerpoint/2010/main" val="33719849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32"/>
        <p:cNvGrpSpPr/>
        <p:nvPr/>
      </p:nvGrpSpPr>
      <p:grpSpPr>
        <a:xfrm>
          <a:off x="0" y="0"/>
          <a:ext cx="0" cy="0"/>
          <a:chOff x="0" y="0"/>
          <a:chExt cx="0" cy="0"/>
        </a:xfrm>
      </p:grpSpPr>
      <p:sp>
        <p:nvSpPr>
          <p:cNvPr id="33" name="Google Shape;33;p8"/>
          <p:cNvSpPr txBox="1">
            <a:spLocks noGrp="1"/>
          </p:cNvSpPr>
          <p:nvPr>
            <p:ph type="title"/>
          </p:nvPr>
        </p:nvSpPr>
        <p:spPr>
          <a:xfrm>
            <a:off x="980500" y="900300"/>
            <a:ext cx="12735600" cy="8181600"/>
          </a:xfrm>
          <a:prstGeom prst="rect">
            <a:avLst/>
          </a:prstGeom>
        </p:spPr>
        <p:txBody>
          <a:bodyPr spcFirstLastPara="1" wrap="square" lIns="91425" tIns="91425" rIns="91425" bIns="91425" anchor="ctr" anchorCtr="0">
            <a:normAutofit/>
          </a:bodyPr>
          <a:lstStyle>
            <a:lvl1pPr lvl="0">
              <a:spcBef>
                <a:spcPts val="0"/>
              </a:spcBef>
              <a:spcAft>
                <a:spcPts val="0"/>
              </a:spcAft>
              <a:buSzPts val="4800"/>
              <a:buNone/>
              <a:defRPr sz="9600"/>
            </a:lvl1pPr>
            <a:lvl2pPr lvl="1">
              <a:spcBef>
                <a:spcPts val="0"/>
              </a:spcBef>
              <a:spcAft>
                <a:spcPts val="0"/>
              </a:spcAft>
              <a:buSzPts val="4800"/>
              <a:buNone/>
              <a:defRPr sz="9600"/>
            </a:lvl2pPr>
            <a:lvl3pPr lvl="2">
              <a:spcBef>
                <a:spcPts val="0"/>
              </a:spcBef>
              <a:spcAft>
                <a:spcPts val="0"/>
              </a:spcAft>
              <a:buSzPts val="4800"/>
              <a:buNone/>
              <a:defRPr sz="9600"/>
            </a:lvl3pPr>
            <a:lvl4pPr lvl="3">
              <a:spcBef>
                <a:spcPts val="0"/>
              </a:spcBef>
              <a:spcAft>
                <a:spcPts val="0"/>
              </a:spcAft>
              <a:buSzPts val="4800"/>
              <a:buNone/>
              <a:defRPr sz="9600"/>
            </a:lvl4pPr>
            <a:lvl5pPr lvl="4">
              <a:spcBef>
                <a:spcPts val="0"/>
              </a:spcBef>
              <a:spcAft>
                <a:spcPts val="0"/>
              </a:spcAft>
              <a:buSzPts val="4800"/>
              <a:buNone/>
              <a:defRPr sz="9600"/>
            </a:lvl5pPr>
            <a:lvl6pPr lvl="5">
              <a:spcBef>
                <a:spcPts val="0"/>
              </a:spcBef>
              <a:spcAft>
                <a:spcPts val="0"/>
              </a:spcAft>
              <a:buSzPts val="4800"/>
              <a:buNone/>
              <a:defRPr sz="9600"/>
            </a:lvl6pPr>
            <a:lvl7pPr lvl="6">
              <a:spcBef>
                <a:spcPts val="0"/>
              </a:spcBef>
              <a:spcAft>
                <a:spcPts val="0"/>
              </a:spcAft>
              <a:buSzPts val="4800"/>
              <a:buNone/>
              <a:defRPr sz="9600"/>
            </a:lvl7pPr>
            <a:lvl8pPr lvl="7">
              <a:spcBef>
                <a:spcPts val="0"/>
              </a:spcBef>
              <a:spcAft>
                <a:spcPts val="0"/>
              </a:spcAft>
              <a:buSzPts val="4800"/>
              <a:buNone/>
              <a:defRPr sz="9600"/>
            </a:lvl8pPr>
            <a:lvl9pPr lvl="8">
              <a:spcBef>
                <a:spcPts val="0"/>
              </a:spcBef>
              <a:spcAft>
                <a:spcPts val="0"/>
              </a:spcAft>
              <a:buSzPts val="4800"/>
              <a:buNone/>
              <a:defRPr sz="9600"/>
            </a:lvl9pPr>
          </a:lstStyle>
          <a:p>
            <a:endParaRPr/>
          </a:p>
        </p:txBody>
      </p:sp>
      <p:sp>
        <p:nvSpPr>
          <p:cNvPr id="34" name="Google Shape;34;p8"/>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8350784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35"/>
        <p:cNvGrpSpPr/>
        <p:nvPr/>
      </p:nvGrpSpPr>
      <p:grpSpPr>
        <a:xfrm>
          <a:off x="0" y="0"/>
          <a:ext cx="0" cy="0"/>
          <a:chOff x="0" y="0"/>
          <a:chExt cx="0" cy="0"/>
        </a:xfrm>
      </p:grpSpPr>
      <p:sp>
        <p:nvSpPr>
          <p:cNvPr id="36" name="Google Shape;36;p9"/>
          <p:cNvSpPr/>
          <p:nvPr/>
        </p:nvSpPr>
        <p:spPr>
          <a:xfrm>
            <a:off x="9144000" y="-250"/>
            <a:ext cx="9144000" cy="10287000"/>
          </a:xfrm>
          <a:prstGeom prst="rect">
            <a:avLst/>
          </a:prstGeom>
          <a:solidFill>
            <a:schemeClr val="lt2"/>
          </a:soli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sz="2800"/>
          </a:p>
        </p:txBody>
      </p:sp>
      <p:sp>
        <p:nvSpPr>
          <p:cNvPr id="37" name="Google Shape;37;p9"/>
          <p:cNvSpPr txBox="1">
            <a:spLocks noGrp="1"/>
          </p:cNvSpPr>
          <p:nvPr>
            <p:ph type="title"/>
          </p:nvPr>
        </p:nvSpPr>
        <p:spPr>
          <a:xfrm>
            <a:off x="531000" y="2466350"/>
            <a:ext cx="8090400" cy="2964600"/>
          </a:xfrm>
          <a:prstGeom prst="rect">
            <a:avLst/>
          </a:prstGeom>
        </p:spPr>
        <p:txBody>
          <a:bodyPr spcFirstLastPara="1" wrap="square" lIns="91425" tIns="91425" rIns="91425" bIns="91425" anchor="b" anchorCtr="0">
            <a:normAutofit/>
          </a:bodyPr>
          <a:lstStyle>
            <a:lvl1pPr lvl="0" algn="ctr">
              <a:spcBef>
                <a:spcPts val="0"/>
              </a:spcBef>
              <a:spcAft>
                <a:spcPts val="0"/>
              </a:spcAft>
              <a:buSzPts val="4200"/>
              <a:buNone/>
              <a:defRPr sz="8400"/>
            </a:lvl1pPr>
            <a:lvl2pPr lvl="1" algn="ctr">
              <a:spcBef>
                <a:spcPts val="0"/>
              </a:spcBef>
              <a:spcAft>
                <a:spcPts val="0"/>
              </a:spcAft>
              <a:buSzPts val="4200"/>
              <a:buNone/>
              <a:defRPr sz="8400"/>
            </a:lvl2pPr>
            <a:lvl3pPr lvl="2" algn="ctr">
              <a:spcBef>
                <a:spcPts val="0"/>
              </a:spcBef>
              <a:spcAft>
                <a:spcPts val="0"/>
              </a:spcAft>
              <a:buSzPts val="4200"/>
              <a:buNone/>
              <a:defRPr sz="8400"/>
            </a:lvl3pPr>
            <a:lvl4pPr lvl="3" algn="ctr">
              <a:spcBef>
                <a:spcPts val="0"/>
              </a:spcBef>
              <a:spcAft>
                <a:spcPts val="0"/>
              </a:spcAft>
              <a:buSzPts val="4200"/>
              <a:buNone/>
              <a:defRPr sz="8400"/>
            </a:lvl4pPr>
            <a:lvl5pPr lvl="4" algn="ctr">
              <a:spcBef>
                <a:spcPts val="0"/>
              </a:spcBef>
              <a:spcAft>
                <a:spcPts val="0"/>
              </a:spcAft>
              <a:buSzPts val="4200"/>
              <a:buNone/>
              <a:defRPr sz="8400"/>
            </a:lvl5pPr>
            <a:lvl6pPr lvl="5" algn="ctr">
              <a:spcBef>
                <a:spcPts val="0"/>
              </a:spcBef>
              <a:spcAft>
                <a:spcPts val="0"/>
              </a:spcAft>
              <a:buSzPts val="4200"/>
              <a:buNone/>
              <a:defRPr sz="8400"/>
            </a:lvl6pPr>
            <a:lvl7pPr lvl="6" algn="ctr">
              <a:spcBef>
                <a:spcPts val="0"/>
              </a:spcBef>
              <a:spcAft>
                <a:spcPts val="0"/>
              </a:spcAft>
              <a:buSzPts val="4200"/>
              <a:buNone/>
              <a:defRPr sz="8400"/>
            </a:lvl7pPr>
            <a:lvl8pPr lvl="7" algn="ctr">
              <a:spcBef>
                <a:spcPts val="0"/>
              </a:spcBef>
              <a:spcAft>
                <a:spcPts val="0"/>
              </a:spcAft>
              <a:buSzPts val="4200"/>
              <a:buNone/>
              <a:defRPr sz="8400"/>
            </a:lvl8pPr>
            <a:lvl9pPr lvl="8" algn="ctr">
              <a:spcBef>
                <a:spcPts val="0"/>
              </a:spcBef>
              <a:spcAft>
                <a:spcPts val="0"/>
              </a:spcAft>
              <a:buSzPts val="4200"/>
              <a:buNone/>
              <a:defRPr sz="8400"/>
            </a:lvl9pPr>
          </a:lstStyle>
          <a:p>
            <a:endParaRPr/>
          </a:p>
        </p:txBody>
      </p:sp>
      <p:sp>
        <p:nvSpPr>
          <p:cNvPr id="38" name="Google Shape;38;p9"/>
          <p:cNvSpPr txBox="1">
            <a:spLocks noGrp="1"/>
          </p:cNvSpPr>
          <p:nvPr>
            <p:ph type="subTitle" idx="1"/>
          </p:nvPr>
        </p:nvSpPr>
        <p:spPr>
          <a:xfrm>
            <a:off x="531000" y="5606150"/>
            <a:ext cx="8090400" cy="2470200"/>
          </a:xfrm>
          <a:prstGeom prst="rect">
            <a:avLst/>
          </a:prstGeom>
        </p:spPr>
        <p:txBody>
          <a:bodyPr spcFirstLastPara="1" wrap="square" lIns="91425" tIns="91425" rIns="91425" bIns="91425" anchor="t" anchorCtr="0">
            <a:normAutofit/>
          </a:bodyPr>
          <a:lstStyle>
            <a:lvl1pPr lvl="0" algn="ctr">
              <a:lnSpc>
                <a:spcPct val="100000"/>
              </a:lnSpc>
              <a:spcBef>
                <a:spcPts val="0"/>
              </a:spcBef>
              <a:spcAft>
                <a:spcPts val="0"/>
              </a:spcAft>
              <a:buSzPts val="2100"/>
              <a:buNone/>
              <a:defRPr sz="4200"/>
            </a:lvl1pPr>
            <a:lvl2pPr lvl="1" algn="ctr">
              <a:lnSpc>
                <a:spcPct val="100000"/>
              </a:lnSpc>
              <a:spcBef>
                <a:spcPts val="0"/>
              </a:spcBef>
              <a:spcAft>
                <a:spcPts val="0"/>
              </a:spcAft>
              <a:buSzPts val="2100"/>
              <a:buNone/>
              <a:defRPr sz="4200"/>
            </a:lvl2pPr>
            <a:lvl3pPr lvl="2" algn="ctr">
              <a:lnSpc>
                <a:spcPct val="100000"/>
              </a:lnSpc>
              <a:spcBef>
                <a:spcPts val="0"/>
              </a:spcBef>
              <a:spcAft>
                <a:spcPts val="0"/>
              </a:spcAft>
              <a:buSzPts val="2100"/>
              <a:buNone/>
              <a:defRPr sz="4200"/>
            </a:lvl3pPr>
            <a:lvl4pPr lvl="3" algn="ctr">
              <a:lnSpc>
                <a:spcPct val="100000"/>
              </a:lnSpc>
              <a:spcBef>
                <a:spcPts val="0"/>
              </a:spcBef>
              <a:spcAft>
                <a:spcPts val="0"/>
              </a:spcAft>
              <a:buSzPts val="2100"/>
              <a:buNone/>
              <a:defRPr sz="4200"/>
            </a:lvl4pPr>
            <a:lvl5pPr lvl="4" algn="ctr">
              <a:lnSpc>
                <a:spcPct val="100000"/>
              </a:lnSpc>
              <a:spcBef>
                <a:spcPts val="0"/>
              </a:spcBef>
              <a:spcAft>
                <a:spcPts val="0"/>
              </a:spcAft>
              <a:buSzPts val="2100"/>
              <a:buNone/>
              <a:defRPr sz="4200"/>
            </a:lvl5pPr>
            <a:lvl6pPr lvl="5" algn="ctr">
              <a:lnSpc>
                <a:spcPct val="100000"/>
              </a:lnSpc>
              <a:spcBef>
                <a:spcPts val="0"/>
              </a:spcBef>
              <a:spcAft>
                <a:spcPts val="0"/>
              </a:spcAft>
              <a:buSzPts val="2100"/>
              <a:buNone/>
              <a:defRPr sz="4200"/>
            </a:lvl6pPr>
            <a:lvl7pPr lvl="6" algn="ctr">
              <a:lnSpc>
                <a:spcPct val="100000"/>
              </a:lnSpc>
              <a:spcBef>
                <a:spcPts val="0"/>
              </a:spcBef>
              <a:spcAft>
                <a:spcPts val="0"/>
              </a:spcAft>
              <a:buSzPts val="2100"/>
              <a:buNone/>
              <a:defRPr sz="4200"/>
            </a:lvl7pPr>
            <a:lvl8pPr lvl="7" algn="ctr">
              <a:lnSpc>
                <a:spcPct val="100000"/>
              </a:lnSpc>
              <a:spcBef>
                <a:spcPts val="0"/>
              </a:spcBef>
              <a:spcAft>
                <a:spcPts val="0"/>
              </a:spcAft>
              <a:buSzPts val="2100"/>
              <a:buNone/>
              <a:defRPr sz="4200"/>
            </a:lvl8pPr>
            <a:lvl9pPr lvl="8" algn="ctr">
              <a:lnSpc>
                <a:spcPct val="100000"/>
              </a:lnSpc>
              <a:spcBef>
                <a:spcPts val="0"/>
              </a:spcBef>
              <a:spcAft>
                <a:spcPts val="0"/>
              </a:spcAft>
              <a:buSzPts val="2100"/>
              <a:buNone/>
              <a:defRPr sz="4200"/>
            </a:lvl9pPr>
          </a:lstStyle>
          <a:p>
            <a:endParaRPr/>
          </a:p>
        </p:txBody>
      </p:sp>
      <p:sp>
        <p:nvSpPr>
          <p:cNvPr id="39" name="Google Shape;39;p9"/>
          <p:cNvSpPr txBox="1">
            <a:spLocks noGrp="1"/>
          </p:cNvSpPr>
          <p:nvPr>
            <p:ph type="body" idx="2"/>
          </p:nvPr>
        </p:nvSpPr>
        <p:spPr>
          <a:xfrm>
            <a:off x="9879000" y="1448150"/>
            <a:ext cx="7674000" cy="7390200"/>
          </a:xfrm>
          <a:prstGeom prst="rect">
            <a:avLst/>
          </a:prstGeom>
        </p:spPr>
        <p:txBody>
          <a:bodyPr spcFirstLastPara="1" wrap="square" lIns="91425" tIns="91425" rIns="91425" bIns="91425" anchor="ctr" anchorCtr="0">
            <a:normAutofit/>
          </a:bodyPr>
          <a:lstStyle>
            <a:lvl1pPr marL="914400" lvl="0" indent="-685800">
              <a:spcBef>
                <a:spcPts val="0"/>
              </a:spcBef>
              <a:spcAft>
                <a:spcPts val="0"/>
              </a:spcAft>
              <a:buSzPts val="1800"/>
              <a:buChar char="●"/>
              <a:defRPr/>
            </a:lvl1pPr>
            <a:lvl2pPr marL="1828800" lvl="1" indent="-635000">
              <a:spcBef>
                <a:spcPts val="0"/>
              </a:spcBef>
              <a:spcAft>
                <a:spcPts val="0"/>
              </a:spcAft>
              <a:buSzPts val="1400"/>
              <a:buChar char="○"/>
              <a:defRPr/>
            </a:lvl2pPr>
            <a:lvl3pPr marL="2743200" lvl="2" indent="-635000">
              <a:spcBef>
                <a:spcPts val="0"/>
              </a:spcBef>
              <a:spcAft>
                <a:spcPts val="0"/>
              </a:spcAft>
              <a:buSzPts val="1400"/>
              <a:buChar char="■"/>
              <a:defRPr/>
            </a:lvl3pPr>
            <a:lvl4pPr marL="3657600" lvl="3" indent="-635000">
              <a:spcBef>
                <a:spcPts val="0"/>
              </a:spcBef>
              <a:spcAft>
                <a:spcPts val="0"/>
              </a:spcAft>
              <a:buSzPts val="1400"/>
              <a:buChar char="●"/>
              <a:defRPr/>
            </a:lvl4pPr>
            <a:lvl5pPr marL="4572000" lvl="4" indent="-635000">
              <a:spcBef>
                <a:spcPts val="0"/>
              </a:spcBef>
              <a:spcAft>
                <a:spcPts val="0"/>
              </a:spcAft>
              <a:buSzPts val="1400"/>
              <a:buChar char="○"/>
              <a:defRPr/>
            </a:lvl5pPr>
            <a:lvl6pPr marL="5486400" lvl="5" indent="-635000">
              <a:spcBef>
                <a:spcPts val="0"/>
              </a:spcBef>
              <a:spcAft>
                <a:spcPts val="0"/>
              </a:spcAft>
              <a:buSzPts val="1400"/>
              <a:buChar char="■"/>
              <a:defRPr/>
            </a:lvl6pPr>
            <a:lvl7pPr marL="6400800" lvl="6" indent="-635000">
              <a:spcBef>
                <a:spcPts val="0"/>
              </a:spcBef>
              <a:spcAft>
                <a:spcPts val="0"/>
              </a:spcAft>
              <a:buSzPts val="1400"/>
              <a:buChar char="●"/>
              <a:defRPr/>
            </a:lvl7pPr>
            <a:lvl8pPr marL="7315200" lvl="7" indent="-635000">
              <a:spcBef>
                <a:spcPts val="0"/>
              </a:spcBef>
              <a:spcAft>
                <a:spcPts val="0"/>
              </a:spcAft>
              <a:buSzPts val="1400"/>
              <a:buChar char="○"/>
              <a:defRPr/>
            </a:lvl8pPr>
            <a:lvl9pPr marL="8229600" lvl="8" indent="-635000">
              <a:spcBef>
                <a:spcPts val="0"/>
              </a:spcBef>
              <a:spcAft>
                <a:spcPts val="0"/>
              </a:spcAft>
              <a:buSzPts val="1400"/>
              <a:buChar char="■"/>
              <a:defRPr/>
            </a:lvl9pPr>
          </a:lstStyle>
          <a:p>
            <a:endParaRPr/>
          </a:p>
        </p:txBody>
      </p:sp>
      <p:sp>
        <p:nvSpPr>
          <p:cNvPr id="40" name="Google Shape;40;p9"/>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16910496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41"/>
        <p:cNvGrpSpPr/>
        <p:nvPr/>
      </p:nvGrpSpPr>
      <p:grpSpPr>
        <a:xfrm>
          <a:off x="0" y="0"/>
          <a:ext cx="0" cy="0"/>
          <a:chOff x="0" y="0"/>
          <a:chExt cx="0" cy="0"/>
        </a:xfrm>
      </p:grpSpPr>
      <p:sp>
        <p:nvSpPr>
          <p:cNvPr id="42" name="Google Shape;42;p10"/>
          <p:cNvSpPr txBox="1">
            <a:spLocks noGrp="1"/>
          </p:cNvSpPr>
          <p:nvPr>
            <p:ph type="body" idx="1"/>
          </p:nvPr>
        </p:nvSpPr>
        <p:spPr>
          <a:xfrm>
            <a:off x="623400" y="8461150"/>
            <a:ext cx="11997600" cy="1210200"/>
          </a:xfrm>
          <a:prstGeom prst="rect">
            <a:avLst/>
          </a:prstGeom>
        </p:spPr>
        <p:txBody>
          <a:bodyPr spcFirstLastPara="1" wrap="square" lIns="91425" tIns="91425" rIns="91425" bIns="91425" anchor="ctr" anchorCtr="0">
            <a:normAutofit/>
          </a:bodyPr>
          <a:lstStyle>
            <a:lvl1pPr marL="914400" lvl="0" indent="-457200">
              <a:lnSpc>
                <a:spcPct val="100000"/>
              </a:lnSpc>
              <a:spcBef>
                <a:spcPts val="0"/>
              </a:spcBef>
              <a:spcAft>
                <a:spcPts val="0"/>
              </a:spcAft>
              <a:buSzPts val="1800"/>
              <a:buNone/>
              <a:defRPr/>
            </a:lvl1pPr>
          </a:lstStyle>
          <a:p>
            <a:endParaRPr/>
          </a:p>
        </p:txBody>
      </p:sp>
      <p:sp>
        <p:nvSpPr>
          <p:cNvPr id="43" name="Google Shape;43;p10"/>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367713609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matchingName="Big number">
  <p:cSld name="Big number">
    <p:spTree>
      <p:nvGrpSpPr>
        <p:cNvPr id="1" name="Shape 44"/>
        <p:cNvGrpSpPr/>
        <p:nvPr/>
      </p:nvGrpSpPr>
      <p:grpSpPr>
        <a:xfrm>
          <a:off x="0" y="0"/>
          <a:ext cx="0" cy="0"/>
          <a:chOff x="0" y="0"/>
          <a:chExt cx="0" cy="0"/>
        </a:xfrm>
      </p:grpSpPr>
      <p:sp>
        <p:nvSpPr>
          <p:cNvPr id="45" name="Google Shape;45;p11"/>
          <p:cNvSpPr txBox="1">
            <a:spLocks noGrp="1"/>
          </p:cNvSpPr>
          <p:nvPr>
            <p:ph type="title" hasCustomPrompt="1"/>
          </p:nvPr>
        </p:nvSpPr>
        <p:spPr>
          <a:xfrm>
            <a:off x="623400" y="2212250"/>
            <a:ext cx="17041200" cy="3927000"/>
          </a:xfrm>
          <a:prstGeom prst="rect">
            <a:avLst/>
          </a:prstGeom>
        </p:spPr>
        <p:txBody>
          <a:bodyPr spcFirstLastPara="1" wrap="square" lIns="91425" tIns="91425" rIns="91425" bIns="91425" anchor="b" anchorCtr="0">
            <a:normAutofit/>
          </a:bodyPr>
          <a:lstStyle>
            <a:lvl1pPr lvl="0" algn="ctr">
              <a:spcBef>
                <a:spcPts val="0"/>
              </a:spcBef>
              <a:spcAft>
                <a:spcPts val="0"/>
              </a:spcAft>
              <a:buSzPts val="12000"/>
              <a:buNone/>
              <a:defRPr sz="24000"/>
            </a:lvl1pPr>
            <a:lvl2pPr lvl="1" algn="ctr">
              <a:spcBef>
                <a:spcPts val="0"/>
              </a:spcBef>
              <a:spcAft>
                <a:spcPts val="0"/>
              </a:spcAft>
              <a:buSzPts val="12000"/>
              <a:buNone/>
              <a:defRPr sz="24000"/>
            </a:lvl2pPr>
            <a:lvl3pPr lvl="2" algn="ctr">
              <a:spcBef>
                <a:spcPts val="0"/>
              </a:spcBef>
              <a:spcAft>
                <a:spcPts val="0"/>
              </a:spcAft>
              <a:buSzPts val="12000"/>
              <a:buNone/>
              <a:defRPr sz="24000"/>
            </a:lvl3pPr>
            <a:lvl4pPr lvl="3" algn="ctr">
              <a:spcBef>
                <a:spcPts val="0"/>
              </a:spcBef>
              <a:spcAft>
                <a:spcPts val="0"/>
              </a:spcAft>
              <a:buSzPts val="12000"/>
              <a:buNone/>
              <a:defRPr sz="24000"/>
            </a:lvl4pPr>
            <a:lvl5pPr lvl="4" algn="ctr">
              <a:spcBef>
                <a:spcPts val="0"/>
              </a:spcBef>
              <a:spcAft>
                <a:spcPts val="0"/>
              </a:spcAft>
              <a:buSzPts val="12000"/>
              <a:buNone/>
              <a:defRPr sz="24000"/>
            </a:lvl5pPr>
            <a:lvl6pPr lvl="5" algn="ctr">
              <a:spcBef>
                <a:spcPts val="0"/>
              </a:spcBef>
              <a:spcAft>
                <a:spcPts val="0"/>
              </a:spcAft>
              <a:buSzPts val="12000"/>
              <a:buNone/>
              <a:defRPr sz="24000"/>
            </a:lvl6pPr>
            <a:lvl7pPr lvl="6" algn="ctr">
              <a:spcBef>
                <a:spcPts val="0"/>
              </a:spcBef>
              <a:spcAft>
                <a:spcPts val="0"/>
              </a:spcAft>
              <a:buSzPts val="12000"/>
              <a:buNone/>
              <a:defRPr sz="24000"/>
            </a:lvl7pPr>
            <a:lvl8pPr lvl="7" algn="ctr">
              <a:spcBef>
                <a:spcPts val="0"/>
              </a:spcBef>
              <a:spcAft>
                <a:spcPts val="0"/>
              </a:spcAft>
              <a:buSzPts val="12000"/>
              <a:buNone/>
              <a:defRPr sz="24000"/>
            </a:lvl8pPr>
            <a:lvl9pPr lvl="8" algn="ctr">
              <a:spcBef>
                <a:spcPts val="0"/>
              </a:spcBef>
              <a:spcAft>
                <a:spcPts val="0"/>
              </a:spcAft>
              <a:buSzPts val="12000"/>
              <a:buNone/>
              <a:defRPr sz="24000"/>
            </a:lvl9pPr>
          </a:lstStyle>
          <a:p>
            <a:r>
              <a:t>xx%</a:t>
            </a:r>
          </a:p>
        </p:txBody>
      </p:sp>
      <p:sp>
        <p:nvSpPr>
          <p:cNvPr id="46" name="Google Shape;46;p11"/>
          <p:cNvSpPr txBox="1">
            <a:spLocks noGrp="1"/>
          </p:cNvSpPr>
          <p:nvPr>
            <p:ph type="body" idx="1"/>
          </p:nvPr>
        </p:nvSpPr>
        <p:spPr>
          <a:xfrm>
            <a:off x="623400" y="6304450"/>
            <a:ext cx="17041200" cy="2601600"/>
          </a:xfrm>
          <a:prstGeom prst="rect">
            <a:avLst/>
          </a:prstGeom>
        </p:spPr>
        <p:txBody>
          <a:bodyPr spcFirstLastPara="1" wrap="square" lIns="91425" tIns="91425" rIns="91425" bIns="91425" anchor="t" anchorCtr="0">
            <a:normAutofit/>
          </a:bodyPr>
          <a:lstStyle>
            <a:lvl1pPr marL="914400" lvl="0" indent="-685800" algn="ctr">
              <a:spcBef>
                <a:spcPts val="0"/>
              </a:spcBef>
              <a:spcAft>
                <a:spcPts val="0"/>
              </a:spcAft>
              <a:buSzPts val="1800"/>
              <a:buChar char="●"/>
              <a:defRPr/>
            </a:lvl1pPr>
            <a:lvl2pPr marL="1828800" lvl="1" indent="-635000" algn="ctr">
              <a:spcBef>
                <a:spcPts val="0"/>
              </a:spcBef>
              <a:spcAft>
                <a:spcPts val="0"/>
              </a:spcAft>
              <a:buSzPts val="1400"/>
              <a:buChar char="○"/>
              <a:defRPr/>
            </a:lvl2pPr>
            <a:lvl3pPr marL="2743200" lvl="2" indent="-635000" algn="ctr">
              <a:spcBef>
                <a:spcPts val="0"/>
              </a:spcBef>
              <a:spcAft>
                <a:spcPts val="0"/>
              </a:spcAft>
              <a:buSzPts val="1400"/>
              <a:buChar char="■"/>
              <a:defRPr/>
            </a:lvl3pPr>
            <a:lvl4pPr marL="3657600" lvl="3" indent="-635000" algn="ctr">
              <a:spcBef>
                <a:spcPts val="0"/>
              </a:spcBef>
              <a:spcAft>
                <a:spcPts val="0"/>
              </a:spcAft>
              <a:buSzPts val="1400"/>
              <a:buChar char="●"/>
              <a:defRPr/>
            </a:lvl4pPr>
            <a:lvl5pPr marL="4572000" lvl="4" indent="-635000" algn="ctr">
              <a:spcBef>
                <a:spcPts val="0"/>
              </a:spcBef>
              <a:spcAft>
                <a:spcPts val="0"/>
              </a:spcAft>
              <a:buSzPts val="1400"/>
              <a:buChar char="○"/>
              <a:defRPr/>
            </a:lvl5pPr>
            <a:lvl6pPr marL="5486400" lvl="5" indent="-635000" algn="ctr">
              <a:spcBef>
                <a:spcPts val="0"/>
              </a:spcBef>
              <a:spcAft>
                <a:spcPts val="0"/>
              </a:spcAft>
              <a:buSzPts val="1400"/>
              <a:buChar char="■"/>
              <a:defRPr/>
            </a:lvl6pPr>
            <a:lvl7pPr marL="6400800" lvl="6" indent="-635000" algn="ctr">
              <a:spcBef>
                <a:spcPts val="0"/>
              </a:spcBef>
              <a:spcAft>
                <a:spcPts val="0"/>
              </a:spcAft>
              <a:buSzPts val="1400"/>
              <a:buChar char="●"/>
              <a:defRPr/>
            </a:lvl7pPr>
            <a:lvl8pPr marL="7315200" lvl="7" indent="-635000" algn="ctr">
              <a:spcBef>
                <a:spcPts val="0"/>
              </a:spcBef>
              <a:spcAft>
                <a:spcPts val="0"/>
              </a:spcAft>
              <a:buSzPts val="1400"/>
              <a:buChar char="○"/>
              <a:defRPr/>
            </a:lvl8pPr>
            <a:lvl9pPr marL="8229600" lvl="8" indent="-635000" algn="ctr">
              <a:spcBef>
                <a:spcPts val="0"/>
              </a:spcBef>
              <a:spcAft>
                <a:spcPts val="0"/>
              </a:spcAft>
              <a:buSzPts val="1400"/>
              <a:buChar char="■"/>
              <a:defRPr/>
            </a:lvl9pPr>
          </a:lstStyle>
          <a:p>
            <a:endParaRPr/>
          </a:p>
        </p:txBody>
      </p:sp>
      <p:sp>
        <p:nvSpPr>
          <p:cNvPr id="47" name="Google Shape;47;p11"/>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24199478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5/9/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nº›</a:t>
            </a:fld>
            <a:endParaRPr lang="en-US"/>
          </a:p>
        </p:txBody>
      </p:sp>
    </p:spTree>
    <p:extLst>
      <p:ext uri="{BB962C8B-B14F-4D97-AF65-F5344CB8AC3E}">
        <p14:creationId xmlns:p14="http://schemas.microsoft.com/office/powerpoint/2010/main" val="272564791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matchingName="Título e corpo 3 1">
  <p:cSld name="Título e corpo 3 1">
    <p:spTree>
      <p:nvGrpSpPr>
        <p:cNvPr id="1" name="Shape 68"/>
        <p:cNvGrpSpPr/>
        <p:nvPr/>
      </p:nvGrpSpPr>
      <p:grpSpPr>
        <a:xfrm>
          <a:off x="0" y="0"/>
          <a:ext cx="0" cy="0"/>
          <a:chOff x="0" y="0"/>
          <a:chExt cx="0" cy="0"/>
        </a:xfrm>
      </p:grpSpPr>
      <p:sp>
        <p:nvSpPr>
          <p:cNvPr id="69" name="Google Shape;69;p11"/>
          <p:cNvSpPr txBox="1">
            <a:spLocks noGrp="1"/>
          </p:cNvSpPr>
          <p:nvPr>
            <p:ph type="title"/>
          </p:nvPr>
        </p:nvSpPr>
        <p:spPr>
          <a:xfrm>
            <a:off x="1080600" y="1042451"/>
            <a:ext cx="10216200" cy="11454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222222"/>
              </a:buClr>
              <a:buSzPts val="2000"/>
              <a:buNone/>
              <a:defRPr sz="4001">
                <a:solidFill>
                  <a:srgbClr val="222222"/>
                </a:solidFill>
              </a:defRPr>
            </a:lvl1pPr>
            <a:lvl2pPr lvl="1" rtl="0">
              <a:spcBef>
                <a:spcPts val="0"/>
              </a:spcBef>
              <a:spcAft>
                <a:spcPts val="0"/>
              </a:spcAft>
              <a:buClr>
                <a:srgbClr val="222222"/>
              </a:buClr>
              <a:buSzPts val="2000"/>
              <a:buNone/>
              <a:defRPr>
                <a:solidFill>
                  <a:srgbClr val="222222"/>
                </a:solidFill>
              </a:defRPr>
            </a:lvl2pPr>
            <a:lvl3pPr lvl="2" rtl="0">
              <a:spcBef>
                <a:spcPts val="0"/>
              </a:spcBef>
              <a:spcAft>
                <a:spcPts val="0"/>
              </a:spcAft>
              <a:buClr>
                <a:srgbClr val="222222"/>
              </a:buClr>
              <a:buSzPts val="2000"/>
              <a:buNone/>
              <a:defRPr>
                <a:solidFill>
                  <a:srgbClr val="222222"/>
                </a:solidFill>
              </a:defRPr>
            </a:lvl3pPr>
            <a:lvl4pPr lvl="3" rtl="0">
              <a:spcBef>
                <a:spcPts val="0"/>
              </a:spcBef>
              <a:spcAft>
                <a:spcPts val="0"/>
              </a:spcAft>
              <a:buClr>
                <a:srgbClr val="222222"/>
              </a:buClr>
              <a:buSzPts val="2000"/>
              <a:buNone/>
              <a:defRPr>
                <a:solidFill>
                  <a:srgbClr val="222222"/>
                </a:solidFill>
              </a:defRPr>
            </a:lvl4pPr>
            <a:lvl5pPr lvl="4" rtl="0">
              <a:spcBef>
                <a:spcPts val="0"/>
              </a:spcBef>
              <a:spcAft>
                <a:spcPts val="0"/>
              </a:spcAft>
              <a:buClr>
                <a:srgbClr val="222222"/>
              </a:buClr>
              <a:buSzPts val="2000"/>
              <a:buNone/>
              <a:defRPr>
                <a:solidFill>
                  <a:srgbClr val="222222"/>
                </a:solidFill>
              </a:defRPr>
            </a:lvl5pPr>
            <a:lvl6pPr lvl="5" rtl="0">
              <a:spcBef>
                <a:spcPts val="0"/>
              </a:spcBef>
              <a:spcAft>
                <a:spcPts val="0"/>
              </a:spcAft>
              <a:buClr>
                <a:srgbClr val="222222"/>
              </a:buClr>
              <a:buSzPts val="2000"/>
              <a:buNone/>
              <a:defRPr>
                <a:solidFill>
                  <a:srgbClr val="222222"/>
                </a:solidFill>
              </a:defRPr>
            </a:lvl6pPr>
            <a:lvl7pPr lvl="6" rtl="0">
              <a:spcBef>
                <a:spcPts val="0"/>
              </a:spcBef>
              <a:spcAft>
                <a:spcPts val="0"/>
              </a:spcAft>
              <a:buClr>
                <a:srgbClr val="222222"/>
              </a:buClr>
              <a:buSzPts val="2000"/>
              <a:buNone/>
              <a:defRPr>
                <a:solidFill>
                  <a:srgbClr val="222222"/>
                </a:solidFill>
              </a:defRPr>
            </a:lvl7pPr>
            <a:lvl8pPr lvl="7" rtl="0">
              <a:spcBef>
                <a:spcPts val="0"/>
              </a:spcBef>
              <a:spcAft>
                <a:spcPts val="0"/>
              </a:spcAft>
              <a:buClr>
                <a:srgbClr val="222222"/>
              </a:buClr>
              <a:buSzPts val="2000"/>
              <a:buNone/>
              <a:defRPr>
                <a:solidFill>
                  <a:srgbClr val="222222"/>
                </a:solidFill>
              </a:defRPr>
            </a:lvl8pPr>
            <a:lvl9pPr lvl="8" rtl="0">
              <a:spcBef>
                <a:spcPts val="0"/>
              </a:spcBef>
              <a:spcAft>
                <a:spcPts val="0"/>
              </a:spcAft>
              <a:buClr>
                <a:srgbClr val="222222"/>
              </a:buClr>
              <a:buSzPts val="2000"/>
              <a:buNone/>
              <a:defRPr>
                <a:solidFill>
                  <a:srgbClr val="222222"/>
                </a:solidFill>
              </a:defRPr>
            </a:lvl9pPr>
          </a:lstStyle>
          <a:p>
            <a:endParaRPr/>
          </a:p>
        </p:txBody>
      </p:sp>
      <p:sp>
        <p:nvSpPr>
          <p:cNvPr id="70" name="Google Shape;70;p11"/>
          <p:cNvSpPr txBox="1">
            <a:spLocks noGrp="1"/>
          </p:cNvSpPr>
          <p:nvPr>
            <p:ph type="body" idx="1"/>
          </p:nvPr>
        </p:nvSpPr>
        <p:spPr>
          <a:xfrm>
            <a:off x="1080600" y="3130350"/>
            <a:ext cx="12462600" cy="5891400"/>
          </a:xfrm>
          <a:prstGeom prst="rect">
            <a:avLst/>
          </a:prstGeom>
        </p:spPr>
        <p:txBody>
          <a:bodyPr spcFirstLastPara="1" wrap="square" lIns="91425" tIns="91425" rIns="91425" bIns="91425" anchor="t" anchorCtr="0">
            <a:noAutofit/>
          </a:bodyPr>
          <a:lstStyle>
            <a:lvl1pPr marL="914492" lvl="0" indent="-609660" rtl="0">
              <a:spcBef>
                <a:spcPts val="0"/>
              </a:spcBef>
              <a:spcAft>
                <a:spcPts val="0"/>
              </a:spcAft>
              <a:buClr>
                <a:srgbClr val="222222"/>
              </a:buClr>
              <a:buSzPts val="1200"/>
              <a:buChar char="●"/>
              <a:defRPr sz="2400">
                <a:solidFill>
                  <a:srgbClr val="222222"/>
                </a:solidFill>
              </a:defRPr>
            </a:lvl1pPr>
            <a:lvl2pPr marL="1828983" lvl="1" indent="-609660" rtl="0">
              <a:spcBef>
                <a:spcPts val="3200"/>
              </a:spcBef>
              <a:spcAft>
                <a:spcPts val="0"/>
              </a:spcAft>
              <a:buClr>
                <a:srgbClr val="222222"/>
              </a:buClr>
              <a:buSzPts val="1200"/>
              <a:buChar char="○"/>
              <a:defRPr sz="2400">
                <a:solidFill>
                  <a:srgbClr val="222222"/>
                </a:solidFill>
              </a:defRPr>
            </a:lvl2pPr>
            <a:lvl3pPr marL="2743473" lvl="2" indent="-584259" rtl="0">
              <a:spcBef>
                <a:spcPts val="3200"/>
              </a:spcBef>
              <a:spcAft>
                <a:spcPts val="0"/>
              </a:spcAft>
              <a:buClr>
                <a:srgbClr val="222222"/>
              </a:buClr>
              <a:buSzPts val="1000"/>
              <a:buChar char="■"/>
              <a:defRPr sz="2000">
                <a:solidFill>
                  <a:srgbClr val="222222"/>
                </a:solidFill>
              </a:defRPr>
            </a:lvl3pPr>
            <a:lvl4pPr marL="3657968" lvl="3" indent="-584259" rtl="0">
              <a:spcBef>
                <a:spcPts val="3200"/>
              </a:spcBef>
              <a:spcAft>
                <a:spcPts val="0"/>
              </a:spcAft>
              <a:buClr>
                <a:srgbClr val="222222"/>
              </a:buClr>
              <a:buSzPts val="1000"/>
              <a:buChar char="●"/>
              <a:defRPr sz="2000">
                <a:solidFill>
                  <a:srgbClr val="222222"/>
                </a:solidFill>
              </a:defRPr>
            </a:lvl4pPr>
            <a:lvl5pPr marL="4572456" lvl="4" indent="-558857" rtl="0">
              <a:spcBef>
                <a:spcPts val="3200"/>
              </a:spcBef>
              <a:spcAft>
                <a:spcPts val="0"/>
              </a:spcAft>
              <a:buClr>
                <a:srgbClr val="222222"/>
              </a:buClr>
              <a:buSzPts val="800"/>
              <a:buChar char="○"/>
              <a:defRPr sz="1601">
                <a:solidFill>
                  <a:srgbClr val="222222"/>
                </a:solidFill>
              </a:defRPr>
            </a:lvl5pPr>
            <a:lvl6pPr marL="5486949" lvl="5" indent="-558857" rtl="0">
              <a:spcBef>
                <a:spcPts val="3200"/>
              </a:spcBef>
              <a:spcAft>
                <a:spcPts val="0"/>
              </a:spcAft>
              <a:buClr>
                <a:srgbClr val="222222"/>
              </a:buClr>
              <a:buSzPts val="800"/>
              <a:buChar char="■"/>
              <a:defRPr sz="1601">
                <a:solidFill>
                  <a:srgbClr val="222222"/>
                </a:solidFill>
              </a:defRPr>
            </a:lvl6pPr>
            <a:lvl7pPr marL="6401441" lvl="6" indent="-609660" rtl="0">
              <a:spcBef>
                <a:spcPts val="3200"/>
              </a:spcBef>
              <a:spcAft>
                <a:spcPts val="0"/>
              </a:spcAft>
              <a:buClr>
                <a:srgbClr val="222222"/>
              </a:buClr>
              <a:buSzPts val="1200"/>
              <a:buChar char="●"/>
              <a:defRPr>
                <a:solidFill>
                  <a:srgbClr val="222222"/>
                </a:solidFill>
              </a:defRPr>
            </a:lvl7pPr>
            <a:lvl8pPr marL="7315932" lvl="7" indent="-609660" rtl="0">
              <a:spcBef>
                <a:spcPts val="3200"/>
              </a:spcBef>
              <a:spcAft>
                <a:spcPts val="0"/>
              </a:spcAft>
              <a:buClr>
                <a:srgbClr val="222222"/>
              </a:buClr>
              <a:buSzPts val="1200"/>
              <a:buChar char="○"/>
              <a:defRPr>
                <a:solidFill>
                  <a:srgbClr val="222222"/>
                </a:solidFill>
              </a:defRPr>
            </a:lvl8pPr>
            <a:lvl9pPr marL="8230424" lvl="8" indent="-609660" rtl="0">
              <a:spcBef>
                <a:spcPts val="3200"/>
              </a:spcBef>
              <a:spcAft>
                <a:spcPts val="3200"/>
              </a:spcAft>
              <a:buClr>
                <a:srgbClr val="222222"/>
              </a:buClr>
              <a:buSzPts val="1200"/>
              <a:buChar char="■"/>
              <a:defRPr>
                <a:solidFill>
                  <a:srgbClr val="222222"/>
                </a:solidFill>
              </a:defRPr>
            </a:lvl9pPr>
          </a:lstStyle>
          <a:p>
            <a:endParaRPr/>
          </a:p>
        </p:txBody>
      </p:sp>
      <p:sp>
        <p:nvSpPr>
          <p:cNvPr id="71" name="Google Shape;71;p11"/>
          <p:cNvSpPr txBox="1">
            <a:spLocks noGrp="1"/>
          </p:cNvSpPr>
          <p:nvPr>
            <p:ph type="sldNum" idx="12"/>
          </p:nvPr>
        </p:nvSpPr>
        <p:spPr>
          <a:xfrm>
            <a:off x="16944917" y="9326435"/>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pic>
        <p:nvPicPr>
          <p:cNvPr id="72" name="Google Shape;72;p11"/>
          <p:cNvPicPr preferRelativeResize="0"/>
          <p:nvPr/>
        </p:nvPicPr>
        <p:blipFill>
          <a:blip r:embed="rId2">
            <a:alphaModFix/>
          </a:blip>
          <a:stretch>
            <a:fillRect/>
          </a:stretch>
        </p:blipFill>
        <p:spPr>
          <a:xfrm>
            <a:off x="16183204" y="-304800"/>
            <a:ext cx="1799999" cy="1799999"/>
          </a:xfrm>
          <a:prstGeom prst="rect">
            <a:avLst/>
          </a:prstGeom>
          <a:noFill/>
          <a:ln>
            <a:noFill/>
          </a:ln>
        </p:spPr>
      </p:pic>
      <p:sp>
        <p:nvSpPr>
          <p:cNvPr id="73" name="Google Shape;73;p11"/>
          <p:cNvSpPr txBox="1">
            <a:spLocks noGrp="1"/>
          </p:cNvSpPr>
          <p:nvPr>
            <p:ph type="subTitle" idx="2"/>
          </p:nvPr>
        </p:nvSpPr>
        <p:spPr>
          <a:xfrm>
            <a:off x="8778900" y="8568450"/>
            <a:ext cx="9263400" cy="15852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222222"/>
              </a:buClr>
              <a:buSzPts val="800"/>
              <a:buFont typeface="Montserrat Light"/>
              <a:buNone/>
              <a:defRPr sz="1601">
                <a:solidFill>
                  <a:srgbClr val="222222"/>
                </a:solidFill>
                <a:latin typeface="Montserrat Light"/>
                <a:ea typeface="Montserrat Light"/>
                <a:cs typeface="Montserrat Light"/>
                <a:sym typeface="Montserrat Light"/>
              </a:defRPr>
            </a:lvl1pPr>
            <a:lvl2pPr lvl="1" algn="r" rtl="0">
              <a:lnSpc>
                <a:spcPct val="100000"/>
              </a:lnSpc>
              <a:spcBef>
                <a:spcPts val="0"/>
              </a:spcBef>
              <a:spcAft>
                <a:spcPts val="0"/>
              </a:spcAft>
              <a:buClr>
                <a:srgbClr val="222222"/>
              </a:buClr>
              <a:buSzPts val="800"/>
              <a:buFont typeface="Montserrat Light"/>
              <a:buNone/>
              <a:defRPr sz="1601">
                <a:solidFill>
                  <a:srgbClr val="222222"/>
                </a:solidFill>
                <a:latin typeface="Montserrat Light"/>
                <a:ea typeface="Montserrat Light"/>
                <a:cs typeface="Montserrat Light"/>
                <a:sym typeface="Montserrat Light"/>
              </a:defRPr>
            </a:lvl2pPr>
            <a:lvl3pPr lvl="2" algn="r" rtl="0">
              <a:lnSpc>
                <a:spcPct val="100000"/>
              </a:lnSpc>
              <a:spcBef>
                <a:spcPts val="0"/>
              </a:spcBef>
              <a:spcAft>
                <a:spcPts val="0"/>
              </a:spcAft>
              <a:buClr>
                <a:srgbClr val="222222"/>
              </a:buClr>
              <a:buSzPts val="800"/>
              <a:buFont typeface="Montserrat Light"/>
              <a:buNone/>
              <a:defRPr sz="1601">
                <a:solidFill>
                  <a:srgbClr val="222222"/>
                </a:solidFill>
                <a:latin typeface="Montserrat Light"/>
                <a:ea typeface="Montserrat Light"/>
                <a:cs typeface="Montserrat Light"/>
                <a:sym typeface="Montserrat Light"/>
              </a:defRPr>
            </a:lvl3pPr>
            <a:lvl4pPr lvl="3" algn="r" rtl="0">
              <a:lnSpc>
                <a:spcPct val="100000"/>
              </a:lnSpc>
              <a:spcBef>
                <a:spcPts val="0"/>
              </a:spcBef>
              <a:spcAft>
                <a:spcPts val="0"/>
              </a:spcAft>
              <a:buClr>
                <a:srgbClr val="222222"/>
              </a:buClr>
              <a:buSzPts val="800"/>
              <a:buFont typeface="Montserrat Light"/>
              <a:buNone/>
              <a:defRPr sz="1601">
                <a:solidFill>
                  <a:srgbClr val="222222"/>
                </a:solidFill>
                <a:latin typeface="Montserrat Light"/>
                <a:ea typeface="Montserrat Light"/>
                <a:cs typeface="Montserrat Light"/>
                <a:sym typeface="Montserrat Light"/>
              </a:defRPr>
            </a:lvl4pPr>
            <a:lvl5pPr lvl="4" algn="r" rtl="0">
              <a:lnSpc>
                <a:spcPct val="100000"/>
              </a:lnSpc>
              <a:spcBef>
                <a:spcPts val="0"/>
              </a:spcBef>
              <a:spcAft>
                <a:spcPts val="0"/>
              </a:spcAft>
              <a:buClr>
                <a:srgbClr val="222222"/>
              </a:buClr>
              <a:buSzPts val="800"/>
              <a:buFont typeface="Montserrat Light"/>
              <a:buNone/>
              <a:defRPr sz="1601">
                <a:solidFill>
                  <a:srgbClr val="222222"/>
                </a:solidFill>
                <a:latin typeface="Montserrat Light"/>
                <a:ea typeface="Montserrat Light"/>
                <a:cs typeface="Montserrat Light"/>
                <a:sym typeface="Montserrat Light"/>
              </a:defRPr>
            </a:lvl5pPr>
            <a:lvl6pPr lvl="5" algn="r" rtl="0">
              <a:lnSpc>
                <a:spcPct val="100000"/>
              </a:lnSpc>
              <a:spcBef>
                <a:spcPts val="0"/>
              </a:spcBef>
              <a:spcAft>
                <a:spcPts val="0"/>
              </a:spcAft>
              <a:buClr>
                <a:srgbClr val="222222"/>
              </a:buClr>
              <a:buSzPts val="800"/>
              <a:buFont typeface="Montserrat Light"/>
              <a:buNone/>
              <a:defRPr sz="1601">
                <a:solidFill>
                  <a:srgbClr val="222222"/>
                </a:solidFill>
                <a:latin typeface="Montserrat Light"/>
                <a:ea typeface="Montserrat Light"/>
                <a:cs typeface="Montserrat Light"/>
                <a:sym typeface="Montserrat Light"/>
              </a:defRPr>
            </a:lvl6pPr>
            <a:lvl7pPr lvl="6" algn="r" rtl="0">
              <a:lnSpc>
                <a:spcPct val="100000"/>
              </a:lnSpc>
              <a:spcBef>
                <a:spcPts val="0"/>
              </a:spcBef>
              <a:spcAft>
                <a:spcPts val="0"/>
              </a:spcAft>
              <a:buClr>
                <a:srgbClr val="222222"/>
              </a:buClr>
              <a:buSzPts val="800"/>
              <a:buFont typeface="Montserrat Light"/>
              <a:buNone/>
              <a:defRPr sz="1601">
                <a:solidFill>
                  <a:srgbClr val="222222"/>
                </a:solidFill>
                <a:latin typeface="Montserrat Light"/>
                <a:ea typeface="Montserrat Light"/>
                <a:cs typeface="Montserrat Light"/>
                <a:sym typeface="Montserrat Light"/>
              </a:defRPr>
            </a:lvl7pPr>
            <a:lvl8pPr lvl="7" algn="r" rtl="0">
              <a:lnSpc>
                <a:spcPct val="100000"/>
              </a:lnSpc>
              <a:spcBef>
                <a:spcPts val="0"/>
              </a:spcBef>
              <a:spcAft>
                <a:spcPts val="0"/>
              </a:spcAft>
              <a:buClr>
                <a:srgbClr val="222222"/>
              </a:buClr>
              <a:buSzPts val="800"/>
              <a:buFont typeface="Montserrat Light"/>
              <a:buNone/>
              <a:defRPr sz="1601">
                <a:solidFill>
                  <a:srgbClr val="222222"/>
                </a:solidFill>
                <a:latin typeface="Montserrat Light"/>
                <a:ea typeface="Montserrat Light"/>
                <a:cs typeface="Montserrat Light"/>
                <a:sym typeface="Montserrat Light"/>
              </a:defRPr>
            </a:lvl8pPr>
            <a:lvl9pPr lvl="8" algn="r" rtl="0">
              <a:lnSpc>
                <a:spcPct val="100000"/>
              </a:lnSpc>
              <a:spcBef>
                <a:spcPts val="0"/>
              </a:spcBef>
              <a:spcAft>
                <a:spcPts val="0"/>
              </a:spcAft>
              <a:buClr>
                <a:srgbClr val="222222"/>
              </a:buClr>
              <a:buSzPts val="800"/>
              <a:buFont typeface="Montserrat Light"/>
              <a:buNone/>
              <a:defRPr sz="1601">
                <a:solidFill>
                  <a:srgbClr val="222222"/>
                </a:solidFill>
                <a:latin typeface="Montserrat Light"/>
                <a:ea typeface="Montserrat Light"/>
                <a:cs typeface="Montserrat Light"/>
                <a:sym typeface="Montserrat Light"/>
              </a:defRPr>
            </a:lvl9pPr>
          </a:lstStyle>
          <a:p>
            <a:endParaRPr/>
          </a:p>
        </p:txBody>
      </p:sp>
    </p:spTree>
    <p:extLst>
      <p:ext uri="{BB962C8B-B14F-4D97-AF65-F5344CB8AC3E}">
        <p14:creationId xmlns:p14="http://schemas.microsoft.com/office/powerpoint/2010/main" val="3456871969"/>
      </p:ext>
    </p:extLst>
  </p:cSld>
  <p:clrMapOvr>
    <a:masterClrMapping/>
  </p:clrMapOvr>
  <p:transition spd="med">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matchingName="Somente título 1 2 1" preserve="1">
  <p:cSld name="1_Somente título 1 2 1">
    <p:spTree>
      <p:nvGrpSpPr>
        <p:cNvPr id="1" name="Shape 122"/>
        <p:cNvGrpSpPr/>
        <p:nvPr/>
      </p:nvGrpSpPr>
      <p:grpSpPr>
        <a:xfrm>
          <a:off x="0" y="0"/>
          <a:ext cx="0" cy="0"/>
          <a:chOff x="0" y="0"/>
          <a:chExt cx="0" cy="0"/>
        </a:xfrm>
      </p:grpSpPr>
      <p:sp>
        <p:nvSpPr>
          <p:cNvPr id="123" name="Google Shape;123;p19"/>
          <p:cNvSpPr txBox="1">
            <a:spLocks noGrp="1"/>
          </p:cNvSpPr>
          <p:nvPr>
            <p:ph type="title"/>
          </p:nvPr>
        </p:nvSpPr>
        <p:spPr>
          <a:xfrm>
            <a:off x="623400" y="4418400"/>
            <a:ext cx="17041200" cy="11454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2000"/>
              <a:buNone/>
              <a:defRPr/>
            </a:lvl1pPr>
            <a:lvl2pPr lvl="1" algn="ctr" rtl="0">
              <a:spcBef>
                <a:spcPts val="0"/>
              </a:spcBef>
              <a:spcAft>
                <a:spcPts val="0"/>
              </a:spcAft>
              <a:buSzPts val="2000"/>
              <a:buNone/>
              <a:defRPr/>
            </a:lvl2pPr>
            <a:lvl3pPr lvl="2" algn="ctr" rtl="0">
              <a:spcBef>
                <a:spcPts val="0"/>
              </a:spcBef>
              <a:spcAft>
                <a:spcPts val="0"/>
              </a:spcAft>
              <a:buSzPts val="2000"/>
              <a:buNone/>
              <a:defRPr/>
            </a:lvl3pPr>
            <a:lvl4pPr lvl="3" algn="ctr" rtl="0">
              <a:spcBef>
                <a:spcPts val="0"/>
              </a:spcBef>
              <a:spcAft>
                <a:spcPts val="0"/>
              </a:spcAft>
              <a:buSzPts val="2000"/>
              <a:buNone/>
              <a:defRPr/>
            </a:lvl4pPr>
            <a:lvl5pPr lvl="4" algn="ctr" rtl="0">
              <a:spcBef>
                <a:spcPts val="0"/>
              </a:spcBef>
              <a:spcAft>
                <a:spcPts val="0"/>
              </a:spcAft>
              <a:buSzPts val="2000"/>
              <a:buNone/>
              <a:defRPr/>
            </a:lvl5pPr>
            <a:lvl6pPr lvl="5" algn="ctr" rtl="0">
              <a:spcBef>
                <a:spcPts val="0"/>
              </a:spcBef>
              <a:spcAft>
                <a:spcPts val="0"/>
              </a:spcAft>
              <a:buSzPts val="2000"/>
              <a:buNone/>
              <a:defRPr/>
            </a:lvl6pPr>
            <a:lvl7pPr lvl="6" algn="ctr" rtl="0">
              <a:spcBef>
                <a:spcPts val="0"/>
              </a:spcBef>
              <a:spcAft>
                <a:spcPts val="0"/>
              </a:spcAft>
              <a:buSzPts val="2000"/>
              <a:buNone/>
              <a:defRPr/>
            </a:lvl7pPr>
            <a:lvl8pPr lvl="7" algn="ctr" rtl="0">
              <a:spcBef>
                <a:spcPts val="0"/>
              </a:spcBef>
              <a:spcAft>
                <a:spcPts val="0"/>
              </a:spcAft>
              <a:buSzPts val="2000"/>
              <a:buNone/>
              <a:defRPr/>
            </a:lvl8pPr>
            <a:lvl9pPr lvl="8" algn="ctr" rtl="0">
              <a:spcBef>
                <a:spcPts val="0"/>
              </a:spcBef>
              <a:spcAft>
                <a:spcPts val="0"/>
              </a:spcAft>
              <a:buSzPts val="2000"/>
              <a:buNone/>
              <a:defRPr/>
            </a:lvl9pPr>
          </a:lstStyle>
          <a:p>
            <a:endParaRPr/>
          </a:p>
        </p:txBody>
      </p:sp>
      <p:sp>
        <p:nvSpPr>
          <p:cNvPr id="124" name="Google Shape;124;p19"/>
          <p:cNvSpPr txBox="1">
            <a:spLocks noGrp="1"/>
          </p:cNvSpPr>
          <p:nvPr>
            <p:ph type="sldNum" idx="12"/>
          </p:nvPr>
        </p:nvSpPr>
        <p:spPr>
          <a:xfrm>
            <a:off x="16944916" y="9326434"/>
            <a:ext cx="1097400" cy="7872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pt-BR" smtClean="0"/>
              <a:pPr/>
              <a:t>‹nº›</a:t>
            </a:fld>
            <a:endParaRPr lang="pt-BR"/>
          </a:p>
        </p:txBody>
      </p:sp>
      <p:pic>
        <p:nvPicPr>
          <p:cNvPr id="125" name="Google Shape;125;p19"/>
          <p:cNvPicPr preferRelativeResize="0"/>
          <p:nvPr/>
        </p:nvPicPr>
        <p:blipFill>
          <a:blip r:embed="rId2" cstate="email">
            <a:alphaModFix/>
            <a:extLst>
              <a:ext uri="{28A0092B-C50C-407E-A947-70E740481C1C}">
                <a14:useLocalDpi xmlns:a14="http://schemas.microsoft.com/office/drawing/2010/main"/>
              </a:ext>
            </a:extLst>
          </a:blip>
          <a:stretch>
            <a:fillRect/>
          </a:stretch>
        </p:blipFill>
        <p:spPr>
          <a:xfrm>
            <a:off x="0" y="3"/>
            <a:ext cx="18288000" cy="10290014"/>
          </a:xfrm>
          <a:prstGeom prst="rect">
            <a:avLst/>
          </a:prstGeom>
          <a:noFill/>
          <a:ln>
            <a:noFill/>
          </a:ln>
        </p:spPr>
      </p:pic>
    </p:spTree>
    <p:extLst>
      <p:ext uri="{BB962C8B-B14F-4D97-AF65-F5344CB8AC3E}">
        <p14:creationId xmlns:p14="http://schemas.microsoft.com/office/powerpoint/2010/main" val="28098477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9"/>
        <p:cNvGrpSpPr/>
        <p:nvPr/>
      </p:nvGrpSpPr>
      <p:grpSpPr>
        <a:xfrm>
          <a:off x="0" y="0"/>
          <a:ext cx="0" cy="0"/>
          <a:chOff x="0" y="0"/>
          <a:chExt cx="0" cy="0"/>
        </a:xfrm>
      </p:grpSpPr>
      <p:sp>
        <p:nvSpPr>
          <p:cNvPr id="10" name="Google Shape;10;p2"/>
          <p:cNvSpPr txBox="1">
            <a:spLocks noGrp="1"/>
          </p:cNvSpPr>
          <p:nvPr>
            <p:ph type="ctrTitle"/>
          </p:nvPr>
        </p:nvSpPr>
        <p:spPr>
          <a:xfrm>
            <a:off x="623416" y="1489150"/>
            <a:ext cx="17041200" cy="4105200"/>
          </a:xfrm>
          <a:prstGeom prst="rect">
            <a:avLst/>
          </a:prstGeom>
          <a:noFill/>
          <a:ln>
            <a:noFill/>
          </a:ln>
        </p:spPr>
        <p:txBody>
          <a:bodyPr spcFirstLastPara="1" wrap="square" lIns="91425" tIns="91425" rIns="91425" bIns="91425" anchor="b" anchorCtr="0">
            <a:normAutofit/>
          </a:bodyPr>
          <a:lstStyle>
            <a:lvl1pPr lvl="0" algn="ctr">
              <a:lnSpc>
                <a:spcPct val="100000"/>
              </a:lnSpc>
              <a:spcBef>
                <a:spcPts val="0"/>
              </a:spcBef>
              <a:spcAft>
                <a:spcPts val="0"/>
              </a:spcAft>
              <a:buSzPts val="5200"/>
              <a:buNone/>
              <a:defRPr sz="10400"/>
            </a:lvl1pPr>
            <a:lvl2pPr lvl="1" algn="ctr">
              <a:lnSpc>
                <a:spcPct val="100000"/>
              </a:lnSpc>
              <a:spcBef>
                <a:spcPts val="0"/>
              </a:spcBef>
              <a:spcAft>
                <a:spcPts val="0"/>
              </a:spcAft>
              <a:buSzPts val="5200"/>
              <a:buNone/>
              <a:defRPr sz="10400"/>
            </a:lvl2pPr>
            <a:lvl3pPr lvl="2" algn="ctr">
              <a:lnSpc>
                <a:spcPct val="100000"/>
              </a:lnSpc>
              <a:spcBef>
                <a:spcPts val="0"/>
              </a:spcBef>
              <a:spcAft>
                <a:spcPts val="0"/>
              </a:spcAft>
              <a:buSzPts val="5200"/>
              <a:buNone/>
              <a:defRPr sz="10400"/>
            </a:lvl3pPr>
            <a:lvl4pPr lvl="3" algn="ctr">
              <a:lnSpc>
                <a:spcPct val="100000"/>
              </a:lnSpc>
              <a:spcBef>
                <a:spcPts val="0"/>
              </a:spcBef>
              <a:spcAft>
                <a:spcPts val="0"/>
              </a:spcAft>
              <a:buSzPts val="5200"/>
              <a:buNone/>
              <a:defRPr sz="10400"/>
            </a:lvl4pPr>
            <a:lvl5pPr lvl="4" algn="ctr">
              <a:lnSpc>
                <a:spcPct val="100000"/>
              </a:lnSpc>
              <a:spcBef>
                <a:spcPts val="0"/>
              </a:spcBef>
              <a:spcAft>
                <a:spcPts val="0"/>
              </a:spcAft>
              <a:buSzPts val="5200"/>
              <a:buNone/>
              <a:defRPr sz="10400"/>
            </a:lvl5pPr>
            <a:lvl6pPr lvl="5" algn="ctr">
              <a:lnSpc>
                <a:spcPct val="100000"/>
              </a:lnSpc>
              <a:spcBef>
                <a:spcPts val="0"/>
              </a:spcBef>
              <a:spcAft>
                <a:spcPts val="0"/>
              </a:spcAft>
              <a:buSzPts val="5200"/>
              <a:buNone/>
              <a:defRPr sz="10400"/>
            </a:lvl6pPr>
            <a:lvl7pPr lvl="6" algn="ctr">
              <a:lnSpc>
                <a:spcPct val="100000"/>
              </a:lnSpc>
              <a:spcBef>
                <a:spcPts val="0"/>
              </a:spcBef>
              <a:spcAft>
                <a:spcPts val="0"/>
              </a:spcAft>
              <a:buSzPts val="5200"/>
              <a:buNone/>
              <a:defRPr sz="10400"/>
            </a:lvl7pPr>
            <a:lvl8pPr lvl="7" algn="ctr">
              <a:lnSpc>
                <a:spcPct val="100000"/>
              </a:lnSpc>
              <a:spcBef>
                <a:spcPts val="0"/>
              </a:spcBef>
              <a:spcAft>
                <a:spcPts val="0"/>
              </a:spcAft>
              <a:buSzPts val="5200"/>
              <a:buNone/>
              <a:defRPr sz="10400"/>
            </a:lvl8pPr>
            <a:lvl9pPr lvl="8" algn="ctr">
              <a:lnSpc>
                <a:spcPct val="100000"/>
              </a:lnSpc>
              <a:spcBef>
                <a:spcPts val="0"/>
              </a:spcBef>
              <a:spcAft>
                <a:spcPts val="0"/>
              </a:spcAft>
              <a:buSzPts val="5200"/>
              <a:buNone/>
              <a:defRPr sz="10400"/>
            </a:lvl9pPr>
          </a:lstStyle>
          <a:p>
            <a:endParaRPr/>
          </a:p>
        </p:txBody>
      </p:sp>
      <p:sp>
        <p:nvSpPr>
          <p:cNvPr id="11" name="Google Shape;11;p2"/>
          <p:cNvSpPr txBox="1">
            <a:spLocks noGrp="1"/>
          </p:cNvSpPr>
          <p:nvPr>
            <p:ph type="subTitle" idx="1"/>
          </p:nvPr>
        </p:nvSpPr>
        <p:spPr>
          <a:xfrm>
            <a:off x="623400" y="5668250"/>
            <a:ext cx="17041200" cy="1585200"/>
          </a:xfrm>
          <a:prstGeom prst="rect">
            <a:avLst/>
          </a:prstGeom>
          <a:noFill/>
          <a:ln>
            <a:noFill/>
          </a:ln>
        </p:spPr>
        <p:txBody>
          <a:bodyPr spcFirstLastPara="1" wrap="square" lIns="91425" tIns="91425" rIns="91425" bIns="91425" anchor="t" anchorCtr="0">
            <a:normAutofit/>
          </a:bodyPr>
          <a:lstStyle>
            <a:lvl1pPr lvl="0" algn="ctr">
              <a:lnSpc>
                <a:spcPct val="100000"/>
              </a:lnSpc>
              <a:spcBef>
                <a:spcPts val="0"/>
              </a:spcBef>
              <a:spcAft>
                <a:spcPts val="0"/>
              </a:spcAft>
              <a:buSzPts val="2800"/>
              <a:buNone/>
              <a:defRPr sz="5600"/>
            </a:lvl1pPr>
            <a:lvl2pPr lvl="1" algn="ctr">
              <a:lnSpc>
                <a:spcPct val="100000"/>
              </a:lnSpc>
              <a:spcBef>
                <a:spcPts val="0"/>
              </a:spcBef>
              <a:spcAft>
                <a:spcPts val="0"/>
              </a:spcAft>
              <a:buSzPts val="2800"/>
              <a:buNone/>
              <a:defRPr sz="5600"/>
            </a:lvl2pPr>
            <a:lvl3pPr lvl="2" algn="ctr">
              <a:lnSpc>
                <a:spcPct val="100000"/>
              </a:lnSpc>
              <a:spcBef>
                <a:spcPts val="0"/>
              </a:spcBef>
              <a:spcAft>
                <a:spcPts val="0"/>
              </a:spcAft>
              <a:buSzPts val="2800"/>
              <a:buNone/>
              <a:defRPr sz="5600"/>
            </a:lvl3pPr>
            <a:lvl4pPr lvl="3" algn="ctr">
              <a:lnSpc>
                <a:spcPct val="100000"/>
              </a:lnSpc>
              <a:spcBef>
                <a:spcPts val="0"/>
              </a:spcBef>
              <a:spcAft>
                <a:spcPts val="0"/>
              </a:spcAft>
              <a:buSzPts val="2800"/>
              <a:buNone/>
              <a:defRPr sz="5600"/>
            </a:lvl4pPr>
            <a:lvl5pPr lvl="4" algn="ctr">
              <a:lnSpc>
                <a:spcPct val="100000"/>
              </a:lnSpc>
              <a:spcBef>
                <a:spcPts val="0"/>
              </a:spcBef>
              <a:spcAft>
                <a:spcPts val="0"/>
              </a:spcAft>
              <a:buSzPts val="2800"/>
              <a:buNone/>
              <a:defRPr sz="5600"/>
            </a:lvl5pPr>
            <a:lvl6pPr lvl="5" algn="ctr">
              <a:lnSpc>
                <a:spcPct val="100000"/>
              </a:lnSpc>
              <a:spcBef>
                <a:spcPts val="0"/>
              </a:spcBef>
              <a:spcAft>
                <a:spcPts val="0"/>
              </a:spcAft>
              <a:buSzPts val="2800"/>
              <a:buNone/>
              <a:defRPr sz="5600"/>
            </a:lvl6pPr>
            <a:lvl7pPr lvl="6" algn="ctr">
              <a:lnSpc>
                <a:spcPct val="100000"/>
              </a:lnSpc>
              <a:spcBef>
                <a:spcPts val="0"/>
              </a:spcBef>
              <a:spcAft>
                <a:spcPts val="0"/>
              </a:spcAft>
              <a:buSzPts val="2800"/>
              <a:buNone/>
              <a:defRPr sz="5600"/>
            </a:lvl7pPr>
            <a:lvl8pPr lvl="7" algn="ctr">
              <a:lnSpc>
                <a:spcPct val="100000"/>
              </a:lnSpc>
              <a:spcBef>
                <a:spcPts val="0"/>
              </a:spcBef>
              <a:spcAft>
                <a:spcPts val="0"/>
              </a:spcAft>
              <a:buSzPts val="2800"/>
              <a:buNone/>
              <a:defRPr sz="5600"/>
            </a:lvl8pPr>
            <a:lvl9pPr lvl="8" algn="ctr">
              <a:lnSpc>
                <a:spcPct val="100000"/>
              </a:lnSpc>
              <a:spcBef>
                <a:spcPts val="0"/>
              </a:spcBef>
              <a:spcAft>
                <a:spcPts val="0"/>
              </a:spcAft>
              <a:buSzPts val="2800"/>
              <a:buNone/>
              <a:defRPr sz="5600"/>
            </a:lvl9pPr>
          </a:lstStyle>
          <a:p>
            <a:endParaRPr/>
          </a:p>
        </p:txBody>
      </p:sp>
      <p:sp>
        <p:nvSpPr>
          <p:cNvPr id="12" name="Google Shape;12;p2"/>
          <p:cNvSpPr txBox="1">
            <a:spLocks noGrp="1"/>
          </p:cNvSpPr>
          <p:nvPr>
            <p:ph type="sldNum" idx="12"/>
          </p:nvPr>
        </p:nvSpPr>
        <p:spPr>
          <a:xfrm>
            <a:off x="16944916" y="9326434"/>
            <a:ext cx="1097400" cy="7872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337913815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3"/>
        <p:cNvGrpSpPr/>
        <p:nvPr/>
      </p:nvGrpSpPr>
      <p:grpSpPr>
        <a:xfrm>
          <a:off x="0" y="0"/>
          <a:ext cx="0" cy="0"/>
          <a:chOff x="0" y="0"/>
          <a:chExt cx="0" cy="0"/>
        </a:xfrm>
      </p:grpSpPr>
      <p:sp>
        <p:nvSpPr>
          <p:cNvPr id="14" name="Google Shape;14;p3"/>
          <p:cNvSpPr txBox="1">
            <a:spLocks noGrp="1"/>
          </p:cNvSpPr>
          <p:nvPr>
            <p:ph type="title"/>
          </p:nvPr>
        </p:nvSpPr>
        <p:spPr>
          <a:xfrm>
            <a:off x="623400" y="4301700"/>
            <a:ext cx="17041200" cy="1683600"/>
          </a:xfrm>
          <a:prstGeom prst="rect">
            <a:avLst/>
          </a:prstGeom>
          <a:noFill/>
          <a:ln>
            <a:noFill/>
          </a:ln>
        </p:spPr>
        <p:txBody>
          <a:bodyPr spcFirstLastPara="1" wrap="square" lIns="91425" tIns="91425" rIns="91425" bIns="91425" anchor="ctr" anchorCtr="0">
            <a:normAutofit/>
          </a:bodyPr>
          <a:lstStyle>
            <a:lvl1pPr lvl="0" algn="ctr">
              <a:lnSpc>
                <a:spcPct val="100000"/>
              </a:lnSpc>
              <a:spcBef>
                <a:spcPts val="0"/>
              </a:spcBef>
              <a:spcAft>
                <a:spcPts val="0"/>
              </a:spcAft>
              <a:buSzPts val="3600"/>
              <a:buNone/>
              <a:defRPr sz="7200"/>
            </a:lvl1pPr>
            <a:lvl2pPr lvl="1" algn="ctr">
              <a:lnSpc>
                <a:spcPct val="100000"/>
              </a:lnSpc>
              <a:spcBef>
                <a:spcPts val="0"/>
              </a:spcBef>
              <a:spcAft>
                <a:spcPts val="0"/>
              </a:spcAft>
              <a:buSzPts val="3600"/>
              <a:buNone/>
              <a:defRPr sz="7200"/>
            </a:lvl2pPr>
            <a:lvl3pPr lvl="2" algn="ctr">
              <a:lnSpc>
                <a:spcPct val="100000"/>
              </a:lnSpc>
              <a:spcBef>
                <a:spcPts val="0"/>
              </a:spcBef>
              <a:spcAft>
                <a:spcPts val="0"/>
              </a:spcAft>
              <a:buSzPts val="3600"/>
              <a:buNone/>
              <a:defRPr sz="7200"/>
            </a:lvl3pPr>
            <a:lvl4pPr lvl="3" algn="ctr">
              <a:lnSpc>
                <a:spcPct val="100000"/>
              </a:lnSpc>
              <a:spcBef>
                <a:spcPts val="0"/>
              </a:spcBef>
              <a:spcAft>
                <a:spcPts val="0"/>
              </a:spcAft>
              <a:buSzPts val="3600"/>
              <a:buNone/>
              <a:defRPr sz="7200"/>
            </a:lvl4pPr>
            <a:lvl5pPr lvl="4" algn="ctr">
              <a:lnSpc>
                <a:spcPct val="100000"/>
              </a:lnSpc>
              <a:spcBef>
                <a:spcPts val="0"/>
              </a:spcBef>
              <a:spcAft>
                <a:spcPts val="0"/>
              </a:spcAft>
              <a:buSzPts val="3600"/>
              <a:buNone/>
              <a:defRPr sz="7200"/>
            </a:lvl5pPr>
            <a:lvl6pPr lvl="5" algn="ctr">
              <a:lnSpc>
                <a:spcPct val="100000"/>
              </a:lnSpc>
              <a:spcBef>
                <a:spcPts val="0"/>
              </a:spcBef>
              <a:spcAft>
                <a:spcPts val="0"/>
              </a:spcAft>
              <a:buSzPts val="3600"/>
              <a:buNone/>
              <a:defRPr sz="7200"/>
            </a:lvl6pPr>
            <a:lvl7pPr lvl="6" algn="ctr">
              <a:lnSpc>
                <a:spcPct val="100000"/>
              </a:lnSpc>
              <a:spcBef>
                <a:spcPts val="0"/>
              </a:spcBef>
              <a:spcAft>
                <a:spcPts val="0"/>
              </a:spcAft>
              <a:buSzPts val="3600"/>
              <a:buNone/>
              <a:defRPr sz="7200"/>
            </a:lvl7pPr>
            <a:lvl8pPr lvl="7" algn="ctr">
              <a:lnSpc>
                <a:spcPct val="100000"/>
              </a:lnSpc>
              <a:spcBef>
                <a:spcPts val="0"/>
              </a:spcBef>
              <a:spcAft>
                <a:spcPts val="0"/>
              </a:spcAft>
              <a:buSzPts val="3600"/>
              <a:buNone/>
              <a:defRPr sz="7200"/>
            </a:lvl8pPr>
            <a:lvl9pPr lvl="8" algn="ctr">
              <a:lnSpc>
                <a:spcPct val="100000"/>
              </a:lnSpc>
              <a:spcBef>
                <a:spcPts val="0"/>
              </a:spcBef>
              <a:spcAft>
                <a:spcPts val="0"/>
              </a:spcAft>
              <a:buSzPts val="3600"/>
              <a:buNone/>
              <a:defRPr sz="7200"/>
            </a:lvl9pPr>
          </a:lstStyle>
          <a:p>
            <a:endParaRPr/>
          </a:p>
        </p:txBody>
      </p:sp>
      <p:sp>
        <p:nvSpPr>
          <p:cNvPr id="15" name="Google Shape;15;p3"/>
          <p:cNvSpPr txBox="1">
            <a:spLocks noGrp="1"/>
          </p:cNvSpPr>
          <p:nvPr>
            <p:ph type="sldNum" idx="12"/>
          </p:nvPr>
        </p:nvSpPr>
        <p:spPr>
          <a:xfrm>
            <a:off x="16944916" y="9326434"/>
            <a:ext cx="1097400" cy="7872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63199327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623400" y="890050"/>
            <a:ext cx="17041200" cy="1145400"/>
          </a:xfrm>
          <a:prstGeom prst="rect">
            <a:avLst/>
          </a:prstGeom>
          <a:noFill/>
          <a:ln>
            <a:noFill/>
          </a:ln>
        </p:spPr>
        <p:txBody>
          <a:bodyPr spcFirstLastPara="1" wrap="square" lIns="91425" tIns="91425" rIns="91425" bIns="91425" anchor="t" anchorCtr="0">
            <a:norm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623400" y="2304950"/>
            <a:ext cx="17041200" cy="6832800"/>
          </a:xfrm>
          <a:prstGeom prst="rect">
            <a:avLst/>
          </a:prstGeom>
          <a:noFill/>
          <a:ln>
            <a:noFill/>
          </a:ln>
        </p:spPr>
        <p:txBody>
          <a:bodyPr spcFirstLastPara="1" wrap="square" lIns="91425" tIns="91425" rIns="91425" bIns="91425" anchor="t" anchorCtr="0">
            <a:normAutofit/>
          </a:bodyPr>
          <a:lstStyle>
            <a:lvl1pPr marL="914400" lvl="0" indent="-685800" algn="l">
              <a:lnSpc>
                <a:spcPct val="115000"/>
              </a:lnSpc>
              <a:spcBef>
                <a:spcPts val="0"/>
              </a:spcBef>
              <a:spcAft>
                <a:spcPts val="0"/>
              </a:spcAft>
              <a:buSzPts val="1800"/>
              <a:buChar char="●"/>
              <a:defRPr/>
            </a:lvl1pPr>
            <a:lvl2pPr marL="1828800" lvl="1" indent="-635000" algn="l">
              <a:lnSpc>
                <a:spcPct val="115000"/>
              </a:lnSpc>
              <a:spcBef>
                <a:spcPts val="0"/>
              </a:spcBef>
              <a:spcAft>
                <a:spcPts val="0"/>
              </a:spcAft>
              <a:buSzPts val="1400"/>
              <a:buChar char="○"/>
              <a:defRPr/>
            </a:lvl2pPr>
            <a:lvl3pPr marL="2743200" lvl="2" indent="-635000" algn="l">
              <a:lnSpc>
                <a:spcPct val="115000"/>
              </a:lnSpc>
              <a:spcBef>
                <a:spcPts val="0"/>
              </a:spcBef>
              <a:spcAft>
                <a:spcPts val="0"/>
              </a:spcAft>
              <a:buSzPts val="1400"/>
              <a:buChar char="■"/>
              <a:defRPr/>
            </a:lvl3pPr>
            <a:lvl4pPr marL="3657600" lvl="3" indent="-635000" algn="l">
              <a:lnSpc>
                <a:spcPct val="115000"/>
              </a:lnSpc>
              <a:spcBef>
                <a:spcPts val="0"/>
              </a:spcBef>
              <a:spcAft>
                <a:spcPts val="0"/>
              </a:spcAft>
              <a:buSzPts val="1400"/>
              <a:buChar char="●"/>
              <a:defRPr/>
            </a:lvl4pPr>
            <a:lvl5pPr marL="4572000" lvl="4" indent="-635000" algn="l">
              <a:lnSpc>
                <a:spcPct val="115000"/>
              </a:lnSpc>
              <a:spcBef>
                <a:spcPts val="0"/>
              </a:spcBef>
              <a:spcAft>
                <a:spcPts val="0"/>
              </a:spcAft>
              <a:buSzPts val="1400"/>
              <a:buChar char="○"/>
              <a:defRPr/>
            </a:lvl5pPr>
            <a:lvl6pPr marL="5486400" lvl="5" indent="-635000" algn="l">
              <a:lnSpc>
                <a:spcPct val="115000"/>
              </a:lnSpc>
              <a:spcBef>
                <a:spcPts val="0"/>
              </a:spcBef>
              <a:spcAft>
                <a:spcPts val="0"/>
              </a:spcAft>
              <a:buSzPts val="1400"/>
              <a:buChar char="■"/>
              <a:defRPr/>
            </a:lvl6pPr>
            <a:lvl7pPr marL="6400800" lvl="6" indent="-635000" algn="l">
              <a:lnSpc>
                <a:spcPct val="115000"/>
              </a:lnSpc>
              <a:spcBef>
                <a:spcPts val="0"/>
              </a:spcBef>
              <a:spcAft>
                <a:spcPts val="0"/>
              </a:spcAft>
              <a:buSzPts val="1400"/>
              <a:buChar char="●"/>
              <a:defRPr/>
            </a:lvl7pPr>
            <a:lvl8pPr marL="7315200" lvl="7" indent="-635000" algn="l">
              <a:lnSpc>
                <a:spcPct val="115000"/>
              </a:lnSpc>
              <a:spcBef>
                <a:spcPts val="0"/>
              </a:spcBef>
              <a:spcAft>
                <a:spcPts val="0"/>
              </a:spcAft>
              <a:buSzPts val="1400"/>
              <a:buChar char="○"/>
              <a:defRPr/>
            </a:lvl8pPr>
            <a:lvl9pPr marL="8229600" lvl="8" indent="-635000" algn="l">
              <a:lnSpc>
                <a:spcPct val="115000"/>
              </a:lnSpc>
              <a:spcBef>
                <a:spcPts val="0"/>
              </a:spcBef>
              <a:spcAft>
                <a:spcPts val="0"/>
              </a:spcAft>
              <a:buSzPts val="1400"/>
              <a:buChar char="■"/>
              <a:defRPr/>
            </a:lvl9pPr>
          </a:lstStyle>
          <a:p>
            <a:endParaRPr/>
          </a:p>
        </p:txBody>
      </p:sp>
      <p:sp>
        <p:nvSpPr>
          <p:cNvPr id="19" name="Google Shape;19;p4"/>
          <p:cNvSpPr txBox="1">
            <a:spLocks noGrp="1"/>
          </p:cNvSpPr>
          <p:nvPr>
            <p:ph type="sldNum" idx="12"/>
          </p:nvPr>
        </p:nvSpPr>
        <p:spPr>
          <a:xfrm>
            <a:off x="16944916" y="9326434"/>
            <a:ext cx="1097400" cy="7872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6836946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theme" Target="../theme/theme2.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theme" Target="../theme/theme3.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theme" Target="../theme/theme4.xml"/><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0" Type="http://schemas.openxmlformats.org/officeDocument/2006/relationships/slideLayout" Target="../slideLayouts/slideLayout81.xml"/><Relationship Id="rId4" Type="http://schemas.openxmlformats.org/officeDocument/2006/relationships/slideLayout" Target="../slideLayouts/slideLayout75.xml"/><Relationship Id="rId9" Type="http://schemas.openxmlformats.org/officeDocument/2006/relationships/slideLayout" Target="../slideLayouts/slideLayout8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3" Type="http://schemas.openxmlformats.org/officeDocument/2006/relationships/slideLayout" Target="../slideLayouts/slideLayout86.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5" Type="http://schemas.openxmlformats.org/officeDocument/2006/relationships/slideLayout" Target="../slideLayouts/slideLayout88.xml"/><Relationship Id="rId10" Type="http://schemas.openxmlformats.org/officeDocument/2006/relationships/slideLayout" Target="../slideLayouts/slideLayout93.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slideLayout" Target="../slideLayouts/slideLayout109.xml"/><Relationship Id="rId18" Type="http://schemas.openxmlformats.org/officeDocument/2006/relationships/theme" Target="../theme/theme6.xml"/><Relationship Id="rId3" Type="http://schemas.openxmlformats.org/officeDocument/2006/relationships/slideLayout" Target="../slideLayouts/slideLayout99.xml"/><Relationship Id="rId7" Type="http://schemas.openxmlformats.org/officeDocument/2006/relationships/slideLayout" Target="../slideLayouts/slideLayout103.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 Type="http://schemas.openxmlformats.org/officeDocument/2006/relationships/slideLayout" Target="../slideLayouts/slideLayout98.xml"/><Relationship Id="rId16" Type="http://schemas.openxmlformats.org/officeDocument/2006/relationships/slideLayout" Target="../slideLayouts/slideLayout112.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10" Type="http://schemas.openxmlformats.org/officeDocument/2006/relationships/slideLayout" Target="../slideLayouts/slideLayout106.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26" Type="http://schemas.openxmlformats.org/officeDocument/2006/relationships/slideLayout" Target="../slideLayouts/slideLayout139.xml"/><Relationship Id="rId3" Type="http://schemas.openxmlformats.org/officeDocument/2006/relationships/slideLayout" Target="../slideLayouts/slideLayout116.xml"/><Relationship Id="rId21" Type="http://schemas.openxmlformats.org/officeDocument/2006/relationships/slideLayout" Target="../slideLayouts/slideLayout134.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5" Type="http://schemas.openxmlformats.org/officeDocument/2006/relationships/slideLayout" Target="../slideLayouts/slideLayout138.xm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slideLayout" Target="../slideLayouts/slideLayout133.xml"/><Relationship Id="rId29" Type="http://schemas.openxmlformats.org/officeDocument/2006/relationships/theme" Target="../theme/theme7.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24" Type="http://schemas.openxmlformats.org/officeDocument/2006/relationships/slideLayout" Target="../slideLayouts/slideLayout137.xml"/><Relationship Id="rId5" Type="http://schemas.openxmlformats.org/officeDocument/2006/relationships/slideLayout" Target="../slideLayouts/slideLayout118.xml"/><Relationship Id="rId15" Type="http://schemas.openxmlformats.org/officeDocument/2006/relationships/slideLayout" Target="../slideLayouts/slideLayout128.xml"/><Relationship Id="rId23" Type="http://schemas.openxmlformats.org/officeDocument/2006/relationships/slideLayout" Target="../slideLayouts/slideLayout136.xml"/><Relationship Id="rId28" Type="http://schemas.openxmlformats.org/officeDocument/2006/relationships/slideLayout" Target="../slideLayouts/slideLayout141.xml"/><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 Id="rId22" Type="http://schemas.openxmlformats.org/officeDocument/2006/relationships/slideLayout" Target="../slideLayouts/slideLayout135.xml"/><Relationship Id="rId27" Type="http://schemas.openxmlformats.org/officeDocument/2006/relationships/slideLayout" Target="../slideLayouts/slideLayout14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slideLayout" Target="../slideLayouts/slideLayout154.xml"/><Relationship Id="rId18" Type="http://schemas.openxmlformats.org/officeDocument/2006/relationships/slideLayout" Target="../slideLayouts/slideLayout159.xml"/><Relationship Id="rId3" Type="http://schemas.openxmlformats.org/officeDocument/2006/relationships/slideLayout" Target="../slideLayouts/slideLayout144.xml"/><Relationship Id="rId21" Type="http://schemas.openxmlformats.org/officeDocument/2006/relationships/slideLayout" Target="../slideLayouts/slideLayout162.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17" Type="http://schemas.openxmlformats.org/officeDocument/2006/relationships/slideLayout" Target="../slideLayouts/slideLayout158.xml"/><Relationship Id="rId25" Type="http://schemas.openxmlformats.org/officeDocument/2006/relationships/theme" Target="../theme/theme8.xml"/><Relationship Id="rId2" Type="http://schemas.openxmlformats.org/officeDocument/2006/relationships/slideLayout" Target="../slideLayouts/slideLayout143.xml"/><Relationship Id="rId16" Type="http://schemas.openxmlformats.org/officeDocument/2006/relationships/slideLayout" Target="../slideLayouts/slideLayout157.xml"/><Relationship Id="rId20" Type="http://schemas.openxmlformats.org/officeDocument/2006/relationships/slideLayout" Target="../slideLayouts/slideLayout161.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24" Type="http://schemas.openxmlformats.org/officeDocument/2006/relationships/slideLayout" Target="../slideLayouts/slideLayout165.xml"/><Relationship Id="rId5" Type="http://schemas.openxmlformats.org/officeDocument/2006/relationships/slideLayout" Target="../slideLayouts/slideLayout146.xml"/><Relationship Id="rId15" Type="http://schemas.openxmlformats.org/officeDocument/2006/relationships/slideLayout" Target="../slideLayouts/slideLayout156.xml"/><Relationship Id="rId23" Type="http://schemas.openxmlformats.org/officeDocument/2006/relationships/slideLayout" Target="../slideLayouts/slideLayout164.xml"/><Relationship Id="rId10" Type="http://schemas.openxmlformats.org/officeDocument/2006/relationships/slideLayout" Target="../slideLayouts/slideLayout151.xml"/><Relationship Id="rId19" Type="http://schemas.openxmlformats.org/officeDocument/2006/relationships/slideLayout" Target="../slideLayouts/slideLayout160.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 Id="rId22" Type="http://schemas.openxmlformats.org/officeDocument/2006/relationships/slideLayout" Target="../slideLayouts/slideLayout16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222222"/>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1080600" y="1194850"/>
            <a:ext cx="17041200" cy="1145400"/>
          </a:xfrm>
          <a:prstGeom prst="rect">
            <a:avLst/>
          </a:prstGeom>
          <a:noFill/>
          <a:ln>
            <a:noFill/>
          </a:ln>
        </p:spPr>
        <p:txBody>
          <a:bodyPr spcFirstLastPara="1" wrap="square" lIns="91425" tIns="91425" rIns="91425" bIns="91425" anchor="t" anchorCtr="0">
            <a:noAutofit/>
          </a:bodyPr>
          <a:lstStyle>
            <a:lvl1pPr lvl="0">
              <a:spcBef>
                <a:spcPts val="0"/>
              </a:spcBef>
              <a:spcAft>
                <a:spcPts val="0"/>
              </a:spcAft>
              <a:buClr>
                <a:schemeClr val="dk1"/>
              </a:buClr>
              <a:buSzPts val="2000"/>
              <a:buFont typeface="Montserrat"/>
              <a:buNone/>
              <a:defRPr sz="2000" b="1">
                <a:solidFill>
                  <a:schemeClr val="dk1"/>
                </a:solidFill>
                <a:latin typeface="Montserrat"/>
                <a:ea typeface="Montserrat"/>
                <a:cs typeface="Montserrat"/>
                <a:sym typeface="Montserrat"/>
              </a:defRPr>
            </a:lvl1pPr>
            <a:lvl2pPr lvl="1">
              <a:spcBef>
                <a:spcPts val="0"/>
              </a:spcBef>
              <a:spcAft>
                <a:spcPts val="0"/>
              </a:spcAft>
              <a:buClr>
                <a:schemeClr val="dk1"/>
              </a:buClr>
              <a:buSzPts val="2000"/>
              <a:buFont typeface="Montserrat"/>
              <a:buNone/>
              <a:defRPr sz="2000" b="1">
                <a:solidFill>
                  <a:schemeClr val="dk1"/>
                </a:solidFill>
                <a:latin typeface="Montserrat"/>
                <a:ea typeface="Montserrat"/>
                <a:cs typeface="Montserrat"/>
                <a:sym typeface="Montserrat"/>
              </a:defRPr>
            </a:lvl2pPr>
            <a:lvl3pPr lvl="2">
              <a:spcBef>
                <a:spcPts val="0"/>
              </a:spcBef>
              <a:spcAft>
                <a:spcPts val="0"/>
              </a:spcAft>
              <a:buClr>
                <a:schemeClr val="dk1"/>
              </a:buClr>
              <a:buSzPts val="2000"/>
              <a:buFont typeface="Montserrat"/>
              <a:buNone/>
              <a:defRPr sz="2000" b="1">
                <a:solidFill>
                  <a:schemeClr val="dk1"/>
                </a:solidFill>
                <a:latin typeface="Montserrat"/>
                <a:ea typeface="Montserrat"/>
                <a:cs typeface="Montserrat"/>
                <a:sym typeface="Montserrat"/>
              </a:defRPr>
            </a:lvl3pPr>
            <a:lvl4pPr lvl="3">
              <a:spcBef>
                <a:spcPts val="0"/>
              </a:spcBef>
              <a:spcAft>
                <a:spcPts val="0"/>
              </a:spcAft>
              <a:buClr>
                <a:schemeClr val="dk1"/>
              </a:buClr>
              <a:buSzPts val="2000"/>
              <a:buFont typeface="Montserrat"/>
              <a:buNone/>
              <a:defRPr sz="2000" b="1">
                <a:solidFill>
                  <a:schemeClr val="dk1"/>
                </a:solidFill>
                <a:latin typeface="Montserrat"/>
                <a:ea typeface="Montserrat"/>
                <a:cs typeface="Montserrat"/>
                <a:sym typeface="Montserrat"/>
              </a:defRPr>
            </a:lvl4pPr>
            <a:lvl5pPr lvl="4">
              <a:spcBef>
                <a:spcPts val="0"/>
              </a:spcBef>
              <a:spcAft>
                <a:spcPts val="0"/>
              </a:spcAft>
              <a:buClr>
                <a:schemeClr val="dk1"/>
              </a:buClr>
              <a:buSzPts val="2000"/>
              <a:buFont typeface="Montserrat"/>
              <a:buNone/>
              <a:defRPr sz="2000" b="1">
                <a:solidFill>
                  <a:schemeClr val="dk1"/>
                </a:solidFill>
                <a:latin typeface="Montserrat"/>
                <a:ea typeface="Montserrat"/>
                <a:cs typeface="Montserrat"/>
                <a:sym typeface="Montserrat"/>
              </a:defRPr>
            </a:lvl5pPr>
            <a:lvl6pPr lvl="5">
              <a:spcBef>
                <a:spcPts val="0"/>
              </a:spcBef>
              <a:spcAft>
                <a:spcPts val="0"/>
              </a:spcAft>
              <a:buClr>
                <a:schemeClr val="dk1"/>
              </a:buClr>
              <a:buSzPts val="2000"/>
              <a:buFont typeface="Montserrat"/>
              <a:buNone/>
              <a:defRPr sz="2000" b="1">
                <a:solidFill>
                  <a:schemeClr val="dk1"/>
                </a:solidFill>
                <a:latin typeface="Montserrat"/>
                <a:ea typeface="Montserrat"/>
                <a:cs typeface="Montserrat"/>
                <a:sym typeface="Montserrat"/>
              </a:defRPr>
            </a:lvl6pPr>
            <a:lvl7pPr lvl="6">
              <a:spcBef>
                <a:spcPts val="0"/>
              </a:spcBef>
              <a:spcAft>
                <a:spcPts val="0"/>
              </a:spcAft>
              <a:buClr>
                <a:schemeClr val="dk1"/>
              </a:buClr>
              <a:buSzPts val="2000"/>
              <a:buFont typeface="Montserrat"/>
              <a:buNone/>
              <a:defRPr sz="2000" b="1">
                <a:solidFill>
                  <a:schemeClr val="dk1"/>
                </a:solidFill>
                <a:latin typeface="Montserrat"/>
                <a:ea typeface="Montserrat"/>
                <a:cs typeface="Montserrat"/>
                <a:sym typeface="Montserrat"/>
              </a:defRPr>
            </a:lvl7pPr>
            <a:lvl8pPr lvl="7">
              <a:spcBef>
                <a:spcPts val="0"/>
              </a:spcBef>
              <a:spcAft>
                <a:spcPts val="0"/>
              </a:spcAft>
              <a:buClr>
                <a:schemeClr val="dk1"/>
              </a:buClr>
              <a:buSzPts val="2000"/>
              <a:buFont typeface="Montserrat"/>
              <a:buNone/>
              <a:defRPr sz="2000" b="1">
                <a:solidFill>
                  <a:schemeClr val="dk1"/>
                </a:solidFill>
                <a:latin typeface="Montserrat"/>
                <a:ea typeface="Montserrat"/>
                <a:cs typeface="Montserrat"/>
                <a:sym typeface="Montserrat"/>
              </a:defRPr>
            </a:lvl8pPr>
            <a:lvl9pPr lvl="8">
              <a:spcBef>
                <a:spcPts val="0"/>
              </a:spcBef>
              <a:spcAft>
                <a:spcPts val="0"/>
              </a:spcAft>
              <a:buClr>
                <a:schemeClr val="dk1"/>
              </a:buClr>
              <a:buSzPts val="2000"/>
              <a:buFont typeface="Montserrat"/>
              <a:buNone/>
              <a:defRPr sz="2000" b="1">
                <a:solidFill>
                  <a:schemeClr val="dk1"/>
                </a:solidFill>
                <a:latin typeface="Montserrat"/>
                <a:ea typeface="Montserrat"/>
                <a:cs typeface="Montserrat"/>
                <a:sym typeface="Montserrat"/>
              </a:defRPr>
            </a:lvl9pPr>
          </a:lstStyle>
          <a:p>
            <a:endParaRPr/>
          </a:p>
        </p:txBody>
      </p:sp>
      <p:sp>
        <p:nvSpPr>
          <p:cNvPr id="7" name="Google Shape;7;p1"/>
          <p:cNvSpPr txBox="1">
            <a:spLocks noGrp="1"/>
          </p:cNvSpPr>
          <p:nvPr>
            <p:ph type="body" idx="1"/>
          </p:nvPr>
        </p:nvSpPr>
        <p:spPr>
          <a:xfrm>
            <a:off x="1080600" y="2609750"/>
            <a:ext cx="17041200" cy="6832800"/>
          </a:xfrm>
          <a:prstGeom prst="rect">
            <a:avLst/>
          </a:prstGeom>
          <a:noFill/>
          <a:ln>
            <a:noFill/>
          </a:ln>
        </p:spPr>
        <p:txBody>
          <a:bodyPr spcFirstLastPara="1" wrap="square" lIns="91425" tIns="91425" rIns="91425" bIns="91425" anchor="t" anchorCtr="0">
            <a:noAutofit/>
          </a:bodyPr>
          <a:lstStyle>
            <a:lvl1pPr marL="457200" lvl="0" indent="-304800">
              <a:lnSpc>
                <a:spcPct val="115000"/>
              </a:lnSpc>
              <a:spcBef>
                <a:spcPts val="0"/>
              </a:spcBef>
              <a:spcAft>
                <a:spcPts val="0"/>
              </a:spcAft>
              <a:buClr>
                <a:srgbClr val="FFFFFF"/>
              </a:buClr>
              <a:buSzPts val="1200"/>
              <a:buFont typeface="Montserrat Light"/>
              <a:buChar char="●"/>
              <a:defRPr sz="1200">
                <a:solidFill>
                  <a:srgbClr val="FFFFFF"/>
                </a:solidFill>
                <a:latin typeface="Montserrat Light"/>
                <a:ea typeface="Montserrat Light"/>
                <a:cs typeface="Montserrat Light"/>
                <a:sym typeface="Montserrat Light"/>
              </a:defRPr>
            </a:lvl1pPr>
            <a:lvl2pPr marL="914400" lvl="1" indent="-304800">
              <a:lnSpc>
                <a:spcPct val="115000"/>
              </a:lnSpc>
              <a:spcBef>
                <a:spcPts val="1600"/>
              </a:spcBef>
              <a:spcAft>
                <a:spcPts val="0"/>
              </a:spcAft>
              <a:buClr>
                <a:srgbClr val="FFFFFF"/>
              </a:buClr>
              <a:buSzPts val="1200"/>
              <a:buFont typeface="Montserrat Light"/>
              <a:buChar char="○"/>
              <a:defRPr sz="1200">
                <a:solidFill>
                  <a:srgbClr val="FFFFFF"/>
                </a:solidFill>
                <a:latin typeface="Montserrat Light"/>
                <a:ea typeface="Montserrat Light"/>
                <a:cs typeface="Montserrat Light"/>
                <a:sym typeface="Montserrat Light"/>
              </a:defRPr>
            </a:lvl2pPr>
            <a:lvl3pPr marL="1371600" lvl="2" indent="-304800">
              <a:lnSpc>
                <a:spcPct val="115000"/>
              </a:lnSpc>
              <a:spcBef>
                <a:spcPts val="1600"/>
              </a:spcBef>
              <a:spcAft>
                <a:spcPts val="0"/>
              </a:spcAft>
              <a:buClr>
                <a:srgbClr val="FFFFFF"/>
              </a:buClr>
              <a:buSzPts val="1200"/>
              <a:buFont typeface="Montserrat Light"/>
              <a:buChar char="■"/>
              <a:defRPr sz="1200">
                <a:solidFill>
                  <a:srgbClr val="FFFFFF"/>
                </a:solidFill>
                <a:latin typeface="Montserrat Light"/>
                <a:ea typeface="Montserrat Light"/>
                <a:cs typeface="Montserrat Light"/>
                <a:sym typeface="Montserrat Light"/>
              </a:defRPr>
            </a:lvl3pPr>
            <a:lvl4pPr marL="1828800" lvl="3" indent="-304800">
              <a:lnSpc>
                <a:spcPct val="115000"/>
              </a:lnSpc>
              <a:spcBef>
                <a:spcPts val="1600"/>
              </a:spcBef>
              <a:spcAft>
                <a:spcPts val="0"/>
              </a:spcAft>
              <a:buClr>
                <a:srgbClr val="FFFFFF"/>
              </a:buClr>
              <a:buSzPts val="1200"/>
              <a:buFont typeface="Montserrat Light"/>
              <a:buChar char="●"/>
              <a:defRPr sz="1200">
                <a:solidFill>
                  <a:srgbClr val="FFFFFF"/>
                </a:solidFill>
                <a:latin typeface="Montserrat Light"/>
                <a:ea typeface="Montserrat Light"/>
                <a:cs typeface="Montserrat Light"/>
                <a:sym typeface="Montserrat Light"/>
              </a:defRPr>
            </a:lvl4pPr>
            <a:lvl5pPr marL="2286000" lvl="4" indent="-304800">
              <a:lnSpc>
                <a:spcPct val="115000"/>
              </a:lnSpc>
              <a:spcBef>
                <a:spcPts val="1600"/>
              </a:spcBef>
              <a:spcAft>
                <a:spcPts val="0"/>
              </a:spcAft>
              <a:buClr>
                <a:srgbClr val="FFFFFF"/>
              </a:buClr>
              <a:buSzPts val="1200"/>
              <a:buFont typeface="Montserrat Light"/>
              <a:buChar char="○"/>
              <a:defRPr sz="1200">
                <a:solidFill>
                  <a:srgbClr val="FFFFFF"/>
                </a:solidFill>
                <a:latin typeface="Montserrat Light"/>
                <a:ea typeface="Montserrat Light"/>
                <a:cs typeface="Montserrat Light"/>
                <a:sym typeface="Montserrat Light"/>
              </a:defRPr>
            </a:lvl5pPr>
            <a:lvl6pPr marL="2743200" lvl="5" indent="-304800">
              <a:lnSpc>
                <a:spcPct val="115000"/>
              </a:lnSpc>
              <a:spcBef>
                <a:spcPts val="1600"/>
              </a:spcBef>
              <a:spcAft>
                <a:spcPts val="0"/>
              </a:spcAft>
              <a:buClr>
                <a:srgbClr val="FFFFFF"/>
              </a:buClr>
              <a:buSzPts val="1200"/>
              <a:buFont typeface="Montserrat Light"/>
              <a:buChar char="■"/>
              <a:defRPr sz="1200">
                <a:solidFill>
                  <a:srgbClr val="FFFFFF"/>
                </a:solidFill>
                <a:latin typeface="Montserrat Light"/>
                <a:ea typeface="Montserrat Light"/>
                <a:cs typeface="Montserrat Light"/>
                <a:sym typeface="Montserrat Light"/>
              </a:defRPr>
            </a:lvl6pPr>
            <a:lvl7pPr marL="3200400" lvl="6" indent="-304800">
              <a:lnSpc>
                <a:spcPct val="115000"/>
              </a:lnSpc>
              <a:spcBef>
                <a:spcPts val="1600"/>
              </a:spcBef>
              <a:spcAft>
                <a:spcPts val="0"/>
              </a:spcAft>
              <a:buClr>
                <a:srgbClr val="FFFFFF"/>
              </a:buClr>
              <a:buSzPts val="1200"/>
              <a:buFont typeface="Montserrat Light"/>
              <a:buChar char="●"/>
              <a:defRPr sz="1200">
                <a:solidFill>
                  <a:srgbClr val="FFFFFF"/>
                </a:solidFill>
                <a:latin typeface="Montserrat Light"/>
                <a:ea typeface="Montserrat Light"/>
                <a:cs typeface="Montserrat Light"/>
                <a:sym typeface="Montserrat Light"/>
              </a:defRPr>
            </a:lvl7pPr>
            <a:lvl8pPr marL="3657600" lvl="7" indent="-304800">
              <a:lnSpc>
                <a:spcPct val="115000"/>
              </a:lnSpc>
              <a:spcBef>
                <a:spcPts val="1600"/>
              </a:spcBef>
              <a:spcAft>
                <a:spcPts val="0"/>
              </a:spcAft>
              <a:buClr>
                <a:srgbClr val="FFFFFF"/>
              </a:buClr>
              <a:buSzPts val="1200"/>
              <a:buFont typeface="Montserrat Light"/>
              <a:buChar char="○"/>
              <a:defRPr sz="1200">
                <a:solidFill>
                  <a:srgbClr val="FFFFFF"/>
                </a:solidFill>
                <a:latin typeface="Montserrat Light"/>
                <a:ea typeface="Montserrat Light"/>
                <a:cs typeface="Montserrat Light"/>
                <a:sym typeface="Montserrat Light"/>
              </a:defRPr>
            </a:lvl8pPr>
            <a:lvl9pPr marL="4114800" lvl="8" indent="-304800">
              <a:lnSpc>
                <a:spcPct val="115000"/>
              </a:lnSpc>
              <a:spcBef>
                <a:spcPts val="1600"/>
              </a:spcBef>
              <a:spcAft>
                <a:spcPts val="1600"/>
              </a:spcAft>
              <a:buClr>
                <a:srgbClr val="FFFFFF"/>
              </a:buClr>
              <a:buSzPts val="1200"/>
              <a:buFont typeface="Montserrat Light"/>
              <a:buChar char="■"/>
              <a:defRPr sz="1200">
                <a:solidFill>
                  <a:srgbClr val="FFFFFF"/>
                </a:solidFill>
                <a:latin typeface="Montserrat Light"/>
                <a:ea typeface="Montserrat Light"/>
                <a:cs typeface="Montserrat Light"/>
                <a:sym typeface="Montserrat Light"/>
              </a:defRPr>
            </a:lvl9pPr>
          </a:lstStyle>
          <a:p>
            <a:endParaRPr/>
          </a:p>
        </p:txBody>
      </p:sp>
      <p:sp>
        <p:nvSpPr>
          <p:cNvPr id="8" name="Google Shape;8;p1"/>
          <p:cNvSpPr txBox="1">
            <a:spLocks noGrp="1"/>
          </p:cNvSpPr>
          <p:nvPr>
            <p:ph type="sldNum" idx="12"/>
          </p:nvPr>
        </p:nvSpPr>
        <p:spPr>
          <a:xfrm>
            <a:off x="16944916" y="9326434"/>
            <a:ext cx="1097400" cy="787200"/>
          </a:xfrm>
          <a:prstGeom prst="rect">
            <a:avLst/>
          </a:prstGeom>
          <a:noFill/>
          <a:ln>
            <a:noFill/>
          </a:ln>
        </p:spPr>
        <p:txBody>
          <a:bodyPr spcFirstLastPara="1" wrap="square" lIns="91425" tIns="91425" rIns="91425" bIns="91425" anchor="ctr" anchorCtr="0">
            <a:noAutofit/>
          </a:bodyPr>
          <a:lstStyle>
            <a:lvl1pPr lvl="0" algn="r">
              <a:buNone/>
              <a:defRPr sz="2000">
                <a:solidFill>
                  <a:schemeClr val="lt2"/>
                </a:solidFill>
              </a:defRPr>
            </a:lvl1pPr>
            <a:lvl2pPr lvl="1" algn="r">
              <a:buNone/>
              <a:defRPr sz="2000">
                <a:solidFill>
                  <a:schemeClr val="lt2"/>
                </a:solidFill>
              </a:defRPr>
            </a:lvl2pPr>
            <a:lvl3pPr lvl="2" algn="r">
              <a:buNone/>
              <a:defRPr sz="2000">
                <a:solidFill>
                  <a:schemeClr val="lt2"/>
                </a:solidFill>
              </a:defRPr>
            </a:lvl3pPr>
            <a:lvl4pPr lvl="3" algn="r">
              <a:buNone/>
              <a:defRPr sz="2000">
                <a:solidFill>
                  <a:schemeClr val="lt2"/>
                </a:solidFill>
              </a:defRPr>
            </a:lvl4pPr>
            <a:lvl5pPr lvl="4" algn="r">
              <a:buNone/>
              <a:defRPr sz="2000">
                <a:solidFill>
                  <a:schemeClr val="lt2"/>
                </a:solidFill>
              </a:defRPr>
            </a:lvl5pPr>
            <a:lvl6pPr lvl="5" algn="r">
              <a:buNone/>
              <a:defRPr sz="2000">
                <a:solidFill>
                  <a:schemeClr val="lt2"/>
                </a:solidFill>
              </a:defRPr>
            </a:lvl6pPr>
            <a:lvl7pPr lvl="6" algn="r">
              <a:buNone/>
              <a:defRPr sz="2000">
                <a:solidFill>
                  <a:schemeClr val="lt2"/>
                </a:solidFill>
              </a:defRPr>
            </a:lvl7pPr>
            <a:lvl8pPr lvl="7" algn="r">
              <a:buNone/>
              <a:defRPr sz="2000">
                <a:solidFill>
                  <a:schemeClr val="lt2"/>
                </a:solidFill>
              </a:defRPr>
            </a:lvl8pPr>
            <a:lvl9pPr lvl="8" algn="r">
              <a:buNone/>
              <a:defRPr sz="2000">
                <a:solidFill>
                  <a:schemeClr val="lt2"/>
                </a:solidFill>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2880193023"/>
      </p:ext>
    </p:extLst>
  </p:cSld>
  <p:clrMap bg1="lt1" tx1="dk1" bg2="dk2" tx2="lt2" accent1="accent1" accent2="accent2" accent3="accent3" accent4="accent4" accent5="accent5" accent6="accent6" hlink="hlink" folHlink="folHlink"/>
  <p:sldLayoutIdLst>
    <p:sldLayoutId id="2147484429" r:id="rId1"/>
    <p:sldLayoutId id="2147484430" r:id="rId2"/>
    <p:sldLayoutId id="2147484431" r:id="rId3"/>
    <p:sldLayoutId id="2147484432" r:id="rId4"/>
    <p:sldLayoutId id="2147484433" r:id="rId5"/>
    <p:sldLayoutId id="2147484434" r:id="rId6"/>
    <p:sldLayoutId id="2147484435" r:id="rId7"/>
    <p:sldLayoutId id="2147484436" r:id="rId8"/>
    <p:sldLayoutId id="2147484437" r:id="rId9"/>
    <p:sldLayoutId id="2147484438" r:id="rId10"/>
    <p:sldLayoutId id="2147484439" r:id="rId11"/>
    <p:sldLayoutId id="2147484440" r:id="rId12"/>
    <p:sldLayoutId id="2147484441" r:id="rId13"/>
    <p:sldLayoutId id="2147484442" r:id="rId14"/>
    <p:sldLayoutId id="2147484443" r:id="rId15"/>
    <p:sldLayoutId id="2147484444" r:id="rId16"/>
    <p:sldLayoutId id="2147484445" r:id="rId17"/>
    <p:sldLayoutId id="2147484446" r:id="rId18"/>
    <p:sldLayoutId id="2147484447" r:id="rId19"/>
    <p:sldLayoutId id="2147484448" r:id="rId20"/>
    <p:sldLayoutId id="2147484449" r:id="rId21"/>
    <p:sldLayoutId id="2147484450" r:id="rId22"/>
    <p:sldLayoutId id="2147484451" r:id="rId23"/>
    <p:sldLayoutId id="2147484723" r:id="rId24"/>
    <p:sldLayoutId id="2147484724" r:id="rId25"/>
    <p:sldLayoutId id="2147484768" r:id="rId26"/>
    <p:sldLayoutId id="2147484797" r:id="rId27"/>
    <p:sldLayoutId id="2147484798" r:id="rId28"/>
    <p:sldLayoutId id="2147484799" r:id="rId29"/>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name="simple-dark-2">
    <p:bg>
      <p:bgPr>
        <a:solidFill>
          <a:srgbClr val="222222"/>
        </a:solidFill>
        <a:effectLst/>
      </p:bgPr>
    </p:bg>
    <p:spTree>
      <p:nvGrpSpPr>
        <p:cNvPr id="1" name="Shape 331"/>
        <p:cNvGrpSpPr/>
        <p:nvPr/>
      </p:nvGrpSpPr>
      <p:grpSpPr>
        <a:xfrm>
          <a:off x="0" y="0"/>
          <a:ext cx="0" cy="0"/>
          <a:chOff x="0" y="0"/>
          <a:chExt cx="0" cy="0"/>
        </a:xfrm>
      </p:grpSpPr>
      <p:sp>
        <p:nvSpPr>
          <p:cNvPr id="332" name="Google Shape;332;p49"/>
          <p:cNvSpPr txBox="1">
            <a:spLocks noGrp="1"/>
          </p:cNvSpPr>
          <p:nvPr>
            <p:ph type="title"/>
          </p:nvPr>
        </p:nvSpPr>
        <p:spPr>
          <a:xfrm>
            <a:off x="1080600" y="1194850"/>
            <a:ext cx="17041200" cy="1145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1"/>
              </a:buClr>
              <a:buSzPts val="2000"/>
              <a:buFont typeface="Montserrat"/>
              <a:buNone/>
              <a:defRPr sz="2000" b="1">
                <a:solidFill>
                  <a:schemeClr val="dk1"/>
                </a:solidFill>
                <a:latin typeface="Montserrat"/>
                <a:ea typeface="Montserrat"/>
                <a:cs typeface="Montserrat"/>
                <a:sym typeface="Montserrat"/>
              </a:defRPr>
            </a:lvl1pPr>
            <a:lvl2pPr lvl="1" rtl="0">
              <a:spcBef>
                <a:spcPts val="0"/>
              </a:spcBef>
              <a:spcAft>
                <a:spcPts val="0"/>
              </a:spcAft>
              <a:buClr>
                <a:schemeClr val="dk1"/>
              </a:buClr>
              <a:buSzPts val="2000"/>
              <a:buFont typeface="Montserrat"/>
              <a:buNone/>
              <a:defRPr sz="2000" b="1">
                <a:solidFill>
                  <a:schemeClr val="dk1"/>
                </a:solidFill>
                <a:latin typeface="Montserrat"/>
                <a:ea typeface="Montserrat"/>
                <a:cs typeface="Montserrat"/>
                <a:sym typeface="Montserrat"/>
              </a:defRPr>
            </a:lvl2pPr>
            <a:lvl3pPr lvl="2" rtl="0">
              <a:spcBef>
                <a:spcPts val="0"/>
              </a:spcBef>
              <a:spcAft>
                <a:spcPts val="0"/>
              </a:spcAft>
              <a:buClr>
                <a:schemeClr val="dk1"/>
              </a:buClr>
              <a:buSzPts val="2000"/>
              <a:buFont typeface="Montserrat"/>
              <a:buNone/>
              <a:defRPr sz="2000" b="1">
                <a:solidFill>
                  <a:schemeClr val="dk1"/>
                </a:solidFill>
                <a:latin typeface="Montserrat"/>
                <a:ea typeface="Montserrat"/>
                <a:cs typeface="Montserrat"/>
                <a:sym typeface="Montserrat"/>
              </a:defRPr>
            </a:lvl3pPr>
            <a:lvl4pPr lvl="3" rtl="0">
              <a:spcBef>
                <a:spcPts val="0"/>
              </a:spcBef>
              <a:spcAft>
                <a:spcPts val="0"/>
              </a:spcAft>
              <a:buClr>
                <a:schemeClr val="dk1"/>
              </a:buClr>
              <a:buSzPts val="2000"/>
              <a:buFont typeface="Montserrat"/>
              <a:buNone/>
              <a:defRPr sz="2000" b="1">
                <a:solidFill>
                  <a:schemeClr val="dk1"/>
                </a:solidFill>
                <a:latin typeface="Montserrat"/>
                <a:ea typeface="Montserrat"/>
                <a:cs typeface="Montserrat"/>
                <a:sym typeface="Montserrat"/>
              </a:defRPr>
            </a:lvl4pPr>
            <a:lvl5pPr lvl="4" rtl="0">
              <a:spcBef>
                <a:spcPts val="0"/>
              </a:spcBef>
              <a:spcAft>
                <a:spcPts val="0"/>
              </a:spcAft>
              <a:buClr>
                <a:schemeClr val="dk1"/>
              </a:buClr>
              <a:buSzPts val="2000"/>
              <a:buFont typeface="Montserrat"/>
              <a:buNone/>
              <a:defRPr sz="2000" b="1">
                <a:solidFill>
                  <a:schemeClr val="dk1"/>
                </a:solidFill>
                <a:latin typeface="Montserrat"/>
                <a:ea typeface="Montserrat"/>
                <a:cs typeface="Montserrat"/>
                <a:sym typeface="Montserrat"/>
              </a:defRPr>
            </a:lvl5pPr>
            <a:lvl6pPr lvl="5" rtl="0">
              <a:spcBef>
                <a:spcPts val="0"/>
              </a:spcBef>
              <a:spcAft>
                <a:spcPts val="0"/>
              </a:spcAft>
              <a:buClr>
                <a:schemeClr val="dk1"/>
              </a:buClr>
              <a:buSzPts val="2000"/>
              <a:buFont typeface="Montserrat"/>
              <a:buNone/>
              <a:defRPr sz="2000" b="1">
                <a:solidFill>
                  <a:schemeClr val="dk1"/>
                </a:solidFill>
                <a:latin typeface="Montserrat"/>
                <a:ea typeface="Montserrat"/>
                <a:cs typeface="Montserrat"/>
                <a:sym typeface="Montserrat"/>
              </a:defRPr>
            </a:lvl6pPr>
            <a:lvl7pPr lvl="6" rtl="0">
              <a:spcBef>
                <a:spcPts val="0"/>
              </a:spcBef>
              <a:spcAft>
                <a:spcPts val="0"/>
              </a:spcAft>
              <a:buClr>
                <a:schemeClr val="dk1"/>
              </a:buClr>
              <a:buSzPts val="2000"/>
              <a:buFont typeface="Montserrat"/>
              <a:buNone/>
              <a:defRPr sz="2000" b="1">
                <a:solidFill>
                  <a:schemeClr val="dk1"/>
                </a:solidFill>
                <a:latin typeface="Montserrat"/>
                <a:ea typeface="Montserrat"/>
                <a:cs typeface="Montserrat"/>
                <a:sym typeface="Montserrat"/>
              </a:defRPr>
            </a:lvl7pPr>
            <a:lvl8pPr lvl="7" rtl="0">
              <a:spcBef>
                <a:spcPts val="0"/>
              </a:spcBef>
              <a:spcAft>
                <a:spcPts val="0"/>
              </a:spcAft>
              <a:buClr>
                <a:schemeClr val="dk1"/>
              </a:buClr>
              <a:buSzPts val="2000"/>
              <a:buFont typeface="Montserrat"/>
              <a:buNone/>
              <a:defRPr sz="2000" b="1">
                <a:solidFill>
                  <a:schemeClr val="dk1"/>
                </a:solidFill>
                <a:latin typeface="Montserrat"/>
                <a:ea typeface="Montserrat"/>
                <a:cs typeface="Montserrat"/>
                <a:sym typeface="Montserrat"/>
              </a:defRPr>
            </a:lvl8pPr>
            <a:lvl9pPr lvl="8" rtl="0">
              <a:spcBef>
                <a:spcPts val="0"/>
              </a:spcBef>
              <a:spcAft>
                <a:spcPts val="0"/>
              </a:spcAft>
              <a:buClr>
                <a:schemeClr val="dk1"/>
              </a:buClr>
              <a:buSzPts val="2000"/>
              <a:buFont typeface="Montserrat"/>
              <a:buNone/>
              <a:defRPr sz="2000" b="1">
                <a:solidFill>
                  <a:schemeClr val="dk1"/>
                </a:solidFill>
                <a:latin typeface="Montserrat"/>
                <a:ea typeface="Montserrat"/>
                <a:cs typeface="Montserrat"/>
                <a:sym typeface="Montserrat"/>
              </a:defRPr>
            </a:lvl9pPr>
          </a:lstStyle>
          <a:p>
            <a:endParaRPr/>
          </a:p>
        </p:txBody>
      </p:sp>
      <p:sp>
        <p:nvSpPr>
          <p:cNvPr id="333" name="Google Shape;333;p49"/>
          <p:cNvSpPr txBox="1">
            <a:spLocks noGrp="1"/>
          </p:cNvSpPr>
          <p:nvPr>
            <p:ph type="body" idx="1"/>
          </p:nvPr>
        </p:nvSpPr>
        <p:spPr>
          <a:xfrm>
            <a:off x="1080600" y="2609750"/>
            <a:ext cx="17041200" cy="6832800"/>
          </a:xfrm>
          <a:prstGeom prst="rect">
            <a:avLst/>
          </a:prstGeom>
          <a:noFill/>
          <a:ln>
            <a:noFill/>
          </a:ln>
        </p:spPr>
        <p:txBody>
          <a:bodyPr spcFirstLastPara="1" wrap="square" lIns="91425" tIns="91425" rIns="91425" bIns="91425" anchor="t" anchorCtr="0">
            <a:noAutofit/>
          </a:bodyPr>
          <a:lstStyle>
            <a:lvl1pPr marL="457200" lvl="0" indent="-304800" rtl="0">
              <a:lnSpc>
                <a:spcPct val="115000"/>
              </a:lnSpc>
              <a:spcBef>
                <a:spcPts val="0"/>
              </a:spcBef>
              <a:spcAft>
                <a:spcPts val="0"/>
              </a:spcAft>
              <a:buClr>
                <a:srgbClr val="FFFFFF"/>
              </a:buClr>
              <a:buSzPts val="1200"/>
              <a:buFont typeface="Montserrat Light"/>
              <a:buChar char="●"/>
              <a:defRPr sz="1200">
                <a:solidFill>
                  <a:srgbClr val="FFFFFF"/>
                </a:solidFill>
                <a:latin typeface="Montserrat Light"/>
                <a:ea typeface="Montserrat Light"/>
                <a:cs typeface="Montserrat Light"/>
                <a:sym typeface="Montserrat Light"/>
              </a:defRPr>
            </a:lvl1pPr>
            <a:lvl2pPr marL="914400" lvl="1" indent="-304800" rtl="0">
              <a:lnSpc>
                <a:spcPct val="115000"/>
              </a:lnSpc>
              <a:spcBef>
                <a:spcPts val="1600"/>
              </a:spcBef>
              <a:spcAft>
                <a:spcPts val="0"/>
              </a:spcAft>
              <a:buClr>
                <a:srgbClr val="FFFFFF"/>
              </a:buClr>
              <a:buSzPts val="1200"/>
              <a:buFont typeface="Montserrat Light"/>
              <a:buChar char="○"/>
              <a:defRPr sz="1200">
                <a:solidFill>
                  <a:srgbClr val="FFFFFF"/>
                </a:solidFill>
                <a:latin typeface="Montserrat Light"/>
                <a:ea typeface="Montserrat Light"/>
                <a:cs typeface="Montserrat Light"/>
                <a:sym typeface="Montserrat Light"/>
              </a:defRPr>
            </a:lvl2pPr>
            <a:lvl3pPr marL="1371600" lvl="2" indent="-304800" rtl="0">
              <a:lnSpc>
                <a:spcPct val="115000"/>
              </a:lnSpc>
              <a:spcBef>
                <a:spcPts val="1600"/>
              </a:spcBef>
              <a:spcAft>
                <a:spcPts val="0"/>
              </a:spcAft>
              <a:buClr>
                <a:srgbClr val="FFFFFF"/>
              </a:buClr>
              <a:buSzPts val="1200"/>
              <a:buFont typeface="Montserrat Light"/>
              <a:buChar char="■"/>
              <a:defRPr sz="1200">
                <a:solidFill>
                  <a:srgbClr val="FFFFFF"/>
                </a:solidFill>
                <a:latin typeface="Montserrat Light"/>
                <a:ea typeface="Montserrat Light"/>
                <a:cs typeface="Montserrat Light"/>
                <a:sym typeface="Montserrat Light"/>
              </a:defRPr>
            </a:lvl3pPr>
            <a:lvl4pPr marL="1828800" lvl="3" indent="-304800" rtl="0">
              <a:lnSpc>
                <a:spcPct val="115000"/>
              </a:lnSpc>
              <a:spcBef>
                <a:spcPts val="1600"/>
              </a:spcBef>
              <a:spcAft>
                <a:spcPts val="0"/>
              </a:spcAft>
              <a:buClr>
                <a:srgbClr val="FFFFFF"/>
              </a:buClr>
              <a:buSzPts val="1200"/>
              <a:buFont typeface="Montserrat Light"/>
              <a:buChar char="●"/>
              <a:defRPr sz="1200">
                <a:solidFill>
                  <a:srgbClr val="FFFFFF"/>
                </a:solidFill>
                <a:latin typeface="Montserrat Light"/>
                <a:ea typeface="Montserrat Light"/>
                <a:cs typeface="Montserrat Light"/>
                <a:sym typeface="Montserrat Light"/>
              </a:defRPr>
            </a:lvl4pPr>
            <a:lvl5pPr marL="2286000" lvl="4" indent="-304800" rtl="0">
              <a:lnSpc>
                <a:spcPct val="115000"/>
              </a:lnSpc>
              <a:spcBef>
                <a:spcPts val="1600"/>
              </a:spcBef>
              <a:spcAft>
                <a:spcPts val="0"/>
              </a:spcAft>
              <a:buClr>
                <a:srgbClr val="FFFFFF"/>
              </a:buClr>
              <a:buSzPts val="1200"/>
              <a:buFont typeface="Montserrat Light"/>
              <a:buChar char="○"/>
              <a:defRPr sz="1200">
                <a:solidFill>
                  <a:srgbClr val="FFFFFF"/>
                </a:solidFill>
                <a:latin typeface="Montserrat Light"/>
                <a:ea typeface="Montserrat Light"/>
                <a:cs typeface="Montserrat Light"/>
                <a:sym typeface="Montserrat Light"/>
              </a:defRPr>
            </a:lvl5pPr>
            <a:lvl6pPr marL="2743200" lvl="5" indent="-304800" rtl="0">
              <a:lnSpc>
                <a:spcPct val="115000"/>
              </a:lnSpc>
              <a:spcBef>
                <a:spcPts val="1600"/>
              </a:spcBef>
              <a:spcAft>
                <a:spcPts val="0"/>
              </a:spcAft>
              <a:buClr>
                <a:srgbClr val="FFFFFF"/>
              </a:buClr>
              <a:buSzPts val="1200"/>
              <a:buFont typeface="Montserrat Light"/>
              <a:buChar char="■"/>
              <a:defRPr sz="1200">
                <a:solidFill>
                  <a:srgbClr val="FFFFFF"/>
                </a:solidFill>
                <a:latin typeface="Montserrat Light"/>
                <a:ea typeface="Montserrat Light"/>
                <a:cs typeface="Montserrat Light"/>
                <a:sym typeface="Montserrat Light"/>
              </a:defRPr>
            </a:lvl6pPr>
            <a:lvl7pPr marL="3200400" lvl="6" indent="-304800" rtl="0">
              <a:lnSpc>
                <a:spcPct val="115000"/>
              </a:lnSpc>
              <a:spcBef>
                <a:spcPts val="1600"/>
              </a:spcBef>
              <a:spcAft>
                <a:spcPts val="0"/>
              </a:spcAft>
              <a:buClr>
                <a:srgbClr val="FFFFFF"/>
              </a:buClr>
              <a:buSzPts val="1200"/>
              <a:buFont typeface="Montserrat Light"/>
              <a:buChar char="●"/>
              <a:defRPr sz="1200">
                <a:solidFill>
                  <a:srgbClr val="FFFFFF"/>
                </a:solidFill>
                <a:latin typeface="Montserrat Light"/>
                <a:ea typeface="Montserrat Light"/>
                <a:cs typeface="Montserrat Light"/>
                <a:sym typeface="Montserrat Light"/>
              </a:defRPr>
            </a:lvl7pPr>
            <a:lvl8pPr marL="3657600" lvl="7" indent="-304800" rtl="0">
              <a:lnSpc>
                <a:spcPct val="115000"/>
              </a:lnSpc>
              <a:spcBef>
                <a:spcPts val="1600"/>
              </a:spcBef>
              <a:spcAft>
                <a:spcPts val="0"/>
              </a:spcAft>
              <a:buClr>
                <a:srgbClr val="FFFFFF"/>
              </a:buClr>
              <a:buSzPts val="1200"/>
              <a:buFont typeface="Montserrat Light"/>
              <a:buChar char="○"/>
              <a:defRPr sz="1200">
                <a:solidFill>
                  <a:srgbClr val="FFFFFF"/>
                </a:solidFill>
                <a:latin typeface="Montserrat Light"/>
                <a:ea typeface="Montserrat Light"/>
                <a:cs typeface="Montserrat Light"/>
                <a:sym typeface="Montserrat Light"/>
              </a:defRPr>
            </a:lvl8pPr>
            <a:lvl9pPr marL="4114800" lvl="8" indent="-304800" rtl="0">
              <a:lnSpc>
                <a:spcPct val="115000"/>
              </a:lnSpc>
              <a:spcBef>
                <a:spcPts val="1600"/>
              </a:spcBef>
              <a:spcAft>
                <a:spcPts val="1600"/>
              </a:spcAft>
              <a:buClr>
                <a:srgbClr val="FFFFFF"/>
              </a:buClr>
              <a:buSzPts val="1200"/>
              <a:buFont typeface="Montserrat Light"/>
              <a:buChar char="■"/>
              <a:defRPr sz="1200">
                <a:solidFill>
                  <a:srgbClr val="FFFFFF"/>
                </a:solidFill>
                <a:latin typeface="Montserrat Light"/>
                <a:ea typeface="Montserrat Light"/>
                <a:cs typeface="Montserrat Light"/>
                <a:sym typeface="Montserrat Light"/>
              </a:defRPr>
            </a:lvl9pPr>
          </a:lstStyle>
          <a:p>
            <a:endParaRPr/>
          </a:p>
        </p:txBody>
      </p:sp>
      <p:sp>
        <p:nvSpPr>
          <p:cNvPr id="334" name="Google Shape;334;p49"/>
          <p:cNvSpPr txBox="1">
            <a:spLocks noGrp="1"/>
          </p:cNvSpPr>
          <p:nvPr>
            <p:ph type="sldNum" idx="12"/>
          </p:nvPr>
        </p:nvSpPr>
        <p:spPr>
          <a:xfrm>
            <a:off x="16944916" y="9326434"/>
            <a:ext cx="1097400" cy="787200"/>
          </a:xfrm>
          <a:prstGeom prst="rect">
            <a:avLst/>
          </a:prstGeom>
          <a:noFill/>
          <a:ln>
            <a:noFill/>
          </a:ln>
        </p:spPr>
        <p:txBody>
          <a:bodyPr spcFirstLastPara="1" wrap="square" lIns="91425" tIns="91425" rIns="91425" bIns="91425" anchor="ctr" anchorCtr="0">
            <a:noAutofit/>
          </a:bodyPr>
          <a:lstStyle>
            <a:lvl1pPr lvl="0" algn="r" rtl="0">
              <a:buNone/>
              <a:defRPr sz="2000">
                <a:solidFill>
                  <a:schemeClr val="lt2"/>
                </a:solidFill>
              </a:defRPr>
            </a:lvl1pPr>
            <a:lvl2pPr lvl="1" algn="r" rtl="0">
              <a:buNone/>
              <a:defRPr sz="2000">
                <a:solidFill>
                  <a:schemeClr val="lt2"/>
                </a:solidFill>
              </a:defRPr>
            </a:lvl2pPr>
            <a:lvl3pPr lvl="2" algn="r" rtl="0">
              <a:buNone/>
              <a:defRPr sz="2000">
                <a:solidFill>
                  <a:schemeClr val="lt2"/>
                </a:solidFill>
              </a:defRPr>
            </a:lvl3pPr>
            <a:lvl4pPr lvl="3" algn="r" rtl="0">
              <a:buNone/>
              <a:defRPr sz="2000">
                <a:solidFill>
                  <a:schemeClr val="lt2"/>
                </a:solidFill>
              </a:defRPr>
            </a:lvl4pPr>
            <a:lvl5pPr lvl="4" algn="r" rtl="0">
              <a:buNone/>
              <a:defRPr sz="2000">
                <a:solidFill>
                  <a:schemeClr val="lt2"/>
                </a:solidFill>
              </a:defRPr>
            </a:lvl5pPr>
            <a:lvl6pPr lvl="5" algn="r" rtl="0">
              <a:buNone/>
              <a:defRPr sz="2000">
                <a:solidFill>
                  <a:schemeClr val="lt2"/>
                </a:solidFill>
              </a:defRPr>
            </a:lvl6pPr>
            <a:lvl7pPr lvl="6" algn="r" rtl="0">
              <a:buNone/>
              <a:defRPr sz="2000">
                <a:solidFill>
                  <a:schemeClr val="lt2"/>
                </a:solidFill>
              </a:defRPr>
            </a:lvl7pPr>
            <a:lvl8pPr lvl="7" algn="r" rtl="0">
              <a:buNone/>
              <a:defRPr sz="2000">
                <a:solidFill>
                  <a:schemeClr val="lt2"/>
                </a:solidFill>
              </a:defRPr>
            </a:lvl8pPr>
            <a:lvl9pPr lvl="8" algn="r" rtl="0">
              <a:buNone/>
              <a:defRPr sz="2000">
                <a:solidFill>
                  <a:schemeClr val="lt2"/>
                </a:solidFill>
              </a:defRPr>
            </a:lvl9pPr>
          </a:lstStyle>
          <a:p>
            <a:pPr marL="0" lvl="0" indent="0" algn="r" rtl="0">
              <a:spcBef>
                <a:spcPts val="0"/>
              </a:spcBef>
              <a:spcAft>
                <a:spcPts val="0"/>
              </a:spcAft>
              <a:buNone/>
            </a:pPr>
            <a:fld id="{00000000-1234-1234-1234-123412341234}" type="slidenum">
              <a:rPr lang="pt-BR"/>
              <a:pPr marL="0" lvl="0" indent="0" algn="r" rtl="0">
                <a:spcBef>
                  <a:spcPts val="0"/>
                </a:spcBef>
                <a:spcAft>
                  <a:spcPts val="0"/>
                </a:spcAft>
                <a:buNone/>
              </a:pPr>
              <a:t>‹nº›</a:t>
            </a:fld>
            <a:endParaRPr/>
          </a:p>
        </p:txBody>
      </p:sp>
    </p:spTree>
  </p:cSld>
  <p:clrMap bg1="lt1" tx1="dk1" bg2="dk2" tx2="lt2" accent1="accent1" accent2="accent2" accent3="accent3" accent4="accent4" accent5="accent5" accent6="accent6" hlink="hlink" folHlink="folHlink"/>
  <p:sldLayoutIdLst>
    <p:sldLayoutId id="2147483695" r:id="rId1"/>
    <p:sldLayoutId id="2147483696" r:id="rId2"/>
    <p:sldLayoutId id="2147483699" r:id="rId3"/>
    <p:sldLayoutId id="2147483700" r:id="rId4"/>
    <p:sldLayoutId id="2147483701" r:id="rId5"/>
    <p:sldLayoutId id="2147483702" r:id="rId6"/>
    <p:sldLayoutId id="2147483703" r:id="rId7"/>
    <p:sldLayoutId id="2147483704" r:id="rId8"/>
    <p:sldLayoutId id="2147483705" r:id="rId9"/>
    <p:sldLayoutId id="2147483707" r:id="rId10"/>
    <p:sldLayoutId id="2147483708" r:id="rId11"/>
    <p:sldLayoutId id="2147483709" r:id="rId12"/>
    <p:sldLayoutId id="2147483710" r:id="rId13"/>
    <p:sldLayoutId id="2147483711" r:id="rId14"/>
    <p:sldLayoutId id="2147483712" r:id="rId15"/>
    <p:sldLayoutId id="2147483713" r:id="rId16"/>
    <p:sldLayoutId id="2147483717" r:id="rId17"/>
    <p:sldLayoutId id="2147483718" r:id="rId18"/>
    <p:sldLayoutId id="2147483720" r:id="rId19"/>
    <p:sldLayoutId id="2147484658" r:id="rId20"/>
    <p:sldLayoutId id="2147484753" r:id="rId21"/>
    <p:sldLayoutId id="2147484767" r:id="rId22"/>
    <p:sldLayoutId id="2147484741" r:id="rId23"/>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623400" y="890050"/>
            <a:ext cx="17041200" cy="1145400"/>
          </a:xfrm>
          <a:prstGeom prst="rect">
            <a:avLst/>
          </a:prstGeom>
          <a:noFill/>
          <a:ln>
            <a:noFill/>
          </a:ln>
        </p:spPr>
        <p:txBody>
          <a:bodyPr spcFirstLastPara="1" wrap="square" lIns="91425" tIns="91425" rIns="91425" bIns="91425" anchor="t" anchorCtr="0">
            <a:normAutofit/>
          </a:bodyPr>
          <a:lstStyle>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endParaRPr/>
          </a:p>
        </p:txBody>
      </p:sp>
      <p:sp>
        <p:nvSpPr>
          <p:cNvPr id="7" name="Google Shape;7;p1"/>
          <p:cNvSpPr txBox="1">
            <a:spLocks noGrp="1"/>
          </p:cNvSpPr>
          <p:nvPr>
            <p:ph type="body" idx="1"/>
          </p:nvPr>
        </p:nvSpPr>
        <p:spPr>
          <a:xfrm>
            <a:off x="623400" y="2304950"/>
            <a:ext cx="17041200" cy="6832800"/>
          </a:xfrm>
          <a:prstGeom prst="rect">
            <a:avLst/>
          </a:prstGeom>
          <a:noFill/>
          <a:ln>
            <a:noFill/>
          </a:ln>
        </p:spPr>
        <p:txBody>
          <a:bodyPr spcFirstLastPara="1" wrap="square" lIns="91425" tIns="91425" rIns="91425" bIns="91425" anchor="t" anchorCtr="0">
            <a:normAutofit/>
          </a:bodyPr>
          <a:lstStyle>
            <a:lvl1pPr marL="457200" marR="0" lvl="0" indent="-342900" algn="l" rtl="0">
              <a:lnSpc>
                <a:spcPct val="115000"/>
              </a:lnSpc>
              <a:spcBef>
                <a:spcPts val="0"/>
              </a:spcBef>
              <a:spcAft>
                <a:spcPts val="0"/>
              </a:spcAft>
              <a:buClr>
                <a:schemeClr val="dk2"/>
              </a:buClr>
              <a:buSzPts val="1800"/>
              <a:buFont typeface="Arial"/>
              <a:buChar char="●"/>
              <a:defRPr sz="1800" b="0" i="0" u="none" strike="noStrike" cap="none">
                <a:solidFill>
                  <a:schemeClr val="dk2"/>
                </a:solidFill>
                <a:latin typeface="Arial"/>
                <a:ea typeface="Arial"/>
                <a:cs typeface="Arial"/>
                <a:sym typeface="Arial"/>
              </a:defRPr>
            </a:lvl1pPr>
            <a:lvl2pPr marL="914400" marR="0" lvl="1"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2pPr>
            <a:lvl3pPr marL="1371600" marR="0" lvl="2"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3pPr>
            <a:lvl4pPr marL="1828800" marR="0" lvl="3"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4pPr>
            <a:lvl5pPr marL="2286000" marR="0" lvl="4"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5pPr>
            <a:lvl6pPr marL="2743200" marR="0" lvl="5"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6pPr>
            <a:lvl7pPr marL="3200400" marR="0" lvl="6"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7pPr>
            <a:lvl8pPr marL="3657600" marR="0" lvl="7"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8pPr>
            <a:lvl9pPr marL="4114800" marR="0" lvl="8"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9pPr>
          </a:lstStyle>
          <a:p>
            <a:endParaRPr/>
          </a:p>
        </p:txBody>
      </p:sp>
      <p:sp>
        <p:nvSpPr>
          <p:cNvPr id="8" name="Google Shape;8;p1"/>
          <p:cNvSpPr txBox="1">
            <a:spLocks noGrp="1"/>
          </p:cNvSpPr>
          <p:nvPr>
            <p:ph type="sldNum" idx="12"/>
          </p:nvPr>
        </p:nvSpPr>
        <p:spPr>
          <a:xfrm>
            <a:off x="16944916" y="9326434"/>
            <a:ext cx="1097400" cy="787200"/>
          </a:xfrm>
          <a:prstGeom prst="rect">
            <a:avLst/>
          </a:prstGeom>
          <a:noFill/>
          <a:ln>
            <a:noFill/>
          </a:ln>
        </p:spPr>
        <p:txBody>
          <a:bodyPr spcFirstLastPara="1" wrap="square" lIns="91425" tIns="91425" rIns="91425" bIns="91425" anchor="ctr" anchorCtr="0">
            <a:normAutofit/>
          </a:bodyPr>
          <a:lstStyle>
            <a:lvl1pPr marL="0" marR="0" lvl="0" indent="0" algn="r" rtl="0">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3608350272"/>
      </p:ext>
    </p:extLst>
  </p:cSld>
  <p:clrMap bg1="lt1" tx1="dk1" bg2="dk2" tx2="lt2" accent1="accent1" accent2="accent2" accent3="accent3" accent4="accent4" accent5="accent5" accent6="accent6" hlink="hlink" folHlink="folHlink"/>
  <p:sldLayoutIdLst>
    <p:sldLayoutId id="2147484608" r:id="rId1"/>
    <p:sldLayoutId id="2147484609" r:id="rId2"/>
    <p:sldLayoutId id="2147484610" r:id="rId3"/>
    <p:sldLayoutId id="2147484611" r:id="rId4"/>
    <p:sldLayoutId id="2147484612" r:id="rId5"/>
    <p:sldLayoutId id="2147484613" r:id="rId6"/>
    <p:sldLayoutId id="2147484614" r:id="rId7"/>
    <p:sldLayoutId id="2147484615" r:id="rId8"/>
    <p:sldLayoutId id="2147484616" r:id="rId9"/>
    <p:sldLayoutId id="2147484618" r:id="rId10"/>
    <p:sldLayoutId id="2147484619" r:id="rId11"/>
    <p:sldLayoutId id="2147484620" r:id="rId12"/>
    <p:sldLayoutId id="2147484621" r:id="rId13"/>
    <p:sldLayoutId id="2147484622" r:id="rId14"/>
    <p:sldLayoutId id="2147484624" r:id="rId15"/>
    <p:sldLayoutId id="2147484625" r:id="rId16"/>
    <p:sldLayoutId id="2147484626" r:id="rId17"/>
    <p:sldLayoutId id="2147484659" r:id="rId18"/>
    <p:sldLayoutId id="2147484803" r:id="rId19"/>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8BD707-D9CF-40AE-B4C6-C98DA3205C09}" type="datetimeFigureOut">
              <a:rPr lang="en-US" smtClean="0"/>
              <a:pPr/>
              <a:t>5/9/2025</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F15528-21DE-4FAA-801E-634DDDAF4B2B}" type="slidenum">
              <a:rPr lang="en-US" smtClean="0"/>
              <a:pPr/>
              <a:t>‹nº›</a:t>
            </a:fld>
            <a:endParaRPr lang="en-US"/>
          </a:p>
        </p:txBody>
      </p:sp>
    </p:spTree>
    <p:extLst>
      <p:ext uri="{BB962C8B-B14F-4D97-AF65-F5344CB8AC3E}">
        <p14:creationId xmlns:p14="http://schemas.microsoft.com/office/powerpoint/2010/main" val="3906267000"/>
      </p:ext>
    </p:extLst>
  </p:cSld>
  <p:clrMap bg1="lt1" tx1="dk1" bg2="lt2" tx2="dk2" accent1="accent1" accent2="accent2" accent3="accent3" accent4="accent4" accent5="accent5" accent6="accent6" hlink="hlink" folHlink="folHlink"/>
  <p:sldLayoutIdLst>
    <p:sldLayoutId id="2147484628" r:id="rId1"/>
    <p:sldLayoutId id="2147484629" r:id="rId2"/>
    <p:sldLayoutId id="2147484630" r:id="rId3"/>
    <p:sldLayoutId id="2147484631" r:id="rId4"/>
    <p:sldLayoutId id="2147484632" r:id="rId5"/>
    <p:sldLayoutId id="2147484633" r:id="rId6"/>
    <p:sldLayoutId id="2147484634" r:id="rId7"/>
    <p:sldLayoutId id="2147484635" r:id="rId8"/>
    <p:sldLayoutId id="2147484636" r:id="rId9"/>
    <p:sldLayoutId id="2147484637" r:id="rId10"/>
    <p:sldLayoutId id="2147484638" r:id="rId11"/>
    <p:sldLayoutId id="2147484742" r:id="rId12"/>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623400" y="890050"/>
            <a:ext cx="17041200" cy="1145400"/>
          </a:xfrm>
          <a:prstGeom prst="rect">
            <a:avLst/>
          </a:prstGeom>
          <a:noFill/>
          <a:ln>
            <a:noFill/>
          </a:ln>
        </p:spPr>
        <p:txBody>
          <a:bodyPr spcFirstLastPara="1" wrap="square" lIns="91425" tIns="91425" rIns="91425" bIns="91425" anchor="t" anchorCtr="0">
            <a:normAutofit/>
          </a:bodyPr>
          <a:lstStyle>
            <a:lvl1pPr lvl="0">
              <a:spcBef>
                <a:spcPts val="0"/>
              </a:spcBef>
              <a:spcAft>
                <a:spcPts val="0"/>
              </a:spcAft>
              <a:buClr>
                <a:schemeClr val="dk1"/>
              </a:buClr>
              <a:buSzPts val="2800"/>
              <a:buNone/>
              <a:defRPr sz="2800">
                <a:solidFill>
                  <a:schemeClr val="dk1"/>
                </a:solidFill>
              </a:defRPr>
            </a:lvl1pPr>
            <a:lvl2pPr lvl="1">
              <a:spcBef>
                <a:spcPts val="0"/>
              </a:spcBef>
              <a:spcAft>
                <a:spcPts val="0"/>
              </a:spcAft>
              <a:buClr>
                <a:schemeClr val="dk1"/>
              </a:buClr>
              <a:buSzPts val="2800"/>
              <a:buNone/>
              <a:defRPr sz="2800">
                <a:solidFill>
                  <a:schemeClr val="dk1"/>
                </a:solidFill>
              </a:defRPr>
            </a:lvl2pPr>
            <a:lvl3pPr lvl="2">
              <a:spcBef>
                <a:spcPts val="0"/>
              </a:spcBef>
              <a:spcAft>
                <a:spcPts val="0"/>
              </a:spcAft>
              <a:buClr>
                <a:schemeClr val="dk1"/>
              </a:buClr>
              <a:buSzPts val="2800"/>
              <a:buNone/>
              <a:defRPr sz="2800">
                <a:solidFill>
                  <a:schemeClr val="dk1"/>
                </a:solidFill>
              </a:defRPr>
            </a:lvl3pPr>
            <a:lvl4pPr lvl="3">
              <a:spcBef>
                <a:spcPts val="0"/>
              </a:spcBef>
              <a:spcAft>
                <a:spcPts val="0"/>
              </a:spcAft>
              <a:buClr>
                <a:schemeClr val="dk1"/>
              </a:buClr>
              <a:buSzPts val="2800"/>
              <a:buNone/>
              <a:defRPr sz="2800">
                <a:solidFill>
                  <a:schemeClr val="dk1"/>
                </a:solidFill>
              </a:defRPr>
            </a:lvl4pPr>
            <a:lvl5pPr lvl="4">
              <a:spcBef>
                <a:spcPts val="0"/>
              </a:spcBef>
              <a:spcAft>
                <a:spcPts val="0"/>
              </a:spcAft>
              <a:buClr>
                <a:schemeClr val="dk1"/>
              </a:buClr>
              <a:buSzPts val="2800"/>
              <a:buNone/>
              <a:defRPr sz="2800">
                <a:solidFill>
                  <a:schemeClr val="dk1"/>
                </a:solidFill>
              </a:defRPr>
            </a:lvl5pPr>
            <a:lvl6pPr lvl="5">
              <a:spcBef>
                <a:spcPts val="0"/>
              </a:spcBef>
              <a:spcAft>
                <a:spcPts val="0"/>
              </a:spcAft>
              <a:buClr>
                <a:schemeClr val="dk1"/>
              </a:buClr>
              <a:buSzPts val="2800"/>
              <a:buNone/>
              <a:defRPr sz="2800">
                <a:solidFill>
                  <a:schemeClr val="dk1"/>
                </a:solidFill>
              </a:defRPr>
            </a:lvl6pPr>
            <a:lvl7pPr lvl="6">
              <a:spcBef>
                <a:spcPts val="0"/>
              </a:spcBef>
              <a:spcAft>
                <a:spcPts val="0"/>
              </a:spcAft>
              <a:buClr>
                <a:schemeClr val="dk1"/>
              </a:buClr>
              <a:buSzPts val="2800"/>
              <a:buNone/>
              <a:defRPr sz="2800">
                <a:solidFill>
                  <a:schemeClr val="dk1"/>
                </a:solidFill>
              </a:defRPr>
            </a:lvl7pPr>
            <a:lvl8pPr lvl="7">
              <a:spcBef>
                <a:spcPts val="0"/>
              </a:spcBef>
              <a:spcAft>
                <a:spcPts val="0"/>
              </a:spcAft>
              <a:buClr>
                <a:schemeClr val="dk1"/>
              </a:buClr>
              <a:buSzPts val="2800"/>
              <a:buNone/>
              <a:defRPr sz="2800">
                <a:solidFill>
                  <a:schemeClr val="dk1"/>
                </a:solidFill>
              </a:defRPr>
            </a:lvl8pPr>
            <a:lvl9pPr lvl="8">
              <a:spcBef>
                <a:spcPts val="0"/>
              </a:spcBef>
              <a:spcAft>
                <a:spcPts val="0"/>
              </a:spcAft>
              <a:buClr>
                <a:schemeClr val="dk1"/>
              </a:buClr>
              <a:buSzPts val="2800"/>
              <a:buNone/>
              <a:defRPr sz="2800">
                <a:solidFill>
                  <a:schemeClr val="dk1"/>
                </a:solidFill>
              </a:defRPr>
            </a:lvl9pPr>
          </a:lstStyle>
          <a:p>
            <a:endParaRPr/>
          </a:p>
        </p:txBody>
      </p:sp>
      <p:sp>
        <p:nvSpPr>
          <p:cNvPr id="7" name="Google Shape;7;p1"/>
          <p:cNvSpPr txBox="1">
            <a:spLocks noGrp="1"/>
          </p:cNvSpPr>
          <p:nvPr>
            <p:ph type="body" idx="1"/>
          </p:nvPr>
        </p:nvSpPr>
        <p:spPr>
          <a:xfrm>
            <a:off x="623400" y="2304950"/>
            <a:ext cx="17041200" cy="6832800"/>
          </a:xfrm>
          <a:prstGeom prst="rect">
            <a:avLst/>
          </a:prstGeom>
          <a:noFill/>
          <a:ln>
            <a:noFill/>
          </a:ln>
        </p:spPr>
        <p:txBody>
          <a:bodyPr spcFirstLastPara="1" wrap="square" lIns="91425" tIns="91425" rIns="91425" bIns="91425" anchor="t" anchorCtr="0">
            <a:normAutofit/>
          </a:bodyPr>
          <a:lstStyle>
            <a:lvl1pPr marL="457200" lvl="0" indent="-342900">
              <a:lnSpc>
                <a:spcPct val="115000"/>
              </a:lnSpc>
              <a:spcBef>
                <a:spcPts val="0"/>
              </a:spcBef>
              <a:spcAft>
                <a:spcPts val="0"/>
              </a:spcAft>
              <a:buClr>
                <a:schemeClr val="dk2"/>
              </a:buClr>
              <a:buSzPts val="1800"/>
              <a:buChar char="●"/>
              <a:defRPr sz="1800">
                <a:solidFill>
                  <a:schemeClr val="dk2"/>
                </a:solidFill>
              </a:defRPr>
            </a:lvl1pPr>
            <a:lvl2pPr marL="914400" lvl="1" indent="-317500">
              <a:lnSpc>
                <a:spcPct val="115000"/>
              </a:lnSpc>
              <a:spcBef>
                <a:spcPts val="0"/>
              </a:spcBef>
              <a:spcAft>
                <a:spcPts val="0"/>
              </a:spcAft>
              <a:buClr>
                <a:schemeClr val="dk2"/>
              </a:buClr>
              <a:buSzPts val="1400"/>
              <a:buChar char="○"/>
              <a:defRPr>
                <a:solidFill>
                  <a:schemeClr val="dk2"/>
                </a:solidFill>
              </a:defRPr>
            </a:lvl2pPr>
            <a:lvl3pPr marL="1371600" lvl="2" indent="-317500">
              <a:lnSpc>
                <a:spcPct val="115000"/>
              </a:lnSpc>
              <a:spcBef>
                <a:spcPts val="0"/>
              </a:spcBef>
              <a:spcAft>
                <a:spcPts val="0"/>
              </a:spcAft>
              <a:buClr>
                <a:schemeClr val="dk2"/>
              </a:buClr>
              <a:buSzPts val="1400"/>
              <a:buChar char="■"/>
              <a:defRPr>
                <a:solidFill>
                  <a:schemeClr val="dk2"/>
                </a:solidFill>
              </a:defRPr>
            </a:lvl3pPr>
            <a:lvl4pPr marL="1828800" lvl="3" indent="-317500">
              <a:lnSpc>
                <a:spcPct val="115000"/>
              </a:lnSpc>
              <a:spcBef>
                <a:spcPts val="0"/>
              </a:spcBef>
              <a:spcAft>
                <a:spcPts val="0"/>
              </a:spcAft>
              <a:buClr>
                <a:schemeClr val="dk2"/>
              </a:buClr>
              <a:buSzPts val="1400"/>
              <a:buChar char="●"/>
              <a:defRPr>
                <a:solidFill>
                  <a:schemeClr val="dk2"/>
                </a:solidFill>
              </a:defRPr>
            </a:lvl4pPr>
            <a:lvl5pPr marL="2286000" lvl="4" indent="-317500">
              <a:lnSpc>
                <a:spcPct val="115000"/>
              </a:lnSpc>
              <a:spcBef>
                <a:spcPts val="0"/>
              </a:spcBef>
              <a:spcAft>
                <a:spcPts val="0"/>
              </a:spcAft>
              <a:buClr>
                <a:schemeClr val="dk2"/>
              </a:buClr>
              <a:buSzPts val="1400"/>
              <a:buChar char="○"/>
              <a:defRPr>
                <a:solidFill>
                  <a:schemeClr val="dk2"/>
                </a:solidFill>
              </a:defRPr>
            </a:lvl5pPr>
            <a:lvl6pPr marL="2743200" lvl="5" indent="-317500">
              <a:lnSpc>
                <a:spcPct val="115000"/>
              </a:lnSpc>
              <a:spcBef>
                <a:spcPts val="0"/>
              </a:spcBef>
              <a:spcAft>
                <a:spcPts val="0"/>
              </a:spcAft>
              <a:buClr>
                <a:schemeClr val="dk2"/>
              </a:buClr>
              <a:buSzPts val="1400"/>
              <a:buChar char="■"/>
              <a:defRPr>
                <a:solidFill>
                  <a:schemeClr val="dk2"/>
                </a:solidFill>
              </a:defRPr>
            </a:lvl6pPr>
            <a:lvl7pPr marL="3200400" lvl="6" indent="-317500">
              <a:lnSpc>
                <a:spcPct val="115000"/>
              </a:lnSpc>
              <a:spcBef>
                <a:spcPts val="0"/>
              </a:spcBef>
              <a:spcAft>
                <a:spcPts val="0"/>
              </a:spcAft>
              <a:buClr>
                <a:schemeClr val="dk2"/>
              </a:buClr>
              <a:buSzPts val="1400"/>
              <a:buChar char="●"/>
              <a:defRPr>
                <a:solidFill>
                  <a:schemeClr val="dk2"/>
                </a:solidFill>
              </a:defRPr>
            </a:lvl7pPr>
            <a:lvl8pPr marL="3657600" lvl="7" indent="-317500">
              <a:lnSpc>
                <a:spcPct val="115000"/>
              </a:lnSpc>
              <a:spcBef>
                <a:spcPts val="0"/>
              </a:spcBef>
              <a:spcAft>
                <a:spcPts val="0"/>
              </a:spcAft>
              <a:buClr>
                <a:schemeClr val="dk2"/>
              </a:buClr>
              <a:buSzPts val="1400"/>
              <a:buChar char="○"/>
              <a:defRPr>
                <a:solidFill>
                  <a:schemeClr val="dk2"/>
                </a:solidFill>
              </a:defRPr>
            </a:lvl8pPr>
            <a:lvl9pPr marL="4114800" lvl="8" indent="-317500">
              <a:lnSpc>
                <a:spcPct val="115000"/>
              </a:lnSpc>
              <a:spcBef>
                <a:spcPts val="0"/>
              </a:spcBef>
              <a:spcAft>
                <a:spcPts val="0"/>
              </a:spcAft>
              <a:buClr>
                <a:schemeClr val="dk2"/>
              </a:buClr>
              <a:buSzPts val="1400"/>
              <a:buChar char="■"/>
              <a:defRPr>
                <a:solidFill>
                  <a:schemeClr val="dk2"/>
                </a:solidFill>
              </a:defRPr>
            </a:lvl9pPr>
          </a:lstStyle>
          <a:p>
            <a:endParaRPr/>
          </a:p>
        </p:txBody>
      </p:sp>
      <p:sp>
        <p:nvSpPr>
          <p:cNvPr id="8" name="Google Shape;8;p1"/>
          <p:cNvSpPr txBox="1">
            <a:spLocks noGrp="1"/>
          </p:cNvSpPr>
          <p:nvPr>
            <p:ph type="sldNum" idx="12"/>
          </p:nvPr>
        </p:nvSpPr>
        <p:spPr>
          <a:xfrm>
            <a:off x="16944916" y="9326434"/>
            <a:ext cx="1097400" cy="787200"/>
          </a:xfrm>
          <a:prstGeom prst="rect">
            <a:avLst/>
          </a:prstGeom>
          <a:noFill/>
          <a:ln>
            <a:noFill/>
          </a:ln>
        </p:spPr>
        <p:txBody>
          <a:bodyPr spcFirstLastPara="1" wrap="square" lIns="91425" tIns="91425" rIns="91425" bIns="91425" anchor="ctr" anchorCtr="0">
            <a:normAutofit/>
          </a:bodyPr>
          <a:lstStyle>
            <a:lvl1pPr lvl="0" algn="r">
              <a:buNone/>
              <a:defRPr sz="2000">
                <a:solidFill>
                  <a:schemeClr val="dk2"/>
                </a:solidFill>
              </a:defRPr>
            </a:lvl1pPr>
            <a:lvl2pPr lvl="1" algn="r">
              <a:buNone/>
              <a:defRPr sz="2000">
                <a:solidFill>
                  <a:schemeClr val="dk2"/>
                </a:solidFill>
              </a:defRPr>
            </a:lvl2pPr>
            <a:lvl3pPr lvl="2" algn="r">
              <a:buNone/>
              <a:defRPr sz="2000">
                <a:solidFill>
                  <a:schemeClr val="dk2"/>
                </a:solidFill>
              </a:defRPr>
            </a:lvl3pPr>
            <a:lvl4pPr lvl="3" algn="r">
              <a:buNone/>
              <a:defRPr sz="2000">
                <a:solidFill>
                  <a:schemeClr val="dk2"/>
                </a:solidFill>
              </a:defRPr>
            </a:lvl4pPr>
            <a:lvl5pPr lvl="4" algn="r">
              <a:buNone/>
              <a:defRPr sz="2000">
                <a:solidFill>
                  <a:schemeClr val="dk2"/>
                </a:solidFill>
              </a:defRPr>
            </a:lvl5pPr>
            <a:lvl6pPr lvl="5" algn="r">
              <a:buNone/>
              <a:defRPr sz="2000">
                <a:solidFill>
                  <a:schemeClr val="dk2"/>
                </a:solidFill>
              </a:defRPr>
            </a:lvl6pPr>
            <a:lvl7pPr lvl="6" algn="r">
              <a:buNone/>
              <a:defRPr sz="2000">
                <a:solidFill>
                  <a:schemeClr val="dk2"/>
                </a:solidFill>
              </a:defRPr>
            </a:lvl7pPr>
            <a:lvl8pPr lvl="7" algn="r">
              <a:buNone/>
              <a:defRPr sz="2000">
                <a:solidFill>
                  <a:schemeClr val="dk2"/>
                </a:solidFill>
              </a:defRPr>
            </a:lvl8pPr>
            <a:lvl9pPr lvl="8" algn="r">
              <a:buNone/>
              <a:defRPr sz="2000">
                <a:solidFill>
                  <a:schemeClr val="dk2"/>
                </a:solidFill>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1083242903"/>
      </p:ext>
    </p:extLst>
  </p:cSld>
  <p:clrMap bg1="lt1" tx1="dk1" bg2="dk2" tx2="lt2" accent1="accent1" accent2="accent2" accent3="accent3" accent4="accent4" accent5="accent5" accent6="accent6" hlink="hlink" folHlink="folHlink"/>
  <p:sldLayoutIdLst>
    <p:sldLayoutId id="2147484648" r:id="rId1"/>
    <p:sldLayoutId id="2147484649" r:id="rId2"/>
    <p:sldLayoutId id="2147484650" r:id="rId3"/>
    <p:sldLayoutId id="2147484651" r:id="rId4"/>
    <p:sldLayoutId id="2147484652" r:id="rId5"/>
    <p:sldLayoutId id="2147484653" r:id="rId6"/>
    <p:sldLayoutId id="2147484654" r:id="rId7"/>
    <p:sldLayoutId id="2147484655" r:id="rId8"/>
    <p:sldLayoutId id="2147484656" r:id="rId9"/>
    <p:sldLayoutId id="2147484657" r:id="rId10"/>
    <p:sldLayoutId id="2147484800" r:id="rId11"/>
    <p:sldLayoutId id="2147484801" r:id="rId12"/>
    <p:sldLayoutId id="2147484802" r:id="rId13"/>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623400" y="890050"/>
            <a:ext cx="17041200" cy="1145400"/>
          </a:xfrm>
          <a:prstGeom prst="rect">
            <a:avLst/>
          </a:prstGeom>
          <a:noFill/>
          <a:ln>
            <a:noFill/>
          </a:ln>
        </p:spPr>
        <p:txBody>
          <a:bodyPr spcFirstLastPara="1" wrap="square" lIns="91425" tIns="91425" rIns="91425" bIns="91425" anchor="t" anchorCtr="0">
            <a:normAutofit/>
          </a:bodyPr>
          <a:lstStyle>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endParaRPr/>
          </a:p>
        </p:txBody>
      </p:sp>
      <p:sp>
        <p:nvSpPr>
          <p:cNvPr id="7" name="Google Shape;7;p1"/>
          <p:cNvSpPr txBox="1">
            <a:spLocks noGrp="1"/>
          </p:cNvSpPr>
          <p:nvPr>
            <p:ph type="body" idx="1"/>
          </p:nvPr>
        </p:nvSpPr>
        <p:spPr>
          <a:xfrm>
            <a:off x="623400" y="2304950"/>
            <a:ext cx="17041200" cy="6832800"/>
          </a:xfrm>
          <a:prstGeom prst="rect">
            <a:avLst/>
          </a:prstGeom>
          <a:noFill/>
          <a:ln>
            <a:noFill/>
          </a:ln>
        </p:spPr>
        <p:txBody>
          <a:bodyPr spcFirstLastPara="1" wrap="square" lIns="91425" tIns="91425" rIns="91425" bIns="91425" anchor="t" anchorCtr="0">
            <a:normAutofit/>
          </a:bodyPr>
          <a:lstStyle>
            <a:lvl1pPr marL="457200" marR="0" lvl="0" indent="-342900" algn="l" rtl="0">
              <a:lnSpc>
                <a:spcPct val="115000"/>
              </a:lnSpc>
              <a:spcBef>
                <a:spcPts val="0"/>
              </a:spcBef>
              <a:spcAft>
                <a:spcPts val="0"/>
              </a:spcAft>
              <a:buClr>
                <a:schemeClr val="dk2"/>
              </a:buClr>
              <a:buSzPts val="1800"/>
              <a:buFont typeface="Arial"/>
              <a:buChar char="●"/>
              <a:defRPr sz="1800" b="0" i="0" u="none" strike="noStrike" cap="none">
                <a:solidFill>
                  <a:schemeClr val="dk2"/>
                </a:solidFill>
                <a:latin typeface="Arial"/>
                <a:ea typeface="Arial"/>
                <a:cs typeface="Arial"/>
                <a:sym typeface="Arial"/>
              </a:defRPr>
            </a:lvl1pPr>
            <a:lvl2pPr marL="914400" marR="0" lvl="1"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2pPr>
            <a:lvl3pPr marL="1371600" marR="0" lvl="2"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3pPr>
            <a:lvl4pPr marL="1828800" marR="0" lvl="3"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4pPr>
            <a:lvl5pPr marL="2286000" marR="0" lvl="4"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5pPr>
            <a:lvl6pPr marL="2743200" marR="0" lvl="5"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6pPr>
            <a:lvl7pPr marL="3200400" marR="0" lvl="6"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7pPr>
            <a:lvl8pPr marL="3657600" marR="0" lvl="7"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8pPr>
            <a:lvl9pPr marL="4114800" marR="0" lvl="8"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9pPr>
          </a:lstStyle>
          <a:p>
            <a:endParaRPr/>
          </a:p>
        </p:txBody>
      </p:sp>
      <p:sp>
        <p:nvSpPr>
          <p:cNvPr id="8" name="Google Shape;8;p1"/>
          <p:cNvSpPr txBox="1">
            <a:spLocks noGrp="1"/>
          </p:cNvSpPr>
          <p:nvPr>
            <p:ph type="sldNum" idx="12"/>
          </p:nvPr>
        </p:nvSpPr>
        <p:spPr>
          <a:xfrm>
            <a:off x="16944916" y="9326434"/>
            <a:ext cx="1097400" cy="787200"/>
          </a:xfrm>
          <a:prstGeom prst="rect">
            <a:avLst/>
          </a:prstGeom>
          <a:noFill/>
          <a:ln>
            <a:noFill/>
          </a:ln>
        </p:spPr>
        <p:txBody>
          <a:bodyPr spcFirstLastPara="1" wrap="square" lIns="91425" tIns="91425" rIns="91425" bIns="91425" anchor="ctr" anchorCtr="0">
            <a:normAutofit/>
          </a:bodyPr>
          <a:lstStyle>
            <a:lvl1pPr marL="0" marR="0" lvl="0" indent="0" algn="r" rtl="0">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9pPr>
          </a:lstStyle>
          <a:p>
            <a:fld id="{00000000-1234-1234-1234-123412341234}" type="slidenum">
              <a:rPr lang="pt-BR" smtClean="0"/>
              <a:pPr/>
              <a:t>‹nº›</a:t>
            </a:fld>
            <a:endParaRPr lang="pt-BR"/>
          </a:p>
        </p:txBody>
      </p:sp>
    </p:spTree>
    <p:extLst>
      <p:ext uri="{BB962C8B-B14F-4D97-AF65-F5344CB8AC3E}">
        <p14:creationId xmlns:p14="http://schemas.microsoft.com/office/powerpoint/2010/main" val="2314158730"/>
      </p:ext>
    </p:extLst>
  </p:cSld>
  <p:clrMap bg1="lt1" tx1="dk1" bg2="dk2" tx2="lt2" accent1="accent1" accent2="accent2" accent3="accent3" accent4="accent4" accent5="accent5" accent6="accent6" hlink="hlink" folHlink="folHlink"/>
  <p:sldLayoutIdLst>
    <p:sldLayoutId id="2147484678" r:id="rId1"/>
    <p:sldLayoutId id="2147484679" r:id="rId2"/>
    <p:sldLayoutId id="2147484680" r:id="rId3"/>
    <p:sldLayoutId id="2147484681" r:id="rId4"/>
    <p:sldLayoutId id="2147484682" r:id="rId5"/>
    <p:sldLayoutId id="2147484683" r:id="rId6"/>
    <p:sldLayoutId id="2147484684" r:id="rId7"/>
    <p:sldLayoutId id="2147484685" r:id="rId8"/>
    <p:sldLayoutId id="2147484686" r:id="rId9"/>
    <p:sldLayoutId id="2147484687" r:id="rId10"/>
    <p:sldLayoutId id="2147484688" r:id="rId11"/>
    <p:sldLayoutId id="2147484689" r:id="rId12"/>
    <p:sldLayoutId id="2147484690" r:id="rId13"/>
    <p:sldLayoutId id="2147484691" r:id="rId14"/>
    <p:sldLayoutId id="2147484692" r:id="rId15"/>
    <p:sldLayoutId id="2147484693" r:id="rId16"/>
    <p:sldLayoutId id="2147484708" r:id="rId17"/>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Título 1">
            <a:extLst>
              <a:ext uri="{FF2B5EF4-FFF2-40B4-BE49-F238E27FC236}">
                <a16:creationId xmlns:a16="http://schemas.microsoft.com/office/drawing/2014/main" id="{C7946EB1-53BF-ADE1-7FD8-6E177947D993}"/>
              </a:ext>
            </a:extLst>
          </p:cNvPr>
          <p:cNvSpPr>
            <a:spLocks noGrp="1"/>
          </p:cNvSpPr>
          <p:nvPr>
            <p:ph type="title"/>
          </p:nvPr>
        </p:nvSpPr>
        <p:spPr>
          <a:xfrm>
            <a:off x="1257300" y="547688"/>
            <a:ext cx="15773400" cy="1988345"/>
          </a:xfrm>
          <a:prstGeom prst="rect">
            <a:avLst/>
          </a:prstGeom>
        </p:spPr>
        <p:txBody>
          <a:bodyPr vert="horz" lIns="91440" tIns="45720" rIns="91440" bIns="45720" rtlCol="0" anchor="ctr">
            <a:normAutofit/>
          </a:bodyPr>
          <a:lstStyle/>
          <a:p>
            <a:r>
              <a:rPr lang="pt-BR"/>
              <a:t>Clique para editar o título Mestre</a:t>
            </a:r>
          </a:p>
        </p:txBody>
      </p:sp>
      <p:sp>
        <p:nvSpPr>
          <p:cNvPr id="3" name="Espaço Reservado para Texto 2">
            <a:extLst>
              <a:ext uri="{FF2B5EF4-FFF2-40B4-BE49-F238E27FC236}">
                <a16:creationId xmlns:a16="http://schemas.microsoft.com/office/drawing/2014/main" id="{FABA1F6C-3D1E-33C4-2678-9719D3850272}"/>
              </a:ext>
            </a:extLst>
          </p:cNvPr>
          <p:cNvSpPr>
            <a:spLocks noGrp="1"/>
          </p:cNvSpPr>
          <p:nvPr>
            <p:ph type="body" idx="1"/>
          </p:nvPr>
        </p:nvSpPr>
        <p:spPr>
          <a:xfrm>
            <a:off x="1257300" y="2738438"/>
            <a:ext cx="15773400" cy="6527007"/>
          </a:xfrm>
          <a:prstGeom prst="rect">
            <a:avLst/>
          </a:prstGeom>
        </p:spPr>
        <p:txBody>
          <a:bodyPr vert="horz" lIns="91440" tIns="45720" rIns="91440" bIns="45720" rtlCol="0">
            <a:norm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8A172677-67F2-D1A7-45C6-FB6E703F64D0}"/>
              </a:ext>
            </a:extLst>
          </p:cNvPr>
          <p:cNvSpPr>
            <a:spLocks noGrp="1"/>
          </p:cNvSpPr>
          <p:nvPr>
            <p:ph type="dt" sz="half" idx="2"/>
          </p:nvPr>
        </p:nvSpPr>
        <p:spPr>
          <a:xfrm>
            <a:off x="1257300" y="9534526"/>
            <a:ext cx="4114800" cy="547688"/>
          </a:xfrm>
          <a:prstGeom prst="rect">
            <a:avLst/>
          </a:prstGeom>
        </p:spPr>
        <p:txBody>
          <a:bodyPr vert="horz" lIns="91440" tIns="45720" rIns="91440" bIns="45720" rtlCol="0" anchor="ctr"/>
          <a:lstStyle>
            <a:lvl1pPr algn="l">
              <a:defRPr sz="1800">
                <a:solidFill>
                  <a:schemeClr val="tx1">
                    <a:tint val="75000"/>
                  </a:schemeClr>
                </a:solidFill>
              </a:defRPr>
            </a:lvl1pPr>
          </a:lstStyle>
          <a:p>
            <a:fld id="{5BB1C777-C797-F549-82CD-2B568DC449A6}" type="datetimeFigureOut">
              <a:rPr lang="pt-BR" smtClean="0"/>
              <a:t>09/05/2025</a:t>
            </a:fld>
            <a:endParaRPr lang="pt-BR"/>
          </a:p>
        </p:txBody>
      </p:sp>
      <p:sp>
        <p:nvSpPr>
          <p:cNvPr id="5" name="Espaço Reservado para Rodapé 4">
            <a:extLst>
              <a:ext uri="{FF2B5EF4-FFF2-40B4-BE49-F238E27FC236}">
                <a16:creationId xmlns:a16="http://schemas.microsoft.com/office/drawing/2014/main" id="{4F78EC19-7F29-A37E-7BBA-5E956C3500FB}"/>
              </a:ext>
            </a:extLst>
          </p:cNvPr>
          <p:cNvSpPr>
            <a:spLocks noGrp="1"/>
          </p:cNvSpPr>
          <p:nvPr>
            <p:ph type="ftr" sz="quarter" idx="3"/>
          </p:nvPr>
        </p:nvSpPr>
        <p:spPr>
          <a:xfrm>
            <a:off x="6057900" y="9534526"/>
            <a:ext cx="6172200" cy="547688"/>
          </a:xfrm>
          <a:prstGeom prst="rect">
            <a:avLst/>
          </a:prstGeom>
        </p:spPr>
        <p:txBody>
          <a:bodyPr vert="horz" lIns="91440" tIns="45720" rIns="91440" bIns="45720" rtlCol="0" anchor="ctr"/>
          <a:lstStyle>
            <a:lvl1pPr algn="ctr">
              <a:defRPr sz="1800">
                <a:solidFill>
                  <a:schemeClr val="tx1">
                    <a:tint val="75000"/>
                  </a:schemeClr>
                </a:solidFill>
              </a:defRPr>
            </a:lvl1pPr>
          </a:lstStyle>
          <a:p>
            <a:endParaRPr lang="pt-BR"/>
          </a:p>
        </p:txBody>
      </p:sp>
      <p:sp>
        <p:nvSpPr>
          <p:cNvPr id="6" name="Espaço Reservado para Número de Slide 5">
            <a:extLst>
              <a:ext uri="{FF2B5EF4-FFF2-40B4-BE49-F238E27FC236}">
                <a16:creationId xmlns:a16="http://schemas.microsoft.com/office/drawing/2014/main" id="{46AFBA37-0EC5-995C-6050-E0F27C6E1C91}"/>
              </a:ext>
            </a:extLst>
          </p:cNvPr>
          <p:cNvSpPr>
            <a:spLocks noGrp="1"/>
          </p:cNvSpPr>
          <p:nvPr>
            <p:ph type="sldNum" sz="quarter" idx="4"/>
          </p:nvPr>
        </p:nvSpPr>
        <p:spPr>
          <a:xfrm>
            <a:off x="12915900" y="9534526"/>
            <a:ext cx="4114800" cy="547688"/>
          </a:xfrm>
          <a:prstGeom prst="rect">
            <a:avLst/>
          </a:prstGeom>
        </p:spPr>
        <p:txBody>
          <a:bodyPr vert="horz" lIns="91440" tIns="45720" rIns="91440" bIns="45720" rtlCol="0" anchor="ctr"/>
          <a:lstStyle>
            <a:lvl1pPr algn="r">
              <a:defRPr sz="1800">
                <a:solidFill>
                  <a:schemeClr val="tx1">
                    <a:tint val="75000"/>
                  </a:schemeClr>
                </a:solidFill>
              </a:defRPr>
            </a:lvl1pPr>
          </a:lstStyle>
          <a:p>
            <a:fld id="{D7A3974E-6EC0-7F49-80DE-C6B22F3BD089}" type="slidenum">
              <a:rPr lang="pt-BR" smtClean="0"/>
              <a:t>‹nº›</a:t>
            </a:fld>
            <a:endParaRPr lang="pt-BR"/>
          </a:p>
        </p:txBody>
      </p:sp>
    </p:spTree>
    <p:extLst>
      <p:ext uri="{BB962C8B-B14F-4D97-AF65-F5344CB8AC3E}">
        <p14:creationId xmlns:p14="http://schemas.microsoft.com/office/powerpoint/2010/main" val="3033542514"/>
      </p:ext>
    </p:extLst>
  </p:cSld>
  <p:clrMap bg1="lt1" tx1="dk1" bg2="lt2" tx2="dk2" accent1="accent1" accent2="accent2" accent3="accent3" accent4="accent4" accent5="accent5" accent6="accent6" hlink="hlink" folHlink="folHlink"/>
  <p:sldLayoutIdLst>
    <p:sldLayoutId id="2147484710" r:id="rId1"/>
    <p:sldLayoutId id="2147484711" r:id="rId2"/>
    <p:sldLayoutId id="2147484712" r:id="rId3"/>
    <p:sldLayoutId id="2147484713" r:id="rId4"/>
    <p:sldLayoutId id="2147484714" r:id="rId5"/>
    <p:sldLayoutId id="2147484715" r:id="rId6"/>
    <p:sldLayoutId id="2147484716" r:id="rId7"/>
    <p:sldLayoutId id="2147484717" r:id="rId8"/>
    <p:sldLayoutId id="2147484718" r:id="rId9"/>
    <p:sldLayoutId id="2147484719" r:id="rId10"/>
    <p:sldLayoutId id="2147484720" r:id="rId11"/>
    <p:sldLayoutId id="2147484721" r:id="rId12"/>
    <p:sldLayoutId id="2147484722" r:id="rId13"/>
    <p:sldLayoutId id="2147484726" r:id="rId14"/>
    <p:sldLayoutId id="2147484727" r:id="rId15"/>
    <p:sldLayoutId id="2147484728" r:id="rId16"/>
    <p:sldLayoutId id="2147484729" r:id="rId17"/>
    <p:sldLayoutId id="2147484730" r:id="rId18"/>
    <p:sldLayoutId id="2147484731" r:id="rId19"/>
    <p:sldLayoutId id="2147484732" r:id="rId20"/>
    <p:sldLayoutId id="2147484733" r:id="rId21"/>
    <p:sldLayoutId id="2147484734" r:id="rId22"/>
    <p:sldLayoutId id="2147484735" r:id="rId23"/>
    <p:sldLayoutId id="2147484736" r:id="rId24"/>
    <p:sldLayoutId id="2147484737" r:id="rId25"/>
    <p:sldLayoutId id="2147484738" r:id="rId26"/>
    <p:sldLayoutId id="2147484739" r:id="rId27"/>
    <p:sldLayoutId id="2147484740" r:id="rId28"/>
  </p:sldLayoutIdLst>
  <p:txStyles>
    <p:titleStyle>
      <a:lvl1pPr algn="l" defTabSz="1371600" rtl="0" eaLnBrk="1" latinLnBrk="0" hangingPunct="1">
        <a:lnSpc>
          <a:spcPct val="90000"/>
        </a:lnSpc>
        <a:spcBef>
          <a:spcPct val="0"/>
        </a:spcBef>
        <a:buNone/>
        <a:defRPr sz="6600" kern="1200">
          <a:solidFill>
            <a:schemeClr val="tx1"/>
          </a:solidFill>
          <a:latin typeface="+mj-lt"/>
          <a:ea typeface="+mj-ea"/>
          <a:cs typeface="+mj-cs"/>
        </a:defRPr>
      </a:lvl1pPr>
    </p:titleStyle>
    <p:bodyStyle>
      <a:lvl1pPr marL="342900" indent="-342900" algn="l" defTabSz="1371600" rtl="0" eaLnBrk="1" latinLnBrk="0" hangingPunct="1">
        <a:lnSpc>
          <a:spcPct val="90000"/>
        </a:lnSpc>
        <a:spcBef>
          <a:spcPts val="1500"/>
        </a:spcBef>
        <a:buFont typeface="Arial" panose="020B0604020202020204" pitchFamily="34" charset="0"/>
        <a:buChar char="•"/>
        <a:defRPr sz="4200" kern="1200">
          <a:solidFill>
            <a:schemeClr val="tx1"/>
          </a:solidFill>
          <a:latin typeface="+mn-lt"/>
          <a:ea typeface="+mn-ea"/>
          <a:cs typeface="+mn-cs"/>
        </a:defRPr>
      </a:lvl1pPr>
      <a:lvl2pPr marL="1028700" indent="-342900" algn="l" defTabSz="1371600" rtl="0" eaLnBrk="1" latinLnBrk="0" hangingPunct="1">
        <a:lnSpc>
          <a:spcPct val="90000"/>
        </a:lnSpc>
        <a:spcBef>
          <a:spcPts val="750"/>
        </a:spcBef>
        <a:buFont typeface="Arial" panose="020B0604020202020204" pitchFamily="34" charset="0"/>
        <a:buChar char="•"/>
        <a:defRPr sz="3600" kern="1200">
          <a:solidFill>
            <a:schemeClr val="tx1"/>
          </a:solidFill>
          <a:latin typeface="+mn-lt"/>
          <a:ea typeface="+mn-ea"/>
          <a:cs typeface="+mn-cs"/>
        </a:defRPr>
      </a:lvl2pPr>
      <a:lvl3pPr marL="1714500" indent="-342900" algn="l" defTabSz="1371600" rtl="0" eaLnBrk="1" latinLnBrk="0" hangingPunct="1">
        <a:lnSpc>
          <a:spcPct val="90000"/>
        </a:lnSpc>
        <a:spcBef>
          <a:spcPts val="750"/>
        </a:spcBef>
        <a:buFont typeface="Arial" panose="020B0604020202020204" pitchFamily="34" charset="0"/>
        <a:buChar char="•"/>
        <a:defRPr sz="3000" kern="1200">
          <a:solidFill>
            <a:schemeClr val="tx1"/>
          </a:solidFill>
          <a:latin typeface="+mn-lt"/>
          <a:ea typeface="+mn-ea"/>
          <a:cs typeface="+mn-cs"/>
        </a:defRPr>
      </a:lvl3pPr>
      <a:lvl4pPr marL="24003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4pPr>
      <a:lvl5pPr marL="30861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5pPr>
      <a:lvl6pPr marL="37719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6pPr>
      <a:lvl7pPr marL="44577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7pPr>
      <a:lvl8pPr marL="51435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8pPr>
      <a:lvl9pPr marL="58293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9pPr>
    </p:bodyStyle>
    <p:other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222222"/>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1080600" y="1194850"/>
            <a:ext cx="17041200" cy="1145400"/>
          </a:xfrm>
          <a:prstGeom prst="rect">
            <a:avLst/>
          </a:prstGeom>
          <a:noFill/>
          <a:ln>
            <a:noFill/>
          </a:ln>
        </p:spPr>
        <p:txBody>
          <a:bodyPr spcFirstLastPara="1" wrap="square" lIns="91425" tIns="91425" rIns="91425" bIns="91425" anchor="t" anchorCtr="0">
            <a:noAutofit/>
          </a:bodyPr>
          <a:lstStyle>
            <a:lvl1pPr lvl="0">
              <a:spcBef>
                <a:spcPts val="0"/>
              </a:spcBef>
              <a:spcAft>
                <a:spcPts val="0"/>
              </a:spcAft>
              <a:buClr>
                <a:schemeClr val="dk1"/>
              </a:buClr>
              <a:buSzPts val="2000"/>
              <a:buFont typeface="Montserrat"/>
              <a:buNone/>
              <a:defRPr sz="2000" b="1">
                <a:solidFill>
                  <a:schemeClr val="dk1"/>
                </a:solidFill>
                <a:latin typeface="Montserrat"/>
                <a:ea typeface="Montserrat"/>
                <a:cs typeface="Montserrat"/>
                <a:sym typeface="Montserrat"/>
              </a:defRPr>
            </a:lvl1pPr>
            <a:lvl2pPr lvl="1">
              <a:spcBef>
                <a:spcPts val="0"/>
              </a:spcBef>
              <a:spcAft>
                <a:spcPts val="0"/>
              </a:spcAft>
              <a:buClr>
                <a:schemeClr val="dk1"/>
              </a:buClr>
              <a:buSzPts val="2000"/>
              <a:buFont typeface="Montserrat"/>
              <a:buNone/>
              <a:defRPr sz="2000" b="1">
                <a:solidFill>
                  <a:schemeClr val="dk1"/>
                </a:solidFill>
                <a:latin typeface="Montserrat"/>
                <a:ea typeface="Montserrat"/>
                <a:cs typeface="Montserrat"/>
                <a:sym typeface="Montserrat"/>
              </a:defRPr>
            </a:lvl2pPr>
            <a:lvl3pPr lvl="2">
              <a:spcBef>
                <a:spcPts val="0"/>
              </a:spcBef>
              <a:spcAft>
                <a:spcPts val="0"/>
              </a:spcAft>
              <a:buClr>
                <a:schemeClr val="dk1"/>
              </a:buClr>
              <a:buSzPts val="2000"/>
              <a:buFont typeface="Montserrat"/>
              <a:buNone/>
              <a:defRPr sz="2000" b="1">
                <a:solidFill>
                  <a:schemeClr val="dk1"/>
                </a:solidFill>
                <a:latin typeface="Montserrat"/>
                <a:ea typeface="Montserrat"/>
                <a:cs typeface="Montserrat"/>
                <a:sym typeface="Montserrat"/>
              </a:defRPr>
            </a:lvl3pPr>
            <a:lvl4pPr lvl="3">
              <a:spcBef>
                <a:spcPts val="0"/>
              </a:spcBef>
              <a:spcAft>
                <a:spcPts val="0"/>
              </a:spcAft>
              <a:buClr>
                <a:schemeClr val="dk1"/>
              </a:buClr>
              <a:buSzPts val="2000"/>
              <a:buFont typeface="Montserrat"/>
              <a:buNone/>
              <a:defRPr sz="2000" b="1">
                <a:solidFill>
                  <a:schemeClr val="dk1"/>
                </a:solidFill>
                <a:latin typeface="Montserrat"/>
                <a:ea typeface="Montserrat"/>
                <a:cs typeface="Montserrat"/>
                <a:sym typeface="Montserrat"/>
              </a:defRPr>
            </a:lvl4pPr>
            <a:lvl5pPr lvl="4">
              <a:spcBef>
                <a:spcPts val="0"/>
              </a:spcBef>
              <a:spcAft>
                <a:spcPts val="0"/>
              </a:spcAft>
              <a:buClr>
                <a:schemeClr val="dk1"/>
              </a:buClr>
              <a:buSzPts val="2000"/>
              <a:buFont typeface="Montserrat"/>
              <a:buNone/>
              <a:defRPr sz="2000" b="1">
                <a:solidFill>
                  <a:schemeClr val="dk1"/>
                </a:solidFill>
                <a:latin typeface="Montserrat"/>
                <a:ea typeface="Montserrat"/>
                <a:cs typeface="Montserrat"/>
                <a:sym typeface="Montserrat"/>
              </a:defRPr>
            </a:lvl5pPr>
            <a:lvl6pPr lvl="5">
              <a:spcBef>
                <a:spcPts val="0"/>
              </a:spcBef>
              <a:spcAft>
                <a:spcPts val="0"/>
              </a:spcAft>
              <a:buClr>
                <a:schemeClr val="dk1"/>
              </a:buClr>
              <a:buSzPts val="2000"/>
              <a:buFont typeface="Montserrat"/>
              <a:buNone/>
              <a:defRPr sz="2000" b="1">
                <a:solidFill>
                  <a:schemeClr val="dk1"/>
                </a:solidFill>
                <a:latin typeface="Montserrat"/>
                <a:ea typeface="Montserrat"/>
                <a:cs typeface="Montserrat"/>
                <a:sym typeface="Montserrat"/>
              </a:defRPr>
            </a:lvl6pPr>
            <a:lvl7pPr lvl="6">
              <a:spcBef>
                <a:spcPts val="0"/>
              </a:spcBef>
              <a:spcAft>
                <a:spcPts val="0"/>
              </a:spcAft>
              <a:buClr>
                <a:schemeClr val="dk1"/>
              </a:buClr>
              <a:buSzPts val="2000"/>
              <a:buFont typeface="Montserrat"/>
              <a:buNone/>
              <a:defRPr sz="2000" b="1">
                <a:solidFill>
                  <a:schemeClr val="dk1"/>
                </a:solidFill>
                <a:latin typeface="Montserrat"/>
                <a:ea typeface="Montserrat"/>
                <a:cs typeface="Montserrat"/>
                <a:sym typeface="Montserrat"/>
              </a:defRPr>
            </a:lvl7pPr>
            <a:lvl8pPr lvl="7">
              <a:spcBef>
                <a:spcPts val="0"/>
              </a:spcBef>
              <a:spcAft>
                <a:spcPts val="0"/>
              </a:spcAft>
              <a:buClr>
                <a:schemeClr val="dk1"/>
              </a:buClr>
              <a:buSzPts val="2000"/>
              <a:buFont typeface="Montserrat"/>
              <a:buNone/>
              <a:defRPr sz="2000" b="1">
                <a:solidFill>
                  <a:schemeClr val="dk1"/>
                </a:solidFill>
                <a:latin typeface="Montserrat"/>
                <a:ea typeface="Montserrat"/>
                <a:cs typeface="Montserrat"/>
                <a:sym typeface="Montserrat"/>
              </a:defRPr>
            </a:lvl8pPr>
            <a:lvl9pPr lvl="8">
              <a:spcBef>
                <a:spcPts val="0"/>
              </a:spcBef>
              <a:spcAft>
                <a:spcPts val="0"/>
              </a:spcAft>
              <a:buClr>
                <a:schemeClr val="dk1"/>
              </a:buClr>
              <a:buSzPts val="2000"/>
              <a:buFont typeface="Montserrat"/>
              <a:buNone/>
              <a:defRPr sz="2000" b="1">
                <a:solidFill>
                  <a:schemeClr val="dk1"/>
                </a:solidFill>
                <a:latin typeface="Montserrat"/>
                <a:ea typeface="Montserrat"/>
                <a:cs typeface="Montserrat"/>
                <a:sym typeface="Montserrat"/>
              </a:defRPr>
            </a:lvl9pPr>
          </a:lstStyle>
          <a:p>
            <a:endParaRPr/>
          </a:p>
        </p:txBody>
      </p:sp>
      <p:sp>
        <p:nvSpPr>
          <p:cNvPr id="7" name="Google Shape;7;p1"/>
          <p:cNvSpPr txBox="1">
            <a:spLocks noGrp="1"/>
          </p:cNvSpPr>
          <p:nvPr>
            <p:ph type="body" idx="1"/>
          </p:nvPr>
        </p:nvSpPr>
        <p:spPr>
          <a:xfrm>
            <a:off x="1080600" y="2609750"/>
            <a:ext cx="17041200" cy="6832800"/>
          </a:xfrm>
          <a:prstGeom prst="rect">
            <a:avLst/>
          </a:prstGeom>
          <a:noFill/>
          <a:ln>
            <a:noFill/>
          </a:ln>
        </p:spPr>
        <p:txBody>
          <a:bodyPr spcFirstLastPara="1" wrap="square" lIns="91425" tIns="91425" rIns="91425" bIns="91425" anchor="t" anchorCtr="0">
            <a:noAutofit/>
          </a:bodyPr>
          <a:lstStyle>
            <a:lvl1pPr marL="457200" lvl="0" indent="-304800">
              <a:lnSpc>
                <a:spcPct val="115000"/>
              </a:lnSpc>
              <a:spcBef>
                <a:spcPts val="0"/>
              </a:spcBef>
              <a:spcAft>
                <a:spcPts val="0"/>
              </a:spcAft>
              <a:buClr>
                <a:srgbClr val="FFFFFF"/>
              </a:buClr>
              <a:buSzPts val="1200"/>
              <a:buFont typeface="Montserrat Light"/>
              <a:buChar char="●"/>
              <a:defRPr sz="1200">
                <a:solidFill>
                  <a:srgbClr val="FFFFFF"/>
                </a:solidFill>
                <a:latin typeface="Montserrat Light"/>
                <a:ea typeface="Montserrat Light"/>
                <a:cs typeface="Montserrat Light"/>
                <a:sym typeface="Montserrat Light"/>
              </a:defRPr>
            </a:lvl1pPr>
            <a:lvl2pPr marL="914400" lvl="1" indent="-304800">
              <a:lnSpc>
                <a:spcPct val="115000"/>
              </a:lnSpc>
              <a:spcBef>
                <a:spcPts val="1600"/>
              </a:spcBef>
              <a:spcAft>
                <a:spcPts val="0"/>
              </a:spcAft>
              <a:buClr>
                <a:srgbClr val="FFFFFF"/>
              </a:buClr>
              <a:buSzPts val="1200"/>
              <a:buFont typeface="Montserrat Light"/>
              <a:buChar char="○"/>
              <a:defRPr sz="1200">
                <a:solidFill>
                  <a:srgbClr val="FFFFFF"/>
                </a:solidFill>
                <a:latin typeface="Montserrat Light"/>
                <a:ea typeface="Montserrat Light"/>
                <a:cs typeface="Montserrat Light"/>
                <a:sym typeface="Montserrat Light"/>
              </a:defRPr>
            </a:lvl2pPr>
            <a:lvl3pPr marL="1371600" lvl="2" indent="-304800">
              <a:lnSpc>
                <a:spcPct val="115000"/>
              </a:lnSpc>
              <a:spcBef>
                <a:spcPts val="1600"/>
              </a:spcBef>
              <a:spcAft>
                <a:spcPts val="0"/>
              </a:spcAft>
              <a:buClr>
                <a:srgbClr val="FFFFFF"/>
              </a:buClr>
              <a:buSzPts val="1200"/>
              <a:buFont typeface="Montserrat Light"/>
              <a:buChar char="■"/>
              <a:defRPr sz="1200">
                <a:solidFill>
                  <a:srgbClr val="FFFFFF"/>
                </a:solidFill>
                <a:latin typeface="Montserrat Light"/>
                <a:ea typeface="Montserrat Light"/>
                <a:cs typeface="Montserrat Light"/>
                <a:sym typeface="Montserrat Light"/>
              </a:defRPr>
            </a:lvl3pPr>
            <a:lvl4pPr marL="1828800" lvl="3" indent="-304800">
              <a:lnSpc>
                <a:spcPct val="115000"/>
              </a:lnSpc>
              <a:spcBef>
                <a:spcPts val="1600"/>
              </a:spcBef>
              <a:spcAft>
                <a:spcPts val="0"/>
              </a:spcAft>
              <a:buClr>
                <a:srgbClr val="FFFFFF"/>
              </a:buClr>
              <a:buSzPts val="1200"/>
              <a:buFont typeface="Montserrat Light"/>
              <a:buChar char="●"/>
              <a:defRPr sz="1200">
                <a:solidFill>
                  <a:srgbClr val="FFFFFF"/>
                </a:solidFill>
                <a:latin typeface="Montserrat Light"/>
                <a:ea typeface="Montserrat Light"/>
                <a:cs typeface="Montserrat Light"/>
                <a:sym typeface="Montserrat Light"/>
              </a:defRPr>
            </a:lvl4pPr>
            <a:lvl5pPr marL="2286000" lvl="4" indent="-304800">
              <a:lnSpc>
                <a:spcPct val="115000"/>
              </a:lnSpc>
              <a:spcBef>
                <a:spcPts val="1600"/>
              </a:spcBef>
              <a:spcAft>
                <a:spcPts val="0"/>
              </a:spcAft>
              <a:buClr>
                <a:srgbClr val="FFFFFF"/>
              </a:buClr>
              <a:buSzPts val="1200"/>
              <a:buFont typeface="Montserrat Light"/>
              <a:buChar char="○"/>
              <a:defRPr sz="1200">
                <a:solidFill>
                  <a:srgbClr val="FFFFFF"/>
                </a:solidFill>
                <a:latin typeface="Montserrat Light"/>
                <a:ea typeface="Montserrat Light"/>
                <a:cs typeface="Montserrat Light"/>
                <a:sym typeface="Montserrat Light"/>
              </a:defRPr>
            </a:lvl5pPr>
            <a:lvl6pPr marL="2743200" lvl="5" indent="-304800">
              <a:lnSpc>
                <a:spcPct val="115000"/>
              </a:lnSpc>
              <a:spcBef>
                <a:spcPts val="1600"/>
              </a:spcBef>
              <a:spcAft>
                <a:spcPts val="0"/>
              </a:spcAft>
              <a:buClr>
                <a:srgbClr val="FFFFFF"/>
              </a:buClr>
              <a:buSzPts val="1200"/>
              <a:buFont typeface="Montserrat Light"/>
              <a:buChar char="■"/>
              <a:defRPr sz="1200">
                <a:solidFill>
                  <a:srgbClr val="FFFFFF"/>
                </a:solidFill>
                <a:latin typeface="Montserrat Light"/>
                <a:ea typeface="Montserrat Light"/>
                <a:cs typeface="Montserrat Light"/>
                <a:sym typeface="Montserrat Light"/>
              </a:defRPr>
            </a:lvl6pPr>
            <a:lvl7pPr marL="3200400" lvl="6" indent="-304800">
              <a:lnSpc>
                <a:spcPct val="115000"/>
              </a:lnSpc>
              <a:spcBef>
                <a:spcPts val="1600"/>
              </a:spcBef>
              <a:spcAft>
                <a:spcPts val="0"/>
              </a:spcAft>
              <a:buClr>
                <a:srgbClr val="FFFFFF"/>
              </a:buClr>
              <a:buSzPts val="1200"/>
              <a:buFont typeface="Montserrat Light"/>
              <a:buChar char="●"/>
              <a:defRPr sz="1200">
                <a:solidFill>
                  <a:srgbClr val="FFFFFF"/>
                </a:solidFill>
                <a:latin typeface="Montserrat Light"/>
                <a:ea typeface="Montserrat Light"/>
                <a:cs typeface="Montserrat Light"/>
                <a:sym typeface="Montserrat Light"/>
              </a:defRPr>
            </a:lvl7pPr>
            <a:lvl8pPr marL="3657600" lvl="7" indent="-304800">
              <a:lnSpc>
                <a:spcPct val="115000"/>
              </a:lnSpc>
              <a:spcBef>
                <a:spcPts val="1600"/>
              </a:spcBef>
              <a:spcAft>
                <a:spcPts val="0"/>
              </a:spcAft>
              <a:buClr>
                <a:srgbClr val="FFFFFF"/>
              </a:buClr>
              <a:buSzPts val="1200"/>
              <a:buFont typeface="Montserrat Light"/>
              <a:buChar char="○"/>
              <a:defRPr sz="1200">
                <a:solidFill>
                  <a:srgbClr val="FFFFFF"/>
                </a:solidFill>
                <a:latin typeface="Montserrat Light"/>
                <a:ea typeface="Montserrat Light"/>
                <a:cs typeface="Montserrat Light"/>
                <a:sym typeface="Montserrat Light"/>
              </a:defRPr>
            </a:lvl8pPr>
            <a:lvl9pPr marL="4114800" lvl="8" indent="-304800">
              <a:lnSpc>
                <a:spcPct val="115000"/>
              </a:lnSpc>
              <a:spcBef>
                <a:spcPts val="1600"/>
              </a:spcBef>
              <a:spcAft>
                <a:spcPts val="1600"/>
              </a:spcAft>
              <a:buClr>
                <a:srgbClr val="FFFFFF"/>
              </a:buClr>
              <a:buSzPts val="1200"/>
              <a:buFont typeface="Montserrat Light"/>
              <a:buChar char="■"/>
              <a:defRPr sz="1200">
                <a:solidFill>
                  <a:srgbClr val="FFFFFF"/>
                </a:solidFill>
                <a:latin typeface="Montserrat Light"/>
                <a:ea typeface="Montserrat Light"/>
                <a:cs typeface="Montserrat Light"/>
                <a:sym typeface="Montserrat Light"/>
              </a:defRPr>
            </a:lvl9pPr>
          </a:lstStyle>
          <a:p>
            <a:endParaRPr/>
          </a:p>
        </p:txBody>
      </p:sp>
    </p:spTree>
    <p:extLst>
      <p:ext uri="{BB962C8B-B14F-4D97-AF65-F5344CB8AC3E}">
        <p14:creationId xmlns:p14="http://schemas.microsoft.com/office/powerpoint/2010/main" val="2880193023"/>
      </p:ext>
    </p:extLst>
  </p:cSld>
  <p:clrMap bg1="lt1" tx1="dk1" bg2="dk2" tx2="lt2" accent1="accent1" accent2="accent2" accent3="accent3" accent4="accent4" accent5="accent5" accent6="accent6" hlink="hlink" folHlink="folHlink"/>
  <p:sldLayoutIdLst>
    <p:sldLayoutId id="2147484744" r:id="rId1"/>
    <p:sldLayoutId id="2147484745" r:id="rId2"/>
    <p:sldLayoutId id="2147484746" r:id="rId3"/>
    <p:sldLayoutId id="2147484747" r:id="rId4"/>
    <p:sldLayoutId id="2147484748" r:id="rId5"/>
    <p:sldLayoutId id="2147484749" r:id="rId6"/>
    <p:sldLayoutId id="2147484750" r:id="rId7"/>
    <p:sldLayoutId id="2147484751" r:id="rId8"/>
    <p:sldLayoutId id="2147484752" r:id="rId9"/>
    <p:sldLayoutId id="2147484660" r:id="rId10"/>
    <p:sldLayoutId id="2147484754" r:id="rId11"/>
    <p:sldLayoutId id="2147484755" r:id="rId12"/>
    <p:sldLayoutId id="2147484756" r:id="rId13"/>
    <p:sldLayoutId id="2147484757" r:id="rId14"/>
    <p:sldLayoutId id="2147484758" r:id="rId15"/>
    <p:sldLayoutId id="2147484759" r:id="rId16"/>
    <p:sldLayoutId id="2147484760" r:id="rId17"/>
    <p:sldLayoutId id="2147484761" r:id="rId18"/>
    <p:sldLayoutId id="2147484796" r:id="rId19"/>
    <p:sldLayoutId id="2147484762" r:id="rId20"/>
    <p:sldLayoutId id="2147484763" r:id="rId21"/>
    <p:sldLayoutId id="2147484764" r:id="rId22"/>
    <p:sldLayoutId id="2147484765" r:id="rId23"/>
    <p:sldLayoutId id="2147484766" r:id="rId24"/>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1.xml"/><Relationship Id="rId1" Type="http://schemas.openxmlformats.org/officeDocument/2006/relationships/slideLayout" Target="../slideLayouts/slideLayout84.xml"/></Relationships>
</file>

<file path=ppt/slides/_rels/slide10.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3.xml"/><Relationship Id="rId1" Type="http://schemas.openxmlformats.org/officeDocument/2006/relationships/slideLayout" Target="../slideLayouts/slideLayout10.xml"/><Relationship Id="rId5" Type="http://schemas.openxmlformats.org/officeDocument/2006/relationships/image" Target="../media/image91.png"/><Relationship Id="rId4" Type="http://schemas.openxmlformats.org/officeDocument/2006/relationships/image" Target="../media/image90.png"/></Relationships>
</file>

<file path=ppt/slides/_rels/slide1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4.xml"/><Relationship Id="rId1" Type="http://schemas.openxmlformats.org/officeDocument/2006/relationships/slideLayout" Target="../slideLayouts/slideLayout97.xml"/></Relationships>
</file>

<file path=ppt/slides/_rels/slide14.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image" Target="../media/image92.png"/><Relationship Id="rId7" Type="http://schemas.openxmlformats.org/officeDocument/2006/relationships/image" Target="../media/image96.png"/><Relationship Id="rId2" Type="http://schemas.openxmlformats.org/officeDocument/2006/relationships/notesSlide" Target="../notesSlides/notesSlide5.xml"/><Relationship Id="rId1" Type="http://schemas.openxmlformats.org/officeDocument/2006/relationships/slideLayout" Target="../slideLayouts/slideLayout10.xml"/><Relationship Id="rId6" Type="http://schemas.openxmlformats.org/officeDocument/2006/relationships/image" Target="../media/image95.png"/><Relationship Id="rId5" Type="http://schemas.openxmlformats.org/officeDocument/2006/relationships/image" Target="../media/image94.png"/><Relationship Id="rId4" Type="http://schemas.openxmlformats.org/officeDocument/2006/relationships/image" Target="../media/image93.png"/><Relationship Id="rId9" Type="http://schemas.openxmlformats.org/officeDocument/2006/relationships/image" Target="../media/image98.png"/></Relationships>
</file>

<file path=ppt/slides/_rels/slide15.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png"/><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png"/><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image" Target="../media/image57.png"/><Relationship Id="rId7" Type="http://schemas.openxmlformats.org/officeDocument/2006/relationships/image" Target="../media/image61.png"/><Relationship Id="rId2" Type="http://schemas.openxmlformats.org/officeDocument/2006/relationships/image" Target="../media/image56.jpeg"/><Relationship Id="rId1" Type="http://schemas.openxmlformats.org/officeDocument/2006/relationships/slideLayout" Target="../slideLayouts/slideLayout95.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20.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6.xml"/><Relationship Id="rId1" Type="http://schemas.openxmlformats.org/officeDocument/2006/relationships/slideLayout" Target="../slideLayouts/slideLayout120.xml"/><Relationship Id="rId5" Type="http://schemas.openxmlformats.org/officeDocument/2006/relationships/image" Target="../media/image107.png"/><Relationship Id="rId4" Type="http://schemas.openxmlformats.org/officeDocument/2006/relationships/image" Target="../media/image106.png"/></Relationships>
</file>

<file path=ppt/slides/_rels/slide21.xml.rels><?xml version="1.0" encoding="UTF-8" standalone="yes"?>
<Relationships xmlns="http://schemas.openxmlformats.org/package/2006/relationships"><Relationship Id="rId3" Type="http://schemas.openxmlformats.org/officeDocument/2006/relationships/image" Target="../media/image109.svg"/><Relationship Id="rId2" Type="http://schemas.openxmlformats.org/officeDocument/2006/relationships/image" Target="../media/image108.png"/><Relationship Id="rId1" Type="http://schemas.openxmlformats.org/officeDocument/2006/relationships/slideLayout" Target="../slideLayouts/slideLayout10.xml"/><Relationship Id="rId5" Type="http://schemas.openxmlformats.org/officeDocument/2006/relationships/image" Target="../media/image111.svg"/><Relationship Id="rId4" Type="http://schemas.openxmlformats.org/officeDocument/2006/relationships/image" Target="../media/image110.png"/></Relationships>
</file>

<file path=ppt/slides/_rels/slide22.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7.xml"/><Relationship Id="rId1" Type="http://schemas.openxmlformats.org/officeDocument/2006/relationships/slideLayout" Target="../slideLayouts/slideLayout10.xml"/><Relationship Id="rId5" Type="http://schemas.openxmlformats.org/officeDocument/2006/relationships/image" Target="../media/image114.png"/><Relationship Id="rId4" Type="http://schemas.openxmlformats.org/officeDocument/2006/relationships/image" Target="../media/image113.png"/></Relationships>
</file>

<file path=ppt/slides/_rels/slide23.xml.rels><?xml version="1.0" encoding="UTF-8" standalone="yes"?>
<Relationships xmlns="http://schemas.openxmlformats.org/package/2006/relationships"><Relationship Id="rId8" Type="http://schemas.openxmlformats.org/officeDocument/2006/relationships/image" Target="../media/image121.png"/><Relationship Id="rId13" Type="http://schemas.openxmlformats.org/officeDocument/2006/relationships/image" Target="../media/image126.png"/><Relationship Id="rId3" Type="http://schemas.openxmlformats.org/officeDocument/2006/relationships/image" Target="../media/image116.png"/><Relationship Id="rId7" Type="http://schemas.openxmlformats.org/officeDocument/2006/relationships/image" Target="../media/image120.png"/><Relationship Id="rId12" Type="http://schemas.openxmlformats.org/officeDocument/2006/relationships/image" Target="../media/image125.png"/><Relationship Id="rId17" Type="http://schemas.openxmlformats.org/officeDocument/2006/relationships/image" Target="../media/image130.png"/><Relationship Id="rId2" Type="http://schemas.openxmlformats.org/officeDocument/2006/relationships/image" Target="../media/image115.png"/><Relationship Id="rId16" Type="http://schemas.openxmlformats.org/officeDocument/2006/relationships/image" Target="../media/image129.png"/><Relationship Id="rId1" Type="http://schemas.openxmlformats.org/officeDocument/2006/relationships/slideLayout" Target="../slideLayouts/slideLayout26.xml"/><Relationship Id="rId6" Type="http://schemas.openxmlformats.org/officeDocument/2006/relationships/image" Target="../media/image119.png"/><Relationship Id="rId11" Type="http://schemas.openxmlformats.org/officeDocument/2006/relationships/image" Target="../media/image124.png"/><Relationship Id="rId5" Type="http://schemas.openxmlformats.org/officeDocument/2006/relationships/image" Target="../media/image118.png"/><Relationship Id="rId15" Type="http://schemas.openxmlformats.org/officeDocument/2006/relationships/image" Target="../media/image128.png"/><Relationship Id="rId10" Type="http://schemas.openxmlformats.org/officeDocument/2006/relationships/image" Target="../media/image123.png"/><Relationship Id="rId4" Type="http://schemas.openxmlformats.org/officeDocument/2006/relationships/image" Target="../media/image117.png"/><Relationship Id="rId9" Type="http://schemas.openxmlformats.org/officeDocument/2006/relationships/image" Target="../media/image122.png"/><Relationship Id="rId14" Type="http://schemas.openxmlformats.org/officeDocument/2006/relationships/image" Target="../media/image127.png"/></Relationships>
</file>

<file path=ppt/slides/_rels/slide24.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8" Type="http://schemas.openxmlformats.org/officeDocument/2006/relationships/image" Target="../media/image134.png"/><Relationship Id="rId13" Type="http://schemas.openxmlformats.org/officeDocument/2006/relationships/image" Target="../media/image139.png"/><Relationship Id="rId3" Type="http://schemas.openxmlformats.org/officeDocument/2006/relationships/tags" Target="../tags/tag7.xml"/><Relationship Id="rId7" Type="http://schemas.openxmlformats.org/officeDocument/2006/relationships/image" Target="../media/image133.png"/><Relationship Id="rId12" Type="http://schemas.openxmlformats.org/officeDocument/2006/relationships/image" Target="../media/image138.png"/><Relationship Id="rId2" Type="http://schemas.openxmlformats.org/officeDocument/2006/relationships/tags" Target="../tags/tag6.xml"/><Relationship Id="rId16" Type="http://schemas.openxmlformats.org/officeDocument/2006/relationships/image" Target="../media/image142.png"/><Relationship Id="rId1" Type="http://schemas.openxmlformats.org/officeDocument/2006/relationships/tags" Target="../tags/tag5.xml"/><Relationship Id="rId6" Type="http://schemas.openxmlformats.org/officeDocument/2006/relationships/image" Target="../media/image132.png"/><Relationship Id="rId11" Type="http://schemas.openxmlformats.org/officeDocument/2006/relationships/image" Target="../media/image137.svg"/><Relationship Id="rId5" Type="http://schemas.openxmlformats.org/officeDocument/2006/relationships/slideLayout" Target="../slideLayouts/slideLayout10.xml"/><Relationship Id="rId15" Type="http://schemas.openxmlformats.org/officeDocument/2006/relationships/image" Target="../media/image141.png"/><Relationship Id="rId10" Type="http://schemas.openxmlformats.org/officeDocument/2006/relationships/image" Target="../media/image136.png"/><Relationship Id="rId4" Type="http://schemas.openxmlformats.org/officeDocument/2006/relationships/tags" Target="../tags/tag8.xml"/><Relationship Id="rId9" Type="http://schemas.openxmlformats.org/officeDocument/2006/relationships/image" Target="../media/image135.png"/><Relationship Id="rId14" Type="http://schemas.openxmlformats.org/officeDocument/2006/relationships/image" Target="../media/image140.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63.png"/><Relationship Id="rId7" Type="http://schemas.openxmlformats.org/officeDocument/2006/relationships/image" Target="../media/image66.png"/><Relationship Id="rId2" Type="http://schemas.openxmlformats.org/officeDocument/2006/relationships/image" Target="../media/image62.png"/><Relationship Id="rId1" Type="http://schemas.openxmlformats.org/officeDocument/2006/relationships/slideLayout" Target="../slideLayouts/slideLayout49.xml"/><Relationship Id="rId6" Type="http://schemas.openxmlformats.org/officeDocument/2006/relationships/image" Target="../media/image65.png"/><Relationship Id="rId5" Type="http://schemas.openxmlformats.org/officeDocument/2006/relationships/image" Target="../media/image50.png"/><Relationship Id="rId4" Type="http://schemas.openxmlformats.org/officeDocument/2006/relationships/image" Target="../media/image64.png"/><Relationship Id="rId9" Type="http://schemas.openxmlformats.org/officeDocument/2006/relationships/image" Target="../media/image68.png"/></Relationships>
</file>

<file path=ppt/slides/_rels/slide30.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0.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8" Type="http://schemas.openxmlformats.org/officeDocument/2006/relationships/image" Target="../media/image149.svg"/><Relationship Id="rId13" Type="http://schemas.openxmlformats.org/officeDocument/2006/relationships/image" Target="../media/image154.png"/><Relationship Id="rId3" Type="http://schemas.openxmlformats.org/officeDocument/2006/relationships/image" Target="../media/image144.png"/><Relationship Id="rId7" Type="http://schemas.openxmlformats.org/officeDocument/2006/relationships/image" Target="../media/image148.png"/><Relationship Id="rId12" Type="http://schemas.openxmlformats.org/officeDocument/2006/relationships/image" Target="../media/image153.svg"/><Relationship Id="rId2" Type="http://schemas.openxmlformats.org/officeDocument/2006/relationships/image" Target="../media/image143.png"/><Relationship Id="rId1" Type="http://schemas.openxmlformats.org/officeDocument/2006/relationships/slideLayout" Target="../slideLayouts/slideLayout10.xml"/><Relationship Id="rId6" Type="http://schemas.openxmlformats.org/officeDocument/2006/relationships/image" Target="../media/image147.svg"/><Relationship Id="rId11" Type="http://schemas.openxmlformats.org/officeDocument/2006/relationships/image" Target="../media/image152.png"/><Relationship Id="rId5" Type="http://schemas.openxmlformats.org/officeDocument/2006/relationships/image" Target="../media/image146.png"/><Relationship Id="rId10" Type="http://schemas.openxmlformats.org/officeDocument/2006/relationships/image" Target="../media/image151.svg"/><Relationship Id="rId4" Type="http://schemas.openxmlformats.org/officeDocument/2006/relationships/image" Target="../media/image145.svg"/><Relationship Id="rId9" Type="http://schemas.openxmlformats.org/officeDocument/2006/relationships/image" Target="../media/image150.png"/><Relationship Id="rId14" Type="http://schemas.openxmlformats.org/officeDocument/2006/relationships/image" Target="../media/image155.sv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6.xml.rels><?xml version="1.0" encoding="UTF-8" standalone="yes"?>
<Relationships xmlns="http://schemas.openxmlformats.org/package/2006/relationships"><Relationship Id="rId3" Type="http://schemas.openxmlformats.org/officeDocument/2006/relationships/image" Target="../media/image157.svg"/><Relationship Id="rId2" Type="http://schemas.openxmlformats.org/officeDocument/2006/relationships/image" Target="../media/image156.png"/><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3" Type="http://schemas.openxmlformats.org/officeDocument/2006/relationships/image" Target="../media/image159.svg"/><Relationship Id="rId7" Type="http://schemas.openxmlformats.org/officeDocument/2006/relationships/image" Target="../media/image163.svg"/><Relationship Id="rId2" Type="http://schemas.openxmlformats.org/officeDocument/2006/relationships/image" Target="../media/image158.png"/><Relationship Id="rId1" Type="http://schemas.openxmlformats.org/officeDocument/2006/relationships/slideLayout" Target="../slideLayouts/slideLayout10.xml"/><Relationship Id="rId6" Type="http://schemas.openxmlformats.org/officeDocument/2006/relationships/image" Target="../media/image162.png"/><Relationship Id="rId5" Type="http://schemas.openxmlformats.org/officeDocument/2006/relationships/image" Target="../media/image161.svg"/><Relationship Id="rId4" Type="http://schemas.openxmlformats.org/officeDocument/2006/relationships/image" Target="../media/image160.png"/></Relationships>
</file>

<file path=ppt/slides/_rels/slide39.xml.rels><?xml version="1.0" encoding="UTF-8" standalone="yes"?>
<Relationships xmlns="http://schemas.openxmlformats.org/package/2006/relationships"><Relationship Id="rId3" Type="http://schemas.openxmlformats.org/officeDocument/2006/relationships/image" Target="../media/image165.svg"/><Relationship Id="rId2" Type="http://schemas.openxmlformats.org/officeDocument/2006/relationships/image" Target="../media/image164.png"/><Relationship Id="rId1" Type="http://schemas.openxmlformats.org/officeDocument/2006/relationships/slideLayout" Target="../slideLayouts/slideLayout10.xml"/><Relationship Id="rId4" Type="http://schemas.openxmlformats.org/officeDocument/2006/relationships/image" Target="../media/image166.sv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0.xml.rels><?xml version="1.0" encoding="UTF-8" standalone="yes"?>
<Relationships xmlns="http://schemas.openxmlformats.org/package/2006/relationships"><Relationship Id="rId2" Type="http://schemas.openxmlformats.org/officeDocument/2006/relationships/image" Target="../media/image167.png"/><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8" Type="http://schemas.openxmlformats.org/officeDocument/2006/relationships/image" Target="../media/image174.png"/><Relationship Id="rId13" Type="http://schemas.openxmlformats.org/officeDocument/2006/relationships/image" Target="../media/image179.svg"/><Relationship Id="rId3" Type="http://schemas.openxmlformats.org/officeDocument/2006/relationships/image" Target="../media/image169.svg"/><Relationship Id="rId7" Type="http://schemas.openxmlformats.org/officeDocument/2006/relationships/image" Target="../media/image173.svg"/><Relationship Id="rId12" Type="http://schemas.openxmlformats.org/officeDocument/2006/relationships/image" Target="../media/image178.png"/><Relationship Id="rId2" Type="http://schemas.openxmlformats.org/officeDocument/2006/relationships/image" Target="../media/image168.png"/><Relationship Id="rId1" Type="http://schemas.openxmlformats.org/officeDocument/2006/relationships/slideLayout" Target="../slideLayouts/slideLayout10.xml"/><Relationship Id="rId6" Type="http://schemas.openxmlformats.org/officeDocument/2006/relationships/image" Target="../media/image172.png"/><Relationship Id="rId11" Type="http://schemas.openxmlformats.org/officeDocument/2006/relationships/image" Target="../media/image177.svg"/><Relationship Id="rId5" Type="http://schemas.openxmlformats.org/officeDocument/2006/relationships/image" Target="../media/image171.svg"/><Relationship Id="rId10" Type="http://schemas.openxmlformats.org/officeDocument/2006/relationships/image" Target="../media/image176.png"/><Relationship Id="rId4" Type="http://schemas.openxmlformats.org/officeDocument/2006/relationships/image" Target="../media/image170.png"/><Relationship Id="rId9" Type="http://schemas.openxmlformats.org/officeDocument/2006/relationships/image" Target="../media/image175.svg"/></Relationships>
</file>

<file path=ppt/slides/_rels/slide43.xml.rels><?xml version="1.0" encoding="UTF-8" standalone="yes"?>
<Relationships xmlns="http://schemas.openxmlformats.org/package/2006/relationships"><Relationship Id="rId8" Type="http://schemas.openxmlformats.org/officeDocument/2006/relationships/image" Target="../media/image186.png"/><Relationship Id="rId3" Type="http://schemas.openxmlformats.org/officeDocument/2006/relationships/image" Target="../media/image181.svg"/><Relationship Id="rId7" Type="http://schemas.openxmlformats.org/officeDocument/2006/relationships/image" Target="../media/image185.svg"/><Relationship Id="rId2" Type="http://schemas.openxmlformats.org/officeDocument/2006/relationships/image" Target="../media/image180.png"/><Relationship Id="rId1" Type="http://schemas.openxmlformats.org/officeDocument/2006/relationships/slideLayout" Target="../slideLayouts/slideLayout10.xml"/><Relationship Id="rId6" Type="http://schemas.openxmlformats.org/officeDocument/2006/relationships/image" Target="../media/image184.png"/><Relationship Id="rId5" Type="http://schemas.openxmlformats.org/officeDocument/2006/relationships/image" Target="../media/image183.svg"/><Relationship Id="rId4" Type="http://schemas.openxmlformats.org/officeDocument/2006/relationships/image" Target="../media/image182.png"/><Relationship Id="rId9" Type="http://schemas.openxmlformats.org/officeDocument/2006/relationships/image" Target="../media/image187.sv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6.xml.rels><?xml version="1.0" encoding="UTF-8" standalone="yes"?>
<Relationships xmlns="http://schemas.openxmlformats.org/package/2006/relationships"><Relationship Id="rId8" Type="http://schemas.openxmlformats.org/officeDocument/2006/relationships/image" Target="../media/image194.png"/><Relationship Id="rId3" Type="http://schemas.openxmlformats.org/officeDocument/2006/relationships/image" Target="../media/image189.svg"/><Relationship Id="rId7" Type="http://schemas.openxmlformats.org/officeDocument/2006/relationships/image" Target="../media/image193.png"/><Relationship Id="rId2" Type="http://schemas.openxmlformats.org/officeDocument/2006/relationships/image" Target="../media/image188.png"/><Relationship Id="rId1" Type="http://schemas.openxmlformats.org/officeDocument/2006/relationships/slideLayout" Target="../slideLayouts/slideLayout10.xml"/><Relationship Id="rId6" Type="http://schemas.openxmlformats.org/officeDocument/2006/relationships/image" Target="../media/image192.png"/><Relationship Id="rId5" Type="http://schemas.openxmlformats.org/officeDocument/2006/relationships/image" Target="../media/image191.svg"/><Relationship Id="rId4" Type="http://schemas.openxmlformats.org/officeDocument/2006/relationships/image" Target="../media/image190.png"/></Relationships>
</file>

<file path=ppt/slides/_rels/slide47.xml.rels><?xml version="1.0" encoding="UTF-8" standalone="yes"?>
<Relationships xmlns="http://schemas.openxmlformats.org/package/2006/relationships"><Relationship Id="rId3" Type="http://schemas.openxmlformats.org/officeDocument/2006/relationships/image" Target="../media/image196.jpeg"/><Relationship Id="rId7" Type="http://schemas.openxmlformats.org/officeDocument/2006/relationships/image" Target="../media/image200.jpeg"/><Relationship Id="rId2" Type="http://schemas.openxmlformats.org/officeDocument/2006/relationships/image" Target="../media/image195.jpeg"/><Relationship Id="rId1" Type="http://schemas.openxmlformats.org/officeDocument/2006/relationships/slideLayout" Target="../slideLayouts/slideLayout10.xml"/><Relationship Id="rId6" Type="http://schemas.openxmlformats.org/officeDocument/2006/relationships/image" Target="../media/image199.jpeg"/><Relationship Id="rId5" Type="http://schemas.openxmlformats.org/officeDocument/2006/relationships/image" Target="../media/image198.jpeg"/><Relationship Id="rId4" Type="http://schemas.openxmlformats.org/officeDocument/2006/relationships/image" Target="../media/image197.jpe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9.xml.rels><?xml version="1.0" encoding="UTF-8" standalone="yes"?>
<Relationships xmlns="http://schemas.openxmlformats.org/package/2006/relationships"><Relationship Id="rId2" Type="http://schemas.openxmlformats.org/officeDocument/2006/relationships/image" Target="../media/image201.png"/><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0.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54.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image" Target="../media/image202.png"/><Relationship Id="rId1" Type="http://schemas.openxmlformats.org/officeDocument/2006/relationships/slideLayout" Target="../slideLayouts/slideLayout10.xml"/><Relationship Id="rId4" Type="http://schemas.openxmlformats.org/officeDocument/2006/relationships/image" Target="../media/image204.png"/></Relationships>
</file>

<file path=ppt/slides/_rels/slide55.xml.rels><?xml version="1.0" encoding="UTF-8" standalone="yes"?>
<Relationships xmlns="http://schemas.openxmlformats.org/package/2006/relationships"><Relationship Id="rId8" Type="http://schemas.openxmlformats.org/officeDocument/2006/relationships/image" Target="../media/image211.png"/><Relationship Id="rId13" Type="http://schemas.openxmlformats.org/officeDocument/2006/relationships/image" Target="../media/image215.png"/><Relationship Id="rId3" Type="http://schemas.openxmlformats.org/officeDocument/2006/relationships/image" Target="../media/image206.png"/><Relationship Id="rId7" Type="http://schemas.openxmlformats.org/officeDocument/2006/relationships/image" Target="../media/image210.png"/><Relationship Id="rId12" Type="http://schemas.openxmlformats.org/officeDocument/2006/relationships/image" Target="../media/image214.png"/><Relationship Id="rId2" Type="http://schemas.openxmlformats.org/officeDocument/2006/relationships/image" Target="../media/image205.png"/><Relationship Id="rId1" Type="http://schemas.openxmlformats.org/officeDocument/2006/relationships/slideLayout" Target="../slideLayouts/slideLayout10.xml"/><Relationship Id="rId6" Type="http://schemas.openxmlformats.org/officeDocument/2006/relationships/image" Target="../media/image209.png"/><Relationship Id="rId11" Type="http://schemas.openxmlformats.org/officeDocument/2006/relationships/image" Target="../media/image204.png"/><Relationship Id="rId5" Type="http://schemas.openxmlformats.org/officeDocument/2006/relationships/image" Target="../media/image208.png"/><Relationship Id="rId10" Type="http://schemas.openxmlformats.org/officeDocument/2006/relationships/image" Target="../media/image213.png"/><Relationship Id="rId4" Type="http://schemas.openxmlformats.org/officeDocument/2006/relationships/image" Target="../media/image207.png"/><Relationship Id="rId9" Type="http://schemas.openxmlformats.org/officeDocument/2006/relationships/image" Target="../media/image212.png"/><Relationship Id="rId14" Type="http://schemas.openxmlformats.org/officeDocument/2006/relationships/image" Target="../media/image216.png"/></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7.xml.rels><?xml version="1.0" encoding="UTF-8" standalone="yes"?>
<Relationships xmlns="http://schemas.openxmlformats.org/package/2006/relationships"><Relationship Id="rId3" Type="http://schemas.openxmlformats.org/officeDocument/2006/relationships/image" Target="../media/image217.png"/><Relationship Id="rId2" Type="http://schemas.openxmlformats.org/officeDocument/2006/relationships/notesSlide" Target="../notesSlides/notesSlide12.xml"/><Relationship Id="rId1" Type="http://schemas.openxmlformats.org/officeDocument/2006/relationships/slideLayout" Target="../slideLayouts/slideLayout10.xml"/><Relationship Id="rId6" Type="http://schemas.openxmlformats.org/officeDocument/2006/relationships/image" Target="../media/image220.png"/><Relationship Id="rId5" Type="http://schemas.openxmlformats.org/officeDocument/2006/relationships/image" Target="../media/image219.png"/><Relationship Id="rId4" Type="http://schemas.openxmlformats.org/officeDocument/2006/relationships/image" Target="../media/image218.png"/></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9.xml.rels><?xml version="1.0" encoding="UTF-8" standalone="yes"?>
<Relationships xmlns="http://schemas.openxmlformats.org/package/2006/relationships"><Relationship Id="rId3" Type="http://schemas.openxmlformats.org/officeDocument/2006/relationships/image" Target="../media/image221.png"/><Relationship Id="rId2" Type="http://schemas.openxmlformats.org/officeDocument/2006/relationships/notesSlide" Target="../notesSlides/notesSlide13.xml"/><Relationship Id="rId1" Type="http://schemas.openxmlformats.org/officeDocument/2006/relationships/slideLayout" Target="../slideLayouts/slideLayout10.xml"/><Relationship Id="rId6" Type="http://schemas.openxmlformats.org/officeDocument/2006/relationships/image" Target="../media/image20.png"/><Relationship Id="rId5" Type="http://schemas.openxmlformats.org/officeDocument/2006/relationships/image" Target="../media/image223.png"/><Relationship Id="rId4" Type="http://schemas.openxmlformats.org/officeDocument/2006/relationships/image" Target="../media/image222.png"/></Relationships>
</file>

<file path=ppt/slides/_rels/slide6.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image" Target="../media/image70.png"/><Relationship Id="rId7" Type="http://schemas.openxmlformats.org/officeDocument/2006/relationships/image" Target="../media/image74.png"/><Relationship Id="rId2" Type="http://schemas.microsoft.com/office/2018/10/relationships/comments" Target="../comments/modernComment_7FFFD070_D0851251.xml"/><Relationship Id="rId1" Type="http://schemas.openxmlformats.org/officeDocument/2006/relationships/slideLayout" Target="../slideLayouts/slideLayout10.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71.png"/><Relationship Id="rId9" Type="http://schemas.openxmlformats.org/officeDocument/2006/relationships/image" Target="../media/image76.png"/></Relationships>
</file>

<file path=ppt/slides/_rels/slide60.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notesSlide" Target="../notesSlides/notesSlide14.xml"/><Relationship Id="rId1" Type="http://schemas.openxmlformats.org/officeDocument/2006/relationships/slideLayout" Target="../slideLayouts/slideLayout10.xml"/><Relationship Id="rId5" Type="http://schemas.openxmlformats.org/officeDocument/2006/relationships/image" Target="../media/image226.png"/><Relationship Id="rId4" Type="http://schemas.openxmlformats.org/officeDocument/2006/relationships/image" Target="../media/image225.png"/></Relationships>
</file>

<file path=ppt/slides/_rels/slide61.xml.rels><?xml version="1.0" encoding="UTF-8" standalone="yes"?>
<Relationships xmlns="http://schemas.openxmlformats.org/package/2006/relationships"><Relationship Id="rId2" Type="http://schemas.openxmlformats.org/officeDocument/2006/relationships/image" Target="../media/image227.png"/><Relationship Id="rId1" Type="http://schemas.openxmlformats.org/officeDocument/2006/relationships/slideLayout" Target="../slideLayouts/slideLayout10.xml"/></Relationships>
</file>

<file path=ppt/slides/_rels/slide62.xml.rels><?xml version="1.0" encoding="UTF-8" standalone="yes"?>
<Relationships xmlns="http://schemas.openxmlformats.org/package/2006/relationships"><Relationship Id="rId3" Type="http://schemas.openxmlformats.org/officeDocument/2006/relationships/image" Target="../media/image228.png"/><Relationship Id="rId2" Type="http://schemas.openxmlformats.org/officeDocument/2006/relationships/notesSlide" Target="../notesSlides/notesSlide15.xml"/><Relationship Id="rId1" Type="http://schemas.openxmlformats.org/officeDocument/2006/relationships/slideLayout" Target="../slideLayouts/slideLayout10.xml"/><Relationship Id="rId5" Type="http://schemas.openxmlformats.org/officeDocument/2006/relationships/image" Target="../media/image20.png"/><Relationship Id="rId4" Type="http://schemas.openxmlformats.org/officeDocument/2006/relationships/image" Target="../media/image229.png"/></Relationships>
</file>

<file path=ppt/slides/_rels/slide63.xml.rels><?xml version="1.0" encoding="UTF-8" standalone="yes"?>
<Relationships xmlns="http://schemas.openxmlformats.org/package/2006/relationships"><Relationship Id="rId8" Type="http://schemas.openxmlformats.org/officeDocument/2006/relationships/image" Target="../media/image236.png"/><Relationship Id="rId13" Type="http://schemas.openxmlformats.org/officeDocument/2006/relationships/image" Target="../media/image241.png"/><Relationship Id="rId3" Type="http://schemas.openxmlformats.org/officeDocument/2006/relationships/image" Target="../media/image231.png"/><Relationship Id="rId7" Type="http://schemas.openxmlformats.org/officeDocument/2006/relationships/image" Target="../media/image235.png"/><Relationship Id="rId12" Type="http://schemas.openxmlformats.org/officeDocument/2006/relationships/image" Target="../media/image240.png"/><Relationship Id="rId2" Type="http://schemas.openxmlformats.org/officeDocument/2006/relationships/image" Target="../media/image230.png"/><Relationship Id="rId1" Type="http://schemas.openxmlformats.org/officeDocument/2006/relationships/slideLayout" Target="../slideLayouts/slideLayout10.xml"/><Relationship Id="rId6" Type="http://schemas.openxmlformats.org/officeDocument/2006/relationships/image" Target="../media/image234.png"/><Relationship Id="rId11" Type="http://schemas.openxmlformats.org/officeDocument/2006/relationships/image" Target="../media/image239.png"/><Relationship Id="rId5" Type="http://schemas.openxmlformats.org/officeDocument/2006/relationships/image" Target="../media/image233.png"/><Relationship Id="rId10" Type="http://schemas.openxmlformats.org/officeDocument/2006/relationships/image" Target="../media/image238.png"/><Relationship Id="rId4" Type="http://schemas.openxmlformats.org/officeDocument/2006/relationships/image" Target="../media/image232.png"/><Relationship Id="rId9" Type="http://schemas.openxmlformats.org/officeDocument/2006/relationships/image" Target="../media/image237.png"/><Relationship Id="rId14" Type="http://schemas.openxmlformats.org/officeDocument/2006/relationships/image" Target="../media/image242.png"/></Relationships>
</file>

<file path=ppt/slides/_rels/slide64.xml.rels><?xml version="1.0" encoding="UTF-8" standalone="yes"?>
<Relationships xmlns="http://schemas.openxmlformats.org/package/2006/relationships"><Relationship Id="rId8" Type="http://schemas.openxmlformats.org/officeDocument/2006/relationships/image" Target="../media/image234.png"/><Relationship Id="rId13" Type="http://schemas.openxmlformats.org/officeDocument/2006/relationships/image" Target="../media/image250.png"/><Relationship Id="rId3" Type="http://schemas.openxmlformats.org/officeDocument/2006/relationships/image" Target="../media/image231.png"/><Relationship Id="rId7" Type="http://schemas.openxmlformats.org/officeDocument/2006/relationships/image" Target="../media/image240.png"/><Relationship Id="rId12" Type="http://schemas.openxmlformats.org/officeDocument/2006/relationships/image" Target="../media/image249.png"/><Relationship Id="rId2" Type="http://schemas.openxmlformats.org/officeDocument/2006/relationships/image" Target="../media/image243.png"/><Relationship Id="rId1" Type="http://schemas.openxmlformats.org/officeDocument/2006/relationships/slideLayout" Target="../slideLayouts/slideLayout10.xml"/><Relationship Id="rId6" Type="http://schemas.openxmlformats.org/officeDocument/2006/relationships/image" Target="../media/image245.png"/><Relationship Id="rId11" Type="http://schemas.openxmlformats.org/officeDocument/2006/relationships/image" Target="../media/image248.png"/><Relationship Id="rId5" Type="http://schemas.openxmlformats.org/officeDocument/2006/relationships/image" Target="../media/image239.png"/><Relationship Id="rId10" Type="http://schemas.openxmlformats.org/officeDocument/2006/relationships/image" Target="../media/image247.png"/><Relationship Id="rId4" Type="http://schemas.openxmlformats.org/officeDocument/2006/relationships/image" Target="../media/image244.png"/><Relationship Id="rId9" Type="http://schemas.openxmlformats.org/officeDocument/2006/relationships/image" Target="../media/image246.png"/></Relationships>
</file>

<file path=ppt/slides/_rels/slide65.xml.rels><?xml version="1.0" encoding="UTF-8" standalone="yes"?>
<Relationships xmlns="http://schemas.openxmlformats.org/package/2006/relationships"><Relationship Id="rId3" Type="http://schemas.openxmlformats.org/officeDocument/2006/relationships/image" Target="../media/image252.png"/><Relationship Id="rId2" Type="http://schemas.openxmlformats.org/officeDocument/2006/relationships/image" Target="../media/image251.jpeg"/><Relationship Id="rId1" Type="http://schemas.openxmlformats.org/officeDocument/2006/relationships/slideLayout" Target="../slideLayouts/slideLayout10.xml"/></Relationships>
</file>

<file path=ppt/slides/_rels/slide66.xml.rels><?xml version="1.0" encoding="UTF-8" standalone="yes"?>
<Relationships xmlns="http://schemas.openxmlformats.org/package/2006/relationships"><Relationship Id="rId3" Type="http://schemas.openxmlformats.org/officeDocument/2006/relationships/image" Target="../media/image253.png"/><Relationship Id="rId2" Type="http://schemas.openxmlformats.org/officeDocument/2006/relationships/image" Target="../media/image222.png"/><Relationship Id="rId1" Type="http://schemas.openxmlformats.org/officeDocument/2006/relationships/slideLayout" Target="../slideLayouts/slideLayout10.xml"/><Relationship Id="rId4" Type="http://schemas.openxmlformats.org/officeDocument/2006/relationships/image" Target="../media/image254.png"/></Relationships>
</file>

<file path=ppt/slides/_rels/slide67.xml.rels><?xml version="1.0" encoding="UTF-8" standalone="yes"?>
<Relationships xmlns="http://schemas.openxmlformats.org/package/2006/relationships"><Relationship Id="rId3" Type="http://schemas.openxmlformats.org/officeDocument/2006/relationships/image" Target="../media/image255.png"/><Relationship Id="rId2" Type="http://schemas.openxmlformats.org/officeDocument/2006/relationships/image" Target="../media/image222.png"/><Relationship Id="rId1" Type="http://schemas.openxmlformats.org/officeDocument/2006/relationships/slideLayout" Target="../slideLayouts/slideLayout10.xml"/><Relationship Id="rId4" Type="http://schemas.openxmlformats.org/officeDocument/2006/relationships/image" Target="../media/image256.png"/></Relationships>
</file>

<file path=ppt/slides/_rels/slide68.xml.rels><?xml version="1.0" encoding="UTF-8" standalone="yes"?>
<Relationships xmlns="http://schemas.openxmlformats.org/package/2006/relationships"><Relationship Id="rId3" Type="http://schemas.openxmlformats.org/officeDocument/2006/relationships/image" Target="../media/image255.png"/><Relationship Id="rId2" Type="http://schemas.openxmlformats.org/officeDocument/2006/relationships/image" Target="../media/image222.png"/><Relationship Id="rId1" Type="http://schemas.openxmlformats.org/officeDocument/2006/relationships/slideLayout" Target="../slideLayouts/slideLayout10.xml"/><Relationship Id="rId4" Type="http://schemas.openxmlformats.org/officeDocument/2006/relationships/image" Target="../media/image257.png"/></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8" Type="http://schemas.openxmlformats.org/officeDocument/2006/relationships/image" Target="../media/image83.svg"/><Relationship Id="rId3" Type="http://schemas.openxmlformats.org/officeDocument/2006/relationships/image" Target="../media/image78.png"/><Relationship Id="rId7" Type="http://schemas.openxmlformats.org/officeDocument/2006/relationships/image" Target="../media/image82.png"/><Relationship Id="rId2" Type="http://schemas.openxmlformats.org/officeDocument/2006/relationships/image" Target="../media/image77.png"/><Relationship Id="rId1" Type="http://schemas.openxmlformats.org/officeDocument/2006/relationships/slideLayout" Target="../slideLayouts/slideLayout10.xml"/><Relationship Id="rId6" Type="http://schemas.openxmlformats.org/officeDocument/2006/relationships/image" Target="../media/image81.svg"/><Relationship Id="rId11" Type="http://schemas.openxmlformats.org/officeDocument/2006/relationships/image" Target="../media/image6.png"/><Relationship Id="rId5" Type="http://schemas.openxmlformats.org/officeDocument/2006/relationships/image" Target="../media/image80.png"/><Relationship Id="rId10" Type="http://schemas.openxmlformats.org/officeDocument/2006/relationships/image" Target="../media/image85.svg"/><Relationship Id="rId4" Type="http://schemas.openxmlformats.org/officeDocument/2006/relationships/image" Target="../media/image79.svg"/><Relationship Id="rId9" Type="http://schemas.openxmlformats.org/officeDocument/2006/relationships/image" Target="../media/image84.png"/></Relationships>
</file>

<file path=ppt/slides/_rels/slide70.xml.rels><?xml version="1.0" encoding="UTF-8" standalone="yes"?>
<Relationships xmlns="http://schemas.openxmlformats.org/package/2006/relationships"><Relationship Id="rId8" Type="http://schemas.openxmlformats.org/officeDocument/2006/relationships/image" Target="../media/image264.png"/><Relationship Id="rId13" Type="http://schemas.openxmlformats.org/officeDocument/2006/relationships/image" Target="../media/image269.svg"/><Relationship Id="rId18" Type="http://schemas.openxmlformats.org/officeDocument/2006/relationships/image" Target="../media/image274.png"/><Relationship Id="rId3" Type="http://schemas.openxmlformats.org/officeDocument/2006/relationships/image" Target="../media/image259.svg"/><Relationship Id="rId21" Type="http://schemas.openxmlformats.org/officeDocument/2006/relationships/image" Target="../media/image277.svg"/><Relationship Id="rId7" Type="http://schemas.openxmlformats.org/officeDocument/2006/relationships/image" Target="../media/image263.svg"/><Relationship Id="rId12" Type="http://schemas.openxmlformats.org/officeDocument/2006/relationships/image" Target="../media/image268.png"/><Relationship Id="rId17" Type="http://schemas.openxmlformats.org/officeDocument/2006/relationships/image" Target="../media/image273.svg"/><Relationship Id="rId2" Type="http://schemas.openxmlformats.org/officeDocument/2006/relationships/image" Target="../media/image258.png"/><Relationship Id="rId16" Type="http://schemas.openxmlformats.org/officeDocument/2006/relationships/image" Target="../media/image272.png"/><Relationship Id="rId20" Type="http://schemas.openxmlformats.org/officeDocument/2006/relationships/image" Target="../media/image276.png"/><Relationship Id="rId1" Type="http://schemas.openxmlformats.org/officeDocument/2006/relationships/slideLayout" Target="../slideLayouts/slideLayout10.xml"/><Relationship Id="rId6" Type="http://schemas.openxmlformats.org/officeDocument/2006/relationships/image" Target="../media/image262.png"/><Relationship Id="rId11" Type="http://schemas.openxmlformats.org/officeDocument/2006/relationships/image" Target="../media/image267.svg"/><Relationship Id="rId5" Type="http://schemas.openxmlformats.org/officeDocument/2006/relationships/image" Target="../media/image261.svg"/><Relationship Id="rId15" Type="http://schemas.openxmlformats.org/officeDocument/2006/relationships/image" Target="../media/image271.svg"/><Relationship Id="rId10" Type="http://schemas.openxmlformats.org/officeDocument/2006/relationships/image" Target="../media/image266.png"/><Relationship Id="rId19" Type="http://schemas.openxmlformats.org/officeDocument/2006/relationships/image" Target="../media/image275.svg"/><Relationship Id="rId4" Type="http://schemas.openxmlformats.org/officeDocument/2006/relationships/image" Target="../media/image260.png"/><Relationship Id="rId9" Type="http://schemas.openxmlformats.org/officeDocument/2006/relationships/image" Target="../media/image265.svg"/><Relationship Id="rId14" Type="http://schemas.openxmlformats.org/officeDocument/2006/relationships/image" Target="../media/image270.png"/></Relationships>
</file>

<file path=ppt/slides/_rels/slide71.xml.rels><?xml version="1.0" encoding="UTF-8" standalone="yes"?>
<Relationships xmlns="http://schemas.openxmlformats.org/package/2006/relationships"><Relationship Id="rId3" Type="http://schemas.openxmlformats.org/officeDocument/2006/relationships/image" Target="../media/image279.png"/><Relationship Id="rId2" Type="http://schemas.openxmlformats.org/officeDocument/2006/relationships/image" Target="../media/image278.png"/><Relationship Id="rId1" Type="http://schemas.openxmlformats.org/officeDocument/2006/relationships/slideLayout" Target="../slideLayouts/slideLayout10.xml"/><Relationship Id="rId5" Type="http://schemas.openxmlformats.org/officeDocument/2006/relationships/image" Target="../media/image281.png"/><Relationship Id="rId4" Type="http://schemas.openxmlformats.org/officeDocument/2006/relationships/image" Target="../media/image280.png"/></Relationships>
</file>

<file path=ppt/slides/_rels/slide72.xml.rels><?xml version="1.0" encoding="UTF-8" standalone="yes"?>
<Relationships xmlns="http://schemas.openxmlformats.org/package/2006/relationships"><Relationship Id="rId3" Type="http://schemas.openxmlformats.org/officeDocument/2006/relationships/image" Target="../media/image282.png"/><Relationship Id="rId2" Type="http://schemas.openxmlformats.org/officeDocument/2006/relationships/image" Target="../media/image70.png"/><Relationship Id="rId1" Type="http://schemas.openxmlformats.org/officeDocument/2006/relationships/slideLayout" Target="../slideLayouts/slideLayout10.xml"/><Relationship Id="rId6" Type="http://schemas.openxmlformats.org/officeDocument/2006/relationships/image" Target="../media/image285.png"/><Relationship Id="rId5" Type="http://schemas.openxmlformats.org/officeDocument/2006/relationships/image" Target="../media/image284.png"/><Relationship Id="rId4" Type="http://schemas.openxmlformats.org/officeDocument/2006/relationships/image" Target="../media/image283.png"/></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0.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76.xml.rels><?xml version="1.0" encoding="UTF-8" standalone="yes"?>
<Relationships xmlns="http://schemas.openxmlformats.org/package/2006/relationships"><Relationship Id="rId2" Type="http://schemas.openxmlformats.org/officeDocument/2006/relationships/image" Target="../media/image286.jpeg"/><Relationship Id="rId1" Type="http://schemas.openxmlformats.org/officeDocument/2006/relationships/slideLayout" Target="../slideLayouts/slideLayout10.xml"/></Relationships>
</file>

<file path=ppt/slides/_rels/slide77.xml.rels><?xml version="1.0" encoding="UTF-8" standalone="yes"?>
<Relationships xmlns="http://schemas.openxmlformats.org/package/2006/relationships"><Relationship Id="rId3" Type="http://schemas.openxmlformats.org/officeDocument/2006/relationships/image" Target="../media/image287.jpeg"/><Relationship Id="rId2" Type="http://schemas.openxmlformats.org/officeDocument/2006/relationships/notesSlide" Target="../notesSlides/notesSlide16.xml"/><Relationship Id="rId1" Type="http://schemas.openxmlformats.org/officeDocument/2006/relationships/slideLayout" Target="../slideLayouts/slideLayout54.xml"/><Relationship Id="rId4" Type="http://schemas.openxmlformats.org/officeDocument/2006/relationships/image" Target="../media/image25.png"/></Relationships>
</file>

<file path=ppt/slides/_rels/slide78.xml.rels><?xml version="1.0" encoding="UTF-8" standalone="yes"?>
<Relationships xmlns="http://schemas.openxmlformats.org/package/2006/relationships"><Relationship Id="rId3" Type="http://schemas.openxmlformats.org/officeDocument/2006/relationships/image" Target="../media/image289.png"/><Relationship Id="rId2" Type="http://schemas.openxmlformats.org/officeDocument/2006/relationships/image" Target="../media/image288.jpeg"/><Relationship Id="rId1" Type="http://schemas.openxmlformats.org/officeDocument/2006/relationships/slideLayout" Target="../slideLayouts/slideLayout63.xml"/></Relationships>
</file>

<file path=ppt/slides/_rels/slide79.xml.rels><?xml version="1.0" encoding="UTF-8" standalone="yes"?>
<Relationships xmlns="http://schemas.openxmlformats.org/package/2006/relationships"><Relationship Id="rId3" Type="http://schemas.openxmlformats.org/officeDocument/2006/relationships/image" Target="../media/image290.jpeg"/><Relationship Id="rId2" Type="http://schemas.openxmlformats.org/officeDocument/2006/relationships/notesSlide" Target="../notesSlides/notesSlide17.xml"/><Relationship Id="rId1" Type="http://schemas.openxmlformats.org/officeDocument/2006/relationships/slideLayout" Target="../slideLayouts/slideLayout66.xml"/></Relationships>
</file>

<file path=ppt/slides/_rels/slide8.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notesSlide" Target="../notesSlides/notesSlide2.xml"/><Relationship Id="rId1" Type="http://schemas.openxmlformats.org/officeDocument/2006/relationships/slideLayout" Target="../slideLayouts/slideLayout10.xml"/><Relationship Id="rId4" Type="http://schemas.openxmlformats.org/officeDocument/2006/relationships/image" Target="../media/image87.pn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81.xml.rels><?xml version="1.0" encoding="UTF-8" standalone="yes"?>
<Relationships xmlns="http://schemas.openxmlformats.org/package/2006/relationships"><Relationship Id="rId8" Type="http://schemas.openxmlformats.org/officeDocument/2006/relationships/image" Target="../media/image297.png"/><Relationship Id="rId13" Type="http://schemas.openxmlformats.org/officeDocument/2006/relationships/image" Target="../media/image302.png"/><Relationship Id="rId18" Type="http://schemas.openxmlformats.org/officeDocument/2006/relationships/image" Target="../media/image307.png"/><Relationship Id="rId3" Type="http://schemas.openxmlformats.org/officeDocument/2006/relationships/image" Target="../media/image292.png"/><Relationship Id="rId7" Type="http://schemas.openxmlformats.org/officeDocument/2006/relationships/image" Target="../media/image296.png"/><Relationship Id="rId12" Type="http://schemas.openxmlformats.org/officeDocument/2006/relationships/image" Target="../media/image301.png"/><Relationship Id="rId17" Type="http://schemas.openxmlformats.org/officeDocument/2006/relationships/image" Target="../media/image306.png"/><Relationship Id="rId2" Type="http://schemas.openxmlformats.org/officeDocument/2006/relationships/image" Target="../media/image291.png"/><Relationship Id="rId16" Type="http://schemas.openxmlformats.org/officeDocument/2006/relationships/image" Target="../media/image305.png"/><Relationship Id="rId20" Type="http://schemas.openxmlformats.org/officeDocument/2006/relationships/image" Target="../media/image309.png"/><Relationship Id="rId1" Type="http://schemas.openxmlformats.org/officeDocument/2006/relationships/slideLayout" Target="../slideLayouts/slideLayout71.xml"/><Relationship Id="rId6" Type="http://schemas.openxmlformats.org/officeDocument/2006/relationships/image" Target="../media/image295.png"/><Relationship Id="rId11" Type="http://schemas.openxmlformats.org/officeDocument/2006/relationships/image" Target="../media/image300.png"/><Relationship Id="rId5" Type="http://schemas.openxmlformats.org/officeDocument/2006/relationships/image" Target="../media/image294.png"/><Relationship Id="rId15" Type="http://schemas.openxmlformats.org/officeDocument/2006/relationships/image" Target="../media/image304.png"/><Relationship Id="rId10" Type="http://schemas.openxmlformats.org/officeDocument/2006/relationships/image" Target="../media/image299.png"/><Relationship Id="rId19" Type="http://schemas.openxmlformats.org/officeDocument/2006/relationships/image" Target="../media/image308.png"/><Relationship Id="rId4" Type="http://schemas.openxmlformats.org/officeDocument/2006/relationships/image" Target="../media/image293.png"/><Relationship Id="rId9" Type="http://schemas.openxmlformats.org/officeDocument/2006/relationships/image" Target="../media/image298.png"/><Relationship Id="rId14" Type="http://schemas.openxmlformats.org/officeDocument/2006/relationships/image" Target="../media/image303.png"/></Relationships>
</file>

<file path=ppt/slides/_rels/slide82.xml.rels><?xml version="1.0" encoding="UTF-8" standalone="yes"?>
<Relationships xmlns="http://schemas.openxmlformats.org/package/2006/relationships"><Relationship Id="rId8" Type="http://schemas.openxmlformats.org/officeDocument/2006/relationships/image" Target="../media/image316.png"/><Relationship Id="rId13" Type="http://schemas.openxmlformats.org/officeDocument/2006/relationships/image" Target="../media/image321.png"/><Relationship Id="rId3" Type="http://schemas.openxmlformats.org/officeDocument/2006/relationships/image" Target="../media/image311.png"/><Relationship Id="rId7" Type="http://schemas.openxmlformats.org/officeDocument/2006/relationships/image" Target="../media/image315.png"/><Relationship Id="rId12" Type="http://schemas.openxmlformats.org/officeDocument/2006/relationships/image" Target="../media/image320.png"/><Relationship Id="rId2" Type="http://schemas.openxmlformats.org/officeDocument/2006/relationships/image" Target="../media/image310.png"/><Relationship Id="rId1" Type="http://schemas.openxmlformats.org/officeDocument/2006/relationships/slideLayout" Target="../slideLayouts/slideLayout71.xml"/><Relationship Id="rId6" Type="http://schemas.openxmlformats.org/officeDocument/2006/relationships/image" Target="../media/image314.png"/><Relationship Id="rId11" Type="http://schemas.openxmlformats.org/officeDocument/2006/relationships/image" Target="../media/image319.png"/><Relationship Id="rId5" Type="http://schemas.openxmlformats.org/officeDocument/2006/relationships/image" Target="../media/image313.png"/><Relationship Id="rId15" Type="http://schemas.openxmlformats.org/officeDocument/2006/relationships/image" Target="../media/image323.png"/><Relationship Id="rId10" Type="http://schemas.openxmlformats.org/officeDocument/2006/relationships/image" Target="../media/image318.png"/><Relationship Id="rId4" Type="http://schemas.openxmlformats.org/officeDocument/2006/relationships/image" Target="../media/image312.png"/><Relationship Id="rId9" Type="http://schemas.openxmlformats.org/officeDocument/2006/relationships/image" Target="../media/image317.png"/><Relationship Id="rId14" Type="http://schemas.openxmlformats.org/officeDocument/2006/relationships/image" Target="../media/image322.png"/></Relationships>
</file>

<file path=ppt/slides/_rels/slide83.xml.rels><?xml version="1.0" encoding="UTF-8" standalone="yes"?>
<Relationships xmlns="http://schemas.openxmlformats.org/package/2006/relationships"><Relationship Id="rId8" Type="http://schemas.openxmlformats.org/officeDocument/2006/relationships/image" Target="../media/image330.png"/><Relationship Id="rId3" Type="http://schemas.openxmlformats.org/officeDocument/2006/relationships/image" Target="../media/image325.png"/><Relationship Id="rId7" Type="http://schemas.openxmlformats.org/officeDocument/2006/relationships/image" Target="../media/image329.png"/><Relationship Id="rId12" Type="http://schemas.openxmlformats.org/officeDocument/2006/relationships/image" Target="../media/image334.png"/><Relationship Id="rId2" Type="http://schemas.openxmlformats.org/officeDocument/2006/relationships/image" Target="../media/image324.png"/><Relationship Id="rId1" Type="http://schemas.openxmlformats.org/officeDocument/2006/relationships/slideLayout" Target="../slideLayouts/slideLayout71.xml"/><Relationship Id="rId6" Type="http://schemas.openxmlformats.org/officeDocument/2006/relationships/image" Target="../media/image328.png"/><Relationship Id="rId11" Type="http://schemas.openxmlformats.org/officeDocument/2006/relationships/image" Target="../media/image333.png"/><Relationship Id="rId5" Type="http://schemas.openxmlformats.org/officeDocument/2006/relationships/image" Target="../media/image327.png"/><Relationship Id="rId10" Type="http://schemas.openxmlformats.org/officeDocument/2006/relationships/image" Target="../media/image332.png"/><Relationship Id="rId4" Type="http://schemas.openxmlformats.org/officeDocument/2006/relationships/image" Target="../media/image326.png"/><Relationship Id="rId9" Type="http://schemas.openxmlformats.org/officeDocument/2006/relationships/image" Target="../media/image331.png"/></Relationships>
</file>

<file path=ppt/slides/_rels/slide84.xml.rels><?xml version="1.0" encoding="UTF-8" standalone="yes"?>
<Relationships xmlns="http://schemas.openxmlformats.org/package/2006/relationships"><Relationship Id="rId8" Type="http://schemas.openxmlformats.org/officeDocument/2006/relationships/image" Target="../media/image341.png"/><Relationship Id="rId13" Type="http://schemas.openxmlformats.org/officeDocument/2006/relationships/image" Target="../media/image346.png"/><Relationship Id="rId3" Type="http://schemas.openxmlformats.org/officeDocument/2006/relationships/image" Target="../media/image336.png"/><Relationship Id="rId7" Type="http://schemas.openxmlformats.org/officeDocument/2006/relationships/image" Target="../media/image340.png"/><Relationship Id="rId12" Type="http://schemas.openxmlformats.org/officeDocument/2006/relationships/image" Target="../media/image345.png"/><Relationship Id="rId2" Type="http://schemas.openxmlformats.org/officeDocument/2006/relationships/image" Target="../media/image335.png"/><Relationship Id="rId1" Type="http://schemas.openxmlformats.org/officeDocument/2006/relationships/slideLayout" Target="../slideLayouts/slideLayout71.xml"/><Relationship Id="rId6" Type="http://schemas.openxmlformats.org/officeDocument/2006/relationships/image" Target="../media/image339.png"/><Relationship Id="rId11" Type="http://schemas.openxmlformats.org/officeDocument/2006/relationships/image" Target="../media/image344.png"/><Relationship Id="rId5" Type="http://schemas.openxmlformats.org/officeDocument/2006/relationships/image" Target="../media/image338.png"/><Relationship Id="rId10" Type="http://schemas.openxmlformats.org/officeDocument/2006/relationships/image" Target="../media/image343.png"/><Relationship Id="rId4" Type="http://schemas.openxmlformats.org/officeDocument/2006/relationships/image" Target="../media/image337.png"/><Relationship Id="rId9" Type="http://schemas.openxmlformats.org/officeDocument/2006/relationships/image" Target="../media/image342.png"/><Relationship Id="rId14" Type="http://schemas.openxmlformats.org/officeDocument/2006/relationships/image" Target="../media/image347.png"/></Relationships>
</file>

<file path=ppt/slides/_rels/slide85.xml.rels><?xml version="1.0" encoding="UTF-8" standalone="yes"?>
<Relationships xmlns="http://schemas.openxmlformats.org/package/2006/relationships"><Relationship Id="rId8" Type="http://schemas.openxmlformats.org/officeDocument/2006/relationships/image" Target="../media/image354.png"/><Relationship Id="rId3" Type="http://schemas.openxmlformats.org/officeDocument/2006/relationships/image" Target="../media/image349.png"/><Relationship Id="rId7" Type="http://schemas.openxmlformats.org/officeDocument/2006/relationships/image" Target="../media/image353.png"/><Relationship Id="rId2" Type="http://schemas.openxmlformats.org/officeDocument/2006/relationships/image" Target="../media/image348.png"/><Relationship Id="rId1" Type="http://schemas.openxmlformats.org/officeDocument/2006/relationships/slideLayout" Target="../slideLayouts/slideLayout71.xml"/><Relationship Id="rId6" Type="http://schemas.openxmlformats.org/officeDocument/2006/relationships/image" Target="../media/image352.png"/><Relationship Id="rId5" Type="http://schemas.openxmlformats.org/officeDocument/2006/relationships/image" Target="../media/image351.png"/><Relationship Id="rId4" Type="http://schemas.openxmlformats.org/officeDocument/2006/relationships/image" Target="../media/image350.png"/></Relationships>
</file>

<file path=ppt/slides/_rels/slide86.xml.rels><?xml version="1.0" encoding="UTF-8" standalone="yes"?>
<Relationships xmlns="http://schemas.openxmlformats.org/package/2006/relationships"><Relationship Id="rId8" Type="http://schemas.openxmlformats.org/officeDocument/2006/relationships/image" Target="../media/image360.png"/><Relationship Id="rId13" Type="http://schemas.openxmlformats.org/officeDocument/2006/relationships/image" Target="../media/image365.jpeg"/><Relationship Id="rId18" Type="http://schemas.openxmlformats.org/officeDocument/2006/relationships/image" Target="../media/image370.png"/><Relationship Id="rId26" Type="http://schemas.openxmlformats.org/officeDocument/2006/relationships/image" Target="../media/image378.png"/><Relationship Id="rId3" Type="http://schemas.openxmlformats.org/officeDocument/2006/relationships/image" Target="../media/image355.png"/><Relationship Id="rId21" Type="http://schemas.openxmlformats.org/officeDocument/2006/relationships/image" Target="../media/image373.png"/><Relationship Id="rId7" Type="http://schemas.openxmlformats.org/officeDocument/2006/relationships/image" Target="../media/image359.png"/><Relationship Id="rId12" Type="http://schemas.openxmlformats.org/officeDocument/2006/relationships/image" Target="../media/image364.jpeg"/><Relationship Id="rId17" Type="http://schemas.openxmlformats.org/officeDocument/2006/relationships/image" Target="../media/image369.png"/><Relationship Id="rId25" Type="http://schemas.openxmlformats.org/officeDocument/2006/relationships/image" Target="../media/image377.png"/><Relationship Id="rId2" Type="http://schemas.openxmlformats.org/officeDocument/2006/relationships/notesSlide" Target="../notesSlides/notesSlide18.xml"/><Relationship Id="rId16" Type="http://schemas.openxmlformats.org/officeDocument/2006/relationships/image" Target="../media/image368.png"/><Relationship Id="rId20" Type="http://schemas.openxmlformats.org/officeDocument/2006/relationships/image" Target="../media/image372.png"/><Relationship Id="rId1" Type="http://schemas.openxmlformats.org/officeDocument/2006/relationships/slideLayout" Target="../slideLayouts/slideLayout71.xml"/><Relationship Id="rId6" Type="http://schemas.openxmlformats.org/officeDocument/2006/relationships/image" Target="../media/image358.png"/><Relationship Id="rId11" Type="http://schemas.openxmlformats.org/officeDocument/2006/relationships/image" Target="../media/image363.jpeg"/><Relationship Id="rId24" Type="http://schemas.openxmlformats.org/officeDocument/2006/relationships/image" Target="../media/image376.png"/><Relationship Id="rId5" Type="http://schemas.openxmlformats.org/officeDocument/2006/relationships/image" Target="../media/image357.png"/><Relationship Id="rId15" Type="http://schemas.openxmlformats.org/officeDocument/2006/relationships/image" Target="../media/image367.png"/><Relationship Id="rId23" Type="http://schemas.openxmlformats.org/officeDocument/2006/relationships/image" Target="../media/image375.png"/><Relationship Id="rId10" Type="http://schemas.openxmlformats.org/officeDocument/2006/relationships/image" Target="../media/image362.jpeg"/><Relationship Id="rId19" Type="http://schemas.openxmlformats.org/officeDocument/2006/relationships/image" Target="../media/image371.png"/><Relationship Id="rId4" Type="http://schemas.openxmlformats.org/officeDocument/2006/relationships/image" Target="../media/image356.jpeg"/><Relationship Id="rId9" Type="http://schemas.openxmlformats.org/officeDocument/2006/relationships/image" Target="../media/image361.jpeg"/><Relationship Id="rId14" Type="http://schemas.openxmlformats.org/officeDocument/2006/relationships/image" Target="../media/image366.jpeg"/><Relationship Id="rId22" Type="http://schemas.openxmlformats.org/officeDocument/2006/relationships/image" Target="../media/image374.png"/></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1.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1.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9.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3"/>
        <p:cNvGrpSpPr/>
        <p:nvPr/>
      </p:nvGrpSpPr>
      <p:grpSpPr>
        <a:xfrm>
          <a:off x="0" y="0"/>
          <a:ext cx="0" cy="0"/>
          <a:chOff x="0" y="0"/>
          <a:chExt cx="0" cy="0"/>
        </a:xfrm>
      </p:grpSpPr>
      <p:pic>
        <p:nvPicPr>
          <p:cNvPr id="54" name="Google Shape;54;p13"/>
          <p:cNvPicPr preferRelativeResize="0"/>
          <p:nvPr/>
        </p:nvPicPr>
        <p:blipFill rotWithShape="1">
          <a:blip r:embed="rId3">
            <a:alphaModFix/>
          </a:blip>
          <a:srcRect t="10360" b="-10360"/>
          <a:stretch/>
        </p:blipFill>
        <p:spPr>
          <a:xfrm>
            <a:off x="0" y="1"/>
            <a:ext cx="18288000" cy="10286974"/>
          </a:xfrm>
          <a:prstGeom prst="rect">
            <a:avLst/>
          </a:prstGeom>
          <a:noFill/>
          <a:ln>
            <a:noFill/>
          </a:ln>
        </p:spPr>
      </p:pic>
      <p:sp>
        <p:nvSpPr>
          <p:cNvPr id="55" name="Google Shape;55;p13"/>
          <p:cNvSpPr/>
          <p:nvPr/>
        </p:nvSpPr>
        <p:spPr>
          <a:xfrm>
            <a:off x="-18800" y="4674805"/>
            <a:ext cx="18306600" cy="5754600"/>
          </a:xfrm>
          <a:prstGeom prst="rect">
            <a:avLst/>
          </a:prstGeom>
          <a:solidFill>
            <a:srgbClr val="F5F5F5"/>
          </a:solidFill>
          <a:ln>
            <a:noFill/>
          </a:ln>
        </p:spPr>
        <p:txBody>
          <a:bodyPr spcFirstLastPara="1" wrap="square" lIns="182850" tIns="182850" rIns="182850" bIns="182850" anchor="ctr" anchorCtr="0">
            <a:noAutofit/>
          </a:bodyPr>
          <a:lstStyle/>
          <a:p>
            <a:pPr defTabSz="1828800">
              <a:spcAft>
                <a:spcPts val="400"/>
              </a:spcAft>
              <a:defRPr/>
            </a:pPr>
            <a:endParaRPr lang="en-US" sz="2800" noProof="0"/>
          </a:p>
        </p:txBody>
      </p:sp>
      <p:sp>
        <p:nvSpPr>
          <p:cNvPr id="56" name="Google Shape;56;p13"/>
          <p:cNvSpPr txBox="1"/>
          <p:nvPr/>
        </p:nvSpPr>
        <p:spPr>
          <a:xfrm>
            <a:off x="15214250" y="9414350"/>
            <a:ext cx="2659200" cy="504000"/>
          </a:xfrm>
          <a:prstGeom prst="rect">
            <a:avLst/>
          </a:prstGeom>
          <a:noFill/>
          <a:ln>
            <a:noFill/>
          </a:ln>
        </p:spPr>
        <p:txBody>
          <a:bodyPr spcFirstLastPara="1" wrap="square" lIns="182850" tIns="182850" rIns="182850" bIns="182850" anchor="t" anchorCtr="0">
            <a:noAutofit/>
          </a:bodyPr>
          <a:lstStyle/>
          <a:p>
            <a:pPr algn="r" defTabSz="1828800">
              <a:defRPr/>
            </a:pPr>
            <a:r>
              <a:rPr lang="en-US" sz="1200" b="1" noProof="0">
                <a:solidFill>
                  <a:srgbClr val="222222"/>
                </a:solidFill>
                <a:latin typeface="Montserrat"/>
                <a:ea typeface="Montserrat"/>
                <a:cs typeface="Montserrat"/>
                <a:sym typeface="Montserrat"/>
              </a:rPr>
              <a:t>Accelerate your essence</a:t>
            </a:r>
          </a:p>
        </p:txBody>
      </p:sp>
      <p:grpSp>
        <p:nvGrpSpPr>
          <p:cNvPr id="57" name="Google Shape;57;p13"/>
          <p:cNvGrpSpPr/>
          <p:nvPr/>
        </p:nvGrpSpPr>
        <p:grpSpPr>
          <a:xfrm>
            <a:off x="414739" y="9554408"/>
            <a:ext cx="1456894" cy="363904"/>
            <a:chOff x="2321100" y="2485250"/>
            <a:chExt cx="2976900" cy="743875"/>
          </a:xfrm>
        </p:grpSpPr>
        <p:sp>
          <p:nvSpPr>
            <p:cNvPr id="58" name="Google Shape;58;p13"/>
            <p:cNvSpPr/>
            <p:nvPr/>
          </p:nvSpPr>
          <p:spPr>
            <a:xfrm>
              <a:off x="2321100" y="2485250"/>
              <a:ext cx="641775" cy="743875"/>
            </a:xfrm>
            <a:custGeom>
              <a:avLst/>
              <a:gdLst/>
              <a:ahLst/>
              <a:cxnLst/>
              <a:rect l="l" t="t" r="r" b="b"/>
              <a:pathLst>
                <a:path w="25671" h="29755" extrusionOk="0">
                  <a:moveTo>
                    <a:pt x="13729" y="1"/>
                  </a:moveTo>
                  <a:cubicBezTo>
                    <a:pt x="13705" y="1"/>
                    <a:pt x="13669" y="13"/>
                    <a:pt x="13646" y="36"/>
                  </a:cubicBezTo>
                  <a:lnTo>
                    <a:pt x="13610" y="60"/>
                  </a:lnTo>
                  <a:cubicBezTo>
                    <a:pt x="13610" y="72"/>
                    <a:pt x="13598" y="84"/>
                    <a:pt x="13598" y="108"/>
                  </a:cubicBezTo>
                  <a:lnTo>
                    <a:pt x="13598" y="8026"/>
                  </a:lnTo>
                  <a:lnTo>
                    <a:pt x="13598" y="8037"/>
                  </a:lnTo>
                  <a:lnTo>
                    <a:pt x="13598" y="8049"/>
                  </a:lnTo>
                  <a:cubicBezTo>
                    <a:pt x="12839" y="7858"/>
                    <a:pt x="12053" y="7764"/>
                    <a:pt x="11265" y="7764"/>
                  </a:cubicBezTo>
                  <a:cubicBezTo>
                    <a:pt x="8578" y="7764"/>
                    <a:pt x="5857" y="8846"/>
                    <a:pt x="4025" y="10788"/>
                  </a:cubicBezTo>
                  <a:cubicBezTo>
                    <a:pt x="3942" y="10895"/>
                    <a:pt x="3847" y="10978"/>
                    <a:pt x="3763" y="11085"/>
                  </a:cubicBezTo>
                  <a:cubicBezTo>
                    <a:pt x="3228" y="11716"/>
                    <a:pt x="2751" y="12395"/>
                    <a:pt x="2382" y="13133"/>
                  </a:cubicBezTo>
                  <a:cubicBezTo>
                    <a:pt x="1" y="17753"/>
                    <a:pt x="1513" y="23373"/>
                    <a:pt x="5430" y="26623"/>
                  </a:cubicBezTo>
                  <a:cubicBezTo>
                    <a:pt x="6907" y="27849"/>
                    <a:pt x="8693" y="28766"/>
                    <a:pt x="10657" y="29278"/>
                  </a:cubicBezTo>
                  <a:cubicBezTo>
                    <a:pt x="11812" y="29588"/>
                    <a:pt x="13050" y="29754"/>
                    <a:pt x="14324" y="29754"/>
                  </a:cubicBezTo>
                  <a:cubicBezTo>
                    <a:pt x="15991" y="29754"/>
                    <a:pt x="17575" y="29469"/>
                    <a:pt x="19027" y="28945"/>
                  </a:cubicBezTo>
                  <a:cubicBezTo>
                    <a:pt x="20313" y="28504"/>
                    <a:pt x="21504" y="27873"/>
                    <a:pt x="22563" y="27123"/>
                  </a:cubicBezTo>
                  <a:cubicBezTo>
                    <a:pt x="22575" y="27099"/>
                    <a:pt x="22587" y="27099"/>
                    <a:pt x="22587" y="27087"/>
                  </a:cubicBezTo>
                  <a:cubicBezTo>
                    <a:pt x="22599" y="27076"/>
                    <a:pt x="22623" y="27028"/>
                    <a:pt x="22623" y="27004"/>
                  </a:cubicBezTo>
                  <a:cubicBezTo>
                    <a:pt x="22623" y="26968"/>
                    <a:pt x="22599" y="26945"/>
                    <a:pt x="22587" y="26921"/>
                  </a:cubicBezTo>
                  <a:lnTo>
                    <a:pt x="18670" y="23016"/>
                  </a:lnTo>
                  <a:lnTo>
                    <a:pt x="17027" y="21361"/>
                  </a:lnTo>
                  <a:lnTo>
                    <a:pt x="16836" y="21182"/>
                  </a:lnTo>
                  <a:cubicBezTo>
                    <a:pt x="16824" y="21158"/>
                    <a:pt x="16801" y="21146"/>
                    <a:pt x="16777" y="21146"/>
                  </a:cubicBezTo>
                  <a:lnTo>
                    <a:pt x="16765" y="21146"/>
                  </a:lnTo>
                  <a:cubicBezTo>
                    <a:pt x="16753" y="21146"/>
                    <a:pt x="16729" y="21146"/>
                    <a:pt x="16705" y="21158"/>
                  </a:cubicBezTo>
                  <a:cubicBezTo>
                    <a:pt x="16694" y="21158"/>
                    <a:pt x="16694" y="21182"/>
                    <a:pt x="16682" y="21182"/>
                  </a:cubicBezTo>
                  <a:cubicBezTo>
                    <a:pt x="15515" y="22015"/>
                    <a:pt x="14086" y="22492"/>
                    <a:pt x="12550" y="22492"/>
                  </a:cubicBezTo>
                  <a:cubicBezTo>
                    <a:pt x="8645" y="22492"/>
                    <a:pt x="5454" y="19313"/>
                    <a:pt x="5454" y="15384"/>
                  </a:cubicBezTo>
                  <a:cubicBezTo>
                    <a:pt x="5454" y="11478"/>
                    <a:pt x="8621" y="8288"/>
                    <a:pt x="12550" y="8288"/>
                  </a:cubicBezTo>
                  <a:cubicBezTo>
                    <a:pt x="13360" y="8288"/>
                    <a:pt x="14134" y="8418"/>
                    <a:pt x="14860" y="8680"/>
                  </a:cubicBezTo>
                  <a:cubicBezTo>
                    <a:pt x="14872" y="8680"/>
                    <a:pt x="14896" y="8692"/>
                    <a:pt x="14908" y="8692"/>
                  </a:cubicBezTo>
                  <a:lnTo>
                    <a:pt x="14931" y="8692"/>
                  </a:lnTo>
                  <a:cubicBezTo>
                    <a:pt x="15908" y="9038"/>
                    <a:pt x="16813" y="9585"/>
                    <a:pt x="17586" y="10359"/>
                  </a:cubicBezTo>
                  <a:cubicBezTo>
                    <a:pt x="18706" y="11478"/>
                    <a:pt x="19372" y="12859"/>
                    <a:pt x="19575" y="14300"/>
                  </a:cubicBezTo>
                  <a:cubicBezTo>
                    <a:pt x="19599" y="14360"/>
                    <a:pt x="19599" y="14419"/>
                    <a:pt x="19611" y="14479"/>
                  </a:cubicBezTo>
                  <a:cubicBezTo>
                    <a:pt x="19622" y="14538"/>
                    <a:pt x="19622" y="14598"/>
                    <a:pt x="19622" y="14657"/>
                  </a:cubicBezTo>
                  <a:lnTo>
                    <a:pt x="19622" y="14693"/>
                  </a:lnTo>
                  <a:cubicBezTo>
                    <a:pt x="19622" y="14741"/>
                    <a:pt x="19634" y="14800"/>
                    <a:pt x="19634" y="14836"/>
                  </a:cubicBezTo>
                  <a:cubicBezTo>
                    <a:pt x="19634" y="14884"/>
                    <a:pt x="19658" y="14931"/>
                    <a:pt x="19658" y="14991"/>
                  </a:cubicBezTo>
                  <a:cubicBezTo>
                    <a:pt x="19670" y="15122"/>
                    <a:pt x="19670" y="15253"/>
                    <a:pt x="19670" y="15396"/>
                  </a:cubicBezTo>
                  <a:lnTo>
                    <a:pt x="19670" y="15538"/>
                  </a:lnTo>
                  <a:lnTo>
                    <a:pt x="19670" y="15598"/>
                  </a:lnTo>
                  <a:lnTo>
                    <a:pt x="19670" y="15657"/>
                  </a:lnTo>
                  <a:cubicBezTo>
                    <a:pt x="19622" y="16896"/>
                    <a:pt x="19253" y="18110"/>
                    <a:pt x="18563" y="19206"/>
                  </a:cubicBezTo>
                  <a:cubicBezTo>
                    <a:pt x="18551" y="19217"/>
                    <a:pt x="18551" y="19229"/>
                    <a:pt x="18539" y="19241"/>
                  </a:cubicBezTo>
                  <a:lnTo>
                    <a:pt x="18539" y="19253"/>
                  </a:lnTo>
                  <a:lnTo>
                    <a:pt x="18539" y="19289"/>
                  </a:lnTo>
                  <a:cubicBezTo>
                    <a:pt x="18539" y="19301"/>
                    <a:pt x="18539" y="19336"/>
                    <a:pt x="18551" y="19348"/>
                  </a:cubicBezTo>
                  <a:cubicBezTo>
                    <a:pt x="18551" y="19348"/>
                    <a:pt x="18551" y="19360"/>
                    <a:pt x="18563" y="19360"/>
                  </a:cubicBezTo>
                  <a:lnTo>
                    <a:pt x="18599" y="19396"/>
                  </a:lnTo>
                  <a:lnTo>
                    <a:pt x="20420" y="21206"/>
                  </a:lnTo>
                  <a:lnTo>
                    <a:pt x="21456" y="22254"/>
                  </a:lnTo>
                  <a:lnTo>
                    <a:pt x="21492" y="22277"/>
                  </a:lnTo>
                  <a:cubicBezTo>
                    <a:pt x="21492" y="22277"/>
                    <a:pt x="21504" y="22277"/>
                    <a:pt x="21504" y="22301"/>
                  </a:cubicBezTo>
                  <a:cubicBezTo>
                    <a:pt x="21516" y="22313"/>
                    <a:pt x="21527" y="22313"/>
                    <a:pt x="21563" y="22313"/>
                  </a:cubicBezTo>
                  <a:cubicBezTo>
                    <a:pt x="21575" y="22313"/>
                    <a:pt x="21611" y="22313"/>
                    <a:pt x="21623" y="22301"/>
                  </a:cubicBezTo>
                  <a:cubicBezTo>
                    <a:pt x="21635" y="22277"/>
                    <a:pt x="21647" y="22265"/>
                    <a:pt x="21670" y="22265"/>
                  </a:cubicBezTo>
                  <a:cubicBezTo>
                    <a:pt x="22158" y="21849"/>
                    <a:pt x="22623" y="21384"/>
                    <a:pt x="23016" y="20896"/>
                  </a:cubicBezTo>
                  <a:cubicBezTo>
                    <a:pt x="24730" y="18813"/>
                    <a:pt x="25671" y="16110"/>
                    <a:pt x="25611" y="13336"/>
                  </a:cubicBezTo>
                  <a:lnTo>
                    <a:pt x="25611" y="13098"/>
                  </a:lnTo>
                  <a:cubicBezTo>
                    <a:pt x="25611" y="12336"/>
                    <a:pt x="25552" y="11586"/>
                    <a:pt x="25421" y="10871"/>
                  </a:cubicBezTo>
                  <a:cubicBezTo>
                    <a:pt x="24956" y="8323"/>
                    <a:pt x="23790" y="6049"/>
                    <a:pt x="22123" y="4227"/>
                  </a:cubicBezTo>
                  <a:cubicBezTo>
                    <a:pt x="20253" y="2203"/>
                    <a:pt x="17741" y="763"/>
                    <a:pt x="14908" y="239"/>
                  </a:cubicBezTo>
                  <a:cubicBezTo>
                    <a:pt x="14538" y="156"/>
                    <a:pt x="14146" y="60"/>
                    <a:pt x="13776" y="1"/>
                  </a:cubicBezTo>
                  <a:close/>
                </a:path>
              </a:pathLst>
            </a:custGeom>
            <a:solidFill>
              <a:srgbClr val="222222"/>
            </a:solidFill>
            <a:ln>
              <a:noFill/>
            </a:ln>
          </p:spPr>
          <p:txBody>
            <a:bodyPr spcFirstLastPara="1" wrap="square" lIns="182850" tIns="182850" rIns="182850" bIns="182850" anchor="ctr" anchorCtr="0">
              <a:noAutofit/>
            </a:bodyPr>
            <a:lstStyle/>
            <a:p>
              <a:pPr defTabSz="1828800">
                <a:defRPr/>
              </a:pPr>
              <a:endParaRPr lang="en-US" sz="2800" noProof="0"/>
            </a:p>
          </p:txBody>
        </p:sp>
        <p:sp>
          <p:nvSpPr>
            <p:cNvPr id="59" name="Google Shape;59;p13"/>
            <p:cNvSpPr/>
            <p:nvPr/>
          </p:nvSpPr>
          <p:spPr>
            <a:xfrm>
              <a:off x="3183725" y="2718925"/>
              <a:ext cx="385175" cy="327725"/>
            </a:xfrm>
            <a:custGeom>
              <a:avLst/>
              <a:gdLst/>
              <a:ahLst/>
              <a:cxnLst/>
              <a:rect l="l" t="t" r="r" b="b"/>
              <a:pathLst>
                <a:path w="15407" h="13109" extrusionOk="0">
                  <a:moveTo>
                    <a:pt x="7716" y="1965"/>
                  </a:moveTo>
                  <a:cubicBezTo>
                    <a:pt x="11478" y="1965"/>
                    <a:pt x="13252" y="3632"/>
                    <a:pt x="13252" y="5989"/>
                  </a:cubicBezTo>
                  <a:cubicBezTo>
                    <a:pt x="13252" y="7132"/>
                    <a:pt x="12823" y="8108"/>
                    <a:pt x="11942" y="8823"/>
                  </a:cubicBezTo>
                  <a:lnTo>
                    <a:pt x="9871" y="6775"/>
                  </a:lnTo>
                  <a:lnTo>
                    <a:pt x="8489" y="8156"/>
                  </a:lnTo>
                  <a:lnTo>
                    <a:pt x="10049" y="9716"/>
                  </a:lnTo>
                  <a:cubicBezTo>
                    <a:pt x="9382" y="9894"/>
                    <a:pt x="8608" y="9989"/>
                    <a:pt x="7716" y="9989"/>
                  </a:cubicBezTo>
                  <a:cubicBezTo>
                    <a:pt x="3953" y="9989"/>
                    <a:pt x="2143" y="8323"/>
                    <a:pt x="2143" y="5989"/>
                  </a:cubicBezTo>
                  <a:cubicBezTo>
                    <a:pt x="2143" y="3632"/>
                    <a:pt x="3929" y="1965"/>
                    <a:pt x="7716" y="1965"/>
                  </a:cubicBezTo>
                  <a:close/>
                  <a:moveTo>
                    <a:pt x="7716" y="0"/>
                  </a:moveTo>
                  <a:cubicBezTo>
                    <a:pt x="2655" y="0"/>
                    <a:pt x="0" y="2572"/>
                    <a:pt x="0" y="5989"/>
                  </a:cubicBezTo>
                  <a:lnTo>
                    <a:pt x="0" y="6144"/>
                  </a:lnTo>
                  <a:cubicBezTo>
                    <a:pt x="0" y="6299"/>
                    <a:pt x="24" y="6441"/>
                    <a:pt x="36" y="6596"/>
                  </a:cubicBezTo>
                  <a:lnTo>
                    <a:pt x="36" y="6620"/>
                  </a:lnTo>
                  <a:cubicBezTo>
                    <a:pt x="322" y="9466"/>
                    <a:pt x="2536" y="11609"/>
                    <a:pt x="6573" y="11942"/>
                  </a:cubicBezTo>
                  <a:cubicBezTo>
                    <a:pt x="6632" y="11942"/>
                    <a:pt x="6692" y="11954"/>
                    <a:pt x="6751" y="11954"/>
                  </a:cubicBezTo>
                  <a:lnTo>
                    <a:pt x="6846" y="11954"/>
                  </a:lnTo>
                  <a:cubicBezTo>
                    <a:pt x="7132" y="11966"/>
                    <a:pt x="7418" y="11978"/>
                    <a:pt x="7704" y="11978"/>
                  </a:cubicBezTo>
                  <a:cubicBezTo>
                    <a:pt x="7977" y="11978"/>
                    <a:pt x="8275" y="11966"/>
                    <a:pt x="8549" y="11954"/>
                  </a:cubicBezTo>
                  <a:lnTo>
                    <a:pt x="8656" y="11954"/>
                  </a:lnTo>
                  <a:cubicBezTo>
                    <a:pt x="8716" y="11954"/>
                    <a:pt x="8775" y="11942"/>
                    <a:pt x="8835" y="11942"/>
                  </a:cubicBezTo>
                  <a:cubicBezTo>
                    <a:pt x="9882" y="11847"/>
                    <a:pt x="10811" y="11644"/>
                    <a:pt x="11609" y="11323"/>
                  </a:cubicBezTo>
                  <a:lnTo>
                    <a:pt x="13395" y="13109"/>
                  </a:lnTo>
                  <a:lnTo>
                    <a:pt x="14788" y="11728"/>
                  </a:lnTo>
                  <a:lnTo>
                    <a:pt x="13371" y="10311"/>
                  </a:lnTo>
                  <a:cubicBezTo>
                    <a:pt x="14526" y="9382"/>
                    <a:pt x="15205" y="8096"/>
                    <a:pt x="15347" y="6620"/>
                  </a:cubicBezTo>
                  <a:cubicBezTo>
                    <a:pt x="15347" y="6560"/>
                    <a:pt x="15359" y="6501"/>
                    <a:pt x="15359" y="6441"/>
                  </a:cubicBezTo>
                  <a:cubicBezTo>
                    <a:pt x="15359" y="6346"/>
                    <a:pt x="15383" y="6251"/>
                    <a:pt x="15383" y="6144"/>
                  </a:cubicBezTo>
                  <a:lnTo>
                    <a:pt x="15383" y="5989"/>
                  </a:lnTo>
                  <a:cubicBezTo>
                    <a:pt x="15407" y="2572"/>
                    <a:pt x="12776" y="0"/>
                    <a:pt x="7716" y="0"/>
                  </a:cubicBezTo>
                  <a:close/>
                </a:path>
              </a:pathLst>
            </a:custGeom>
            <a:solidFill>
              <a:srgbClr val="222222"/>
            </a:solidFill>
            <a:ln>
              <a:noFill/>
            </a:ln>
          </p:spPr>
          <p:txBody>
            <a:bodyPr spcFirstLastPara="1" wrap="square" lIns="182850" tIns="182850" rIns="182850" bIns="182850" anchor="ctr" anchorCtr="0">
              <a:noAutofit/>
            </a:bodyPr>
            <a:lstStyle/>
            <a:p>
              <a:pPr defTabSz="1828800">
                <a:defRPr/>
              </a:pPr>
              <a:endParaRPr lang="en-US" sz="2800" noProof="0"/>
            </a:p>
          </p:txBody>
        </p:sp>
        <p:sp>
          <p:nvSpPr>
            <p:cNvPr id="60" name="Google Shape;60;p13"/>
            <p:cNvSpPr/>
            <p:nvPr/>
          </p:nvSpPr>
          <p:spPr>
            <a:xfrm>
              <a:off x="3613525" y="2721900"/>
              <a:ext cx="53025" cy="49125"/>
            </a:xfrm>
            <a:custGeom>
              <a:avLst/>
              <a:gdLst/>
              <a:ahLst/>
              <a:cxnLst/>
              <a:rect l="l" t="t" r="r" b="b"/>
              <a:pathLst>
                <a:path w="2121" h="1965" extrusionOk="0">
                  <a:moveTo>
                    <a:pt x="1" y="0"/>
                  </a:moveTo>
                  <a:lnTo>
                    <a:pt x="1" y="1965"/>
                  </a:lnTo>
                  <a:lnTo>
                    <a:pt x="2120" y="1965"/>
                  </a:lnTo>
                  <a:lnTo>
                    <a:pt x="2120" y="0"/>
                  </a:lnTo>
                  <a:close/>
                </a:path>
              </a:pathLst>
            </a:custGeom>
            <a:solidFill>
              <a:srgbClr val="222222"/>
            </a:solidFill>
            <a:ln>
              <a:noFill/>
            </a:ln>
          </p:spPr>
          <p:txBody>
            <a:bodyPr spcFirstLastPara="1" wrap="square" lIns="182850" tIns="182850" rIns="182850" bIns="182850" anchor="ctr" anchorCtr="0">
              <a:noAutofit/>
            </a:bodyPr>
            <a:lstStyle/>
            <a:p>
              <a:pPr defTabSz="1828800">
                <a:defRPr/>
              </a:pPr>
              <a:endParaRPr lang="en-US" sz="2800" noProof="0"/>
            </a:p>
          </p:txBody>
        </p:sp>
        <p:sp>
          <p:nvSpPr>
            <p:cNvPr id="61" name="Google Shape;61;p13"/>
            <p:cNvSpPr/>
            <p:nvPr/>
          </p:nvSpPr>
          <p:spPr>
            <a:xfrm>
              <a:off x="3613525" y="2798975"/>
              <a:ext cx="53025" cy="213150"/>
            </a:xfrm>
            <a:custGeom>
              <a:avLst/>
              <a:gdLst/>
              <a:ahLst/>
              <a:cxnLst/>
              <a:rect l="l" t="t" r="r" b="b"/>
              <a:pathLst>
                <a:path w="2121" h="8526" extrusionOk="0">
                  <a:moveTo>
                    <a:pt x="1" y="1"/>
                  </a:moveTo>
                  <a:lnTo>
                    <a:pt x="1" y="8526"/>
                  </a:lnTo>
                  <a:lnTo>
                    <a:pt x="2120" y="8526"/>
                  </a:lnTo>
                  <a:lnTo>
                    <a:pt x="2120" y="1"/>
                  </a:lnTo>
                  <a:close/>
                </a:path>
              </a:pathLst>
            </a:custGeom>
            <a:solidFill>
              <a:srgbClr val="222222"/>
            </a:solidFill>
            <a:ln>
              <a:noFill/>
            </a:ln>
          </p:spPr>
          <p:txBody>
            <a:bodyPr spcFirstLastPara="1" wrap="square" lIns="182850" tIns="182850" rIns="182850" bIns="182850" anchor="ctr" anchorCtr="0">
              <a:noAutofit/>
            </a:bodyPr>
            <a:lstStyle/>
            <a:p>
              <a:pPr defTabSz="1828800">
                <a:defRPr/>
              </a:pPr>
              <a:endParaRPr lang="en-US" sz="2800" noProof="0"/>
            </a:p>
          </p:txBody>
        </p:sp>
        <p:sp>
          <p:nvSpPr>
            <p:cNvPr id="62" name="Google Shape;62;p13"/>
            <p:cNvSpPr/>
            <p:nvPr/>
          </p:nvSpPr>
          <p:spPr>
            <a:xfrm>
              <a:off x="3725750" y="2790650"/>
              <a:ext cx="288450" cy="221475"/>
            </a:xfrm>
            <a:custGeom>
              <a:avLst/>
              <a:gdLst/>
              <a:ahLst/>
              <a:cxnLst/>
              <a:rect l="l" t="t" r="r" b="b"/>
              <a:pathLst>
                <a:path w="11538" h="8859" extrusionOk="0">
                  <a:moveTo>
                    <a:pt x="6239" y="1"/>
                  </a:moveTo>
                  <a:cubicBezTo>
                    <a:pt x="4608" y="1"/>
                    <a:pt x="3322" y="382"/>
                    <a:pt x="2120" y="882"/>
                  </a:cubicBezTo>
                  <a:lnTo>
                    <a:pt x="2108" y="870"/>
                  </a:lnTo>
                  <a:lnTo>
                    <a:pt x="2048" y="334"/>
                  </a:lnTo>
                  <a:lnTo>
                    <a:pt x="1" y="334"/>
                  </a:lnTo>
                  <a:lnTo>
                    <a:pt x="1" y="8859"/>
                  </a:lnTo>
                  <a:lnTo>
                    <a:pt x="2120" y="8859"/>
                  </a:lnTo>
                  <a:lnTo>
                    <a:pt x="2120" y="2596"/>
                  </a:lnTo>
                  <a:cubicBezTo>
                    <a:pt x="3370" y="2275"/>
                    <a:pt x="4644" y="1965"/>
                    <a:pt x="6037" y="1965"/>
                  </a:cubicBezTo>
                  <a:cubicBezTo>
                    <a:pt x="8668" y="1965"/>
                    <a:pt x="9406" y="3049"/>
                    <a:pt x="9406" y="4513"/>
                  </a:cubicBezTo>
                  <a:lnTo>
                    <a:pt x="9406" y="8859"/>
                  </a:lnTo>
                  <a:lnTo>
                    <a:pt x="11526" y="8859"/>
                  </a:lnTo>
                  <a:lnTo>
                    <a:pt x="11526" y="4501"/>
                  </a:lnTo>
                  <a:cubicBezTo>
                    <a:pt x="11538" y="1929"/>
                    <a:pt x="10038" y="1"/>
                    <a:pt x="6239" y="1"/>
                  </a:cubicBezTo>
                  <a:close/>
                </a:path>
              </a:pathLst>
            </a:custGeom>
            <a:solidFill>
              <a:srgbClr val="222222"/>
            </a:solidFill>
            <a:ln>
              <a:noFill/>
            </a:ln>
          </p:spPr>
          <p:txBody>
            <a:bodyPr spcFirstLastPara="1" wrap="square" lIns="182850" tIns="182850" rIns="182850" bIns="182850" anchor="ctr" anchorCtr="0">
              <a:noAutofit/>
            </a:bodyPr>
            <a:lstStyle/>
            <a:p>
              <a:pPr defTabSz="1828800">
                <a:defRPr/>
              </a:pPr>
              <a:endParaRPr lang="en-US" sz="2800" noProof="0"/>
            </a:p>
          </p:txBody>
        </p:sp>
        <p:sp>
          <p:nvSpPr>
            <p:cNvPr id="63" name="Google Shape;63;p13"/>
            <p:cNvSpPr/>
            <p:nvPr/>
          </p:nvSpPr>
          <p:spPr>
            <a:xfrm>
              <a:off x="4073700" y="2737675"/>
              <a:ext cx="117300" cy="280400"/>
            </a:xfrm>
            <a:custGeom>
              <a:avLst/>
              <a:gdLst/>
              <a:ahLst/>
              <a:cxnLst/>
              <a:rect l="l" t="t" r="r" b="b"/>
              <a:pathLst>
                <a:path w="4692" h="11216" extrusionOk="0">
                  <a:moveTo>
                    <a:pt x="2120" y="0"/>
                  </a:moveTo>
                  <a:lnTo>
                    <a:pt x="1" y="203"/>
                  </a:lnTo>
                  <a:lnTo>
                    <a:pt x="1" y="2358"/>
                  </a:lnTo>
                  <a:lnTo>
                    <a:pt x="1" y="4120"/>
                  </a:lnTo>
                  <a:lnTo>
                    <a:pt x="1" y="8180"/>
                  </a:lnTo>
                  <a:cubicBezTo>
                    <a:pt x="1" y="10442"/>
                    <a:pt x="989" y="11216"/>
                    <a:pt x="2716" y="11216"/>
                  </a:cubicBezTo>
                  <a:cubicBezTo>
                    <a:pt x="3311" y="11216"/>
                    <a:pt x="3966" y="11109"/>
                    <a:pt x="4692" y="10966"/>
                  </a:cubicBezTo>
                  <a:lnTo>
                    <a:pt x="4692" y="9335"/>
                  </a:lnTo>
                  <a:cubicBezTo>
                    <a:pt x="4144" y="9382"/>
                    <a:pt x="3680" y="9442"/>
                    <a:pt x="3311" y="9442"/>
                  </a:cubicBezTo>
                  <a:cubicBezTo>
                    <a:pt x="2454" y="9442"/>
                    <a:pt x="2120" y="9132"/>
                    <a:pt x="2120" y="8180"/>
                  </a:cubicBezTo>
                  <a:lnTo>
                    <a:pt x="2120" y="4120"/>
                  </a:lnTo>
                  <a:lnTo>
                    <a:pt x="4692" y="4120"/>
                  </a:lnTo>
                  <a:lnTo>
                    <a:pt x="4692" y="2358"/>
                  </a:lnTo>
                  <a:lnTo>
                    <a:pt x="2120" y="2358"/>
                  </a:lnTo>
                  <a:lnTo>
                    <a:pt x="2120" y="0"/>
                  </a:lnTo>
                  <a:close/>
                </a:path>
              </a:pathLst>
            </a:custGeom>
            <a:solidFill>
              <a:srgbClr val="222222"/>
            </a:solidFill>
            <a:ln>
              <a:noFill/>
            </a:ln>
          </p:spPr>
          <p:txBody>
            <a:bodyPr spcFirstLastPara="1" wrap="square" lIns="182850" tIns="182850" rIns="182850" bIns="182850" anchor="ctr" anchorCtr="0">
              <a:noAutofit/>
            </a:bodyPr>
            <a:lstStyle/>
            <a:p>
              <a:pPr defTabSz="1828800">
                <a:defRPr/>
              </a:pPr>
              <a:endParaRPr lang="en-US" sz="2800" noProof="0"/>
            </a:p>
          </p:txBody>
        </p:sp>
        <p:sp>
          <p:nvSpPr>
            <p:cNvPr id="64" name="Google Shape;64;p13"/>
            <p:cNvSpPr/>
            <p:nvPr/>
          </p:nvSpPr>
          <p:spPr>
            <a:xfrm>
              <a:off x="4235625" y="2790650"/>
              <a:ext cx="311375" cy="227725"/>
            </a:xfrm>
            <a:custGeom>
              <a:avLst/>
              <a:gdLst/>
              <a:ahLst/>
              <a:cxnLst/>
              <a:rect l="l" t="t" r="r" b="b"/>
              <a:pathLst>
                <a:path w="12455" h="9109" extrusionOk="0">
                  <a:moveTo>
                    <a:pt x="5883" y="1929"/>
                  </a:moveTo>
                  <a:cubicBezTo>
                    <a:pt x="8097" y="1929"/>
                    <a:pt x="9514" y="2572"/>
                    <a:pt x="9228" y="3870"/>
                  </a:cubicBezTo>
                  <a:lnTo>
                    <a:pt x="2239" y="3870"/>
                  </a:lnTo>
                  <a:cubicBezTo>
                    <a:pt x="2513" y="2727"/>
                    <a:pt x="3501" y="1929"/>
                    <a:pt x="5883" y="1929"/>
                  </a:cubicBezTo>
                  <a:close/>
                  <a:moveTo>
                    <a:pt x="5764" y="1"/>
                  </a:moveTo>
                  <a:cubicBezTo>
                    <a:pt x="1882" y="1"/>
                    <a:pt x="1" y="2084"/>
                    <a:pt x="1" y="4620"/>
                  </a:cubicBezTo>
                  <a:cubicBezTo>
                    <a:pt x="1" y="7525"/>
                    <a:pt x="2144" y="9109"/>
                    <a:pt x="6490" y="9109"/>
                  </a:cubicBezTo>
                  <a:cubicBezTo>
                    <a:pt x="8871" y="9109"/>
                    <a:pt x="10883" y="8633"/>
                    <a:pt x="11455" y="8430"/>
                  </a:cubicBezTo>
                  <a:lnTo>
                    <a:pt x="11074" y="6585"/>
                  </a:lnTo>
                  <a:cubicBezTo>
                    <a:pt x="10598" y="6728"/>
                    <a:pt x="8609" y="7168"/>
                    <a:pt x="6430" y="7168"/>
                  </a:cubicBezTo>
                  <a:cubicBezTo>
                    <a:pt x="3882" y="7168"/>
                    <a:pt x="2620" y="6585"/>
                    <a:pt x="2275" y="5406"/>
                  </a:cubicBezTo>
                  <a:lnTo>
                    <a:pt x="11324" y="5406"/>
                  </a:lnTo>
                  <a:cubicBezTo>
                    <a:pt x="12455" y="1810"/>
                    <a:pt x="9502" y="1"/>
                    <a:pt x="5764" y="1"/>
                  </a:cubicBezTo>
                  <a:close/>
                </a:path>
              </a:pathLst>
            </a:custGeom>
            <a:solidFill>
              <a:srgbClr val="222222"/>
            </a:solidFill>
            <a:ln>
              <a:noFill/>
            </a:ln>
          </p:spPr>
          <p:txBody>
            <a:bodyPr spcFirstLastPara="1" wrap="square" lIns="182850" tIns="182850" rIns="182850" bIns="182850" anchor="ctr" anchorCtr="0">
              <a:noAutofit/>
            </a:bodyPr>
            <a:lstStyle/>
            <a:p>
              <a:pPr defTabSz="1828800">
                <a:defRPr/>
              </a:pPr>
              <a:endParaRPr lang="en-US" sz="2800" noProof="0"/>
            </a:p>
          </p:txBody>
        </p:sp>
        <p:sp>
          <p:nvSpPr>
            <p:cNvPr id="65" name="Google Shape;65;p13"/>
            <p:cNvSpPr/>
            <p:nvPr/>
          </p:nvSpPr>
          <p:spPr>
            <a:xfrm>
              <a:off x="4564850" y="2790650"/>
              <a:ext cx="294100" cy="227425"/>
            </a:xfrm>
            <a:custGeom>
              <a:avLst/>
              <a:gdLst/>
              <a:ahLst/>
              <a:cxnLst/>
              <a:rect l="l" t="t" r="r" b="b"/>
              <a:pathLst>
                <a:path w="11764" h="9097" extrusionOk="0">
                  <a:moveTo>
                    <a:pt x="5763" y="1"/>
                  </a:moveTo>
                  <a:cubicBezTo>
                    <a:pt x="3810" y="1"/>
                    <a:pt x="238" y="155"/>
                    <a:pt x="238" y="2822"/>
                  </a:cubicBezTo>
                  <a:cubicBezTo>
                    <a:pt x="238" y="5180"/>
                    <a:pt x="3334" y="5394"/>
                    <a:pt x="5941" y="5442"/>
                  </a:cubicBezTo>
                  <a:cubicBezTo>
                    <a:pt x="7894" y="5466"/>
                    <a:pt x="9621" y="5442"/>
                    <a:pt x="9621" y="6180"/>
                  </a:cubicBezTo>
                  <a:cubicBezTo>
                    <a:pt x="9621" y="7085"/>
                    <a:pt x="6799" y="7132"/>
                    <a:pt x="5799" y="7132"/>
                  </a:cubicBezTo>
                  <a:cubicBezTo>
                    <a:pt x="4084" y="7132"/>
                    <a:pt x="2727" y="6954"/>
                    <a:pt x="441" y="6454"/>
                  </a:cubicBezTo>
                  <a:lnTo>
                    <a:pt x="0" y="8383"/>
                  </a:lnTo>
                  <a:cubicBezTo>
                    <a:pt x="2143" y="8918"/>
                    <a:pt x="3608" y="9097"/>
                    <a:pt x="5537" y="9097"/>
                  </a:cubicBezTo>
                  <a:cubicBezTo>
                    <a:pt x="7263" y="9097"/>
                    <a:pt x="11764" y="8954"/>
                    <a:pt x="11764" y="6168"/>
                  </a:cubicBezTo>
                  <a:cubicBezTo>
                    <a:pt x="11764" y="3751"/>
                    <a:pt x="8537" y="3668"/>
                    <a:pt x="5882" y="3620"/>
                  </a:cubicBezTo>
                  <a:cubicBezTo>
                    <a:pt x="4036" y="3608"/>
                    <a:pt x="2405" y="3608"/>
                    <a:pt x="2405" y="2834"/>
                  </a:cubicBezTo>
                  <a:cubicBezTo>
                    <a:pt x="2405" y="2084"/>
                    <a:pt x="3751" y="1965"/>
                    <a:pt x="5394" y="1965"/>
                  </a:cubicBezTo>
                  <a:cubicBezTo>
                    <a:pt x="7287" y="1965"/>
                    <a:pt x="8620" y="2084"/>
                    <a:pt x="10692" y="2441"/>
                  </a:cubicBezTo>
                  <a:lnTo>
                    <a:pt x="11014" y="501"/>
                  </a:lnTo>
                  <a:cubicBezTo>
                    <a:pt x="9109" y="167"/>
                    <a:pt x="7358" y="1"/>
                    <a:pt x="5763" y="1"/>
                  </a:cubicBezTo>
                  <a:close/>
                </a:path>
              </a:pathLst>
            </a:custGeom>
            <a:solidFill>
              <a:srgbClr val="222222"/>
            </a:solidFill>
            <a:ln>
              <a:noFill/>
            </a:ln>
          </p:spPr>
          <p:txBody>
            <a:bodyPr spcFirstLastPara="1" wrap="square" lIns="182850" tIns="182850" rIns="182850" bIns="182850" anchor="ctr" anchorCtr="0">
              <a:noAutofit/>
            </a:bodyPr>
            <a:lstStyle/>
            <a:p>
              <a:pPr defTabSz="1828800">
                <a:defRPr/>
              </a:pPr>
              <a:endParaRPr lang="en-US" sz="2800" noProof="0"/>
            </a:p>
          </p:txBody>
        </p:sp>
        <p:sp>
          <p:nvSpPr>
            <p:cNvPr id="66" name="Google Shape;66;p13"/>
            <p:cNvSpPr/>
            <p:nvPr/>
          </p:nvSpPr>
          <p:spPr>
            <a:xfrm>
              <a:off x="4895250" y="2790650"/>
              <a:ext cx="294100" cy="227425"/>
            </a:xfrm>
            <a:custGeom>
              <a:avLst/>
              <a:gdLst/>
              <a:ahLst/>
              <a:cxnLst/>
              <a:rect l="l" t="t" r="r" b="b"/>
              <a:pathLst>
                <a:path w="11764" h="9097" extrusionOk="0">
                  <a:moveTo>
                    <a:pt x="5763" y="1"/>
                  </a:moveTo>
                  <a:cubicBezTo>
                    <a:pt x="3810" y="1"/>
                    <a:pt x="238" y="155"/>
                    <a:pt x="238" y="2822"/>
                  </a:cubicBezTo>
                  <a:cubicBezTo>
                    <a:pt x="238" y="5180"/>
                    <a:pt x="3334" y="5394"/>
                    <a:pt x="5941" y="5442"/>
                  </a:cubicBezTo>
                  <a:cubicBezTo>
                    <a:pt x="7894" y="5466"/>
                    <a:pt x="9620" y="5442"/>
                    <a:pt x="9620" y="6180"/>
                  </a:cubicBezTo>
                  <a:cubicBezTo>
                    <a:pt x="9620" y="7085"/>
                    <a:pt x="6799" y="7132"/>
                    <a:pt x="5787" y="7132"/>
                  </a:cubicBezTo>
                  <a:cubicBezTo>
                    <a:pt x="4084" y="7132"/>
                    <a:pt x="2727" y="6954"/>
                    <a:pt x="429" y="6454"/>
                  </a:cubicBezTo>
                  <a:lnTo>
                    <a:pt x="0" y="8383"/>
                  </a:lnTo>
                  <a:cubicBezTo>
                    <a:pt x="2143" y="8918"/>
                    <a:pt x="3608" y="9097"/>
                    <a:pt x="5537" y="9097"/>
                  </a:cubicBezTo>
                  <a:cubicBezTo>
                    <a:pt x="7263" y="9097"/>
                    <a:pt x="11764" y="8954"/>
                    <a:pt x="11764" y="6168"/>
                  </a:cubicBezTo>
                  <a:cubicBezTo>
                    <a:pt x="11764" y="3751"/>
                    <a:pt x="8537" y="3668"/>
                    <a:pt x="5882" y="3620"/>
                  </a:cubicBezTo>
                  <a:cubicBezTo>
                    <a:pt x="4036" y="3608"/>
                    <a:pt x="2405" y="3608"/>
                    <a:pt x="2405" y="2834"/>
                  </a:cubicBezTo>
                  <a:cubicBezTo>
                    <a:pt x="2405" y="2084"/>
                    <a:pt x="3751" y="1965"/>
                    <a:pt x="5394" y="1965"/>
                  </a:cubicBezTo>
                  <a:cubicBezTo>
                    <a:pt x="7275" y="1965"/>
                    <a:pt x="8620" y="2084"/>
                    <a:pt x="10692" y="2441"/>
                  </a:cubicBezTo>
                  <a:lnTo>
                    <a:pt x="11013" y="501"/>
                  </a:lnTo>
                  <a:cubicBezTo>
                    <a:pt x="9108" y="167"/>
                    <a:pt x="7358" y="1"/>
                    <a:pt x="5763" y="1"/>
                  </a:cubicBezTo>
                  <a:close/>
                </a:path>
              </a:pathLst>
            </a:custGeom>
            <a:solidFill>
              <a:srgbClr val="222222"/>
            </a:solidFill>
            <a:ln>
              <a:noFill/>
            </a:ln>
          </p:spPr>
          <p:txBody>
            <a:bodyPr spcFirstLastPara="1" wrap="square" lIns="182850" tIns="182850" rIns="182850" bIns="182850" anchor="ctr" anchorCtr="0">
              <a:noAutofit/>
            </a:bodyPr>
            <a:lstStyle/>
            <a:p>
              <a:pPr defTabSz="1828800">
                <a:defRPr/>
              </a:pPr>
              <a:endParaRPr lang="en-US" sz="2800" noProof="0"/>
            </a:p>
          </p:txBody>
        </p:sp>
        <p:sp>
          <p:nvSpPr>
            <p:cNvPr id="67" name="Google Shape;67;p13"/>
            <p:cNvSpPr/>
            <p:nvPr/>
          </p:nvSpPr>
          <p:spPr>
            <a:xfrm>
              <a:off x="5235175" y="2982350"/>
              <a:ext cx="27700" cy="29775"/>
            </a:xfrm>
            <a:custGeom>
              <a:avLst/>
              <a:gdLst/>
              <a:ahLst/>
              <a:cxnLst/>
              <a:rect l="l" t="t" r="r" b="b"/>
              <a:pathLst>
                <a:path w="1108" h="1191" extrusionOk="0">
                  <a:moveTo>
                    <a:pt x="12" y="0"/>
                  </a:moveTo>
                  <a:lnTo>
                    <a:pt x="0" y="167"/>
                  </a:lnTo>
                  <a:lnTo>
                    <a:pt x="476" y="167"/>
                  </a:lnTo>
                  <a:lnTo>
                    <a:pt x="476" y="1191"/>
                  </a:lnTo>
                  <a:lnTo>
                    <a:pt x="631" y="1191"/>
                  </a:lnTo>
                  <a:lnTo>
                    <a:pt x="631" y="167"/>
                  </a:lnTo>
                  <a:lnTo>
                    <a:pt x="1096" y="167"/>
                  </a:lnTo>
                  <a:lnTo>
                    <a:pt x="1107" y="0"/>
                  </a:lnTo>
                  <a:close/>
                </a:path>
              </a:pathLst>
            </a:custGeom>
            <a:solidFill>
              <a:srgbClr val="222222"/>
            </a:solidFill>
            <a:ln>
              <a:noFill/>
            </a:ln>
          </p:spPr>
          <p:txBody>
            <a:bodyPr spcFirstLastPara="1" wrap="square" lIns="182850" tIns="182850" rIns="182850" bIns="182850" anchor="ctr" anchorCtr="0">
              <a:noAutofit/>
            </a:bodyPr>
            <a:lstStyle/>
            <a:p>
              <a:pPr defTabSz="1828800">
                <a:defRPr/>
              </a:pPr>
              <a:endParaRPr lang="en-US" sz="2800" noProof="0"/>
            </a:p>
          </p:txBody>
        </p:sp>
        <p:sp>
          <p:nvSpPr>
            <p:cNvPr id="68" name="Google Shape;68;p13"/>
            <p:cNvSpPr/>
            <p:nvPr/>
          </p:nvSpPr>
          <p:spPr>
            <a:xfrm>
              <a:off x="5264325" y="2982350"/>
              <a:ext cx="33675" cy="29775"/>
            </a:xfrm>
            <a:custGeom>
              <a:avLst/>
              <a:gdLst/>
              <a:ahLst/>
              <a:cxnLst/>
              <a:rect l="l" t="t" r="r" b="b"/>
              <a:pathLst>
                <a:path w="1347" h="1191" extrusionOk="0">
                  <a:moveTo>
                    <a:pt x="1" y="0"/>
                  </a:moveTo>
                  <a:lnTo>
                    <a:pt x="1" y="1191"/>
                  </a:lnTo>
                  <a:lnTo>
                    <a:pt x="180" y="1191"/>
                  </a:lnTo>
                  <a:lnTo>
                    <a:pt x="180" y="298"/>
                  </a:lnTo>
                  <a:lnTo>
                    <a:pt x="584" y="1191"/>
                  </a:lnTo>
                  <a:lnTo>
                    <a:pt x="763" y="1191"/>
                  </a:lnTo>
                  <a:lnTo>
                    <a:pt x="1168" y="298"/>
                  </a:lnTo>
                  <a:lnTo>
                    <a:pt x="1168" y="1191"/>
                  </a:lnTo>
                  <a:lnTo>
                    <a:pt x="1346" y="1191"/>
                  </a:lnTo>
                  <a:lnTo>
                    <a:pt x="1346" y="0"/>
                  </a:lnTo>
                  <a:lnTo>
                    <a:pt x="1108" y="0"/>
                  </a:lnTo>
                  <a:lnTo>
                    <a:pt x="680" y="988"/>
                  </a:lnTo>
                  <a:lnTo>
                    <a:pt x="239" y="0"/>
                  </a:lnTo>
                  <a:close/>
                </a:path>
              </a:pathLst>
            </a:custGeom>
            <a:solidFill>
              <a:srgbClr val="222222"/>
            </a:solidFill>
            <a:ln>
              <a:noFill/>
            </a:ln>
          </p:spPr>
          <p:txBody>
            <a:bodyPr spcFirstLastPara="1" wrap="square" lIns="182850" tIns="182850" rIns="182850" bIns="182850" anchor="ctr" anchorCtr="0">
              <a:noAutofit/>
            </a:bodyPr>
            <a:lstStyle/>
            <a:p>
              <a:pPr defTabSz="1828800">
                <a:defRPr/>
              </a:pPr>
              <a:endParaRPr lang="en-US" sz="2800" noProof="0"/>
            </a:p>
          </p:txBody>
        </p:sp>
      </p:grpSp>
      <p:sp>
        <p:nvSpPr>
          <p:cNvPr id="69" name="Google Shape;69;p13"/>
          <p:cNvSpPr txBox="1"/>
          <p:nvPr/>
        </p:nvSpPr>
        <p:spPr>
          <a:xfrm>
            <a:off x="1705100" y="5674352"/>
            <a:ext cx="14623472" cy="2668200"/>
          </a:xfrm>
          <a:prstGeom prst="rect">
            <a:avLst/>
          </a:prstGeom>
          <a:noFill/>
          <a:ln>
            <a:noFill/>
          </a:ln>
        </p:spPr>
        <p:txBody>
          <a:bodyPr spcFirstLastPara="1" wrap="square" lIns="182850" tIns="182850" rIns="182850" bIns="182850" anchor="t" anchorCtr="0">
            <a:noAutofit/>
          </a:bodyPr>
          <a:lstStyle/>
          <a:p>
            <a:pPr defTabSz="1828800">
              <a:spcAft>
                <a:spcPts val="400"/>
              </a:spcAft>
              <a:defRPr/>
            </a:pPr>
            <a:r>
              <a:rPr lang="en-US" sz="6000" b="1" noProof="0">
                <a:solidFill>
                  <a:srgbClr val="222222"/>
                </a:solidFill>
                <a:latin typeface="Montserrat"/>
                <a:ea typeface="Montserrat"/>
                <a:cs typeface="Montserrat"/>
                <a:sym typeface="Montserrat"/>
              </a:rPr>
              <a:t>We are Qintess</a:t>
            </a:r>
          </a:p>
          <a:p>
            <a:pPr defTabSz="1828800">
              <a:spcAft>
                <a:spcPts val="400"/>
              </a:spcAft>
              <a:defRPr/>
            </a:pPr>
            <a:r>
              <a:rPr lang="en-US" sz="3600" b="1" noProof="0">
                <a:solidFill>
                  <a:srgbClr val="222222"/>
                </a:solidFill>
                <a:latin typeface="Montserrat"/>
                <a:ea typeface="Montserrat"/>
                <a:cs typeface="Montserrat"/>
                <a:sym typeface="Montserrat"/>
              </a:rPr>
              <a:t>Accelerating Digital Transformation for Businesses</a:t>
            </a:r>
          </a:p>
        </p:txBody>
      </p:sp>
      <p:sp>
        <p:nvSpPr>
          <p:cNvPr id="70" name="Google Shape;70;p13"/>
          <p:cNvSpPr/>
          <p:nvPr/>
        </p:nvSpPr>
        <p:spPr>
          <a:xfrm>
            <a:off x="1893150" y="5586450"/>
            <a:ext cx="808800" cy="75000"/>
          </a:xfrm>
          <a:prstGeom prst="roundRect">
            <a:avLst>
              <a:gd name="adj" fmla="val 50000"/>
            </a:avLst>
          </a:prstGeom>
          <a:gradFill>
            <a:gsLst>
              <a:gs pos="0">
                <a:srgbClr val="FF2C34"/>
              </a:gs>
              <a:gs pos="100000">
                <a:srgbClr val="6800FF"/>
              </a:gs>
            </a:gsLst>
            <a:lin ang="2700006" scaled="0"/>
          </a:gradFill>
          <a:ln>
            <a:noFill/>
          </a:ln>
        </p:spPr>
        <p:txBody>
          <a:bodyPr spcFirstLastPara="1" wrap="square" lIns="182850" tIns="182850" rIns="182850" bIns="182850" anchor="ctr" anchorCtr="0">
            <a:noAutofit/>
          </a:bodyPr>
          <a:lstStyle/>
          <a:p>
            <a:pPr defTabSz="1828800">
              <a:defRPr/>
            </a:pPr>
            <a:endParaRPr lang="en-US" sz="2800" noProof="0"/>
          </a:p>
        </p:txBody>
      </p:sp>
      <p:sp>
        <p:nvSpPr>
          <p:cNvPr id="2" name="Google Shape;436;p69">
            <a:extLst>
              <a:ext uri="{FF2B5EF4-FFF2-40B4-BE49-F238E27FC236}">
                <a16:creationId xmlns:a16="http://schemas.microsoft.com/office/drawing/2014/main" id="{40BCBF9A-A78E-D236-6D49-6E4E44F5D279}"/>
              </a:ext>
            </a:extLst>
          </p:cNvPr>
          <p:cNvSpPr txBox="1">
            <a:spLocks/>
          </p:cNvSpPr>
          <p:nvPr/>
        </p:nvSpPr>
        <p:spPr>
          <a:xfrm>
            <a:off x="14793687" y="4083430"/>
            <a:ext cx="3513114" cy="519124"/>
          </a:xfrm>
          <a:prstGeom prst="rect">
            <a:avLst/>
          </a:prstGeom>
          <a:noFill/>
          <a:ln>
            <a:noFill/>
          </a:ln>
        </p:spPr>
        <p:txBody>
          <a:bodyPr spcFirstLastPara="1" wrap="square" lIns="182850" tIns="182850" rIns="182850" bIns="182850" anchor="t" anchorCtr="0">
            <a:noAutofit/>
          </a:bodyPr>
          <a:lstStyle>
            <a:defPPr marR="0" lvl="0" algn="l" rtl="0">
              <a:lnSpc>
                <a:spcPct val="100000"/>
              </a:lnSpc>
              <a:spcBef>
                <a:spcPts val="0"/>
              </a:spcBef>
              <a:spcAft>
                <a:spcPts val="0"/>
              </a:spcAft>
            </a:defPPr>
            <a:lvl1pPr marL="457200" marR="0" lvl="0" indent="-342900" algn="l" rtl="0">
              <a:lnSpc>
                <a:spcPct val="115000"/>
              </a:lnSpc>
              <a:spcBef>
                <a:spcPts val="0"/>
              </a:spcBef>
              <a:spcAft>
                <a:spcPts val="0"/>
              </a:spcAft>
              <a:buClr>
                <a:schemeClr val="dk2"/>
              </a:buClr>
              <a:buSzPts val="1800"/>
              <a:buFont typeface="Arial"/>
              <a:buChar char="●"/>
              <a:defRPr sz="1800" b="0" i="0" u="none" strike="noStrike" cap="none">
                <a:solidFill>
                  <a:schemeClr val="dk2"/>
                </a:solidFill>
                <a:latin typeface="Arial"/>
                <a:ea typeface="Arial"/>
                <a:cs typeface="Arial"/>
                <a:sym typeface="Arial"/>
              </a:defRPr>
            </a:lvl1pPr>
            <a:lvl2pPr marL="914400" marR="0" lvl="1"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2pPr>
            <a:lvl3pPr marL="1371600" marR="0" lvl="2"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3pPr>
            <a:lvl4pPr marL="1828800" marR="0" lvl="3"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4pPr>
            <a:lvl5pPr marL="2286000" marR="0" lvl="4"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5pPr>
            <a:lvl6pPr marL="2743200" marR="0" lvl="5"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6pPr>
            <a:lvl7pPr marL="3200400" marR="0" lvl="6"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7pPr>
            <a:lvl8pPr marL="3657600" marR="0" lvl="7"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8pPr>
            <a:lvl9pPr marL="4114800" marR="0" lvl="8"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9pPr>
          </a:lstStyle>
          <a:p>
            <a:pPr marL="0" indent="0" algn="r" defTabSz="1828800">
              <a:spcAft>
                <a:spcPts val="3200"/>
              </a:spcAft>
              <a:buClr>
                <a:srgbClr val="595959"/>
              </a:buClr>
              <a:buNone/>
              <a:defRPr/>
            </a:pPr>
            <a:r>
              <a:rPr lang="en-US" sz="1600" b="1" spc="160" noProof="0">
                <a:solidFill>
                  <a:srgbClr val="FFFFFF"/>
                </a:solidFill>
              </a:rPr>
              <a:t>Jul / 2024</a:t>
            </a:r>
          </a:p>
        </p:txBody>
      </p:sp>
    </p:spTree>
    <p:extLst>
      <p:ext uri="{BB962C8B-B14F-4D97-AF65-F5344CB8AC3E}">
        <p14:creationId xmlns:p14="http://schemas.microsoft.com/office/powerpoint/2010/main" val="26713620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Agrupar 5">
            <a:extLst>
              <a:ext uri="{FF2B5EF4-FFF2-40B4-BE49-F238E27FC236}">
                <a16:creationId xmlns:a16="http://schemas.microsoft.com/office/drawing/2014/main" id="{15DD5968-9878-6736-5C7C-7B4311B3DA0A}"/>
              </a:ext>
            </a:extLst>
          </p:cNvPr>
          <p:cNvGrpSpPr/>
          <p:nvPr/>
        </p:nvGrpSpPr>
        <p:grpSpPr>
          <a:xfrm>
            <a:off x="2424148" y="4297204"/>
            <a:ext cx="13233450" cy="4244655"/>
            <a:chOff x="3665925" y="4339539"/>
            <a:chExt cx="10594671" cy="3397990"/>
          </a:xfrm>
        </p:grpSpPr>
        <p:sp>
          <p:nvSpPr>
            <p:cNvPr id="5" name="Elipse 4">
              <a:extLst>
                <a:ext uri="{FF2B5EF4-FFF2-40B4-BE49-F238E27FC236}">
                  <a16:creationId xmlns:a16="http://schemas.microsoft.com/office/drawing/2014/main" id="{86D7C902-FFFA-0539-B614-915953874014}"/>
                </a:ext>
              </a:extLst>
            </p:cNvPr>
            <p:cNvSpPr/>
            <p:nvPr/>
          </p:nvSpPr>
          <p:spPr>
            <a:xfrm>
              <a:off x="4078580" y="4339541"/>
              <a:ext cx="2298149" cy="2298149"/>
            </a:xfrm>
            <a:prstGeom prst="ellipse">
              <a:avLst/>
            </a:prstGeom>
            <a:solidFill>
              <a:srgbClr val="6800FF"/>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Montserrat Light"/>
                  <a:ea typeface="+mn-ea"/>
                  <a:cs typeface="+mn-cs"/>
                  <a:sym typeface="Arial"/>
                </a:rPr>
                <a:t>Predictable Delivery</a:t>
              </a:r>
            </a:p>
            <a:p>
              <a:pPr marL="0" marR="0" lvl="0" indent="0" algn="ctr" defTabSz="914400" rtl="0" eaLnBrk="1" fontAlgn="auto" latinLnBrk="0" hangingPunct="1">
                <a:lnSpc>
                  <a:spcPct val="100000"/>
                </a:lnSpc>
                <a:spcBef>
                  <a:spcPts val="0"/>
                </a:spcBef>
                <a:spcAft>
                  <a:spcPts val="0"/>
                </a:spcAft>
                <a:buClrTx/>
                <a:buSzTx/>
                <a:buFont typeface="Arial"/>
                <a:buNone/>
                <a:tabLst/>
                <a:defRPr/>
              </a:pPr>
              <a:endParaRPr kumimoji="0" lang="en-US" sz="1800" b="1" i="0" u="none" strike="noStrike" kern="1200" cap="none" spc="0" normalizeH="0" baseline="0" noProof="0">
                <a:ln>
                  <a:noFill/>
                </a:ln>
                <a:solidFill>
                  <a:srgbClr val="FFFFFF"/>
                </a:solidFill>
                <a:effectLst/>
                <a:uLnTx/>
                <a:uFillTx/>
                <a:latin typeface="Montserrat Light"/>
                <a:ea typeface="+mn-ea"/>
                <a:cs typeface="+mn-cs"/>
                <a:sym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Montserrat Light"/>
                  <a:ea typeface="+mn-ea"/>
                  <a:cs typeface="+mn-cs"/>
                  <a:sym typeface="Arial"/>
                </a:rPr>
                <a:t>Execution Agility</a:t>
              </a:r>
            </a:p>
          </p:txBody>
        </p:sp>
        <p:sp>
          <p:nvSpPr>
            <p:cNvPr id="8" name="Elipse 7">
              <a:extLst>
                <a:ext uri="{FF2B5EF4-FFF2-40B4-BE49-F238E27FC236}">
                  <a16:creationId xmlns:a16="http://schemas.microsoft.com/office/drawing/2014/main" id="{B8D57A06-7AED-214B-4165-06936097DB41}"/>
                </a:ext>
              </a:extLst>
            </p:cNvPr>
            <p:cNvSpPr/>
            <p:nvPr/>
          </p:nvSpPr>
          <p:spPr>
            <a:xfrm>
              <a:off x="7814187" y="4339540"/>
              <a:ext cx="2298149" cy="2298149"/>
            </a:xfrm>
            <a:prstGeom prst="ellipse">
              <a:avLst/>
            </a:prstGeom>
            <a:solidFill>
              <a:srgbClr val="B010F0"/>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Montserrat Light" panose="00000400000000000000" pitchFamily="2" charset="0"/>
                <a:ea typeface="+mn-ea"/>
                <a:cs typeface="+mn-cs"/>
                <a:sym typeface="Arial"/>
              </a:endParaRPr>
            </a:p>
          </p:txBody>
        </p:sp>
        <p:sp>
          <p:nvSpPr>
            <p:cNvPr id="9" name="Elipse 8">
              <a:extLst>
                <a:ext uri="{FF2B5EF4-FFF2-40B4-BE49-F238E27FC236}">
                  <a16:creationId xmlns:a16="http://schemas.microsoft.com/office/drawing/2014/main" id="{F71B4B32-FD70-4419-AF13-0765DC2D9B90}"/>
                </a:ext>
              </a:extLst>
            </p:cNvPr>
            <p:cNvSpPr/>
            <p:nvPr/>
          </p:nvSpPr>
          <p:spPr>
            <a:xfrm>
              <a:off x="11549794" y="4339539"/>
              <a:ext cx="2298149" cy="2298149"/>
            </a:xfrm>
            <a:prstGeom prst="ellipse">
              <a:avLst/>
            </a:prstGeom>
            <a:solidFill>
              <a:srgbClr val="9565FF"/>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Montserrat Light"/>
                  <a:ea typeface="+mn-ea"/>
                  <a:cs typeface="+mn-cs"/>
                  <a:sym typeface="Arial"/>
                </a:rPr>
                <a:t>Adaptative Strategy</a:t>
              </a:r>
            </a:p>
            <a:p>
              <a:pPr marL="0" marR="0" lvl="0" indent="0" algn="ctr" defTabSz="914400" rtl="0" eaLnBrk="1" fontAlgn="auto" latinLnBrk="0" hangingPunct="1">
                <a:lnSpc>
                  <a:spcPct val="100000"/>
                </a:lnSpc>
                <a:spcBef>
                  <a:spcPts val="0"/>
                </a:spcBef>
                <a:spcAft>
                  <a:spcPts val="0"/>
                </a:spcAft>
                <a:buClrTx/>
                <a:buSzTx/>
                <a:buFont typeface="Arial"/>
                <a:buNone/>
                <a:tabLst/>
                <a:defRPr/>
              </a:pPr>
              <a:endParaRPr kumimoji="0" lang="en-US" sz="1800" b="0" i="0" u="none" strike="noStrike" kern="1200" cap="none" spc="0" normalizeH="0" baseline="0" noProof="0">
                <a:ln>
                  <a:noFill/>
                </a:ln>
                <a:solidFill>
                  <a:srgbClr val="FFFFFF"/>
                </a:solidFill>
                <a:effectLst/>
                <a:uLnTx/>
                <a:uFillTx/>
                <a:latin typeface="Montserrat Light"/>
                <a:ea typeface="+mn-ea"/>
                <a:cs typeface="+mn-cs"/>
                <a:sym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Montserrat Light"/>
                  <a:ea typeface="+mn-ea"/>
                  <a:cs typeface="+mn-cs"/>
                  <a:sym typeface="Arial"/>
                </a:rPr>
                <a:t>Business Agility</a:t>
              </a:r>
              <a:endParaRPr kumimoji="0" lang="en-US" sz="1000" b="0" i="0" u="none" strike="noStrike" kern="1200" cap="none" spc="0" normalizeH="0" baseline="0" noProof="0">
                <a:ln>
                  <a:noFill/>
                </a:ln>
                <a:solidFill>
                  <a:srgbClr val="FFFFFF"/>
                </a:solidFill>
                <a:effectLst/>
                <a:uLnTx/>
                <a:uFillTx/>
                <a:latin typeface="Montserrat Light"/>
                <a:ea typeface="+mn-ea"/>
                <a:cs typeface="+mn-cs"/>
                <a:sym typeface="Arial"/>
              </a:endParaRPr>
            </a:p>
          </p:txBody>
        </p:sp>
        <p:sp>
          <p:nvSpPr>
            <p:cNvPr id="10" name="Sinal de Adição 9">
              <a:extLst>
                <a:ext uri="{FF2B5EF4-FFF2-40B4-BE49-F238E27FC236}">
                  <a16:creationId xmlns:a16="http://schemas.microsoft.com/office/drawing/2014/main" id="{0368B61D-66CD-573F-72BB-61428A1C4D8B}"/>
                </a:ext>
              </a:extLst>
            </p:cNvPr>
            <p:cNvSpPr/>
            <p:nvPr/>
          </p:nvSpPr>
          <p:spPr>
            <a:xfrm>
              <a:off x="6638258" y="5031415"/>
              <a:ext cx="914400" cy="914400"/>
            </a:xfrm>
            <a:prstGeom prst="mathPlus">
              <a:avLst/>
            </a:prstGeom>
            <a:solidFill>
              <a:srgbClr val="1D2B4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12121"/>
                </a:solidFill>
                <a:effectLst/>
                <a:uLnTx/>
                <a:uFillTx/>
                <a:latin typeface="Arial"/>
                <a:ea typeface="+mn-ea"/>
                <a:cs typeface="+mn-cs"/>
                <a:sym typeface="Arial"/>
              </a:endParaRPr>
            </a:p>
          </p:txBody>
        </p:sp>
        <p:sp>
          <p:nvSpPr>
            <p:cNvPr id="11" name="Sinal de Adição 10">
              <a:extLst>
                <a:ext uri="{FF2B5EF4-FFF2-40B4-BE49-F238E27FC236}">
                  <a16:creationId xmlns:a16="http://schemas.microsoft.com/office/drawing/2014/main" id="{E0E60194-6DF6-CD18-DEB0-658A4A5A8B4F}"/>
                </a:ext>
              </a:extLst>
            </p:cNvPr>
            <p:cNvSpPr/>
            <p:nvPr/>
          </p:nvSpPr>
          <p:spPr>
            <a:xfrm>
              <a:off x="10373865" y="5031415"/>
              <a:ext cx="914400" cy="914400"/>
            </a:xfrm>
            <a:prstGeom prst="mathPlus">
              <a:avLst/>
            </a:prstGeom>
            <a:solidFill>
              <a:srgbClr val="1D2B4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12121"/>
                </a:solidFill>
                <a:effectLst/>
                <a:uLnTx/>
                <a:uFillTx/>
                <a:latin typeface="Arial"/>
                <a:ea typeface="+mn-ea"/>
                <a:cs typeface="+mn-cs"/>
                <a:sym typeface="Arial"/>
              </a:endParaRPr>
            </a:p>
          </p:txBody>
        </p:sp>
        <p:sp>
          <p:nvSpPr>
            <p:cNvPr id="12" name="CaixaDeTexto 11">
              <a:extLst>
                <a:ext uri="{FF2B5EF4-FFF2-40B4-BE49-F238E27FC236}">
                  <a16:creationId xmlns:a16="http://schemas.microsoft.com/office/drawing/2014/main" id="{A9E709C0-0E2F-0DAC-63DA-87FC33E226DC}"/>
                </a:ext>
              </a:extLst>
            </p:cNvPr>
            <p:cNvSpPr txBox="1"/>
            <p:nvPr/>
          </p:nvSpPr>
          <p:spPr>
            <a:xfrm>
              <a:off x="3665925" y="7029643"/>
              <a:ext cx="3123457"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1D2B45"/>
                  </a:solidFill>
                  <a:effectLst/>
                  <a:uLnTx/>
                  <a:uFillTx/>
                  <a:latin typeface="Montserrat Light" panose="00000400000000000000" pitchFamily="2" charset="0"/>
                  <a:ea typeface="+mn-ea"/>
                  <a:cs typeface="Arial"/>
                  <a:sym typeface="Arial"/>
                </a:rPr>
                <a:t>Deliver value faster across teams</a:t>
              </a:r>
            </a:p>
          </p:txBody>
        </p:sp>
        <p:sp>
          <p:nvSpPr>
            <p:cNvPr id="13" name="CaixaDeTexto 12">
              <a:extLst>
                <a:ext uri="{FF2B5EF4-FFF2-40B4-BE49-F238E27FC236}">
                  <a16:creationId xmlns:a16="http://schemas.microsoft.com/office/drawing/2014/main" id="{959D818E-9205-F973-2634-DF7890B97EA0}"/>
                </a:ext>
              </a:extLst>
            </p:cNvPr>
            <p:cNvSpPr txBox="1"/>
            <p:nvPr/>
          </p:nvSpPr>
          <p:spPr>
            <a:xfrm>
              <a:off x="7283099" y="7029643"/>
              <a:ext cx="3292163"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1D2B45"/>
                  </a:solidFill>
                  <a:effectLst/>
                  <a:uLnTx/>
                  <a:uFillTx/>
                  <a:latin typeface="Montserrat Light" panose="00000400000000000000" pitchFamily="2" charset="0"/>
                  <a:ea typeface="+mn-ea"/>
                  <a:cs typeface="Arial"/>
                  <a:sym typeface="Arial"/>
                </a:rPr>
                <a:t>Optimize decision to maximize business value</a:t>
              </a:r>
            </a:p>
          </p:txBody>
        </p:sp>
        <p:sp>
          <p:nvSpPr>
            <p:cNvPr id="14" name="CaixaDeTexto 13">
              <a:extLst>
                <a:ext uri="{FF2B5EF4-FFF2-40B4-BE49-F238E27FC236}">
                  <a16:creationId xmlns:a16="http://schemas.microsoft.com/office/drawing/2014/main" id="{4DEE5679-3EDD-5BB1-5AF6-98FFDDC9D244}"/>
                </a:ext>
              </a:extLst>
            </p:cNvPr>
            <p:cNvSpPr txBox="1"/>
            <p:nvPr/>
          </p:nvSpPr>
          <p:spPr>
            <a:xfrm>
              <a:off x="11137139" y="7029643"/>
              <a:ext cx="3123457"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1D2B45"/>
                  </a:solidFill>
                  <a:effectLst/>
                  <a:uLnTx/>
                  <a:uFillTx/>
                  <a:latin typeface="Montserrat Light" panose="00000400000000000000" pitchFamily="2" charset="0"/>
                  <a:ea typeface="+mn-ea"/>
                  <a:cs typeface="Arial"/>
                  <a:sym typeface="Arial"/>
                </a:rPr>
                <a:t>Evolve, create and respond to changes</a:t>
              </a:r>
            </a:p>
          </p:txBody>
        </p:sp>
        <p:sp>
          <p:nvSpPr>
            <p:cNvPr id="4" name="CaixaDeTexto 3">
              <a:extLst>
                <a:ext uri="{FF2B5EF4-FFF2-40B4-BE49-F238E27FC236}">
                  <a16:creationId xmlns:a16="http://schemas.microsoft.com/office/drawing/2014/main" id="{EC1B5EF5-C5C5-85AE-E2B1-418C18CE5741}"/>
                </a:ext>
              </a:extLst>
            </p:cNvPr>
            <p:cNvSpPr txBox="1"/>
            <p:nvPr/>
          </p:nvSpPr>
          <p:spPr>
            <a:xfrm>
              <a:off x="7893899" y="5067882"/>
              <a:ext cx="2145939" cy="868509"/>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Montserrat Light"/>
                  <a:ea typeface="+mn-ea"/>
                  <a:cs typeface="Arial"/>
                  <a:sym typeface="Arial"/>
                </a:rPr>
                <a:t>Value-Oriented Decision</a:t>
              </a:r>
            </a:p>
            <a:p>
              <a:pPr marL="0" marR="0" lvl="0" indent="0" algn="ctr" defTabSz="914400" rtl="0" eaLnBrk="1" fontAlgn="auto" latinLnBrk="0" hangingPunct="1">
                <a:lnSpc>
                  <a:spcPct val="100000"/>
                </a:lnSpc>
                <a:spcBef>
                  <a:spcPts val="0"/>
                </a:spcBef>
                <a:spcAft>
                  <a:spcPts val="0"/>
                </a:spcAft>
                <a:buClrTx/>
                <a:buSzTx/>
                <a:buFont typeface="Arial"/>
                <a:buNone/>
                <a:tabLst/>
                <a:defRPr/>
              </a:pPr>
              <a:endParaRPr kumimoji="0" lang="en-US" sz="1800" b="1" i="0" u="none" strike="noStrike" kern="1200" cap="none" spc="0" normalizeH="0" baseline="0" noProof="0">
                <a:ln>
                  <a:noFill/>
                </a:ln>
                <a:solidFill>
                  <a:srgbClr val="FFFFFF"/>
                </a:solidFill>
                <a:effectLst/>
                <a:uLnTx/>
                <a:uFillTx/>
                <a:latin typeface="Montserrat Light"/>
                <a:ea typeface="+mn-ea"/>
                <a:cs typeface="Arial"/>
                <a:sym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Montserrat Light"/>
                  <a:ea typeface="+mn-ea"/>
                  <a:cs typeface="Arial"/>
                  <a:sym typeface="Arial"/>
                </a:rPr>
                <a:t>Portfolio Agility</a:t>
              </a:r>
              <a:endParaRPr kumimoji="0" lang="en-US" sz="1000" b="0" i="0" u="none" strike="noStrike" kern="1200" cap="none" spc="0" normalizeH="0" baseline="0" noProof="0">
                <a:ln>
                  <a:noFill/>
                </a:ln>
                <a:solidFill>
                  <a:srgbClr val="FFFFFF"/>
                </a:solidFill>
                <a:effectLst/>
                <a:uLnTx/>
                <a:uFillTx/>
                <a:latin typeface="Montserrat Light"/>
                <a:ea typeface="+mn-ea"/>
                <a:cs typeface="Arial"/>
                <a:sym typeface="Arial"/>
              </a:endParaRPr>
            </a:p>
          </p:txBody>
        </p:sp>
      </p:grpSp>
      <p:sp>
        <p:nvSpPr>
          <p:cNvPr id="7" name="TextBox 4">
            <a:extLst>
              <a:ext uri="{FF2B5EF4-FFF2-40B4-BE49-F238E27FC236}">
                <a16:creationId xmlns:a16="http://schemas.microsoft.com/office/drawing/2014/main" id="{7AD51F9B-50BA-016F-8955-A1A9E2A33EE8}"/>
              </a:ext>
            </a:extLst>
          </p:cNvPr>
          <p:cNvSpPr txBox="1"/>
          <p:nvPr/>
        </p:nvSpPr>
        <p:spPr>
          <a:xfrm>
            <a:off x="1202546" y="819204"/>
            <a:ext cx="13857424" cy="1908215"/>
          </a:xfrm>
          <a:prstGeom prst="rect">
            <a:avLst/>
          </a:prstGeom>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 typeface="Arial"/>
              <a:buNone/>
              <a:tabLst/>
              <a:defRPr/>
            </a:pPr>
            <a:r>
              <a:rPr kumimoji="0" lang="en-US" sz="4000" b="0" i="0" u="none" strike="noStrike" kern="0" cap="none" spc="0" normalizeH="0" baseline="0" noProof="0">
                <a:ln>
                  <a:noFill/>
                </a:ln>
                <a:solidFill>
                  <a:srgbClr val="000000"/>
                </a:solidFill>
                <a:effectLst/>
                <a:uLnTx/>
                <a:uFillTx/>
                <a:latin typeface="Montserrat Bold"/>
                <a:cs typeface="Arial"/>
                <a:sym typeface="Arial"/>
              </a:rPr>
              <a:t>BUSINESS AGILITY</a:t>
            </a:r>
          </a:p>
          <a:p>
            <a:pPr marL="0" marR="0" lvl="0" indent="0" algn="l" defTabSz="914400" rtl="0" eaLnBrk="1" fontAlgn="auto" latinLnBrk="0" hangingPunct="1">
              <a:lnSpc>
                <a:spcPct val="100000"/>
              </a:lnSpc>
              <a:spcBef>
                <a:spcPts val="0"/>
              </a:spcBef>
              <a:spcAft>
                <a:spcPts val="0"/>
              </a:spcAft>
              <a:buClrTx/>
              <a:buSzTx/>
              <a:buFont typeface="Arial"/>
              <a:buNone/>
              <a:tabLst/>
              <a:defRPr/>
            </a:pPr>
            <a:r>
              <a:rPr lang="en-US" sz="2800" b="1" i="0" noProof="0">
                <a:solidFill>
                  <a:srgbClr val="6816FF"/>
                </a:solidFill>
                <a:effectLst/>
                <a:latin typeface="Montserrat Light"/>
              </a:rPr>
              <a:t>to the ability of an organization to rapidly adapt and respond to changes in the market, customer demands, and emerging opportunities by embracing flexible practices, iterative processes, and cross-functional collaboration.</a:t>
            </a:r>
            <a:endParaRPr lang="en-US" sz="2800" b="1" i="0" u="none" strike="noStrike" kern="0" cap="none" spc="0" normalizeH="0" baseline="0" noProof="0">
              <a:ln>
                <a:noFill/>
              </a:ln>
              <a:solidFill>
                <a:srgbClr val="6816FF"/>
              </a:solidFill>
              <a:effectLst/>
              <a:uLnTx/>
              <a:uFillTx/>
              <a:latin typeface="Montserrat Light"/>
            </a:endParaRPr>
          </a:p>
        </p:txBody>
      </p:sp>
      <p:pic>
        <p:nvPicPr>
          <p:cNvPr id="3" name="object 2" descr="Imagem em preto e branco&#10;&#10;O conteúdo gerado por IA pode estar incorreto.">
            <a:extLst>
              <a:ext uri="{FF2B5EF4-FFF2-40B4-BE49-F238E27FC236}">
                <a16:creationId xmlns:a16="http://schemas.microsoft.com/office/drawing/2014/main" id="{FBBB5C2D-1768-4A2F-7A2C-C19C0A81CB4A}"/>
              </a:ext>
            </a:extLst>
          </p:cNvPr>
          <p:cNvPicPr/>
          <p:nvPr/>
        </p:nvPicPr>
        <p:blipFill>
          <a:blip r:embed="rId2" cstate="print">
            <a:alphaModFix amt="4000"/>
          </a:blip>
          <a:stretch>
            <a:fillRect/>
          </a:stretch>
        </p:blipFill>
        <p:spPr>
          <a:xfrm>
            <a:off x="3867" y="0"/>
            <a:ext cx="4146331" cy="10287000"/>
          </a:xfrm>
          <a:prstGeom prst="rect">
            <a:avLst/>
          </a:prstGeom>
        </p:spPr>
      </p:pic>
      <p:grpSp>
        <p:nvGrpSpPr>
          <p:cNvPr id="16" name="Group 7">
            <a:extLst>
              <a:ext uri="{FF2B5EF4-FFF2-40B4-BE49-F238E27FC236}">
                <a16:creationId xmlns:a16="http://schemas.microsoft.com/office/drawing/2014/main" id="{0E4CEF82-0B54-FD51-1CDB-39AA2C4860CE}"/>
              </a:ext>
            </a:extLst>
          </p:cNvPr>
          <p:cNvGrpSpPr/>
          <p:nvPr/>
        </p:nvGrpSpPr>
        <p:grpSpPr>
          <a:xfrm>
            <a:off x="6152304" y="1233864"/>
            <a:ext cx="612363" cy="56823"/>
            <a:chOff x="0" y="0"/>
            <a:chExt cx="1078484" cy="100076"/>
          </a:xfrm>
        </p:grpSpPr>
        <p:sp>
          <p:nvSpPr>
            <p:cNvPr id="15" name="Freeform 8">
              <a:extLst>
                <a:ext uri="{FF2B5EF4-FFF2-40B4-BE49-F238E27FC236}">
                  <a16:creationId xmlns:a16="http://schemas.microsoft.com/office/drawing/2014/main" id="{E615D1E0-244F-015B-E2BF-0CBB16D63657}"/>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spTree>
    <p:extLst>
      <p:ext uri="{BB962C8B-B14F-4D97-AF65-F5344CB8AC3E}">
        <p14:creationId xmlns:p14="http://schemas.microsoft.com/office/powerpoint/2010/main" val="5893490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24CEB92-19BB-8543-DA40-441715847F80}"/>
              </a:ext>
            </a:extLst>
          </p:cNvPr>
          <p:cNvSpPr>
            <a:spLocks noGrp="1"/>
          </p:cNvSpPr>
          <p:nvPr>
            <p:ph type="title" idx="4294967295"/>
          </p:nvPr>
        </p:nvSpPr>
        <p:spPr>
          <a:xfrm>
            <a:off x="600997" y="793580"/>
            <a:ext cx="10215563" cy="1144587"/>
          </a:xfrm>
        </p:spPr>
        <p:txBody>
          <a:bodyPr/>
          <a:lstStyle/>
          <a:p>
            <a:r>
              <a:rPr lang="en-US" sz="4000" b="0" noProof="0">
                <a:solidFill>
                  <a:srgbClr val="000000"/>
                </a:solidFill>
                <a:latin typeface="Montserrat Bold"/>
                <a:cs typeface="Arial"/>
                <a:sym typeface="Arial"/>
              </a:rPr>
              <a:t>AGILE TRANSFORMATION JOURNEY</a:t>
            </a:r>
          </a:p>
        </p:txBody>
      </p:sp>
      <p:grpSp>
        <p:nvGrpSpPr>
          <p:cNvPr id="8" name="Agrupar 7">
            <a:extLst>
              <a:ext uri="{FF2B5EF4-FFF2-40B4-BE49-F238E27FC236}">
                <a16:creationId xmlns:a16="http://schemas.microsoft.com/office/drawing/2014/main" id="{511EE67C-4DBB-238D-37FB-7EFF914BC7D7}"/>
              </a:ext>
            </a:extLst>
          </p:cNvPr>
          <p:cNvGrpSpPr/>
          <p:nvPr/>
        </p:nvGrpSpPr>
        <p:grpSpPr>
          <a:xfrm>
            <a:off x="497997" y="2072083"/>
            <a:ext cx="16937563" cy="7457673"/>
            <a:chOff x="991886" y="2213194"/>
            <a:chExt cx="16937563" cy="7457673"/>
          </a:xfrm>
        </p:grpSpPr>
        <p:sp>
          <p:nvSpPr>
            <p:cNvPr id="26" name="CaixaDeTexto 25">
              <a:extLst>
                <a:ext uri="{FF2B5EF4-FFF2-40B4-BE49-F238E27FC236}">
                  <a16:creationId xmlns:a16="http://schemas.microsoft.com/office/drawing/2014/main" id="{CE14FC6D-22CC-DC04-969D-D8ED7AB3DE21}"/>
                </a:ext>
              </a:extLst>
            </p:cNvPr>
            <p:cNvSpPr txBox="1"/>
            <p:nvPr/>
          </p:nvSpPr>
          <p:spPr>
            <a:xfrm>
              <a:off x="6325414" y="6431393"/>
              <a:ext cx="5227195" cy="1754326"/>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1D2B45"/>
                  </a:solidFill>
                  <a:effectLst/>
                  <a:uLnTx/>
                  <a:uFillTx/>
                  <a:latin typeface="Montserrat Light" panose="00000400000000000000" pitchFamily="2" charset="0"/>
                  <a:ea typeface="+mn-ea"/>
                  <a:cs typeface="Arial"/>
                  <a:sym typeface="Arial"/>
                </a:rPr>
                <a:t>Focus on DevOps – CI/C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1D2B45"/>
                  </a:solidFill>
                  <a:effectLst/>
                  <a:uLnTx/>
                  <a:uFillTx/>
                  <a:latin typeface="Montserrat Light" panose="00000400000000000000" pitchFamily="2" charset="0"/>
                  <a:ea typeface="+mn-ea"/>
                  <a:cs typeface="Arial"/>
                  <a:sym typeface="Arial"/>
                </a:rPr>
                <a:t>Coordinated planning with a regular cade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1D2B45"/>
                  </a:solidFill>
                  <a:effectLst/>
                  <a:uLnTx/>
                  <a:uFillTx/>
                  <a:latin typeface="Montserrat Light" panose="00000400000000000000" pitchFamily="2" charset="0"/>
                  <a:ea typeface="+mn-ea"/>
                  <a:cs typeface="Arial"/>
                  <a:sym typeface="Arial"/>
                </a:rPr>
                <a:t>Continuous dependency management across releas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1D2B45"/>
                  </a:solidFill>
                  <a:effectLst/>
                  <a:uLnTx/>
                  <a:uFillTx/>
                  <a:latin typeface="Montserrat Light" panose="00000400000000000000" pitchFamily="2" charset="0"/>
                  <a:ea typeface="+mn-ea"/>
                  <a:cs typeface="Arial"/>
                  <a:sym typeface="Arial"/>
                </a:rPr>
                <a:t>Culture of Experimentation</a:t>
              </a:r>
            </a:p>
          </p:txBody>
        </p:sp>
        <p:sp>
          <p:nvSpPr>
            <p:cNvPr id="37" name="CaixaDeTexto 36">
              <a:extLst>
                <a:ext uri="{FF2B5EF4-FFF2-40B4-BE49-F238E27FC236}">
                  <a16:creationId xmlns:a16="http://schemas.microsoft.com/office/drawing/2014/main" id="{A5EB827C-C398-31C8-C235-E6D5421F6302}"/>
                </a:ext>
              </a:extLst>
            </p:cNvPr>
            <p:cNvSpPr txBox="1"/>
            <p:nvPr/>
          </p:nvSpPr>
          <p:spPr>
            <a:xfrm>
              <a:off x="11701462" y="4623099"/>
              <a:ext cx="6227987" cy="1754326"/>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7D43FF"/>
                  </a:solidFill>
                  <a:effectLst/>
                  <a:uLnTx/>
                  <a:uFillTx/>
                  <a:latin typeface="Montserrat Light" panose="00000400000000000000" pitchFamily="2" charset="0"/>
                  <a:ea typeface="+mn-ea"/>
                  <a:cs typeface="Arial"/>
                  <a:sym typeface="Arial"/>
                </a:rPr>
                <a:t>OKR-based initiative monitor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7D43FF"/>
                  </a:solidFill>
                  <a:effectLst/>
                  <a:uLnTx/>
                  <a:uFillTx/>
                  <a:latin typeface="Montserrat Light" panose="00000400000000000000" pitchFamily="2" charset="0"/>
                  <a:ea typeface="+mn-ea"/>
                  <a:cs typeface="Arial"/>
                  <a:sym typeface="Arial"/>
                </a:rPr>
                <a:t>Continuous prioritiz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7D43FF"/>
                  </a:solidFill>
                  <a:effectLst/>
                  <a:uLnTx/>
                  <a:uFillTx/>
                  <a:latin typeface="Montserrat Light" panose="00000400000000000000" pitchFamily="2" charset="0"/>
                  <a:ea typeface="+mn-ea"/>
                  <a:cs typeface="Arial"/>
                  <a:sym typeface="Arial"/>
                </a:rPr>
                <a:t>Capacity Planning and Estimation, and Value Engineer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7D43FF"/>
                  </a:solidFill>
                  <a:effectLst/>
                  <a:uLnTx/>
                  <a:uFillTx/>
                  <a:latin typeface="Montserrat Light" panose="00000400000000000000" pitchFamily="2" charset="0"/>
                  <a:ea typeface="+mn-ea"/>
                  <a:cs typeface="Arial"/>
                  <a:sym typeface="Arial"/>
                </a:rPr>
                <a:t>Strategic planning and Roadmap construction initiative</a:t>
              </a:r>
            </a:p>
          </p:txBody>
        </p:sp>
        <p:sp>
          <p:nvSpPr>
            <p:cNvPr id="79" name="Forma Livre: Forma 78">
              <a:extLst>
                <a:ext uri="{FF2B5EF4-FFF2-40B4-BE49-F238E27FC236}">
                  <a16:creationId xmlns:a16="http://schemas.microsoft.com/office/drawing/2014/main" id="{03897027-4920-95C9-9969-5A8E57AC3D54}"/>
                </a:ext>
              </a:extLst>
            </p:cNvPr>
            <p:cNvSpPr/>
            <p:nvPr/>
          </p:nvSpPr>
          <p:spPr>
            <a:xfrm rot="21282542">
              <a:off x="3799158" y="2993476"/>
              <a:ext cx="1771650" cy="5541122"/>
            </a:xfrm>
            <a:custGeom>
              <a:avLst/>
              <a:gdLst>
                <a:gd name="connsiteX0" fmla="*/ 0 w 1771650"/>
                <a:gd name="connsiteY0" fmla="*/ 4972050 h 4972050"/>
                <a:gd name="connsiteX1" fmla="*/ 528637 w 1771650"/>
                <a:gd name="connsiteY1" fmla="*/ 4314825 h 4972050"/>
                <a:gd name="connsiteX2" fmla="*/ 1071562 w 1771650"/>
                <a:gd name="connsiteY2" fmla="*/ 2928937 h 4972050"/>
                <a:gd name="connsiteX3" fmla="*/ 1514475 w 1771650"/>
                <a:gd name="connsiteY3" fmla="*/ 1343025 h 4972050"/>
                <a:gd name="connsiteX4" fmla="*/ 1771650 w 1771650"/>
                <a:gd name="connsiteY4" fmla="*/ 0 h 4972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1650" h="4972050">
                  <a:moveTo>
                    <a:pt x="0" y="4972050"/>
                  </a:moveTo>
                  <a:cubicBezTo>
                    <a:pt x="175021" y="4813697"/>
                    <a:pt x="350043" y="4655344"/>
                    <a:pt x="528637" y="4314825"/>
                  </a:cubicBezTo>
                  <a:cubicBezTo>
                    <a:pt x="707231" y="3974306"/>
                    <a:pt x="907256" y="3424237"/>
                    <a:pt x="1071562" y="2928937"/>
                  </a:cubicBezTo>
                  <a:cubicBezTo>
                    <a:pt x="1235868" y="2433637"/>
                    <a:pt x="1397794" y="1831181"/>
                    <a:pt x="1514475" y="1343025"/>
                  </a:cubicBezTo>
                  <a:cubicBezTo>
                    <a:pt x="1631156" y="854869"/>
                    <a:pt x="1701403" y="427434"/>
                    <a:pt x="1771650" y="0"/>
                  </a:cubicBezTo>
                </a:path>
              </a:pathLst>
            </a:custGeom>
            <a:ln w="38100">
              <a:solidFill>
                <a:srgbClr val="7D43FF"/>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3" name="CaixaDeTexto 2">
              <a:extLst>
                <a:ext uri="{FF2B5EF4-FFF2-40B4-BE49-F238E27FC236}">
                  <a16:creationId xmlns:a16="http://schemas.microsoft.com/office/drawing/2014/main" id="{38911596-5C1D-0A72-11E9-C4D806D3F06D}"/>
                </a:ext>
              </a:extLst>
            </p:cNvPr>
            <p:cNvSpPr txBox="1"/>
            <p:nvPr/>
          </p:nvSpPr>
          <p:spPr>
            <a:xfrm>
              <a:off x="1646606" y="8251264"/>
              <a:ext cx="2299027" cy="461665"/>
            </a:xfrm>
            <a:prstGeom prst="rect">
              <a:avLst/>
            </a:prstGeom>
            <a:noFill/>
          </p:spPr>
          <p:txBody>
            <a:bodyPr wrap="none" lIns="91440" tIns="45720" rIns="91440" bIns="4572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6800FF"/>
                  </a:solidFill>
                  <a:effectLst/>
                  <a:uLnTx/>
                  <a:uFillTx/>
                  <a:latin typeface="Montserrat Light"/>
                  <a:ea typeface="+mn-ea"/>
                  <a:cs typeface="Arial"/>
                  <a:sym typeface="Arial"/>
                </a:rPr>
                <a:t>TEAM AGILITY</a:t>
              </a:r>
            </a:p>
          </p:txBody>
        </p:sp>
        <p:sp>
          <p:nvSpPr>
            <p:cNvPr id="4" name="CaixaDeTexto 3">
              <a:extLst>
                <a:ext uri="{FF2B5EF4-FFF2-40B4-BE49-F238E27FC236}">
                  <a16:creationId xmlns:a16="http://schemas.microsoft.com/office/drawing/2014/main" id="{EBC08A3B-23F2-39C5-13E4-D2782E6138E2}"/>
                </a:ext>
              </a:extLst>
            </p:cNvPr>
            <p:cNvSpPr txBox="1"/>
            <p:nvPr/>
          </p:nvSpPr>
          <p:spPr>
            <a:xfrm>
              <a:off x="991886" y="6578487"/>
              <a:ext cx="3608467" cy="830997"/>
            </a:xfrm>
            <a:prstGeom prst="rect">
              <a:avLst/>
            </a:prstGeom>
            <a:noFill/>
          </p:spPr>
          <p:txBody>
            <a:bodyPr wrap="square" lIns="91440" tIns="45720" rIns="91440" bIns="45720" rtlCol="0" anchor="t">
              <a:spAutoFit/>
            </a:bodyPr>
            <a:lstStyle>
              <a:defPPr>
                <a:defRPr lang="en-US"/>
              </a:defPPr>
              <a:lvl1pPr>
                <a:defRPr b="1">
                  <a:solidFill>
                    <a:srgbClr val="FF2C7F"/>
                  </a:solidFill>
                  <a:latin typeface="Montserrat Light" panose="00000400000000000000" pitchFamily="2"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6800FF"/>
                  </a:solidFill>
                  <a:effectLst/>
                  <a:uLnTx/>
                  <a:uFillTx/>
                  <a:latin typeface="Montserrat Light"/>
                  <a:ea typeface="+mn-ea"/>
                  <a:cs typeface="Arial"/>
                  <a:sym typeface="Arial"/>
                </a:rPr>
                <a:t>INTEGRATED AGILIT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6800FF"/>
                  </a:solidFill>
                  <a:effectLst/>
                  <a:uLnTx/>
                  <a:uFillTx/>
                  <a:latin typeface="Montserrat Light"/>
                  <a:ea typeface="+mn-ea"/>
                  <a:cs typeface="Arial"/>
                  <a:sym typeface="Arial"/>
                </a:rPr>
                <a:t>TEAMS</a:t>
              </a:r>
            </a:p>
          </p:txBody>
        </p:sp>
        <p:sp>
          <p:nvSpPr>
            <p:cNvPr id="13" name="CaixaDeTexto 12">
              <a:extLst>
                <a:ext uri="{FF2B5EF4-FFF2-40B4-BE49-F238E27FC236}">
                  <a16:creationId xmlns:a16="http://schemas.microsoft.com/office/drawing/2014/main" id="{AEB4E947-C31E-52B5-74AB-C423E274FA41}"/>
                </a:ext>
              </a:extLst>
            </p:cNvPr>
            <p:cNvSpPr txBox="1"/>
            <p:nvPr/>
          </p:nvSpPr>
          <p:spPr>
            <a:xfrm>
              <a:off x="2211552" y="5136043"/>
              <a:ext cx="2926142" cy="830997"/>
            </a:xfrm>
            <a:prstGeom prst="rect">
              <a:avLst/>
            </a:prstGeom>
            <a:noFill/>
          </p:spPr>
          <p:txBody>
            <a:bodyPr wrap="square" lIns="91440" tIns="45720" rIns="91440" bIns="45720" rtlCol="0" anchor="t">
              <a:spAutoFit/>
            </a:bodyPr>
            <a:lstStyle>
              <a:defPPr>
                <a:defRPr lang="en-US"/>
              </a:defPPr>
              <a:lvl1pPr algn="ctr">
                <a:defRPr b="1">
                  <a:solidFill>
                    <a:srgbClr val="FF2C7F"/>
                  </a:solidFill>
                  <a:latin typeface="Montserrat Light" panose="00000400000000000000"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6800FF"/>
                  </a:solidFill>
                  <a:effectLst/>
                  <a:uLnTx/>
                  <a:uFillTx/>
                  <a:latin typeface="Montserrat Light"/>
                  <a:ea typeface="+mn-ea"/>
                  <a:cs typeface="Arial"/>
                  <a:sym typeface="Arial"/>
                </a:rPr>
                <a:t>AGILITY IN INVESTMENTS</a:t>
              </a:r>
            </a:p>
          </p:txBody>
        </p:sp>
        <p:sp>
          <p:nvSpPr>
            <p:cNvPr id="14" name="CaixaDeTexto 13">
              <a:extLst>
                <a:ext uri="{FF2B5EF4-FFF2-40B4-BE49-F238E27FC236}">
                  <a16:creationId xmlns:a16="http://schemas.microsoft.com/office/drawing/2014/main" id="{A57846AF-8F07-F53E-8931-6FD01E2EF7CA}"/>
                </a:ext>
              </a:extLst>
            </p:cNvPr>
            <p:cNvSpPr txBox="1"/>
            <p:nvPr/>
          </p:nvSpPr>
          <p:spPr>
            <a:xfrm>
              <a:off x="2963998" y="3086387"/>
              <a:ext cx="2176953" cy="830997"/>
            </a:xfrm>
            <a:prstGeom prst="rect">
              <a:avLst/>
            </a:prstGeom>
            <a:noFill/>
          </p:spPr>
          <p:txBody>
            <a:bodyPr wrap="square" lIns="91440" tIns="45720" rIns="91440" bIns="45720" rtlCol="0" anchor="t">
              <a:spAutoFit/>
            </a:bodyPr>
            <a:lstStyle>
              <a:defPPr>
                <a:defRPr lang="en-US"/>
              </a:defPPr>
              <a:lvl1pPr algn="ctr">
                <a:defRPr b="1">
                  <a:solidFill>
                    <a:srgbClr val="FF2C7F"/>
                  </a:solidFill>
                  <a:latin typeface="Montserrat Light" panose="00000400000000000000"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6800FF"/>
                  </a:solidFill>
                  <a:effectLst/>
                  <a:uLnTx/>
                  <a:uFillTx/>
                  <a:latin typeface="Montserrat Light"/>
                  <a:ea typeface="+mn-ea"/>
                  <a:cs typeface="Arial"/>
                  <a:sym typeface="Arial"/>
                </a:rPr>
                <a:t>CORPORATE AGILITY</a:t>
              </a:r>
            </a:p>
          </p:txBody>
        </p:sp>
        <p:sp>
          <p:nvSpPr>
            <p:cNvPr id="16" name="CaixaDeTexto 15">
              <a:extLst>
                <a:ext uri="{FF2B5EF4-FFF2-40B4-BE49-F238E27FC236}">
                  <a16:creationId xmlns:a16="http://schemas.microsoft.com/office/drawing/2014/main" id="{485FEDD3-6D02-D441-C79E-62AB779DC430}"/>
                </a:ext>
              </a:extLst>
            </p:cNvPr>
            <p:cNvSpPr txBox="1"/>
            <p:nvPr/>
          </p:nvSpPr>
          <p:spPr>
            <a:xfrm>
              <a:off x="6256555" y="8193539"/>
              <a:ext cx="5510143" cy="1477328"/>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1D2B45"/>
                  </a:solidFill>
                  <a:effectLst/>
                  <a:uLnTx/>
                  <a:uFillTx/>
                  <a:latin typeface="Montserrat Light" panose="00000400000000000000" pitchFamily="2" charset="0"/>
                  <a:ea typeface="+mn-ea"/>
                  <a:cs typeface="Arial"/>
                  <a:sym typeface="Arial"/>
                </a:rPr>
                <a:t>Delivery-based metric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1D2B45"/>
                  </a:solidFill>
                  <a:effectLst/>
                  <a:uLnTx/>
                  <a:uFillTx/>
                  <a:latin typeface="Montserrat Light" panose="00000400000000000000" pitchFamily="2" charset="0"/>
                  <a:ea typeface="+mn-ea"/>
                  <a:cs typeface="Arial"/>
                  <a:sym typeface="Arial"/>
                </a:rPr>
                <a:t>Local optimization with agile practi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1D2B45"/>
                  </a:solidFill>
                  <a:effectLst/>
                  <a:uLnTx/>
                  <a:uFillTx/>
                  <a:latin typeface="Montserrat Light" panose="00000400000000000000" pitchFamily="2" charset="0"/>
                  <a:ea typeface="+mn-ea"/>
                  <a:cs typeface="Arial"/>
                  <a:sym typeface="Arial"/>
                </a:rPr>
                <a:t>Learning culture focused on predictability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1D2B45"/>
                  </a:solidFill>
                  <a:effectLst/>
                  <a:uLnTx/>
                  <a:uFillTx/>
                  <a:latin typeface="Montserrat Light" panose="00000400000000000000" pitchFamily="2" charset="0"/>
                  <a:ea typeface="+mn-ea"/>
                  <a:cs typeface="Arial"/>
                  <a:sym typeface="Arial"/>
                </a:rPr>
                <a:t>Fun and predictable, high-velocity delivery teams</a:t>
              </a:r>
            </a:p>
          </p:txBody>
        </p:sp>
        <p:sp>
          <p:nvSpPr>
            <p:cNvPr id="17" name="CaixaDeTexto 16">
              <a:extLst>
                <a:ext uri="{FF2B5EF4-FFF2-40B4-BE49-F238E27FC236}">
                  <a16:creationId xmlns:a16="http://schemas.microsoft.com/office/drawing/2014/main" id="{D0D58EE8-0100-E897-45C0-28E327E684D4}"/>
                </a:ext>
              </a:extLst>
            </p:cNvPr>
            <p:cNvSpPr txBox="1"/>
            <p:nvPr/>
          </p:nvSpPr>
          <p:spPr>
            <a:xfrm>
              <a:off x="11701462" y="8193539"/>
              <a:ext cx="6227987" cy="1477328"/>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7D43FF"/>
                  </a:solidFill>
                  <a:effectLst/>
                  <a:uLnTx/>
                  <a:uFillTx/>
                  <a:latin typeface="Montserrat Light" panose="00000400000000000000" pitchFamily="2" charset="0"/>
                  <a:ea typeface="+mn-ea"/>
                  <a:cs typeface="Arial"/>
                  <a:sym typeface="Arial"/>
                </a:rPr>
                <a:t>Automated speed measurem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7D43FF"/>
                  </a:solidFill>
                  <a:effectLst/>
                  <a:uLnTx/>
                  <a:uFillTx/>
                  <a:latin typeface="Montserrat Light" panose="00000400000000000000" pitchFamily="2" charset="0"/>
                  <a:ea typeface="+mn-ea"/>
                  <a:cs typeface="Arial"/>
                  <a:sym typeface="Arial"/>
                </a:rPr>
                <a:t>Federated development infrastructu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7D43FF"/>
                  </a:solidFill>
                  <a:effectLst/>
                  <a:uLnTx/>
                  <a:uFillTx/>
                  <a:latin typeface="Montserrat Light" panose="00000400000000000000" pitchFamily="2" charset="0"/>
                  <a:ea typeface="+mn-ea"/>
                  <a:cs typeface="Arial"/>
                  <a:sym typeface="Arial"/>
                </a:rPr>
                <a:t>Automated building, publishing, and monitor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7D43FF"/>
                  </a:solidFill>
                  <a:effectLst/>
                  <a:uLnTx/>
                  <a:uFillTx/>
                  <a:latin typeface="Montserrat Light" panose="00000400000000000000" pitchFamily="2" charset="0"/>
                  <a:ea typeface="+mn-ea"/>
                  <a:cs typeface="Arial"/>
                  <a:sym typeface="Arial"/>
                </a:rPr>
                <a:t>Platforms with high levels of reuse, guidelines and productivity</a:t>
              </a:r>
            </a:p>
          </p:txBody>
        </p:sp>
        <p:sp>
          <p:nvSpPr>
            <p:cNvPr id="18" name="Elipse 17">
              <a:extLst>
                <a:ext uri="{FF2B5EF4-FFF2-40B4-BE49-F238E27FC236}">
                  <a16:creationId xmlns:a16="http://schemas.microsoft.com/office/drawing/2014/main" id="{67E4718E-2665-06ED-1C05-689965BAF8A3}"/>
                </a:ext>
              </a:extLst>
            </p:cNvPr>
            <p:cNvSpPr/>
            <p:nvPr/>
          </p:nvSpPr>
          <p:spPr>
            <a:xfrm>
              <a:off x="3937323" y="8447316"/>
              <a:ext cx="314325" cy="314325"/>
            </a:xfrm>
            <a:prstGeom prst="ellipse">
              <a:avLst/>
            </a:prstGeom>
            <a:solidFill>
              <a:srgbClr val="FF2C7F"/>
            </a:solidFill>
            <a:ln>
              <a:solidFill>
                <a:srgbClr val="7D43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212121"/>
                </a:solidFill>
                <a:effectLst/>
                <a:uLnTx/>
                <a:uFillTx/>
                <a:latin typeface="Arial"/>
                <a:ea typeface="+mn-ea"/>
                <a:cs typeface="+mn-cs"/>
                <a:sym typeface="Arial"/>
              </a:endParaRPr>
            </a:p>
          </p:txBody>
        </p:sp>
        <p:cxnSp>
          <p:nvCxnSpPr>
            <p:cNvPr id="20" name="Conector reto 19">
              <a:extLst>
                <a:ext uri="{FF2B5EF4-FFF2-40B4-BE49-F238E27FC236}">
                  <a16:creationId xmlns:a16="http://schemas.microsoft.com/office/drawing/2014/main" id="{6F4D7AA4-C9CD-97C0-2130-05F2AEB86627}"/>
                </a:ext>
              </a:extLst>
            </p:cNvPr>
            <p:cNvCxnSpPr>
              <a:cxnSpLocks/>
            </p:cNvCxnSpPr>
            <p:nvPr/>
          </p:nvCxnSpPr>
          <p:spPr>
            <a:xfrm>
              <a:off x="4251648" y="8604479"/>
              <a:ext cx="2004907" cy="327724"/>
            </a:xfrm>
            <a:prstGeom prst="line">
              <a:avLst/>
            </a:prstGeom>
            <a:ln w="28575">
              <a:solidFill>
                <a:srgbClr val="FF2C7F"/>
              </a:solidFill>
              <a:prstDash val="sysDot"/>
            </a:ln>
          </p:spPr>
          <p:style>
            <a:lnRef idx="1">
              <a:schemeClr val="accent1"/>
            </a:lnRef>
            <a:fillRef idx="0">
              <a:schemeClr val="accent1"/>
            </a:fillRef>
            <a:effectRef idx="0">
              <a:schemeClr val="accent1"/>
            </a:effectRef>
            <a:fontRef idx="minor">
              <a:schemeClr val="tx1"/>
            </a:fontRef>
          </p:style>
        </p:cxnSp>
        <p:cxnSp>
          <p:nvCxnSpPr>
            <p:cNvPr id="23" name="Conector reto 22">
              <a:extLst>
                <a:ext uri="{FF2B5EF4-FFF2-40B4-BE49-F238E27FC236}">
                  <a16:creationId xmlns:a16="http://schemas.microsoft.com/office/drawing/2014/main" id="{B458FC7F-7837-361B-2D35-7FD850E87F33}"/>
                </a:ext>
              </a:extLst>
            </p:cNvPr>
            <p:cNvCxnSpPr>
              <a:cxnSpLocks/>
            </p:cNvCxnSpPr>
            <p:nvPr/>
          </p:nvCxnSpPr>
          <p:spPr>
            <a:xfrm>
              <a:off x="6426674" y="8191074"/>
              <a:ext cx="11340000" cy="0"/>
            </a:xfrm>
            <a:prstGeom prst="line">
              <a:avLst/>
            </a:prstGeom>
            <a:ln>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sp>
          <p:nvSpPr>
            <p:cNvPr id="27" name="CaixaDeTexto 26">
              <a:extLst>
                <a:ext uri="{FF2B5EF4-FFF2-40B4-BE49-F238E27FC236}">
                  <a16:creationId xmlns:a16="http://schemas.microsoft.com/office/drawing/2014/main" id="{B3B6B04A-6625-82DD-7A67-36E4CE27AAE8}"/>
                </a:ext>
              </a:extLst>
            </p:cNvPr>
            <p:cNvSpPr txBox="1"/>
            <p:nvPr/>
          </p:nvSpPr>
          <p:spPr>
            <a:xfrm>
              <a:off x="11701462" y="6431393"/>
              <a:ext cx="6227987" cy="1200329"/>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7D43FF"/>
                  </a:solidFill>
                  <a:effectLst/>
                  <a:uLnTx/>
                  <a:uFillTx/>
                  <a:latin typeface="Montserrat Light" panose="00000400000000000000" pitchFamily="2" charset="0"/>
                  <a:ea typeface="+mn-ea"/>
                  <a:cs typeface="Arial"/>
                  <a:sym typeface="Arial"/>
                </a:rPr>
                <a:t>Product and Design Manag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7D43FF"/>
                  </a:solidFill>
                  <a:effectLst/>
                  <a:uLnTx/>
                  <a:uFillTx/>
                  <a:latin typeface="Montserrat Light" panose="00000400000000000000" pitchFamily="2" charset="0"/>
                  <a:ea typeface="+mn-ea"/>
                  <a:cs typeface="Arial"/>
                  <a:sym typeface="Arial"/>
                </a:rPr>
                <a:t>Continuous integration and feedback cultu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7D43FF"/>
                  </a:solidFill>
                  <a:effectLst/>
                  <a:uLnTx/>
                  <a:uFillTx/>
                  <a:latin typeface="Montserrat Light" panose="00000400000000000000" pitchFamily="2" charset="0"/>
                  <a:ea typeface="+mn-ea"/>
                  <a:cs typeface="Arial"/>
                  <a:sym typeface="Arial"/>
                </a:rPr>
                <a:t>Cross-product dependency manag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7D43FF"/>
                  </a:solidFill>
                  <a:effectLst/>
                  <a:uLnTx/>
                  <a:uFillTx/>
                  <a:latin typeface="Montserrat Light" panose="00000400000000000000" pitchFamily="2" charset="0"/>
                  <a:ea typeface="+mn-ea"/>
                  <a:cs typeface="Arial"/>
                  <a:sym typeface="Arial"/>
                </a:rPr>
                <a:t>Objective, value-based prioritization of functionality</a:t>
              </a:r>
            </a:p>
          </p:txBody>
        </p:sp>
        <p:cxnSp>
          <p:nvCxnSpPr>
            <p:cNvPr id="28" name="Conector reto 27">
              <a:extLst>
                <a:ext uri="{FF2B5EF4-FFF2-40B4-BE49-F238E27FC236}">
                  <a16:creationId xmlns:a16="http://schemas.microsoft.com/office/drawing/2014/main" id="{69572001-EACB-F5A1-DE25-B1DC1BBD81CC}"/>
                </a:ext>
              </a:extLst>
            </p:cNvPr>
            <p:cNvCxnSpPr>
              <a:cxnSpLocks/>
            </p:cNvCxnSpPr>
            <p:nvPr/>
          </p:nvCxnSpPr>
          <p:spPr>
            <a:xfrm>
              <a:off x="6426674" y="6430817"/>
              <a:ext cx="11340000" cy="0"/>
            </a:xfrm>
            <a:prstGeom prst="line">
              <a:avLst/>
            </a:prstGeom>
            <a:ln>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sp>
          <p:nvSpPr>
            <p:cNvPr id="30" name="Elipse 29">
              <a:extLst>
                <a:ext uri="{FF2B5EF4-FFF2-40B4-BE49-F238E27FC236}">
                  <a16:creationId xmlns:a16="http://schemas.microsoft.com/office/drawing/2014/main" id="{6B1E0621-0DD3-3AE8-1DE2-010817174D1E}"/>
                </a:ext>
              </a:extLst>
            </p:cNvPr>
            <p:cNvSpPr/>
            <p:nvPr/>
          </p:nvSpPr>
          <p:spPr>
            <a:xfrm>
              <a:off x="4602281" y="6798420"/>
              <a:ext cx="314325" cy="314325"/>
            </a:xfrm>
            <a:prstGeom prst="ellipse">
              <a:avLst/>
            </a:prstGeom>
            <a:solidFill>
              <a:srgbClr val="FF2C7F"/>
            </a:solidFill>
            <a:ln>
              <a:solidFill>
                <a:srgbClr val="7D43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212121"/>
                </a:solidFill>
                <a:effectLst/>
                <a:uLnTx/>
                <a:uFillTx/>
                <a:latin typeface="Arial"/>
                <a:ea typeface="+mn-ea"/>
                <a:cs typeface="+mn-cs"/>
                <a:sym typeface="Arial"/>
              </a:endParaRPr>
            </a:p>
          </p:txBody>
        </p:sp>
        <p:cxnSp>
          <p:nvCxnSpPr>
            <p:cNvPr id="31" name="Conector reto 30">
              <a:extLst>
                <a:ext uri="{FF2B5EF4-FFF2-40B4-BE49-F238E27FC236}">
                  <a16:creationId xmlns:a16="http://schemas.microsoft.com/office/drawing/2014/main" id="{CEF9E6FD-B9DE-F890-7476-E8C5A88722C7}"/>
                </a:ext>
              </a:extLst>
            </p:cNvPr>
            <p:cNvCxnSpPr>
              <a:cxnSpLocks/>
            </p:cNvCxnSpPr>
            <p:nvPr/>
          </p:nvCxnSpPr>
          <p:spPr>
            <a:xfrm>
              <a:off x="4926052" y="6993368"/>
              <a:ext cx="1408808" cy="352973"/>
            </a:xfrm>
            <a:prstGeom prst="line">
              <a:avLst/>
            </a:prstGeom>
            <a:ln w="28575">
              <a:solidFill>
                <a:srgbClr val="FF2C7F"/>
              </a:solidFill>
              <a:prstDash val="sysDot"/>
            </a:ln>
          </p:spPr>
          <p:style>
            <a:lnRef idx="1">
              <a:schemeClr val="accent1"/>
            </a:lnRef>
            <a:fillRef idx="0">
              <a:schemeClr val="accent1"/>
            </a:fillRef>
            <a:effectRef idx="0">
              <a:schemeClr val="accent1"/>
            </a:effectRef>
            <a:fontRef idx="minor">
              <a:schemeClr val="tx1"/>
            </a:fontRef>
          </p:style>
        </p:cxnSp>
        <p:sp>
          <p:nvSpPr>
            <p:cNvPr id="36" name="CaixaDeTexto 35">
              <a:extLst>
                <a:ext uri="{FF2B5EF4-FFF2-40B4-BE49-F238E27FC236}">
                  <a16:creationId xmlns:a16="http://schemas.microsoft.com/office/drawing/2014/main" id="{38E966FE-0CDD-1130-4C0B-5EB943A30F84}"/>
                </a:ext>
              </a:extLst>
            </p:cNvPr>
            <p:cNvSpPr txBox="1"/>
            <p:nvPr/>
          </p:nvSpPr>
          <p:spPr>
            <a:xfrm>
              <a:off x="6256555" y="4623099"/>
              <a:ext cx="5258426" cy="1754326"/>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1D2B45"/>
                  </a:solidFill>
                  <a:effectLst/>
                  <a:uLnTx/>
                  <a:uFillTx/>
                  <a:latin typeface="Montserrat Light" panose="00000400000000000000" pitchFamily="2" charset="0"/>
                  <a:ea typeface="+mn-ea"/>
                  <a:cs typeface="Arial"/>
                  <a:sym typeface="Arial"/>
                </a:rPr>
                <a:t>Product Mindset with Portfolio Manag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1D2B45"/>
                  </a:solidFill>
                  <a:effectLst/>
                  <a:uLnTx/>
                  <a:uFillTx/>
                  <a:latin typeface="Montserrat Light" panose="00000400000000000000" pitchFamily="2" charset="0"/>
                  <a:ea typeface="+mn-ea"/>
                  <a:cs typeface="Arial"/>
                  <a:sym typeface="Arial"/>
                </a:rPr>
                <a:t>Balanced delivery with customer focus and strateg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1D2B45"/>
                  </a:solidFill>
                  <a:effectLst/>
                  <a:uLnTx/>
                  <a:uFillTx/>
                  <a:latin typeface="Montserrat Light" panose="00000400000000000000" pitchFamily="2" charset="0"/>
                  <a:ea typeface="+mn-ea"/>
                  <a:cs typeface="Arial"/>
                  <a:sym typeface="Arial"/>
                </a:rPr>
                <a:t>Intelligence in customer respons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1D2B45"/>
                  </a:solidFill>
                  <a:effectLst/>
                  <a:uLnTx/>
                  <a:uFillTx/>
                  <a:latin typeface="Montserrat Light" panose="00000400000000000000" pitchFamily="2" charset="0"/>
                  <a:ea typeface="+mn-ea"/>
                  <a:cs typeface="Arial"/>
                  <a:sym typeface="Arial"/>
                </a:rPr>
                <a:t>Visibility from strategy to user story</a:t>
              </a:r>
            </a:p>
          </p:txBody>
        </p:sp>
        <p:sp>
          <p:nvSpPr>
            <p:cNvPr id="39" name="Elipse 38">
              <a:extLst>
                <a:ext uri="{FF2B5EF4-FFF2-40B4-BE49-F238E27FC236}">
                  <a16:creationId xmlns:a16="http://schemas.microsoft.com/office/drawing/2014/main" id="{8B84CE55-2725-A6FD-0CFA-BC9CBA8D5E82}"/>
                </a:ext>
              </a:extLst>
            </p:cNvPr>
            <p:cNvSpPr/>
            <p:nvPr/>
          </p:nvSpPr>
          <p:spPr>
            <a:xfrm>
              <a:off x="4871635" y="5338979"/>
              <a:ext cx="314325" cy="314325"/>
            </a:xfrm>
            <a:prstGeom prst="ellipse">
              <a:avLst/>
            </a:prstGeom>
            <a:solidFill>
              <a:srgbClr val="FF2C7F"/>
            </a:solidFill>
            <a:ln>
              <a:solidFill>
                <a:srgbClr val="7D43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212121"/>
                </a:solidFill>
                <a:effectLst/>
                <a:uLnTx/>
                <a:uFillTx/>
                <a:latin typeface="Arial"/>
                <a:ea typeface="+mn-ea"/>
                <a:cs typeface="+mn-cs"/>
                <a:sym typeface="Arial"/>
              </a:endParaRPr>
            </a:p>
          </p:txBody>
        </p:sp>
        <p:cxnSp>
          <p:nvCxnSpPr>
            <p:cNvPr id="46" name="Conector reto 45">
              <a:extLst>
                <a:ext uri="{FF2B5EF4-FFF2-40B4-BE49-F238E27FC236}">
                  <a16:creationId xmlns:a16="http://schemas.microsoft.com/office/drawing/2014/main" id="{7AF8B5AE-AA86-DF3F-A1F9-F40A63CE9555}"/>
                </a:ext>
              </a:extLst>
            </p:cNvPr>
            <p:cNvCxnSpPr>
              <a:cxnSpLocks/>
            </p:cNvCxnSpPr>
            <p:nvPr/>
          </p:nvCxnSpPr>
          <p:spPr>
            <a:xfrm>
              <a:off x="5185960" y="5496142"/>
              <a:ext cx="1070595" cy="4120"/>
            </a:xfrm>
            <a:prstGeom prst="line">
              <a:avLst/>
            </a:prstGeom>
            <a:ln w="28575">
              <a:solidFill>
                <a:srgbClr val="FF2C7F"/>
              </a:solidFill>
              <a:prstDash val="sysDot"/>
            </a:ln>
          </p:spPr>
          <p:style>
            <a:lnRef idx="1">
              <a:schemeClr val="accent1"/>
            </a:lnRef>
            <a:fillRef idx="0">
              <a:schemeClr val="accent1"/>
            </a:fillRef>
            <a:effectRef idx="0">
              <a:schemeClr val="accent1"/>
            </a:effectRef>
            <a:fontRef idx="minor">
              <a:schemeClr val="tx1"/>
            </a:fontRef>
          </p:style>
        </p:cxnSp>
        <p:sp>
          <p:nvSpPr>
            <p:cNvPr id="59" name="Elipse 58">
              <a:extLst>
                <a:ext uri="{FF2B5EF4-FFF2-40B4-BE49-F238E27FC236}">
                  <a16:creationId xmlns:a16="http://schemas.microsoft.com/office/drawing/2014/main" id="{00660C3B-51C4-1518-6D08-34D539594FAB}"/>
                </a:ext>
              </a:extLst>
            </p:cNvPr>
            <p:cNvSpPr/>
            <p:nvPr/>
          </p:nvSpPr>
          <p:spPr>
            <a:xfrm>
              <a:off x="5137370" y="3472706"/>
              <a:ext cx="314325" cy="314325"/>
            </a:xfrm>
            <a:prstGeom prst="ellipse">
              <a:avLst/>
            </a:prstGeom>
            <a:solidFill>
              <a:srgbClr val="FF2C7F"/>
            </a:solidFill>
            <a:ln>
              <a:solidFill>
                <a:srgbClr val="7D43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212121"/>
                </a:solidFill>
                <a:effectLst/>
                <a:uLnTx/>
                <a:uFillTx/>
                <a:latin typeface="Arial"/>
                <a:ea typeface="+mn-ea"/>
                <a:cs typeface="+mn-cs"/>
                <a:sym typeface="Arial"/>
              </a:endParaRPr>
            </a:p>
          </p:txBody>
        </p:sp>
        <p:cxnSp>
          <p:nvCxnSpPr>
            <p:cNvPr id="60" name="Conector reto 59">
              <a:extLst>
                <a:ext uri="{FF2B5EF4-FFF2-40B4-BE49-F238E27FC236}">
                  <a16:creationId xmlns:a16="http://schemas.microsoft.com/office/drawing/2014/main" id="{DE7A0F19-A771-E0DF-ED47-F7D6436825CE}"/>
                </a:ext>
              </a:extLst>
            </p:cNvPr>
            <p:cNvCxnSpPr>
              <a:cxnSpLocks/>
            </p:cNvCxnSpPr>
            <p:nvPr/>
          </p:nvCxnSpPr>
          <p:spPr>
            <a:xfrm>
              <a:off x="6426674" y="4549136"/>
              <a:ext cx="11340000" cy="0"/>
            </a:xfrm>
            <a:prstGeom prst="line">
              <a:avLst/>
            </a:prstGeom>
            <a:ln>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sp>
          <p:nvSpPr>
            <p:cNvPr id="67" name="CaixaDeTexto 66">
              <a:extLst>
                <a:ext uri="{FF2B5EF4-FFF2-40B4-BE49-F238E27FC236}">
                  <a16:creationId xmlns:a16="http://schemas.microsoft.com/office/drawing/2014/main" id="{E6D8E4BE-BFE3-AB52-1E8B-27E02BCB6264}"/>
                </a:ext>
              </a:extLst>
            </p:cNvPr>
            <p:cNvSpPr txBox="1"/>
            <p:nvPr/>
          </p:nvSpPr>
          <p:spPr>
            <a:xfrm>
              <a:off x="6256556" y="2746215"/>
              <a:ext cx="5451626" cy="1754326"/>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1D2B45"/>
                  </a:solidFill>
                  <a:effectLst/>
                  <a:uLnTx/>
                  <a:uFillTx/>
                  <a:latin typeface="Montserrat Light" panose="00000400000000000000" pitchFamily="2" charset="0"/>
                  <a:ea typeface="+mn-ea"/>
                  <a:cs typeface="Arial"/>
                  <a:sym typeface="Arial"/>
                </a:rPr>
                <a:t>Corporate visibility and transparency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1D2B45"/>
                  </a:solidFill>
                  <a:effectLst/>
                  <a:uLnTx/>
                  <a:uFillTx/>
                  <a:latin typeface="Montserrat Light" panose="00000400000000000000" pitchFamily="2" charset="0"/>
                  <a:ea typeface="+mn-ea"/>
                  <a:cs typeface="Arial"/>
                  <a:sym typeface="Arial"/>
                </a:rPr>
                <a:t>Strategic alignment of business objectives and value stream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1D2B45"/>
                  </a:solidFill>
                  <a:effectLst/>
                  <a:uLnTx/>
                  <a:uFillTx/>
                  <a:latin typeface="Montserrat Light" panose="00000400000000000000" pitchFamily="2" charset="0"/>
                  <a:ea typeface="+mn-ea"/>
                  <a:cs typeface="Arial"/>
                  <a:sym typeface="Arial"/>
                </a:rPr>
                <a:t>Investments aligned with business objectiv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1D2B45"/>
                  </a:solidFill>
                  <a:effectLst/>
                  <a:uLnTx/>
                  <a:uFillTx/>
                  <a:latin typeface="Montserrat Light" panose="00000400000000000000" pitchFamily="2" charset="0"/>
                  <a:ea typeface="+mn-ea"/>
                  <a:cs typeface="Arial"/>
                  <a:sym typeface="Arial"/>
                </a:rPr>
                <a:t>Organizational flexibility reacting to changes</a:t>
              </a:r>
            </a:p>
          </p:txBody>
        </p:sp>
        <p:sp>
          <p:nvSpPr>
            <p:cNvPr id="68" name="CaixaDeTexto 67">
              <a:extLst>
                <a:ext uri="{FF2B5EF4-FFF2-40B4-BE49-F238E27FC236}">
                  <a16:creationId xmlns:a16="http://schemas.microsoft.com/office/drawing/2014/main" id="{1C8C0C2F-6F00-46E3-4868-3E1A64AF456C}"/>
                </a:ext>
              </a:extLst>
            </p:cNvPr>
            <p:cNvSpPr txBox="1"/>
            <p:nvPr/>
          </p:nvSpPr>
          <p:spPr>
            <a:xfrm>
              <a:off x="11701462" y="2746215"/>
              <a:ext cx="6227987" cy="1477328"/>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7D43FF"/>
                  </a:solidFill>
                  <a:effectLst/>
                  <a:uLnTx/>
                  <a:uFillTx/>
                  <a:latin typeface="Montserrat Light" panose="00000400000000000000" pitchFamily="2" charset="0"/>
                  <a:ea typeface="+mn-ea"/>
                  <a:cs typeface="Arial"/>
                  <a:sym typeface="Arial"/>
                </a:rPr>
                <a:t>Corporate Technological Platform throughout the organiz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7D43FF"/>
                  </a:solidFill>
                  <a:effectLst/>
                  <a:uLnTx/>
                  <a:uFillTx/>
                  <a:latin typeface="Montserrat Light" panose="00000400000000000000" pitchFamily="2" charset="0"/>
                  <a:ea typeface="+mn-ea"/>
                  <a:cs typeface="Arial"/>
                  <a:sym typeface="Arial"/>
                </a:rPr>
                <a:t>Monitoring strategic objectives and resul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7D43FF"/>
                  </a:solidFill>
                  <a:effectLst/>
                  <a:uLnTx/>
                  <a:uFillTx/>
                  <a:latin typeface="Montserrat Light" panose="00000400000000000000" pitchFamily="2" charset="0"/>
                  <a:ea typeface="+mn-ea"/>
                  <a:cs typeface="Arial"/>
                  <a:sym typeface="Arial"/>
                </a:rPr>
                <a:t>OKR-based investment monitor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7D43FF"/>
                  </a:solidFill>
                  <a:effectLst/>
                  <a:uLnTx/>
                  <a:uFillTx/>
                  <a:latin typeface="Montserrat Light" panose="00000400000000000000" pitchFamily="2" charset="0"/>
                  <a:ea typeface="+mn-ea"/>
                  <a:cs typeface="Arial"/>
                  <a:sym typeface="Arial"/>
                </a:rPr>
                <a:t>Monitoring strategic investments and prioritization</a:t>
              </a:r>
            </a:p>
          </p:txBody>
        </p:sp>
        <p:cxnSp>
          <p:nvCxnSpPr>
            <p:cNvPr id="69" name="Conector reto 68">
              <a:extLst>
                <a:ext uri="{FF2B5EF4-FFF2-40B4-BE49-F238E27FC236}">
                  <a16:creationId xmlns:a16="http://schemas.microsoft.com/office/drawing/2014/main" id="{9568E749-EE4F-D9F9-259C-6BD1DCF9200E}"/>
                </a:ext>
              </a:extLst>
            </p:cNvPr>
            <p:cNvCxnSpPr>
              <a:cxnSpLocks/>
            </p:cNvCxnSpPr>
            <p:nvPr/>
          </p:nvCxnSpPr>
          <p:spPr>
            <a:xfrm flipV="1">
              <a:off x="5451695" y="3623378"/>
              <a:ext cx="804861" cy="6491"/>
            </a:xfrm>
            <a:prstGeom prst="line">
              <a:avLst/>
            </a:prstGeom>
            <a:ln w="28575">
              <a:solidFill>
                <a:srgbClr val="FF2C7F"/>
              </a:solidFill>
              <a:prstDash val="sysDot"/>
            </a:ln>
          </p:spPr>
          <p:style>
            <a:lnRef idx="1">
              <a:schemeClr val="accent1"/>
            </a:lnRef>
            <a:fillRef idx="0">
              <a:schemeClr val="accent1"/>
            </a:fillRef>
            <a:effectRef idx="0">
              <a:schemeClr val="accent1"/>
            </a:effectRef>
            <a:fontRef idx="minor">
              <a:schemeClr val="tx1"/>
            </a:fontRef>
          </p:style>
        </p:cxnSp>
        <p:sp>
          <p:nvSpPr>
            <p:cNvPr id="81" name="CaixaDeTexto 80">
              <a:extLst>
                <a:ext uri="{FF2B5EF4-FFF2-40B4-BE49-F238E27FC236}">
                  <a16:creationId xmlns:a16="http://schemas.microsoft.com/office/drawing/2014/main" id="{07F9B27B-647D-DA90-ECB3-A99F9F077ED1}"/>
                </a:ext>
              </a:extLst>
            </p:cNvPr>
            <p:cNvSpPr txBox="1"/>
            <p:nvPr/>
          </p:nvSpPr>
          <p:spPr>
            <a:xfrm>
              <a:off x="6972250" y="2213194"/>
              <a:ext cx="3236785" cy="400110"/>
            </a:xfrm>
            <a:prstGeom prst="rect">
              <a:avLst/>
            </a:prstGeom>
            <a:noFill/>
          </p:spPr>
          <p:txBody>
            <a:bodyPr wrap="square" lIns="91440" tIns="45720" rIns="91440" bIns="45720" rtlCol="0" anchor="t">
              <a:spAutoFit/>
            </a:bodyPr>
            <a:lstStyle>
              <a:defPPr>
                <a:defRPr lang="en-US"/>
              </a:defPPr>
              <a:lvl1pPr algn="ctr">
                <a:defRPr b="1">
                  <a:solidFill>
                    <a:srgbClr val="FF2C7F"/>
                  </a:solidFill>
                  <a:latin typeface="Montserrat Light" panose="00000400000000000000" pitchFamily="2" charset="0"/>
                </a:defRPr>
              </a:lvl1p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US" sz="2000" b="1" i="1" u="none" strike="noStrike" kern="1200" cap="none" spc="0" normalizeH="0" baseline="0" noProof="0">
                  <a:ln>
                    <a:noFill/>
                  </a:ln>
                  <a:solidFill>
                    <a:srgbClr val="FFFFFF"/>
                  </a:solidFill>
                  <a:effectLst/>
                  <a:highlight>
                    <a:srgbClr val="7D43FF"/>
                  </a:highlight>
                  <a:uLnTx/>
                  <a:uFillTx/>
                  <a:latin typeface="Montserrat Light"/>
                  <a:ea typeface="+mn-ea"/>
                  <a:cs typeface="Arial"/>
                  <a:sym typeface="Arial"/>
                </a:rPr>
                <a:t> ATRIBUTTES </a:t>
              </a:r>
            </a:p>
          </p:txBody>
        </p:sp>
        <p:sp>
          <p:nvSpPr>
            <p:cNvPr id="82" name="CaixaDeTexto 81">
              <a:extLst>
                <a:ext uri="{FF2B5EF4-FFF2-40B4-BE49-F238E27FC236}">
                  <a16:creationId xmlns:a16="http://schemas.microsoft.com/office/drawing/2014/main" id="{21273564-FFEF-D9C8-1029-34F1AF87D4AC}"/>
                </a:ext>
              </a:extLst>
            </p:cNvPr>
            <p:cNvSpPr txBox="1"/>
            <p:nvPr/>
          </p:nvSpPr>
          <p:spPr>
            <a:xfrm>
              <a:off x="12244337" y="2213194"/>
              <a:ext cx="3236785" cy="400110"/>
            </a:xfrm>
            <a:prstGeom prst="rect">
              <a:avLst/>
            </a:prstGeom>
            <a:noFill/>
          </p:spPr>
          <p:txBody>
            <a:bodyPr wrap="square" lIns="91440" tIns="45720" rIns="91440" bIns="45720" rtlCol="0" anchor="t">
              <a:spAutoFit/>
            </a:bodyPr>
            <a:lstStyle>
              <a:defPPr>
                <a:defRPr lang="en-US"/>
              </a:defPPr>
              <a:lvl1pPr algn="ctr">
                <a:defRPr b="1">
                  <a:solidFill>
                    <a:srgbClr val="FF2C7F"/>
                  </a:solidFill>
                  <a:latin typeface="Montserrat Light" panose="00000400000000000000" pitchFamily="2" charset="0"/>
                </a:defRPr>
              </a:lvl1p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US" sz="2000" b="1" i="1" u="none" strike="noStrike" kern="1200" cap="none" spc="0" normalizeH="0" baseline="0" noProof="0">
                  <a:ln>
                    <a:noFill/>
                  </a:ln>
                  <a:solidFill>
                    <a:srgbClr val="FFFFFF"/>
                  </a:solidFill>
                  <a:effectLst/>
                  <a:highlight>
                    <a:srgbClr val="7D43FF"/>
                  </a:highlight>
                  <a:uLnTx/>
                  <a:uFillTx/>
                  <a:latin typeface="Montserrat Light"/>
                  <a:ea typeface="+mn-ea"/>
                  <a:cs typeface="Arial"/>
                  <a:sym typeface="Arial"/>
                </a:rPr>
                <a:t> CAPABILITIES </a:t>
              </a:r>
            </a:p>
          </p:txBody>
        </p:sp>
      </p:grpSp>
      <p:sp>
        <p:nvSpPr>
          <p:cNvPr id="5" name="CaixaDeTexto 4">
            <a:extLst>
              <a:ext uri="{FF2B5EF4-FFF2-40B4-BE49-F238E27FC236}">
                <a16:creationId xmlns:a16="http://schemas.microsoft.com/office/drawing/2014/main" id="{D4783D16-CD33-5D13-491A-0929434FBD3B}"/>
              </a:ext>
            </a:extLst>
          </p:cNvPr>
          <p:cNvSpPr txBox="1"/>
          <p:nvPr/>
        </p:nvSpPr>
        <p:spPr>
          <a:xfrm>
            <a:off x="600997" y="1533839"/>
            <a:ext cx="6645616" cy="523220"/>
          </a:xfrm>
          <a:prstGeom prst="rect">
            <a:avLst/>
          </a:prstGeom>
          <a:noFill/>
        </p:spPr>
        <p:txBody>
          <a:bodyPr wrap="square" lIns="91440" tIns="45720" rIns="91440" bIns="45720" rtlCol="0" anchor="t">
            <a:spAutoFit/>
          </a:bodyPr>
          <a:lstStyle>
            <a:defPPr>
              <a:defRPr lang="en-US"/>
            </a:defPPr>
            <a:lvl1pPr algn="ctr">
              <a:defRPr b="1">
                <a:solidFill>
                  <a:srgbClr val="FF2C7F"/>
                </a:solidFill>
                <a:latin typeface="Montserrat Light" panose="00000400000000000000" pitchFamily="2"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6816FF"/>
                </a:solidFill>
                <a:effectLst/>
                <a:uLnTx/>
                <a:uFillTx/>
                <a:latin typeface="Montserrat Light"/>
                <a:ea typeface="+mn-ea"/>
                <a:cs typeface="Arial"/>
                <a:sym typeface="Arial"/>
              </a:rPr>
              <a:t>Start from Where you are</a:t>
            </a:r>
            <a:endParaRPr lang="en-US" sz="2800" b="1" i="0" u="none" strike="noStrike" kern="1200" cap="none" spc="0" normalizeH="0" baseline="0" noProof="0">
              <a:ln>
                <a:noFill/>
              </a:ln>
              <a:solidFill>
                <a:srgbClr val="6816FF"/>
              </a:solidFill>
              <a:effectLst/>
              <a:uLnTx/>
              <a:uFillTx/>
              <a:latin typeface="Montserrat Light"/>
              <a:ea typeface="+mn-ea"/>
              <a:cs typeface="Arial"/>
            </a:endParaRPr>
          </a:p>
        </p:txBody>
      </p:sp>
      <p:pic>
        <p:nvPicPr>
          <p:cNvPr id="10" name="object 2" descr="Imagem em preto e branco&#10;&#10;O conteúdo gerado por IA pode estar incorreto.">
            <a:extLst>
              <a:ext uri="{FF2B5EF4-FFF2-40B4-BE49-F238E27FC236}">
                <a16:creationId xmlns:a16="http://schemas.microsoft.com/office/drawing/2014/main" id="{112756FA-5CA2-1772-016A-D66412C2FE21}"/>
              </a:ext>
            </a:extLst>
          </p:cNvPr>
          <p:cNvPicPr/>
          <p:nvPr/>
        </p:nvPicPr>
        <p:blipFill>
          <a:blip r:embed="rId2" cstate="print">
            <a:alphaModFix amt="4000"/>
          </a:blip>
          <a:stretch>
            <a:fillRect/>
          </a:stretch>
        </p:blipFill>
        <p:spPr>
          <a:xfrm>
            <a:off x="3867" y="0"/>
            <a:ext cx="4146331" cy="10287000"/>
          </a:xfrm>
          <a:prstGeom prst="rect">
            <a:avLst/>
          </a:prstGeom>
        </p:spPr>
      </p:pic>
      <p:grpSp>
        <p:nvGrpSpPr>
          <p:cNvPr id="9" name="Group 7">
            <a:extLst>
              <a:ext uri="{FF2B5EF4-FFF2-40B4-BE49-F238E27FC236}">
                <a16:creationId xmlns:a16="http://schemas.microsoft.com/office/drawing/2014/main" id="{BCA28038-72DF-0947-B98D-D1DFF75985E4}"/>
              </a:ext>
            </a:extLst>
          </p:cNvPr>
          <p:cNvGrpSpPr/>
          <p:nvPr/>
        </p:nvGrpSpPr>
        <p:grpSpPr>
          <a:xfrm>
            <a:off x="10332866" y="1312152"/>
            <a:ext cx="612363" cy="56823"/>
            <a:chOff x="0" y="0"/>
            <a:chExt cx="1078484" cy="100076"/>
          </a:xfrm>
        </p:grpSpPr>
        <p:sp>
          <p:nvSpPr>
            <p:cNvPr id="7" name="Freeform 8">
              <a:extLst>
                <a:ext uri="{FF2B5EF4-FFF2-40B4-BE49-F238E27FC236}">
                  <a16:creationId xmlns:a16="http://schemas.microsoft.com/office/drawing/2014/main" id="{4EA28B00-2EA4-6076-7072-E4F0CAC4E8E9}"/>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spTree>
    <p:extLst>
      <p:ext uri="{BB962C8B-B14F-4D97-AF65-F5344CB8AC3E}">
        <p14:creationId xmlns:p14="http://schemas.microsoft.com/office/powerpoint/2010/main" val="16375357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738"/>
        <p:cNvGrpSpPr/>
        <p:nvPr/>
      </p:nvGrpSpPr>
      <p:grpSpPr>
        <a:xfrm>
          <a:off x="0" y="0"/>
          <a:ext cx="0" cy="0"/>
          <a:chOff x="0" y="0"/>
          <a:chExt cx="0" cy="0"/>
        </a:xfrm>
      </p:grpSpPr>
      <p:sp>
        <p:nvSpPr>
          <p:cNvPr id="739" name="Google Shape;739;p24"/>
          <p:cNvSpPr txBox="1"/>
          <p:nvPr/>
        </p:nvSpPr>
        <p:spPr>
          <a:xfrm>
            <a:off x="8513485" y="3140601"/>
            <a:ext cx="3556200" cy="1099800"/>
          </a:xfrm>
          <a:prstGeom prst="rect">
            <a:avLst/>
          </a:prstGeom>
          <a:noFill/>
          <a:ln>
            <a:noFill/>
          </a:ln>
        </p:spPr>
        <p:txBody>
          <a:bodyPr spcFirstLastPara="1" wrap="square" lIns="182850" tIns="182850" rIns="182850" bIns="182850" anchor="t" anchorCtr="0">
            <a:noAutofit/>
          </a:bodyPr>
          <a:lstStyle/>
          <a:p>
            <a:pPr algn="ctr" defTabSz="1828800">
              <a:lnSpc>
                <a:spcPct val="115000"/>
              </a:lnSpc>
              <a:spcBef>
                <a:spcPts val="3200"/>
              </a:spcBef>
              <a:spcAft>
                <a:spcPts val="3200"/>
              </a:spcAft>
              <a:buSzPts val="800"/>
            </a:pPr>
            <a:r>
              <a:rPr lang="en-US" sz="2000" b="1" dirty="0">
                <a:solidFill>
                  <a:srgbClr val="FFFFFF"/>
                </a:solidFill>
                <a:highlight>
                  <a:srgbClr val="6800FF"/>
                </a:highlight>
                <a:latin typeface="Montserrat"/>
                <a:sym typeface="Montserrat"/>
              </a:rPr>
              <a:t>Discovering</a:t>
            </a:r>
            <a:r>
              <a:rPr lang="en-US" sz="2000" b="1" i="1" dirty="0">
                <a:solidFill>
                  <a:srgbClr val="FFFFFF"/>
                </a:solidFill>
                <a:latin typeface="Montserrat"/>
                <a:sym typeface="Montserrat"/>
              </a:rPr>
              <a:t> </a:t>
            </a:r>
            <a:r>
              <a:rPr lang="en-US" sz="2000" dirty="0">
                <a:solidFill>
                  <a:schemeClr val="bg1"/>
                </a:solidFill>
                <a:latin typeface="Montserrat"/>
                <a:sym typeface="Montserrat"/>
              </a:rPr>
              <a:t>the right course of action</a:t>
            </a:r>
            <a:endParaRPr lang="en-US" sz="2000" noProof="0" dirty="0">
              <a:solidFill>
                <a:schemeClr val="bg1"/>
              </a:solidFill>
              <a:latin typeface="Montserrat Light"/>
              <a:ea typeface="Montserrat Light"/>
              <a:cs typeface="Montserrat Light"/>
              <a:sym typeface="Montserrat Light"/>
            </a:endParaRPr>
          </a:p>
        </p:txBody>
      </p:sp>
      <p:sp>
        <p:nvSpPr>
          <p:cNvPr id="740" name="Google Shape;740;p24"/>
          <p:cNvSpPr txBox="1"/>
          <p:nvPr/>
        </p:nvSpPr>
        <p:spPr>
          <a:xfrm>
            <a:off x="860811" y="4648879"/>
            <a:ext cx="3543600" cy="301621"/>
          </a:xfrm>
          <a:prstGeom prst="rect">
            <a:avLst/>
          </a:prstGeom>
          <a:noFill/>
          <a:ln>
            <a:noFill/>
          </a:ln>
        </p:spPr>
        <p:txBody>
          <a:bodyPr spcFirstLastPara="1" wrap="square" lIns="0" tIns="0" rIns="0" bIns="0" anchor="t" anchorCtr="0">
            <a:spAutoFit/>
          </a:bodyPr>
          <a:lstStyle/>
          <a:p>
            <a:pPr algn="r" defTabSz="1828800">
              <a:lnSpc>
                <a:spcPct val="140000"/>
              </a:lnSpc>
            </a:pPr>
            <a:r>
              <a:rPr lang="en-US" b="1" noProof="0">
                <a:latin typeface="Montserrat"/>
                <a:ea typeface="Montserrat"/>
                <a:cs typeface="Montserrat"/>
                <a:sym typeface="Montserrat"/>
              </a:rPr>
              <a:t>Digital Process Automation (DPA)​</a:t>
            </a:r>
            <a:endParaRPr lang="en-US" sz="1200" b="1" noProof="0"/>
          </a:p>
        </p:txBody>
      </p:sp>
      <p:sp>
        <p:nvSpPr>
          <p:cNvPr id="741" name="Google Shape;741;p24"/>
          <p:cNvSpPr txBox="1"/>
          <p:nvPr/>
        </p:nvSpPr>
        <p:spPr>
          <a:xfrm>
            <a:off x="1591161" y="5384162"/>
            <a:ext cx="2817600" cy="301621"/>
          </a:xfrm>
          <a:prstGeom prst="rect">
            <a:avLst/>
          </a:prstGeom>
          <a:noFill/>
          <a:ln>
            <a:noFill/>
          </a:ln>
        </p:spPr>
        <p:txBody>
          <a:bodyPr spcFirstLastPara="1" wrap="square" lIns="0" tIns="0" rIns="0" bIns="0" anchor="t" anchorCtr="0">
            <a:spAutoFit/>
          </a:bodyPr>
          <a:lstStyle/>
          <a:p>
            <a:pPr algn="r" defTabSz="1828800">
              <a:lnSpc>
                <a:spcPct val="140000"/>
              </a:lnSpc>
            </a:pPr>
            <a:r>
              <a:rPr lang="en-US" b="1" noProof="0">
                <a:latin typeface="Montserrat"/>
                <a:ea typeface="Montserrat"/>
                <a:cs typeface="Montserrat"/>
                <a:sym typeface="Montserrat"/>
              </a:rPr>
              <a:t>Low-Code Applications (LCA)​</a:t>
            </a:r>
            <a:endParaRPr lang="en-US" b="1" noProof="0"/>
          </a:p>
        </p:txBody>
      </p:sp>
      <p:sp>
        <p:nvSpPr>
          <p:cNvPr id="742" name="Google Shape;742;p24"/>
          <p:cNvSpPr txBox="1"/>
          <p:nvPr/>
        </p:nvSpPr>
        <p:spPr>
          <a:xfrm>
            <a:off x="1120033" y="6093413"/>
            <a:ext cx="3284400" cy="301621"/>
          </a:xfrm>
          <a:prstGeom prst="rect">
            <a:avLst/>
          </a:prstGeom>
          <a:noFill/>
          <a:ln>
            <a:noFill/>
          </a:ln>
        </p:spPr>
        <p:txBody>
          <a:bodyPr spcFirstLastPara="1" wrap="square" lIns="0" tIns="0" rIns="0" bIns="0" anchor="t" anchorCtr="0">
            <a:spAutoFit/>
          </a:bodyPr>
          <a:lstStyle/>
          <a:p>
            <a:pPr algn="r" defTabSz="1828800">
              <a:lnSpc>
                <a:spcPct val="140000"/>
              </a:lnSpc>
            </a:pPr>
            <a:r>
              <a:rPr lang="en-US" b="1" noProof="0">
                <a:latin typeface="Montserrat"/>
                <a:ea typeface="Montserrat"/>
                <a:cs typeface="Montserrat"/>
                <a:sym typeface="Montserrat"/>
              </a:rPr>
              <a:t>Business Intelligence (BI)​</a:t>
            </a:r>
            <a:endParaRPr lang="en-US" b="1" noProof="0"/>
          </a:p>
        </p:txBody>
      </p:sp>
      <p:sp>
        <p:nvSpPr>
          <p:cNvPr id="743" name="Google Shape;743;p24"/>
          <p:cNvSpPr txBox="1"/>
          <p:nvPr/>
        </p:nvSpPr>
        <p:spPr>
          <a:xfrm>
            <a:off x="411561" y="6712449"/>
            <a:ext cx="3997200" cy="301621"/>
          </a:xfrm>
          <a:prstGeom prst="rect">
            <a:avLst/>
          </a:prstGeom>
          <a:noFill/>
          <a:ln>
            <a:noFill/>
          </a:ln>
        </p:spPr>
        <p:txBody>
          <a:bodyPr spcFirstLastPara="1" wrap="square" lIns="0" tIns="0" rIns="0" bIns="0" anchor="t" anchorCtr="0">
            <a:spAutoFit/>
          </a:bodyPr>
          <a:lstStyle/>
          <a:p>
            <a:pPr algn="r" defTabSz="1828800">
              <a:lnSpc>
                <a:spcPct val="140000"/>
              </a:lnSpc>
            </a:pPr>
            <a:r>
              <a:rPr lang="en-US" b="1" noProof="0">
                <a:latin typeface="Montserrat"/>
                <a:ea typeface="Montserrat"/>
                <a:cs typeface="Montserrat"/>
                <a:sym typeface="Montserrat"/>
              </a:rPr>
              <a:t>Business Process Management (BPM)​</a:t>
            </a:r>
            <a:endParaRPr lang="en-US" b="1" noProof="0"/>
          </a:p>
        </p:txBody>
      </p:sp>
      <p:sp>
        <p:nvSpPr>
          <p:cNvPr id="744" name="Google Shape;744;p24"/>
          <p:cNvSpPr txBox="1"/>
          <p:nvPr/>
        </p:nvSpPr>
        <p:spPr>
          <a:xfrm>
            <a:off x="1256083" y="7485851"/>
            <a:ext cx="3148200" cy="301621"/>
          </a:xfrm>
          <a:prstGeom prst="rect">
            <a:avLst/>
          </a:prstGeom>
          <a:noFill/>
          <a:ln>
            <a:noFill/>
          </a:ln>
        </p:spPr>
        <p:txBody>
          <a:bodyPr spcFirstLastPara="1" wrap="square" lIns="0" tIns="0" rIns="0" bIns="0" anchor="t" anchorCtr="0">
            <a:spAutoFit/>
          </a:bodyPr>
          <a:lstStyle/>
          <a:p>
            <a:pPr algn="r" defTabSz="1828800">
              <a:lnSpc>
                <a:spcPct val="140000"/>
              </a:lnSpc>
            </a:pPr>
            <a:r>
              <a:rPr lang="en-US" b="1" noProof="0">
                <a:latin typeface="Montserrat"/>
                <a:ea typeface="Montserrat"/>
                <a:cs typeface="Montserrat"/>
                <a:sym typeface="Montserrat"/>
              </a:rPr>
              <a:t>Process Mining (PM)</a:t>
            </a:r>
            <a:endParaRPr lang="en-US" b="1" noProof="0"/>
          </a:p>
        </p:txBody>
      </p:sp>
      <p:sp>
        <p:nvSpPr>
          <p:cNvPr id="745" name="Google Shape;745;p24"/>
          <p:cNvSpPr txBox="1"/>
          <p:nvPr/>
        </p:nvSpPr>
        <p:spPr>
          <a:xfrm>
            <a:off x="848083" y="8473853"/>
            <a:ext cx="3556200" cy="387798"/>
          </a:xfrm>
          <a:prstGeom prst="rect">
            <a:avLst/>
          </a:prstGeom>
          <a:noFill/>
          <a:ln>
            <a:noFill/>
          </a:ln>
        </p:spPr>
        <p:txBody>
          <a:bodyPr spcFirstLastPara="1" wrap="square" lIns="0" tIns="0" rIns="0" bIns="0" anchor="t" anchorCtr="0">
            <a:spAutoFit/>
          </a:bodyPr>
          <a:lstStyle/>
          <a:p>
            <a:pPr algn="r" defTabSz="1828800">
              <a:lnSpc>
                <a:spcPct val="140021"/>
              </a:lnSpc>
            </a:pPr>
            <a:r>
              <a:rPr lang="en-US" sz="1800" b="1" noProof="0">
                <a:solidFill>
                  <a:srgbClr val="6800FF"/>
                </a:solidFill>
                <a:latin typeface="Montserrat"/>
                <a:ea typeface="Montserrat"/>
                <a:cs typeface="Montserrat"/>
                <a:sym typeface="Montserrat"/>
              </a:rPr>
              <a:t>Qintess Offer​</a:t>
            </a:r>
            <a:endParaRPr lang="en-US" noProof="0"/>
          </a:p>
        </p:txBody>
      </p:sp>
      <p:sp>
        <p:nvSpPr>
          <p:cNvPr id="746" name="Google Shape;746;p24"/>
          <p:cNvSpPr txBox="1"/>
          <p:nvPr/>
        </p:nvSpPr>
        <p:spPr>
          <a:xfrm>
            <a:off x="4949297" y="6584367"/>
            <a:ext cx="11870400" cy="377400"/>
          </a:xfrm>
          <a:prstGeom prst="rect">
            <a:avLst/>
          </a:prstGeom>
          <a:noFill/>
          <a:ln>
            <a:noFill/>
          </a:ln>
        </p:spPr>
        <p:txBody>
          <a:bodyPr spcFirstLastPara="1" wrap="square" lIns="50800" tIns="50800" rIns="50800" bIns="50800" anchor="ctr" anchorCtr="0">
            <a:noAutofit/>
          </a:bodyPr>
          <a:lstStyle/>
          <a:p>
            <a:pPr algn="ctr" defTabSz="1828800">
              <a:lnSpc>
                <a:spcPct val="147722"/>
              </a:lnSpc>
            </a:pPr>
            <a:endParaRPr lang="en-US" sz="1800" noProof="0">
              <a:latin typeface="Calibri"/>
              <a:ea typeface="Calibri"/>
              <a:cs typeface="Calibri"/>
              <a:sym typeface="Calibri"/>
            </a:endParaRPr>
          </a:p>
        </p:txBody>
      </p:sp>
      <p:sp>
        <p:nvSpPr>
          <p:cNvPr id="749" name="Google Shape;749;p24"/>
          <p:cNvSpPr txBox="1"/>
          <p:nvPr/>
        </p:nvSpPr>
        <p:spPr>
          <a:xfrm>
            <a:off x="3761493" y="3140583"/>
            <a:ext cx="4158000" cy="1099800"/>
          </a:xfrm>
          <a:prstGeom prst="rect">
            <a:avLst/>
          </a:prstGeom>
          <a:noFill/>
          <a:ln>
            <a:noFill/>
          </a:ln>
        </p:spPr>
        <p:txBody>
          <a:bodyPr spcFirstLastPara="1" wrap="square" lIns="182850" tIns="182850" rIns="182850" bIns="182850" anchor="t" anchorCtr="0">
            <a:noAutofit/>
          </a:bodyPr>
          <a:lstStyle/>
          <a:p>
            <a:pPr algn="ctr" defTabSz="1828800">
              <a:lnSpc>
                <a:spcPct val="114999"/>
              </a:lnSpc>
              <a:spcBef>
                <a:spcPts val="3200"/>
              </a:spcBef>
              <a:spcAft>
                <a:spcPts val="3200"/>
              </a:spcAft>
            </a:pPr>
            <a:r>
              <a:rPr lang="en-US" sz="2000" b="1" dirty="0">
                <a:solidFill>
                  <a:srgbClr val="FFFFFF"/>
                </a:solidFill>
                <a:highlight>
                  <a:srgbClr val="6800FF"/>
                </a:highlight>
                <a:latin typeface="Montserrat"/>
                <a:sym typeface="Montserrat"/>
              </a:rPr>
              <a:t>Understanding</a:t>
            </a:r>
            <a:r>
              <a:rPr lang="en-US" sz="2000" dirty="0">
                <a:solidFill>
                  <a:schemeClr val="bg1"/>
                </a:solidFill>
                <a:latin typeface="Montserrat"/>
                <a:sym typeface="Montserrat"/>
              </a:rPr>
              <a:t> your ability to execute</a:t>
            </a:r>
            <a:endParaRPr lang="en-US" sz="2000" dirty="0">
              <a:solidFill>
                <a:schemeClr val="bg1"/>
              </a:solidFill>
              <a:latin typeface="Montserrat"/>
            </a:endParaRPr>
          </a:p>
        </p:txBody>
      </p:sp>
      <p:sp>
        <p:nvSpPr>
          <p:cNvPr id="750" name="Google Shape;750;p24"/>
          <p:cNvSpPr/>
          <p:nvPr/>
        </p:nvSpPr>
        <p:spPr>
          <a:xfrm rot="10800000">
            <a:off x="5721637" y="4052001"/>
            <a:ext cx="239400" cy="135000"/>
          </a:xfrm>
          <a:prstGeom prst="triangle">
            <a:avLst>
              <a:gd name="adj" fmla="val 50000"/>
            </a:avLst>
          </a:prstGeom>
          <a:solidFill>
            <a:srgbClr val="6800FF"/>
          </a:solidFill>
          <a:ln>
            <a:noFill/>
          </a:ln>
        </p:spPr>
        <p:txBody>
          <a:bodyPr spcFirstLastPara="1" wrap="square" lIns="182850" tIns="182850" rIns="182850" bIns="182850" anchor="ctr" anchorCtr="0">
            <a:noAutofit/>
          </a:bodyPr>
          <a:lstStyle/>
          <a:p>
            <a:pPr algn="ctr" defTabSz="1828800"/>
            <a:endParaRPr lang="en-US" sz="2800" noProof="0"/>
          </a:p>
        </p:txBody>
      </p:sp>
      <p:sp>
        <p:nvSpPr>
          <p:cNvPr id="751" name="Google Shape;751;p24"/>
          <p:cNvSpPr/>
          <p:nvPr/>
        </p:nvSpPr>
        <p:spPr>
          <a:xfrm rot="10800000">
            <a:off x="10236931" y="4052001"/>
            <a:ext cx="239400" cy="135000"/>
          </a:xfrm>
          <a:prstGeom prst="triangle">
            <a:avLst>
              <a:gd name="adj" fmla="val 50000"/>
            </a:avLst>
          </a:prstGeom>
          <a:solidFill>
            <a:srgbClr val="6800FF"/>
          </a:solidFill>
          <a:ln>
            <a:noFill/>
          </a:ln>
        </p:spPr>
        <p:txBody>
          <a:bodyPr spcFirstLastPara="1" wrap="square" lIns="182850" tIns="182850" rIns="182850" bIns="182850" anchor="ctr" anchorCtr="0">
            <a:noAutofit/>
          </a:bodyPr>
          <a:lstStyle/>
          <a:p>
            <a:pPr algn="ctr" defTabSz="1828800"/>
            <a:endParaRPr lang="en-US" sz="2800" noProof="0"/>
          </a:p>
        </p:txBody>
      </p:sp>
      <p:sp>
        <p:nvSpPr>
          <p:cNvPr id="752" name="Google Shape;752;p24"/>
          <p:cNvSpPr txBox="1"/>
          <p:nvPr/>
        </p:nvSpPr>
        <p:spPr>
          <a:xfrm>
            <a:off x="12302884" y="3140601"/>
            <a:ext cx="5276455" cy="1099800"/>
          </a:xfrm>
          <a:prstGeom prst="rect">
            <a:avLst/>
          </a:prstGeom>
          <a:noFill/>
          <a:ln>
            <a:noFill/>
          </a:ln>
        </p:spPr>
        <p:txBody>
          <a:bodyPr spcFirstLastPara="1" wrap="square" lIns="182850" tIns="182850" rIns="182850" bIns="182850" anchor="t" anchorCtr="0">
            <a:noAutofit/>
          </a:bodyPr>
          <a:lstStyle/>
          <a:p>
            <a:pPr algn="ctr" defTabSz="1828800">
              <a:lnSpc>
                <a:spcPct val="115000"/>
              </a:lnSpc>
              <a:spcBef>
                <a:spcPts val="3200"/>
              </a:spcBef>
              <a:spcAft>
                <a:spcPts val="3200"/>
              </a:spcAft>
              <a:buSzPts val="800"/>
            </a:pPr>
            <a:r>
              <a:rPr lang="en-US" sz="2000" b="1" dirty="0">
                <a:solidFill>
                  <a:srgbClr val="FFFFFF"/>
                </a:solidFill>
                <a:highlight>
                  <a:srgbClr val="6800FF"/>
                </a:highlight>
                <a:latin typeface="Montserrat"/>
                <a:sym typeface="Montserrat"/>
              </a:rPr>
              <a:t>Act</a:t>
            </a:r>
            <a:r>
              <a:rPr lang="en-US" sz="2000" b="1" dirty="0">
                <a:solidFill>
                  <a:srgbClr val="FFFFFF"/>
                </a:solidFill>
                <a:latin typeface="Montserrat"/>
                <a:ea typeface="Montserrat"/>
                <a:cs typeface="Montserrat"/>
                <a:sym typeface="Montserrat"/>
              </a:rPr>
              <a:t> </a:t>
            </a:r>
            <a:r>
              <a:rPr lang="en-US" sz="2000" dirty="0">
                <a:solidFill>
                  <a:schemeClr val="bg1"/>
                </a:solidFill>
                <a:latin typeface="Montserrat"/>
                <a:ea typeface="Montserrat"/>
                <a:cs typeface="Montserrat"/>
                <a:sym typeface="Montserrat"/>
              </a:rPr>
              <a:t>in real time to ensure execution and improve results</a:t>
            </a:r>
            <a:endParaRPr lang="en-US" sz="2000" noProof="0" dirty="0">
              <a:solidFill>
                <a:schemeClr val="bg1"/>
              </a:solidFill>
              <a:latin typeface="Montserrat Light"/>
              <a:ea typeface="Montserrat Light"/>
              <a:cs typeface="Montserrat Light"/>
              <a:sym typeface="Montserrat Light"/>
            </a:endParaRPr>
          </a:p>
        </p:txBody>
      </p:sp>
      <p:sp>
        <p:nvSpPr>
          <p:cNvPr id="753" name="Google Shape;753;p24"/>
          <p:cNvSpPr/>
          <p:nvPr/>
        </p:nvSpPr>
        <p:spPr>
          <a:xfrm rot="10800000">
            <a:off x="14647681" y="4052001"/>
            <a:ext cx="239400" cy="135000"/>
          </a:xfrm>
          <a:prstGeom prst="triangle">
            <a:avLst>
              <a:gd name="adj" fmla="val 50000"/>
            </a:avLst>
          </a:prstGeom>
          <a:solidFill>
            <a:srgbClr val="6800FF"/>
          </a:solidFill>
          <a:ln>
            <a:noFill/>
          </a:ln>
        </p:spPr>
        <p:txBody>
          <a:bodyPr spcFirstLastPara="1" wrap="square" lIns="182850" tIns="182850" rIns="182850" bIns="182850" anchor="ctr" anchorCtr="0">
            <a:noAutofit/>
          </a:bodyPr>
          <a:lstStyle/>
          <a:p>
            <a:pPr algn="ctr" defTabSz="1828800"/>
            <a:endParaRPr lang="en-US" sz="2800" noProof="0"/>
          </a:p>
        </p:txBody>
      </p:sp>
      <p:cxnSp>
        <p:nvCxnSpPr>
          <p:cNvPr id="754" name="Google Shape;754;p24"/>
          <p:cNvCxnSpPr/>
          <p:nvPr/>
        </p:nvCxnSpPr>
        <p:spPr>
          <a:xfrm>
            <a:off x="4840873" y="4770641"/>
            <a:ext cx="12107400" cy="0"/>
          </a:xfrm>
          <a:prstGeom prst="straightConnector1">
            <a:avLst/>
          </a:prstGeom>
          <a:noFill/>
          <a:ln w="9525" cap="flat" cmpd="sng">
            <a:solidFill>
              <a:srgbClr val="6800FF"/>
            </a:solidFill>
            <a:prstDash val="dot"/>
            <a:round/>
            <a:headEnd type="none" w="sm" len="sm"/>
            <a:tailEnd type="none" w="sm" len="sm"/>
          </a:ln>
        </p:spPr>
      </p:cxnSp>
      <p:cxnSp>
        <p:nvCxnSpPr>
          <p:cNvPr id="755" name="Google Shape;755;p24"/>
          <p:cNvCxnSpPr/>
          <p:nvPr/>
        </p:nvCxnSpPr>
        <p:spPr>
          <a:xfrm>
            <a:off x="4840873" y="5520317"/>
            <a:ext cx="12107400" cy="0"/>
          </a:xfrm>
          <a:prstGeom prst="straightConnector1">
            <a:avLst/>
          </a:prstGeom>
          <a:noFill/>
          <a:ln w="9525" cap="flat" cmpd="sng">
            <a:solidFill>
              <a:srgbClr val="6800FF"/>
            </a:solidFill>
            <a:prstDash val="dot"/>
            <a:round/>
            <a:headEnd type="none" w="sm" len="sm"/>
            <a:tailEnd type="none" w="sm" len="sm"/>
          </a:ln>
        </p:spPr>
      </p:cxnSp>
      <p:cxnSp>
        <p:nvCxnSpPr>
          <p:cNvPr id="756" name="Google Shape;756;p24"/>
          <p:cNvCxnSpPr/>
          <p:nvPr/>
        </p:nvCxnSpPr>
        <p:spPr>
          <a:xfrm>
            <a:off x="4840873" y="6222341"/>
            <a:ext cx="12107400" cy="0"/>
          </a:xfrm>
          <a:prstGeom prst="straightConnector1">
            <a:avLst/>
          </a:prstGeom>
          <a:noFill/>
          <a:ln w="9525" cap="flat" cmpd="sng">
            <a:solidFill>
              <a:srgbClr val="6800FF"/>
            </a:solidFill>
            <a:prstDash val="dot"/>
            <a:round/>
            <a:headEnd type="none" w="sm" len="sm"/>
            <a:tailEnd type="none" w="sm" len="sm"/>
          </a:ln>
        </p:spPr>
      </p:cxnSp>
      <p:cxnSp>
        <p:nvCxnSpPr>
          <p:cNvPr id="757" name="Google Shape;757;p24"/>
          <p:cNvCxnSpPr/>
          <p:nvPr/>
        </p:nvCxnSpPr>
        <p:spPr>
          <a:xfrm>
            <a:off x="4840873" y="7681461"/>
            <a:ext cx="12107400" cy="0"/>
          </a:xfrm>
          <a:prstGeom prst="straightConnector1">
            <a:avLst/>
          </a:prstGeom>
          <a:noFill/>
          <a:ln w="9525" cap="flat" cmpd="sng">
            <a:solidFill>
              <a:srgbClr val="6800FF"/>
            </a:solidFill>
            <a:prstDash val="dot"/>
            <a:round/>
            <a:headEnd type="none" w="sm" len="sm"/>
            <a:tailEnd type="none" w="sm" len="sm"/>
          </a:ln>
        </p:spPr>
      </p:cxnSp>
      <p:cxnSp>
        <p:nvCxnSpPr>
          <p:cNvPr id="758" name="Google Shape;758;p24"/>
          <p:cNvCxnSpPr/>
          <p:nvPr/>
        </p:nvCxnSpPr>
        <p:spPr>
          <a:xfrm>
            <a:off x="4840873" y="6897391"/>
            <a:ext cx="12107400" cy="0"/>
          </a:xfrm>
          <a:prstGeom prst="straightConnector1">
            <a:avLst/>
          </a:prstGeom>
          <a:noFill/>
          <a:ln w="9525" cap="flat" cmpd="sng">
            <a:solidFill>
              <a:srgbClr val="6800FF"/>
            </a:solidFill>
            <a:prstDash val="dot"/>
            <a:round/>
            <a:headEnd type="none" w="sm" len="sm"/>
            <a:tailEnd type="none" w="sm" len="sm"/>
          </a:ln>
        </p:spPr>
      </p:cxnSp>
      <p:cxnSp>
        <p:nvCxnSpPr>
          <p:cNvPr id="759" name="Google Shape;759;p24"/>
          <p:cNvCxnSpPr/>
          <p:nvPr/>
        </p:nvCxnSpPr>
        <p:spPr>
          <a:xfrm>
            <a:off x="4840873" y="8738641"/>
            <a:ext cx="12107400" cy="0"/>
          </a:xfrm>
          <a:prstGeom prst="straightConnector1">
            <a:avLst/>
          </a:prstGeom>
          <a:noFill/>
          <a:ln w="9525" cap="flat" cmpd="sng">
            <a:solidFill>
              <a:srgbClr val="6800FF"/>
            </a:solidFill>
            <a:prstDash val="dot"/>
            <a:round/>
            <a:headEnd type="none" w="sm" len="sm"/>
            <a:tailEnd type="none" w="sm" len="sm"/>
          </a:ln>
        </p:spPr>
      </p:cxnSp>
      <p:sp>
        <p:nvSpPr>
          <p:cNvPr id="760" name="Google Shape;760;p24"/>
          <p:cNvSpPr/>
          <p:nvPr/>
        </p:nvSpPr>
        <p:spPr>
          <a:xfrm>
            <a:off x="4949285" y="8615651"/>
            <a:ext cx="11779800" cy="246000"/>
          </a:xfrm>
          <a:prstGeom prst="rect">
            <a:avLst/>
          </a:prstGeom>
          <a:solidFill>
            <a:srgbClr val="6800FF"/>
          </a:solidFill>
          <a:ln>
            <a:noFill/>
          </a:ln>
        </p:spPr>
        <p:txBody>
          <a:bodyPr spcFirstLastPara="1" wrap="square" lIns="182850" tIns="182850" rIns="182850" bIns="182850" anchor="ctr" anchorCtr="0">
            <a:noAutofit/>
          </a:bodyPr>
          <a:lstStyle/>
          <a:p>
            <a:pPr algn="ctr" defTabSz="1828800"/>
            <a:endParaRPr lang="en-US" sz="2800" noProof="0"/>
          </a:p>
        </p:txBody>
      </p:sp>
      <p:sp>
        <p:nvSpPr>
          <p:cNvPr id="761" name="Google Shape;761;p24"/>
          <p:cNvSpPr/>
          <p:nvPr/>
        </p:nvSpPr>
        <p:spPr>
          <a:xfrm>
            <a:off x="4949285" y="7563601"/>
            <a:ext cx="2505000" cy="246000"/>
          </a:xfrm>
          <a:prstGeom prst="rect">
            <a:avLst/>
          </a:prstGeom>
          <a:solidFill>
            <a:srgbClr val="D3BCFF"/>
          </a:solidFill>
          <a:ln>
            <a:noFill/>
          </a:ln>
        </p:spPr>
        <p:txBody>
          <a:bodyPr spcFirstLastPara="1" wrap="square" lIns="182850" tIns="182850" rIns="182850" bIns="182850" anchor="ctr" anchorCtr="0">
            <a:noAutofit/>
          </a:bodyPr>
          <a:lstStyle/>
          <a:p>
            <a:pPr algn="ctr" defTabSz="1828800"/>
            <a:endParaRPr lang="en-US" sz="2800" noProof="0"/>
          </a:p>
        </p:txBody>
      </p:sp>
      <p:sp>
        <p:nvSpPr>
          <p:cNvPr id="762" name="Google Shape;762;p24"/>
          <p:cNvSpPr/>
          <p:nvPr/>
        </p:nvSpPr>
        <p:spPr>
          <a:xfrm>
            <a:off x="11109285" y="6793401"/>
            <a:ext cx="4744200" cy="246000"/>
          </a:xfrm>
          <a:prstGeom prst="rect">
            <a:avLst/>
          </a:prstGeom>
          <a:solidFill>
            <a:srgbClr val="D3BCFF"/>
          </a:solidFill>
          <a:ln>
            <a:noFill/>
          </a:ln>
        </p:spPr>
        <p:txBody>
          <a:bodyPr spcFirstLastPara="1" wrap="square" lIns="182850" tIns="182850" rIns="182850" bIns="182850" anchor="ctr" anchorCtr="0">
            <a:noAutofit/>
          </a:bodyPr>
          <a:lstStyle/>
          <a:p>
            <a:pPr algn="ctr" defTabSz="1828800"/>
            <a:endParaRPr lang="en-US" sz="2800" noProof="0"/>
          </a:p>
        </p:txBody>
      </p:sp>
      <p:sp>
        <p:nvSpPr>
          <p:cNvPr id="763" name="Google Shape;763;p24"/>
          <p:cNvSpPr/>
          <p:nvPr/>
        </p:nvSpPr>
        <p:spPr>
          <a:xfrm>
            <a:off x="4949285" y="6103051"/>
            <a:ext cx="2088600" cy="246000"/>
          </a:xfrm>
          <a:prstGeom prst="rect">
            <a:avLst/>
          </a:prstGeom>
          <a:solidFill>
            <a:srgbClr val="D3BCFF"/>
          </a:solidFill>
          <a:ln>
            <a:noFill/>
          </a:ln>
        </p:spPr>
        <p:txBody>
          <a:bodyPr spcFirstLastPara="1" wrap="square" lIns="182850" tIns="182850" rIns="182850" bIns="182850" anchor="ctr" anchorCtr="0">
            <a:noAutofit/>
          </a:bodyPr>
          <a:lstStyle/>
          <a:p>
            <a:pPr algn="ctr" defTabSz="1828800"/>
            <a:endParaRPr lang="en-US" sz="2800" noProof="0"/>
          </a:p>
        </p:txBody>
      </p:sp>
      <p:sp>
        <p:nvSpPr>
          <p:cNvPr id="764" name="Google Shape;764;p24"/>
          <p:cNvSpPr/>
          <p:nvPr/>
        </p:nvSpPr>
        <p:spPr>
          <a:xfrm>
            <a:off x="8163935" y="5399451"/>
            <a:ext cx="2505000" cy="246000"/>
          </a:xfrm>
          <a:prstGeom prst="rect">
            <a:avLst/>
          </a:prstGeom>
          <a:solidFill>
            <a:srgbClr val="D3BCFF"/>
          </a:solidFill>
          <a:ln>
            <a:noFill/>
          </a:ln>
        </p:spPr>
        <p:txBody>
          <a:bodyPr spcFirstLastPara="1" wrap="square" lIns="182850" tIns="182850" rIns="182850" bIns="182850" anchor="ctr" anchorCtr="0">
            <a:noAutofit/>
          </a:bodyPr>
          <a:lstStyle/>
          <a:p>
            <a:pPr algn="ctr" defTabSz="1828800"/>
            <a:endParaRPr lang="en-US" sz="2800" noProof="0"/>
          </a:p>
        </p:txBody>
      </p:sp>
      <p:sp>
        <p:nvSpPr>
          <p:cNvPr id="765" name="Google Shape;765;p24"/>
          <p:cNvSpPr/>
          <p:nvPr/>
        </p:nvSpPr>
        <p:spPr>
          <a:xfrm>
            <a:off x="14943085" y="5399451"/>
            <a:ext cx="1786200" cy="246000"/>
          </a:xfrm>
          <a:prstGeom prst="rect">
            <a:avLst/>
          </a:prstGeom>
          <a:solidFill>
            <a:srgbClr val="D3BCFF"/>
          </a:solidFill>
          <a:ln>
            <a:noFill/>
          </a:ln>
        </p:spPr>
        <p:txBody>
          <a:bodyPr spcFirstLastPara="1" wrap="square" lIns="182850" tIns="182850" rIns="182850" bIns="182850" anchor="ctr" anchorCtr="0">
            <a:noAutofit/>
          </a:bodyPr>
          <a:lstStyle/>
          <a:p>
            <a:pPr algn="ctr" defTabSz="1828800"/>
            <a:endParaRPr lang="en-US" sz="2800" noProof="0"/>
          </a:p>
        </p:txBody>
      </p:sp>
      <p:sp>
        <p:nvSpPr>
          <p:cNvPr id="766" name="Google Shape;766;p24"/>
          <p:cNvSpPr/>
          <p:nvPr/>
        </p:nvSpPr>
        <p:spPr>
          <a:xfrm>
            <a:off x="14224085" y="4648901"/>
            <a:ext cx="2505000" cy="246000"/>
          </a:xfrm>
          <a:prstGeom prst="rect">
            <a:avLst/>
          </a:prstGeom>
          <a:solidFill>
            <a:srgbClr val="D3BCFF"/>
          </a:solidFill>
          <a:ln>
            <a:noFill/>
          </a:ln>
        </p:spPr>
        <p:txBody>
          <a:bodyPr spcFirstLastPara="1" wrap="square" lIns="182850" tIns="182850" rIns="182850" bIns="182850" anchor="ctr" anchorCtr="0">
            <a:noAutofit/>
          </a:bodyPr>
          <a:lstStyle/>
          <a:p>
            <a:pPr algn="ctr" defTabSz="1828800"/>
            <a:endParaRPr lang="en-US" sz="2800" noProof="0"/>
          </a:p>
        </p:txBody>
      </p:sp>
      <p:sp>
        <p:nvSpPr>
          <p:cNvPr id="767" name="Google Shape;767;p24"/>
          <p:cNvSpPr txBox="1"/>
          <p:nvPr/>
        </p:nvSpPr>
        <p:spPr>
          <a:xfrm>
            <a:off x="1061595" y="883298"/>
            <a:ext cx="12437964" cy="1145400"/>
          </a:xfrm>
          <a:prstGeom prst="rect">
            <a:avLst/>
          </a:prstGeom>
          <a:noFill/>
          <a:ln>
            <a:noFill/>
          </a:ln>
        </p:spPr>
        <p:txBody>
          <a:bodyPr spcFirstLastPara="1" wrap="square" lIns="182850" tIns="182850" rIns="182850" bIns="182850" anchor="t" anchorCtr="0">
            <a:noAutofit/>
          </a:bodyPr>
          <a:lstStyle/>
          <a:p>
            <a:pPr defTabSz="1828800"/>
            <a:r>
              <a:rPr lang="en-US" sz="4000" b="1" dirty="0">
                <a:solidFill>
                  <a:schemeClr val="bg1"/>
                </a:solidFill>
                <a:latin typeface="Montserrat"/>
                <a:sym typeface="Montserrat"/>
              </a:rPr>
              <a:t>Organizations have found different ways to improve operational efficiency.</a:t>
            </a:r>
            <a:endParaRPr lang="en-US" sz="4000" b="1" dirty="0">
              <a:solidFill>
                <a:schemeClr val="bg1"/>
              </a:solidFill>
              <a:latin typeface="Montserrat"/>
            </a:endParaRPr>
          </a:p>
        </p:txBody>
      </p:sp>
      <p:pic>
        <p:nvPicPr>
          <p:cNvPr id="768" name="Google Shape;768;p24"/>
          <p:cNvPicPr preferRelativeResize="0"/>
          <p:nvPr/>
        </p:nvPicPr>
        <p:blipFill>
          <a:blip r:embed="rId3" cstate="email">
            <a:alphaModFix/>
            <a:extLst>
              <a:ext uri="{28A0092B-C50C-407E-A947-70E740481C1C}">
                <a14:useLocalDpi xmlns:a14="http://schemas.microsoft.com/office/drawing/2010/main"/>
              </a:ext>
            </a:extLst>
          </a:blip>
          <a:stretch>
            <a:fillRect/>
          </a:stretch>
        </p:blipFill>
        <p:spPr>
          <a:xfrm>
            <a:off x="5623385" y="2717785"/>
            <a:ext cx="435900" cy="435900"/>
          </a:xfrm>
          <a:prstGeom prst="rect">
            <a:avLst/>
          </a:prstGeom>
          <a:noFill/>
          <a:ln>
            <a:noFill/>
          </a:ln>
        </p:spPr>
      </p:pic>
      <p:pic>
        <p:nvPicPr>
          <p:cNvPr id="769" name="Google Shape;769;p24"/>
          <p:cNvPicPr preferRelativeResize="0"/>
          <p:nvPr/>
        </p:nvPicPr>
        <p:blipFill>
          <a:blip r:embed="rId4" cstate="email">
            <a:alphaModFix/>
            <a:extLst>
              <a:ext uri="{28A0092B-C50C-407E-A947-70E740481C1C}">
                <a14:useLocalDpi xmlns:a14="http://schemas.microsoft.com/office/drawing/2010/main"/>
              </a:ext>
            </a:extLst>
          </a:blip>
          <a:stretch>
            <a:fillRect/>
          </a:stretch>
        </p:blipFill>
        <p:spPr>
          <a:xfrm>
            <a:off x="10138685" y="2717785"/>
            <a:ext cx="435900" cy="435900"/>
          </a:xfrm>
          <a:prstGeom prst="rect">
            <a:avLst/>
          </a:prstGeom>
          <a:noFill/>
          <a:ln>
            <a:noFill/>
          </a:ln>
        </p:spPr>
      </p:pic>
      <p:pic>
        <p:nvPicPr>
          <p:cNvPr id="770" name="Google Shape;770;p24"/>
          <p:cNvPicPr preferRelativeResize="0"/>
          <p:nvPr/>
        </p:nvPicPr>
        <p:blipFill>
          <a:blip r:embed="rId5" cstate="email">
            <a:alphaModFix/>
            <a:extLst>
              <a:ext uri="{28A0092B-C50C-407E-A947-70E740481C1C}">
                <a14:useLocalDpi xmlns:a14="http://schemas.microsoft.com/office/drawing/2010/main"/>
              </a:ext>
            </a:extLst>
          </a:blip>
          <a:stretch>
            <a:fillRect/>
          </a:stretch>
        </p:blipFill>
        <p:spPr>
          <a:xfrm>
            <a:off x="14549435" y="2717785"/>
            <a:ext cx="435900" cy="435900"/>
          </a:xfrm>
          <a:prstGeom prst="rect">
            <a:avLst/>
          </a:prstGeom>
          <a:noFill/>
          <a:ln>
            <a:noFill/>
          </a:ln>
        </p:spPr>
      </p:pic>
      <p:grpSp>
        <p:nvGrpSpPr>
          <p:cNvPr id="4" name="Group 7">
            <a:extLst>
              <a:ext uri="{FF2B5EF4-FFF2-40B4-BE49-F238E27FC236}">
                <a16:creationId xmlns:a16="http://schemas.microsoft.com/office/drawing/2014/main" id="{BAEE8904-F25C-0EDA-F45F-E972D3318EDC}"/>
              </a:ext>
            </a:extLst>
          </p:cNvPr>
          <p:cNvGrpSpPr/>
          <p:nvPr/>
        </p:nvGrpSpPr>
        <p:grpSpPr>
          <a:xfrm>
            <a:off x="9138884" y="2060489"/>
            <a:ext cx="612363" cy="56823"/>
            <a:chOff x="0" y="0"/>
            <a:chExt cx="1078484" cy="100076"/>
          </a:xfrm>
        </p:grpSpPr>
        <p:sp>
          <p:nvSpPr>
            <p:cNvPr id="3" name="Freeform 8">
              <a:extLst>
                <a:ext uri="{FF2B5EF4-FFF2-40B4-BE49-F238E27FC236}">
                  <a16:creationId xmlns:a16="http://schemas.microsoft.com/office/drawing/2014/main" id="{13A46176-DAE9-81C3-3E3C-9AD34E60ACEC}"/>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146"/>
        <p:cNvGrpSpPr/>
        <p:nvPr/>
      </p:nvGrpSpPr>
      <p:grpSpPr>
        <a:xfrm>
          <a:off x="0" y="0"/>
          <a:ext cx="0" cy="0"/>
          <a:chOff x="0" y="0"/>
          <a:chExt cx="0" cy="0"/>
        </a:xfrm>
      </p:grpSpPr>
      <p:sp>
        <p:nvSpPr>
          <p:cNvPr id="1147" name="Google Shape;1147;p39"/>
          <p:cNvSpPr/>
          <p:nvPr/>
        </p:nvSpPr>
        <p:spPr>
          <a:xfrm>
            <a:off x="9143900" y="-100"/>
            <a:ext cx="9144000" cy="10287000"/>
          </a:xfrm>
          <a:prstGeom prst="rect">
            <a:avLst/>
          </a:prstGeom>
          <a:gradFill>
            <a:gsLst>
              <a:gs pos="0">
                <a:srgbClr val="FF2C34"/>
              </a:gs>
              <a:gs pos="100000">
                <a:srgbClr val="6800FF"/>
              </a:gs>
            </a:gsLst>
            <a:lin ang="2698631" scaled="0"/>
          </a:gra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48" name="Google Shape;1148;p39"/>
          <p:cNvSpPr/>
          <p:nvPr/>
        </p:nvSpPr>
        <p:spPr>
          <a:xfrm>
            <a:off x="0" y="-100"/>
            <a:ext cx="9144000" cy="10287000"/>
          </a:xfrm>
          <a:prstGeom prst="rect">
            <a:avLst/>
          </a:prstGeom>
          <a:solidFill>
            <a:srgbClr val="F5F5F5"/>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49" name="Google Shape;1149;p39"/>
          <p:cNvSpPr txBox="1"/>
          <p:nvPr/>
        </p:nvSpPr>
        <p:spPr>
          <a:xfrm>
            <a:off x="873498" y="5709201"/>
            <a:ext cx="5078400" cy="2159400"/>
          </a:xfrm>
          <a:prstGeom prst="rect">
            <a:avLst/>
          </a:prstGeom>
          <a:noFill/>
          <a:ln>
            <a:noFill/>
          </a:ln>
        </p:spPr>
        <p:txBody>
          <a:bodyPr spcFirstLastPara="1" wrap="square" lIns="182850" tIns="182850" rIns="182850" bIns="182850" anchor="t" anchorCtr="0">
            <a:noAutofit/>
          </a:bodyPr>
          <a:lstStyle/>
          <a:p>
            <a:pPr defTabSz="1828800">
              <a:lnSpc>
                <a:spcPct val="114999"/>
              </a:lnSpc>
              <a:spcAft>
                <a:spcPts val="3200"/>
              </a:spcAft>
            </a:pPr>
            <a:r>
              <a:rPr lang="en-US" sz="2000" dirty="0">
                <a:solidFill>
                  <a:srgbClr val="222222"/>
                </a:solidFill>
                <a:latin typeface="Montserrat Light"/>
              </a:rPr>
              <a:t>Some of them require rethinking and a better understanding of how to achieve their desired value.</a:t>
            </a:r>
          </a:p>
        </p:txBody>
      </p:sp>
      <p:grpSp>
        <p:nvGrpSpPr>
          <p:cNvPr id="1163" name="Google Shape;1163;p39"/>
          <p:cNvGrpSpPr/>
          <p:nvPr/>
        </p:nvGrpSpPr>
        <p:grpSpPr>
          <a:xfrm>
            <a:off x="5475924" y="4125729"/>
            <a:ext cx="12203632" cy="4991354"/>
            <a:chOff x="7410688" y="-1600096"/>
            <a:chExt cx="3299885" cy="1349671"/>
          </a:xfrm>
        </p:grpSpPr>
        <p:sp>
          <p:nvSpPr>
            <p:cNvPr id="1164" name="Google Shape;1164;p39"/>
            <p:cNvSpPr/>
            <p:nvPr/>
          </p:nvSpPr>
          <p:spPr>
            <a:xfrm>
              <a:off x="7410688" y="-1600096"/>
              <a:ext cx="3299885" cy="1207370"/>
            </a:xfrm>
            <a:custGeom>
              <a:avLst/>
              <a:gdLst/>
              <a:ahLst/>
              <a:cxnLst/>
              <a:rect l="l" t="t" r="r" b="b"/>
              <a:pathLst>
                <a:path w="116357" h="42573" extrusionOk="0">
                  <a:moveTo>
                    <a:pt x="88551" y="0"/>
                  </a:moveTo>
                  <a:cubicBezTo>
                    <a:pt x="84938" y="0"/>
                    <a:pt x="80164" y="2245"/>
                    <a:pt x="73463" y="7839"/>
                  </a:cubicBezTo>
                  <a:cubicBezTo>
                    <a:pt x="67065" y="13177"/>
                    <a:pt x="62168" y="15060"/>
                    <a:pt x="58136" y="15060"/>
                  </a:cubicBezTo>
                  <a:cubicBezTo>
                    <a:pt x="48475" y="15060"/>
                    <a:pt x="43782" y="4249"/>
                    <a:pt x="35318" y="4249"/>
                  </a:cubicBezTo>
                  <a:cubicBezTo>
                    <a:pt x="33856" y="4249"/>
                    <a:pt x="32281" y="4571"/>
                    <a:pt x="30549" y="5328"/>
                  </a:cubicBezTo>
                  <a:cubicBezTo>
                    <a:pt x="24627" y="7923"/>
                    <a:pt x="7030" y="31316"/>
                    <a:pt x="879" y="39643"/>
                  </a:cubicBezTo>
                  <a:cubicBezTo>
                    <a:pt x="0" y="40836"/>
                    <a:pt x="858" y="42572"/>
                    <a:pt x="2344" y="42572"/>
                  </a:cubicBezTo>
                  <a:lnTo>
                    <a:pt x="108405" y="42572"/>
                  </a:lnTo>
                  <a:cubicBezTo>
                    <a:pt x="113887" y="42572"/>
                    <a:pt x="116356" y="35647"/>
                    <a:pt x="112067" y="32194"/>
                  </a:cubicBezTo>
                  <a:cubicBezTo>
                    <a:pt x="111983" y="32111"/>
                    <a:pt x="111879" y="32027"/>
                    <a:pt x="111774" y="31943"/>
                  </a:cubicBezTo>
                  <a:cubicBezTo>
                    <a:pt x="99794" y="21865"/>
                    <a:pt x="99828" y="0"/>
                    <a:pt x="88551" y="0"/>
                  </a:cubicBezTo>
                  <a:close/>
                </a:path>
              </a:pathLst>
            </a:custGeom>
            <a:solidFill>
              <a:srgbClr val="D8B5FF"/>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65" name="Google Shape;1165;p39"/>
            <p:cNvSpPr/>
            <p:nvPr/>
          </p:nvSpPr>
          <p:spPr>
            <a:xfrm>
              <a:off x="8052500" y="-975325"/>
              <a:ext cx="852675" cy="419400"/>
            </a:xfrm>
            <a:custGeom>
              <a:avLst/>
              <a:gdLst/>
              <a:ahLst/>
              <a:cxnLst/>
              <a:rect l="l" t="t" r="r" b="b"/>
              <a:pathLst>
                <a:path w="34107" h="16776" extrusionOk="0">
                  <a:moveTo>
                    <a:pt x="22450" y="1"/>
                  </a:moveTo>
                  <a:cubicBezTo>
                    <a:pt x="20638" y="1"/>
                    <a:pt x="18820" y="368"/>
                    <a:pt x="17179" y="1083"/>
                  </a:cubicBezTo>
                  <a:cubicBezTo>
                    <a:pt x="12995" y="2904"/>
                    <a:pt x="9877" y="6712"/>
                    <a:pt x="5399" y="7758"/>
                  </a:cubicBezTo>
                  <a:cubicBezTo>
                    <a:pt x="4207" y="8051"/>
                    <a:pt x="2868" y="8135"/>
                    <a:pt x="1842" y="8804"/>
                  </a:cubicBezTo>
                  <a:cubicBezTo>
                    <a:pt x="419" y="9746"/>
                    <a:pt x="1" y="11733"/>
                    <a:pt x="650" y="13282"/>
                  </a:cubicBezTo>
                  <a:cubicBezTo>
                    <a:pt x="901" y="13888"/>
                    <a:pt x="1277" y="14370"/>
                    <a:pt x="1717" y="14956"/>
                  </a:cubicBezTo>
                  <a:cubicBezTo>
                    <a:pt x="2679" y="16127"/>
                    <a:pt x="4165" y="16776"/>
                    <a:pt x="5734" y="16776"/>
                  </a:cubicBezTo>
                  <a:lnTo>
                    <a:pt x="27704" y="16776"/>
                  </a:lnTo>
                  <a:cubicBezTo>
                    <a:pt x="29629" y="16776"/>
                    <a:pt x="31365" y="15793"/>
                    <a:pt x="32265" y="14202"/>
                  </a:cubicBezTo>
                  <a:cubicBezTo>
                    <a:pt x="32893" y="13114"/>
                    <a:pt x="33500" y="11964"/>
                    <a:pt x="33604" y="11168"/>
                  </a:cubicBezTo>
                  <a:cubicBezTo>
                    <a:pt x="34106" y="7444"/>
                    <a:pt x="31972" y="3573"/>
                    <a:pt x="28604" y="1606"/>
                  </a:cubicBezTo>
                  <a:cubicBezTo>
                    <a:pt x="26770" y="525"/>
                    <a:pt x="24615" y="1"/>
                    <a:pt x="22450" y="1"/>
                  </a:cubicBezTo>
                  <a:close/>
                </a:path>
              </a:pathLst>
            </a:custGeom>
            <a:solidFill>
              <a:srgbClr val="FF7C7F"/>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66" name="Google Shape;1166;p39"/>
            <p:cNvSpPr/>
            <p:nvPr/>
          </p:nvSpPr>
          <p:spPr>
            <a:xfrm>
              <a:off x="8160275" y="-944750"/>
              <a:ext cx="641325" cy="276550"/>
            </a:xfrm>
            <a:custGeom>
              <a:avLst/>
              <a:gdLst/>
              <a:ahLst/>
              <a:cxnLst/>
              <a:rect l="l" t="t" r="r" b="b"/>
              <a:pathLst>
                <a:path w="25653" h="11062" extrusionOk="0">
                  <a:moveTo>
                    <a:pt x="17800" y="0"/>
                  </a:moveTo>
                  <a:cubicBezTo>
                    <a:pt x="17619" y="0"/>
                    <a:pt x="17444" y="14"/>
                    <a:pt x="17283" y="49"/>
                  </a:cubicBezTo>
                  <a:cubicBezTo>
                    <a:pt x="16739" y="174"/>
                    <a:pt x="16363" y="676"/>
                    <a:pt x="15944" y="1053"/>
                  </a:cubicBezTo>
                  <a:cubicBezTo>
                    <a:pt x="14940" y="1953"/>
                    <a:pt x="13852" y="2769"/>
                    <a:pt x="12701" y="3522"/>
                  </a:cubicBezTo>
                  <a:cubicBezTo>
                    <a:pt x="10441" y="5028"/>
                    <a:pt x="7951" y="6221"/>
                    <a:pt x="5336" y="7058"/>
                  </a:cubicBezTo>
                  <a:cubicBezTo>
                    <a:pt x="3746" y="7560"/>
                    <a:pt x="2072" y="7979"/>
                    <a:pt x="816" y="9025"/>
                  </a:cubicBezTo>
                  <a:cubicBezTo>
                    <a:pt x="356" y="9422"/>
                    <a:pt x="0" y="10050"/>
                    <a:pt x="335" y="10489"/>
                  </a:cubicBezTo>
                  <a:cubicBezTo>
                    <a:pt x="523" y="10720"/>
                    <a:pt x="837" y="10824"/>
                    <a:pt x="1151" y="10887"/>
                  </a:cubicBezTo>
                  <a:cubicBezTo>
                    <a:pt x="1821" y="11009"/>
                    <a:pt x="2495" y="11062"/>
                    <a:pt x="3170" y="11062"/>
                  </a:cubicBezTo>
                  <a:cubicBezTo>
                    <a:pt x="4812" y="11062"/>
                    <a:pt x="6460" y="10749"/>
                    <a:pt x="8077" y="10364"/>
                  </a:cubicBezTo>
                  <a:cubicBezTo>
                    <a:pt x="10357" y="9799"/>
                    <a:pt x="12575" y="9067"/>
                    <a:pt x="14898" y="8816"/>
                  </a:cubicBezTo>
                  <a:cubicBezTo>
                    <a:pt x="16383" y="8648"/>
                    <a:pt x="17911" y="8690"/>
                    <a:pt x="19396" y="8544"/>
                  </a:cubicBezTo>
                  <a:cubicBezTo>
                    <a:pt x="20903" y="8418"/>
                    <a:pt x="22409" y="8125"/>
                    <a:pt x="23686" y="7372"/>
                  </a:cubicBezTo>
                  <a:cubicBezTo>
                    <a:pt x="24481" y="6932"/>
                    <a:pt x="25192" y="6242"/>
                    <a:pt x="25360" y="5405"/>
                  </a:cubicBezTo>
                  <a:cubicBezTo>
                    <a:pt x="25653" y="4087"/>
                    <a:pt x="24690" y="2831"/>
                    <a:pt x="23560" y="1994"/>
                  </a:cubicBezTo>
                  <a:cubicBezTo>
                    <a:pt x="22305" y="1074"/>
                    <a:pt x="20819" y="446"/>
                    <a:pt x="19229" y="174"/>
                  </a:cubicBezTo>
                  <a:cubicBezTo>
                    <a:pt x="18804" y="98"/>
                    <a:pt x="18279" y="0"/>
                    <a:pt x="17800" y="0"/>
                  </a:cubicBezTo>
                  <a:close/>
                </a:path>
              </a:pathLst>
            </a:custGeom>
            <a:solidFill>
              <a:srgbClr val="FF7D80"/>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67" name="Google Shape;1167;p39"/>
            <p:cNvSpPr/>
            <p:nvPr/>
          </p:nvSpPr>
          <p:spPr>
            <a:xfrm>
              <a:off x="8142475" y="-543900"/>
              <a:ext cx="43450" cy="57025"/>
            </a:xfrm>
            <a:custGeom>
              <a:avLst/>
              <a:gdLst/>
              <a:ahLst/>
              <a:cxnLst/>
              <a:rect l="l" t="t" r="r" b="b"/>
              <a:pathLst>
                <a:path w="1738" h="2281" extrusionOk="0">
                  <a:moveTo>
                    <a:pt x="440" y="0"/>
                  </a:moveTo>
                  <a:cubicBezTo>
                    <a:pt x="315" y="440"/>
                    <a:pt x="210" y="858"/>
                    <a:pt x="105" y="1277"/>
                  </a:cubicBezTo>
                  <a:cubicBezTo>
                    <a:pt x="1" y="1674"/>
                    <a:pt x="22" y="2281"/>
                    <a:pt x="440" y="2281"/>
                  </a:cubicBezTo>
                  <a:cubicBezTo>
                    <a:pt x="691" y="2281"/>
                    <a:pt x="859" y="2072"/>
                    <a:pt x="1005" y="1862"/>
                  </a:cubicBezTo>
                  <a:cubicBezTo>
                    <a:pt x="1256" y="1486"/>
                    <a:pt x="1591" y="921"/>
                    <a:pt x="1738" y="356"/>
                  </a:cubicBezTo>
                  <a:lnTo>
                    <a:pt x="440" y="0"/>
                  </a:lnTo>
                  <a:close/>
                </a:path>
              </a:pathLst>
            </a:custGeom>
            <a:solidFill>
              <a:srgbClr val="FFBDC0"/>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68" name="Google Shape;1168;p39"/>
            <p:cNvSpPr/>
            <p:nvPr/>
          </p:nvSpPr>
          <p:spPr>
            <a:xfrm>
              <a:off x="8139875" y="-917400"/>
              <a:ext cx="499050" cy="386075"/>
            </a:xfrm>
            <a:custGeom>
              <a:avLst/>
              <a:gdLst/>
              <a:ahLst/>
              <a:cxnLst/>
              <a:rect l="l" t="t" r="r" b="b"/>
              <a:pathLst>
                <a:path w="19962" h="15443" extrusionOk="0">
                  <a:moveTo>
                    <a:pt x="4352" y="4562"/>
                  </a:moveTo>
                  <a:cubicBezTo>
                    <a:pt x="5357" y="3411"/>
                    <a:pt x="11822" y="1988"/>
                    <a:pt x="14856" y="1068"/>
                  </a:cubicBezTo>
                  <a:cubicBezTo>
                    <a:pt x="17137" y="398"/>
                    <a:pt x="19459" y="1"/>
                    <a:pt x="19794" y="3056"/>
                  </a:cubicBezTo>
                  <a:cubicBezTo>
                    <a:pt x="19961" y="4374"/>
                    <a:pt x="19271" y="5734"/>
                    <a:pt x="18162" y="6445"/>
                  </a:cubicBezTo>
                  <a:cubicBezTo>
                    <a:pt x="16927" y="7198"/>
                    <a:pt x="15379" y="7115"/>
                    <a:pt x="13935" y="7031"/>
                  </a:cubicBezTo>
                  <a:cubicBezTo>
                    <a:pt x="11194" y="6864"/>
                    <a:pt x="9500" y="6759"/>
                    <a:pt x="6759" y="6571"/>
                  </a:cubicBezTo>
                  <a:cubicBezTo>
                    <a:pt x="6487" y="10170"/>
                    <a:pt x="3432" y="11467"/>
                    <a:pt x="2072" y="15442"/>
                  </a:cubicBezTo>
                  <a:lnTo>
                    <a:pt x="0" y="15024"/>
                  </a:lnTo>
                  <a:cubicBezTo>
                    <a:pt x="1235" y="13099"/>
                    <a:pt x="3829" y="5211"/>
                    <a:pt x="4352" y="4562"/>
                  </a:cubicBezTo>
                  <a:close/>
                </a:path>
              </a:pathLst>
            </a:custGeom>
            <a:solidFill>
              <a:srgbClr val="222222"/>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69" name="Google Shape;1169;p39"/>
            <p:cNvSpPr/>
            <p:nvPr/>
          </p:nvSpPr>
          <p:spPr>
            <a:xfrm>
              <a:off x="8472550" y="-574250"/>
              <a:ext cx="52325" cy="51325"/>
            </a:xfrm>
            <a:custGeom>
              <a:avLst/>
              <a:gdLst/>
              <a:ahLst/>
              <a:cxnLst/>
              <a:rect l="l" t="t" r="r" b="b"/>
              <a:pathLst>
                <a:path w="2093" h="2053" extrusionOk="0">
                  <a:moveTo>
                    <a:pt x="1256" y="1"/>
                  </a:moveTo>
                  <a:lnTo>
                    <a:pt x="1" y="775"/>
                  </a:lnTo>
                  <a:cubicBezTo>
                    <a:pt x="315" y="1089"/>
                    <a:pt x="628" y="1361"/>
                    <a:pt x="942" y="1675"/>
                  </a:cubicBezTo>
                  <a:cubicBezTo>
                    <a:pt x="1136" y="1868"/>
                    <a:pt x="1430" y="2053"/>
                    <a:pt x="1668" y="2053"/>
                  </a:cubicBezTo>
                  <a:cubicBezTo>
                    <a:pt x="1790" y="2053"/>
                    <a:pt x="1897" y="2004"/>
                    <a:pt x="1967" y="1884"/>
                  </a:cubicBezTo>
                  <a:cubicBezTo>
                    <a:pt x="2093" y="1675"/>
                    <a:pt x="1988" y="1423"/>
                    <a:pt x="1884" y="1214"/>
                  </a:cubicBezTo>
                  <a:cubicBezTo>
                    <a:pt x="1716" y="817"/>
                    <a:pt x="1507" y="398"/>
                    <a:pt x="1256" y="1"/>
                  </a:cubicBezTo>
                  <a:close/>
                </a:path>
              </a:pathLst>
            </a:custGeom>
            <a:solidFill>
              <a:srgbClr val="FFBDC0"/>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70" name="Google Shape;1170;p39"/>
            <p:cNvSpPr/>
            <p:nvPr/>
          </p:nvSpPr>
          <p:spPr>
            <a:xfrm>
              <a:off x="8288425" y="-917400"/>
              <a:ext cx="403850" cy="179450"/>
            </a:xfrm>
            <a:custGeom>
              <a:avLst/>
              <a:gdLst/>
              <a:ahLst/>
              <a:cxnLst/>
              <a:rect l="l" t="t" r="r" b="b"/>
              <a:pathLst>
                <a:path w="16154" h="7178" extrusionOk="0">
                  <a:moveTo>
                    <a:pt x="14354" y="6424"/>
                  </a:moveTo>
                  <a:cubicBezTo>
                    <a:pt x="13120" y="7178"/>
                    <a:pt x="11592" y="7094"/>
                    <a:pt x="10148" y="7010"/>
                  </a:cubicBezTo>
                  <a:cubicBezTo>
                    <a:pt x="7303" y="6843"/>
                    <a:pt x="4436" y="6654"/>
                    <a:pt x="1591" y="6445"/>
                  </a:cubicBezTo>
                  <a:cubicBezTo>
                    <a:pt x="1151" y="6424"/>
                    <a:pt x="628" y="6362"/>
                    <a:pt x="335" y="6006"/>
                  </a:cubicBezTo>
                  <a:cubicBezTo>
                    <a:pt x="1" y="5587"/>
                    <a:pt x="147" y="4918"/>
                    <a:pt x="545" y="4562"/>
                  </a:cubicBezTo>
                  <a:cubicBezTo>
                    <a:pt x="921" y="4185"/>
                    <a:pt x="1465" y="4018"/>
                    <a:pt x="1967" y="3851"/>
                  </a:cubicBezTo>
                  <a:cubicBezTo>
                    <a:pt x="5001" y="2930"/>
                    <a:pt x="8035" y="1988"/>
                    <a:pt x="11069" y="1089"/>
                  </a:cubicBezTo>
                  <a:cubicBezTo>
                    <a:pt x="13329" y="398"/>
                    <a:pt x="15672" y="1"/>
                    <a:pt x="16007" y="3077"/>
                  </a:cubicBezTo>
                  <a:cubicBezTo>
                    <a:pt x="16154" y="4353"/>
                    <a:pt x="15505" y="5713"/>
                    <a:pt x="14354" y="6424"/>
                  </a:cubicBezTo>
                  <a:close/>
                </a:path>
              </a:pathLst>
            </a:custGeom>
            <a:solidFill>
              <a:srgbClr val="222222"/>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71" name="Google Shape;1171;p39"/>
            <p:cNvSpPr/>
            <p:nvPr/>
          </p:nvSpPr>
          <p:spPr>
            <a:xfrm>
              <a:off x="8290525" y="-832125"/>
              <a:ext cx="214475" cy="290325"/>
            </a:xfrm>
            <a:custGeom>
              <a:avLst/>
              <a:gdLst/>
              <a:ahLst/>
              <a:cxnLst/>
              <a:rect l="l" t="t" r="r" b="b"/>
              <a:pathLst>
                <a:path w="8579" h="11613" extrusionOk="0">
                  <a:moveTo>
                    <a:pt x="105" y="1925"/>
                  </a:moveTo>
                  <a:cubicBezTo>
                    <a:pt x="733" y="0"/>
                    <a:pt x="4645" y="3808"/>
                    <a:pt x="5336" y="4855"/>
                  </a:cubicBezTo>
                  <a:cubicBezTo>
                    <a:pt x="6507" y="6633"/>
                    <a:pt x="7575" y="8474"/>
                    <a:pt x="8579" y="10357"/>
                  </a:cubicBezTo>
                  <a:lnTo>
                    <a:pt x="7051" y="11613"/>
                  </a:lnTo>
                  <a:cubicBezTo>
                    <a:pt x="6068" y="9583"/>
                    <a:pt x="4038" y="7888"/>
                    <a:pt x="2427" y="6277"/>
                  </a:cubicBezTo>
                  <a:cubicBezTo>
                    <a:pt x="1883" y="5754"/>
                    <a:pt x="1360" y="5189"/>
                    <a:pt x="1005" y="4520"/>
                  </a:cubicBezTo>
                  <a:cubicBezTo>
                    <a:pt x="670" y="3787"/>
                    <a:pt x="0" y="2260"/>
                    <a:pt x="105" y="1925"/>
                  </a:cubicBezTo>
                  <a:close/>
                </a:path>
              </a:pathLst>
            </a:custGeom>
            <a:solidFill>
              <a:srgbClr val="222222"/>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72" name="Google Shape;1172;p39"/>
            <p:cNvSpPr/>
            <p:nvPr/>
          </p:nvSpPr>
          <p:spPr>
            <a:xfrm>
              <a:off x="8492950" y="-1149650"/>
              <a:ext cx="66975" cy="101500"/>
            </a:xfrm>
            <a:custGeom>
              <a:avLst/>
              <a:gdLst/>
              <a:ahLst/>
              <a:cxnLst/>
              <a:rect l="l" t="t" r="r" b="b"/>
              <a:pathLst>
                <a:path w="2679" h="4060" extrusionOk="0">
                  <a:moveTo>
                    <a:pt x="2219" y="3181"/>
                  </a:moveTo>
                  <a:cubicBezTo>
                    <a:pt x="2491" y="2281"/>
                    <a:pt x="2679" y="1256"/>
                    <a:pt x="2386" y="356"/>
                  </a:cubicBezTo>
                  <a:cubicBezTo>
                    <a:pt x="2281" y="63"/>
                    <a:pt x="2281" y="1"/>
                    <a:pt x="2009" y="168"/>
                  </a:cubicBezTo>
                  <a:cubicBezTo>
                    <a:pt x="1800" y="273"/>
                    <a:pt x="1612" y="482"/>
                    <a:pt x="1465" y="628"/>
                  </a:cubicBezTo>
                  <a:cubicBezTo>
                    <a:pt x="1151" y="984"/>
                    <a:pt x="859" y="1340"/>
                    <a:pt x="628" y="1758"/>
                  </a:cubicBezTo>
                  <a:cubicBezTo>
                    <a:pt x="398" y="2177"/>
                    <a:pt x="189" y="2637"/>
                    <a:pt x="1" y="3076"/>
                  </a:cubicBezTo>
                  <a:lnTo>
                    <a:pt x="1926" y="4060"/>
                  </a:lnTo>
                  <a:cubicBezTo>
                    <a:pt x="2030" y="3767"/>
                    <a:pt x="2156" y="3453"/>
                    <a:pt x="2219" y="3181"/>
                  </a:cubicBezTo>
                  <a:close/>
                </a:path>
              </a:pathLst>
            </a:custGeom>
            <a:solidFill>
              <a:srgbClr val="AE66FF"/>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73" name="Google Shape;1173;p39"/>
            <p:cNvSpPr/>
            <p:nvPr/>
          </p:nvSpPr>
          <p:spPr>
            <a:xfrm>
              <a:off x="8433325" y="-1072750"/>
              <a:ext cx="108825" cy="165500"/>
            </a:xfrm>
            <a:custGeom>
              <a:avLst/>
              <a:gdLst/>
              <a:ahLst/>
              <a:cxnLst/>
              <a:rect l="l" t="t" r="r" b="b"/>
              <a:pathLst>
                <a:path w="4353" h="6620" extrusionOk="0">
                  <a:moveTo>
                    <a:pt x="2407" y="0"/>
                  </a:moveTo>
                  <a:cubicBezTo>
                    <a:pt x="2281" y="272"/>
                    <a:pt x="2176" y="586"/>
                    <a:pt x="2051" y="879"/>
                  </a:cubicBezTo>
                  <a:cubicBezTo>
                    <a:pt x="1423" y="2532"/>
                    <a:pt x="754" y="4185"/>
                    <a:pt x="147" y="5796"/>
                  </a:cubicBezTo>
                  <a:cubicBezTo>
                    <a:pt x="84" y="5964"/>
                    <a:pt x="0" y="6110"/>
                    <a:pt x="63" y="6298"/>
                  </a:cubicBezTo>
                  <a:cubicBezTo>
                    <a:pt x="128" y="6509"/>
                    <a:pt x="331" y="6619"/>
                    <a:pt x="536" y="6619"/>
                  </a:cubicBezTo>
                  <a:cubicBezTo>
                    <a:pt x="596" y="6619"/>
                    <a:pt x="655" y="6610"/>
                    <a:pt x="712" y="6591"/>
                  </a:cubicBezTo>
                  <a:cubicBezTo>
                    <a:pt x="984" y="6508"/>
                    <a:pt x="1151" y="6298"/>
                    <a:pt x="1339" y="6110"/>
                  </a:cubicBezTo>
                  <a:cubicBezTo>
                    <a:pt x="2658" y="4625"/>
                    <a:pt x="3704" y="2867"/>
                    <a:pt x="4352" y="984"/>
                  </a:cubicBezTo>
                  <a:lnTo>
                    <a:pt x="2407" y="0"/>
                  </a:lnTo>
                  <a:close/>
                </a:path>
              </a:pathLst>
            </a:custGeom>
            <a:solidFill>
              <a:srgbClr val="FFBDC0"/>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74" name="Google Shape;1174;p39"/>
            <p:cNvSpPr/>
            <p:nvPr/>
          </p:nvSpPr>
          <p:spPr>
            <a:xfrm>
              <a:off x="8406650" y="-1069125"/>
              <a:ext cx="58600" cy="164050"/>
            </a:xfrm>
            <a:custGeom>
              <a:avLst/>
              <a:gdLst/>
              <a:ahLst/>
              <a:cxnLst/>
              <a:rect l="l" t="t" r="r" b="b"/>
              <a:pathLst>
                <a:path w="2344" h="6562" extrusionOk="0">
                  <a:moveTo>
                    <a:pt x="441" y="0"/>
                  </a:moveTo>
                  <a:cubicBezTo>
                    <a:pt x="434" y="0"/>
                    <a:pt x="426" y="1"/>
                    <a:pt x="419" y="2"/>
                  </a:cubicBezTo>
                  <a:cubicBezTo>
                    <a:pt x="230" y="2"/>
                    <a:pt x="147" y="211"/>
                    <a:pt x="126" y="399"/>
                  </a:cubicBezTo>
                  <a:cubicBezTo>
                    <a:pt x="0" y="1111"/>
                    <a:pt x="251" y="5191"/>
                    <a:pt x="879" y="6195"/>
                  </a:cubicBezTo>
                  <a:cubicBezTo>
                    <a:pt x="1053" y="6441"/>
                    <a:pt x="1242" y="6562"/>
                    <a:pt x="1429" y="6562"/>
                  </a:cubicBezTo>
                  <a:cubicBezTo>
                    <a:pt x="1624" y="6562"/>
                    <a:pt x="1817" y="6431"/>
                    <a:pt x="1988" y="6174"/>
                  </a:cubicBezTo>
                  <a:cubicBezTo>
                    <a:pt x="2344" y="5651"/>
                    <a:pt x="1465" y="1550"/>
                    <a:pt x="774" y="295"/>
                  </a:cubicBezTo>
                  <a:cubicBezTo>
                    <a:pt x="715" y="176"/>
                    <a:pt x="580" y="0"/>
                    <a:pt x="441" y="0"/>
                  </a:cubicBezTo>
                  <a:close/>
                </a:path>
              </a:pathLst>
            </a:custGeom>
            <a:solidFill>
              <a:srgbClr val="FFBDC0"/>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75" name="Google Shape;1175;p39"/>
            <p:cNvSpPr/>
            <p:nvPr/>
          </p:nvSpPr>
          <p:spPr>
            <a:xfrm>
              <a:off x="8410825" y="-1140225"/>
              <a:ext cx="65425" cy="83200"/>
            </a:xfrm>
            <a:custGeom>
              <a:avLst/>
              <a:gdLst/>
              <a:ahLst/>
              <a:cxnLst/>
              <a:rect l="l" t="t" r="r" b="b"/>
              <a:pathLst>
                <a:path w="2617" h="3328" extrusionOk="0">
                  <a:moveTo>
                    <a:pt x="126" y="0"/>
                  </a:moveTo>
                  <a:cubicBezTo>
                    <a:pt x="43" y="0"/>
                    <a:pt x="1" y="84"/>
                    <a:pt x="22" y="147"/>
                  </a:cubicBezTo>
                  <a:lnTo>
                    <a:pt x="879" y="3160"/>
                  </a:lnTo>
                  <a:cubicBezTo>
                    <a:pt x="879" y="3243"/>
                    <a:pt x="984" y="3327"/>
                    <a:pt x="1068" y="3327"/>
                  </a:cubicBezTo>
                  <a:lnTo>
                    <a:pt x="2470" y="3327"/>
                  </a:lnTo>
                  <a:cubicBezTo>
                    <a:pt x="2553" y="3327"/>
                    <a:pt x="2616" y="3264"/>
                    <a:pt x="2574" y="3160"/>
                  </a:cubicBezTo>
                  <a:lnTo>
                    <a:pt x="1716" y="147"/>
                  </a:lnTo>
                  <a:cubicBezTo>
                    <a:pt x="1716" y="84"/>
                    <a:pt x="1612" y="0"/>
                    <a:pt x="1528" y="0"/>
                  </a:cubicBezTo>
                  <a:close/>
                </a:path>
              </a:pathLst>
            </a:custGeom>
            <a:solidFill>
              <a:srgbClr val="545454"/>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76" name="Google Shape;1176;p39"/>
            <p:cNvSpPr/>
            <p:nvPr/>
          </p:nvSpPr>
          <p:spPr>
            <a:xfrm>
              <a:off x="8445350" y="-1140225"/>
              <a:ext cx="30900" cy="83200"/>
            </a:xfrm>
            <a:custGeom>
              <a:avLst/>
              <a:gdLst/>
              <a:ahLst/>
              <a:cxnLst/>
              <a:rect l="l" t="t" r="r" b="b"/>
              <a:pathLst>
                <a:path w="1236" h="3328" extrusionOk="0">
                  <a:moveTo>
                    <a:pt x="1" y="0"/>
                  </a:moveTo>
                  <a:cubicBezTo>
                    <a:pt x="84" y="0"/>
                    <a:pt x="189" y="84"/>
                    <a:pt x="189" y="147"/>
                  </a:cubicBezTo>
                  <a:lnTo>
                    <a:pt x="1047" y="3160"/>
                  </a:lnTo>
                  <a:cubicBezTo>
                    <a:pt x="1068" y="3243"/>
                    <a:pt x="1026" y="3327"/>
                    <a:pt x="942" y="3327"/>
                  </a:cubicBezTo>
                  <a:lnTo>
                    <a:pt x="1089" y="3327"/>
                  </a:lnTo>
                  <a:cubicBezTo>
                    <a:pt x="1172" y="3327"/>
                    <a:pt x="1235" y="3264"/>
                    <a:pt x="1193" y="3160"/>
                  </a:cubicBezTo>
                  <a:lnTo>
                    <a:pt x="335" y="147"/>
                  </a:lnTo>
                  <a:cubicBezTo>
                    <a:pt x="314" y="84"/>
                    <a:pt x="231" y="0"/>
                    <a:pt x="147" y="0"/>
                  </a:cubicBezTo>
                  <a:close/>
                </a:path>
              </a:pathLst>
            </a:custGeom>
            <a:solidFill>
              <a:srgbClr val="545454"/>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77" name="Google Shape;1177;p39"/>
            <p:cNvSpPr/>
            <p:nvPr/>
          </p:nvSpPr>
          <p:spPr>
            <a:xfrm>
              <a:off x="8406650" y="-1105175"/>
              <a:ext cx="38725" cy="62150"/>
            </a:xfrm>
            <a:custGeom>
              <a:avLst/>
              <a:gdLst/>
              <a:ahLst/>
              <a:cxnLst/>
              <a:rect l="l" t="t" r="r" b="b"/>
              <a:pathLst>
                <a:path w="1549" h="2486" extrusionOk="0">
                  <a:moveTo>
                    <a:pt x="1172" y="0"/>
                  </a:moveTo>
                  <a:cubicBezTo>
                    <a:pt x="858" y="42"/>
                    <a:pt x="544" y="147"/>
                    <a:pt x="335" y="356"/>
                  </a:cubicBezTo>
                  <a:cubicBezTo>
                    <a:pt x="84" y="628"/>
                    <a:pt x="0" y="1025"/>
                    <a:pt x="21" y="1423"/>
                  </a:cubicBezTo>
                  <a:cubicBezTo>
                    <a:pt x="63" y="1674"/>
                    <a:pt x="168" y="2302"/>
                    <a:pt x="377" y="2448"/>
                  </a:cubicBezTo>
                  <a:cubicBezTo>
                    <a:pt x="422" y="2475"/>
                    <a:pt x="473" y="2486"/>
                    <a:pt x="526" y="2486"/>
                  </a:cubicBezTo>
                  <a:cubicBezTo>
                    <a:pt x="770" y="2486"/>
                    <a:pt x="1077" y="2247"/>
                    <a:pt x="1214" y="2093"/>
                  </a:cubicBezTo>
                  <a:cubicBezTo>
                    <a:pt x="1423" y="1862"/>
                    <a:pt x="1486" y="1549"/>
                    <a:pt x="1465" y="1256"/>
                  </a:cubicBezTo>
                  <a:cubicBezTo>
                    <a:pt x="1444" y="1004"/>
                    <a:pt x="1298" y="712"/>
                    <a:pt x="1423" y="481"/>
                  </a:cubicBezTo>
                  <a:cubicBezTo>
                    <a:pt x="1465" y="356"/>
                    <a:pt x="1549" y="251"/>
                    <a:pt x="1528" y="147"/>
                  </a:cubicBezTo>
                  <a:cubicBezTo>
                    <a:pt x="1486" y="0"/>
                    <a:pt x="1318" y="0"/>
                    <a:pt x="1172" y="0"/>
                  </a:cubicBezTo>
                  <a:close/>
                </a:path>
              </a:pathLst>
            </a:custGeom>
            <a:solidFill>
              <a:srgbClr val="FFBDC0"/>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78" name="Google Shape;1178;p39"/>
            <p:cNvSpPr/>
            <p:nvPr/>
          </p:nvSpPr>
          <p:spPr>
            <a:xfrm>
              <a:off x="8506550" y="-1175800"/>
              <a:ext cx="190950" cy="334275"/>
            </a:xfrm>
            <a:custGeom>
              <a:avLst/>
              <a:gdLst/>
              <a:ahLst/>
              <a:cxnLst/>
              <a:rect l="l" t="t" r="r" b="b"/>
              <a:pathLst>
                <a:path w="7638" h="13371" extrusionOk="0">
                  <a:moveTo>
                    <a:pt x="5587" y="3871"/>
                  </a:moveTo>
                  <a:cubicBezTo>
                    <a:pt x="5420" y="5022"/>
                    <a:pt x="4981" y="6152"/>
                    <a:pt x="5001" y="7324"/>
                  </a:cubicBezTo>
                  <a:cubicBezTo>
                    <a:pt x="5022" y="8516"/>
                    <a:pt x="5525" y="9667"/>
                    <a:pt x="6382" y="10462"/>
                  </a:cubicBezTo>
                  <a:cubicBezTo>
                    <a:pt x="6905" y="10964"/>
                    <a:pt x="7638" y="11508"/>
                    <a:pt x="7429" y="12220"/>
                  </a:cubicBezTo>
                  <a:cubicBezTo>
                    <a:pt x="7282" y="12848"/>
                    <a:pt x="6487" y="13036"/>
                    <a:pt x="5838" y="13120"/>
                  </a:cubicBezTo>
                  <a:cubicBezTo>
                    <a:pt x="4436" y="13266"/>
                    <a:pt x="2825" y="13371"/>
                    <a:pt x="1779" y="12408"/>
                  </a:cubicBezTo>
                  <a:cubicBezTo>
                    <a:pt x="1151" y="11801"/>
                    <a:pt x="879" y="10944"/>
                    <a:pt x="691" y="10107"/>
                  </a:cubicBezTo>
                  <a:cubicBezTo>
                    <a:pt x="315" y="8621"/>
                    <a:pt x="105" y="7073"/>
                    <a:pt x="63" y="5545"/>
                  </a:cubicBezTo>
                  <a:cubicBezTo>
                    <a:pt x="1" y="4248"/>
                    <a:pt x="84" y="2867"/>
                    <a:pt x="838" y="1779"/>
                  </a:cubicBezTo>
                  <a:cubicBezTo>
                    <a:pt x="1612" y="712"/>
                    <a:pt x="2428" y="0"/>
                    <a:pt x="3662" y="398"/>
                  </a:cubicBezTo>
                  <a:cubicBezTo>
                    <a:pt x="5064" y="1737"/>
                    <a:pt x="5734" y="2721"/>
                    <a:pt x="5587" y="3871"/>
                  </a:cubicBezTo>
                  <a:close/>
                </a:path>
              </a:pathLst>
            </a:custGeom>
            <a:solidFill>
              <a:srgbClr val="AE66FF"/>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79" name="Google Shape;1179;p39"/>
            <p:cNvSpPr/>
            <p:nvPr/>
          </p:nvSpPr>
          <p:spPr>
            <a:xfrm>
              <a:off x="8079725" y="-520375"/>
              <a:ext cx="110375" cy="66475"/>
            </a:xfrm>
            <a:custGeom>
              <a:avLst/>
              <a:gdLst/>
              <a:ahLst/>
              <a:cxnLst/>
              <a:rect l="l" t="t" r="r" b="b"/>
              <a:pathLst>
                <a:path w="4415" h="2659" extrusionOk="0">
                  <a:moveTo>
                    <a:pt x="4080" y="22"/>
                  </a:moveTo>
                  <a:cubicBezTo>
                    <a:pt x="3996" y="147"/>
                    <a:pt x="3641" y="231"/>
                    <a:pt x="3473" y="231"/>
                  </a:cubicBezTo>
                  <a:cubicBezTo>
                    <a:pt x="3348" y="231"/>
                    <a:pt x="2804" y="1"/>
                    <a:pt x="2699" y="22"/>
                  </a:cubicBezTo>
                  <a:cubicBezTo>
                    <a:pt x="2615" y="43"/>
                    <a:pt x="2302" y="1193"/>
                    <a:pt x="1883" y="1444"/>
                  </a:cubicBezTo>
                  <a:cubicBezTo>
                    <a:pt x="1486" y="1675"/>
                    <a:pt x="1046" y="1800"/>
                    <a:pt x="628" y="1989"/>
                  </a:cubicBezTo>
                  <a:cubicBezTo>
                    <a:pt x="481" y="2030"/>
                    <a:pt x="335" y="2114"/>
                    <a:pt x="209" y="2219"/>
                  </a:cubicBezTo>
                  <a:cubicBezTo>
                    <a:pt x="84" y="2323"/>
                    <a:pt x="0" y="2491"/>
                    <a:pt x="21" y="2637"/>
                  </a:cubicBezTo>
                  <a:lnTo>
                    <a:pt x="21" y="2658"/>
                  </a:lnTo>
                  <a:lnTo>
                    <a:pt x="2615" y="2658"/>
                  </a:lnTo>
                  <a:cubicBezTo>
                    <a:pt x="2699" y="2595"/>
                    <a:pt x="2741" y="2491"/>
                    <a:pt x="2825" y="2386"/>
                  </a:cubicBezTo>
                  <a:lnTo>
                    <a:pt x="3536" y="1361"/>
                  </a:lnTo>
                  <a:cubicBezTo>
                    <a:pt x="3620" y="1716"/>
                    <a:pt x="3662" y="2177"/>
                    <a:pt x="3745" y="2637"/>
                  </a:cubicBezTo>
                  <a:lnTo>
                    <a:pt x="4038" y="2637"/>
                  </a:lnTo>
                  <a:cubicBezTo>
                    <a:pt x="4164" y="2302"/>
                    <a:pt x="4415" y="440"/>
                    <a:pt x="4080" y="22"/>
                  </a:cubicBezTo>
                  <a:close/>
                </a:path>
              </a:pathLst>
            </a:custGeom>
            <a:solidFill>
              <a:srgbClr val="222222"/>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80" name="Google Shape;1180;p39"/>
            <p:cNvSpPr/>
            <p:nvPr/>
          </p:nvSpPr>
          <p:spPr>
            <a:xfrm>
              <a:off x="8462100" y="-546000"/>
              <a:ext cx="91550" cy="85300"/>
            </a:xfrm>
            <a:custGeom>
              <a:avLst/>
              <a:gdLst/>
              <a:ahLst/>
              <a:cxnLst/>
              <a:rect l="l" t="t" r="r" b="b"/>
              <a:pathLst>
                <a:path w="3662" h="3412" extrusionOk="0">
                  <a:moveTo>
                    <a:pt x="3306" y="1361"/>
                  </a:moveTo>
                  <a:cubicBezTo>
                    <a:pt x="3222" y="1068"/>
                    <a:pt x="3118" y="796"/>
                    <a:pt x="2971" y="545"/>
                  </a:cubicBezTo>
                  <a:cubicBezTo>
                    <a:pt x="2804" y="314"/>
                    <a:pt x="2595" y="84"/>
                    <a:pt x="2344" y="1"/>
                  </a:cubicBezTo>
                  <a:cubicBezTo>
                    <a:pt x="2344" y="168"/>
                    <a:pt x="2260" y="398"/>
                    <a:pt x="2134" y="461"/>
                  </a:cubicBezTo>
                  <a:cubicBezTo>
                    <a:pt x="2030" y="503"/>
                    <a:pt x="1360" y="482"/>
                    <a:pt x="1297" y="565"/>
                  </a:cubicBezTo>
                  <a:cubicBezTo>
                    <a:pt x="1235" y="607"/>
                    <a:pt x="1465" y="1570"/>
                    <a:pt x="1318" y="1988"/>
                  </a:cubicBezTo>
                  <a:cubicBezTo>
                    <a:pt x="1318" y="1988"/>
                    <a:pt x="733" y="2449"/>
                    <a:pt x="419" y="2658"/>
                  </a:cubicBezTo>
                  <a:cubicBezTo>
                    <a:pt x="293" y="2721"/>
                    <a:pt x="188" y="2825"/>
                    <a:pt x="105" y="2972"/>
                  </a:cubicBezTo>
                  <a:cubicBezTo>
                    <a:pt x="21" y="3097"/>
                    <a:pt x="0" y="3244"/>
                    <a:pt x="84" y="3390"/>
                  </a:cubicBezTo>
                  <a:lnTo>
                    <a:pt x="105" y="3411"/>
                  </a:lnTo>
                  <a:lnTo>
                    <a:pt x="2323" y="2993"/>
                  </a:lnTo>
                  <a:lnTo>
                    <a:pt x="2637" y="2867"/>
                  </a:lnTo>
                  <a:cubicBezTo>
                    <a:pt x="2678" y="2741"/>
                    <a:pt x="2678" y="2658"/>
                    <a:pt x="2699" y="2553"/>
                  </a:cubicBezTo>
                  <a:cubicBezTo>
                    <a:pt x="2741" y="2156"/>
                    <a:pt x="2783" y="1779"/>
                    <a:pt x="2825" y="1381"/>
                  </a:cubicBezTo>
                  <a:cubicBezTo>
                    <a:pt x="3097" y="1758"/>
                    <a:pt x="3264" y="2156"/>
                    <a:pt x="3411" y="2553"/>
                  </a:cubicBezTo>
                  <a:lnTo>
                    <a:pt x="3662" y="2428"/>
                  </a:lnTo>
                  <a:cubicBezTo>
                    <a:pt x="3536" y="2114"/>
                    <a:pt x="3411" y="1758"/>
                    <a:pt x="3306" y="1361"/>
                  </a:cubicBezTo>
                  <a:close/>
                </a:path>
              </a:pathLst>
            </a:custGeom>
            <a:solidFill>
              <a:srgbClr val="222222"/>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81" name="Google Shape;1181;p39"/>
            <p:cNvSpPr/>
            <p:nvPr/>
          </p:nvSpPr>
          <p:spPr>
            <a:xfrm>
              <a:off x="8548250" y="-1234925"/>
              <a:ext cx="54075" cy="87475"/>
            </a:xfrm>
            <a:custGeom>
              <a:avLst/>
              <a:gdLst/>
              <a:ahLst/>
              <a:cxnLst/>
              <a:rect l="l" t="t" r="r" b="b"/>
              <a:pathLst>
                <a:path w="2163" h="3499" extrusionOk="0">
                  <a:moveTo>
                    <a:pt x="1661" y="1"/>
                  </a:moveTo>
                  <a:cubicBezTo>
                    <a:pt x="1346" y="1"/>
                    <a:pt x="458" y="479"/>
                    <a:pt x="404" y="587"/>
                  </a:cubicBezTo>
                  <a:cubicBezTo>
                    <a:pt x="320" y="754"/>
                    <a:pt x="258" y="2407"/>
                    <a:pt x="7" y="3453"/>
                  </a:cubicBezTo>
                  <a:cubicBezTo>
                    <a:pt x="1" y="3485"/>
                    <a:pt x="37" y="3499"/>
                    <a:pt x="103" y="3499"/>
                  </a:cubicBezTo>
                  <a:cubicBezTo>
                    <a:pt x="524" y="3499"/>
                    <a:pt x="2163" y="2938"/>
                    <a:pt x="2036" y="2721"/>
                  </a:cubicBezTo>
                  <a:cubicBezTo>
                    <a:pt x="1743" y="2303"/>
                    <a:pt x="1471" y="629"/>
                    <a:pt x="1764" y="43"/>
                  </a:cubicBezTo>
                  <a:cubicBezTo>
                    <a:pt x="1749" y="13"/>
                    <a:pt x="1713" y="1"/>
                    <a:pt x="1661" y="1"/>
                  </a:cubicBezTo>
                  <a:close/>
                </a:path>
              </a:pathLst>
            </a:custGeom>
            <a:solidFill>
              <a:srgbClr val="FFBDC0"/>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82" name="Google Shape;1182;p39"/>
            <p:cNvSpPr/>
            <p:nvPr/>
          </p:nvSpPr>
          <p:spPr>
            <a:xfrm>
              <a:off x="8502375" y="-1304050"/>
              <a:ext cx="103075" cy="113625"/>
            </a:xfrm>
            <a:custGeom>
              <a:avLst/>
              <a:gdLst/>
              <a:ahLst/>
              <a:cxnLst/>
              <a:rect l="l" t="t" r="r" b="b"/>
              <a:pathLst>
                <a:path w="4123" h="4545" extrusionOk="0">
                  <a:moveTo>
                    <a:pt x="2319" y="1"/>
                  </a:moveTo>
                  <a:cubicBezTo>
                    <a:pt x="1458" y="1"/>
                    <a:pt x="431" y="255"/>
                    <a:pt x="168" y="1322"/>
                  </a:cubicBezTo>
                  <a:cubicBezTo>
                    <a:pt x="0" y="2076"/>
                    <a:pt x="84" y="2808"/>
                    <a:pt x="335" y="3498"/>
                  </a:cubicBezTo>
                  <a:cubicBezTo>
                    <a:pt x="377" y="3729"/>
                    <a:pt x="482" y="3959"/>
                    <a:pt x="607" y="4168"/>
                  </a:cubicBezTo>
                  <a:cubicBezTo>
                    <a:pt x="754" y="4377"/>
                    <a:pt x="984" y="4545"/>
                    <a:pt x="1214" y="4545"/>
                  </a:cubicBezTo>
                  <a:cubicBezTo>
                    <a:pt x="1779" y="4545"/>
                    <a:pt x="2302" y="3917"/>
                    <a:pt x="2637" y="3331"/>
                  </a:cubicBezTo>
                  <a:cubicBezTo>
                    <a:pt x="2679" y="3331"/>
                    <a:pt x="3578" y="2913"/>
                    <a:pt x="3787" y="2661"/>
                  </a:cubicBezTo>
                  <a:cubicBezTo>
                    <a:pt x="3997" y="2369"/>
                    <a:pt x="4122" y="2034"/>
                    <a:pt x="4101" y="1657"/>
                  </a:cubicBezTo>
                  <a:cubicBezTo>
                    <a:pt x="4039" y="1092"/>
                    <a:pt x="4018" y="297"/>
                    <a:pt x="3474" y="151"/>
                  </a:cubicBezTo>
                  <a:cubicBezTo>
                    <a:pt x="3272" y="89"/>
                    <a:pt x="2824" y="1"/>
                    <a:pt x="2319" y="1"/>
                  </a:cubicBezTo>
                  <a:close/>
                </a:path>
              </a:pathLst>
            </a:custGeom>
            <a:solidFill>
              <a:srgbClr val="FFBDC0"/>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83" name="Google Shape;1183;p39"/>
            <p:cNvSpPr/>
            <p:nvPr/>
          </p:nvSpPr>
          <p:spPr>
            <a:xfrm>
              <a:off x="8500275" y="-1327500"/>
              <a:ext cx="118250" cy="124000"/>
            </a:xfrm>
            <a:custGeom>
              <a:avLst/>
              <a:gdLst/>
              <a:ahLst/>
              <a:cxnLst/>
              <a:rect l="l" t="t" r="r" b="b"/>
              <a:pathLst>
                <a:path w="4730" h="4960" extrusionOk="0">
                  <a:moveTo>
                    <a:pt x="4290" y="3244"/>
                  </a:moveTo>
                  <a:cubicBezTo>
                    <a:pt x="4499" y="3014"/>
                    <a:pt x="4646" y="2721"/>
                    <a:pt x="4687" y="2386"/>
                  </a:cubicBezTo>
                  <a:cubicBezTo>
                    <a:pt x="4729" y="2030"/>
                    <a:pt x="4604" y="1633"/>
                    <a:pt x="4395" y="1319"/>
                  </a:cubicBezTo>
                  <a:cubicBezTo>
                    <a:pt x="4018" y="775"/>
                    <a:pt x="3055" y="42"/>
                    <a:pt x="2281" y="42"/>
                  </a:cubicBezTo>
                  <a:cubicBezTo>
                    <a:pt x="1444" y="1"/>
                    <a:pt x="1" y="838"/>
                    <a:pt x="126" y="1884"/>
                  </a:cubicBezTo>
                  <a:cubicBezTo>
                    <a:pt x="189" y="2198"/>
                    <a:pt x="335" y="2198"/>
                    <a:pt x="628" y="2302"/>
                  </a:cubicBezTo>
                  <a:cubicBezTo>
                    <a:pt x="1026" y="2449"/>
                    <a:pt x="1549" y="2511"/>
                    <a:pt x="1863" y="2783"/>
                  </a:cubicBezTo>
                  <a:cubicBezTo>
                    <a:pt x="2239" y="3097"/>
                    <a:pt x="2072" y="3830"/>
                    <a:pt x="2867" y="4060"/>
                  </a:cubicBezTo>
                  <a:cubicBezTo>
                    <a:pt x="3139" y="4143"/>
                    <a:pt x="3390" y="4583"/>
                    <a:pt x="3558" y="4960"/>
                  </a:cubicBezTo>
                  <a:cubicBezTo>
                    <a:pt x="3788" y="4708"/>
                    <a:pt x="4102" y="3495"/>
                    <a:pt x="4290" y="3244"/>
                  </a:cubicBezTo>
                  <a:close/>
                </a:path>
              </a:pathLst>
            </a:custGeom>
            <a:solidFill>
              <a:srgbClr val="FF2731"/>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84" name="Google Shape;1184;p39"/>
            <p:cNvSpPr/>
            <p:nvPr/>
          </p:nvSpPr>
          <p:spPr>
            <a:xfrm>
              <a:off x="8570375" y="-1263675"/>
              <a:ext cx="93125" cy="178925"/>
            </a:xfrm>
            <a:custGeom>
              <a:avLst/>
              <a:gdLst/>
              <a:ahLst/>
              <a:cxnLst/>
              <a:rect l="l" t="t" r="r" b="b"/>
              <a:pathLst>
                <a:path w="3725" h="7157" extrusionOk="0">
                  <a:moveTo>
                    <a:pt x="2658" y="2846"/>
                  </a:moveTo>
                  <a:cubicBezTo>
                    <a:pt x="2741" y="3160"/>
                    <a:pt x="2637" y="3495"/>
                    <a:pt x="2637" y="3808"/>
                  </a:cubicBezTo>
                  <a:cubicBezTo>
                    <a:pt x="2679" y="4562"/>
                    <a:pt x="3390" y="5127"/>
                    <a:pt x="3620" y="5859"/>
                  </a:cubicBezTo>
                  <a:cubicBezTo>
                    <a:pt x="3704" y="6131"/>
                    <a:pt x="3725" y="6445"/>
                    <a:pt x="3599" y="6717"/>
                  </a:cubicBezTo>
                  <a:cubicBezTo>
                    <a:pt x="3474" y="6968"/>
                    <a:pt x="3181" y="7156"/>
                    <a:pt x="2888" y="7114"/>
                  </a:cubicBezTo>
                  <a:cubicBezTo>
                    <a:pt x="2574" y="7052"/>
                    <a:pt x="2365" y="6738"/>
                    <a:pt x="2239" y="6424"/>
                  </a:cubicBezTo>
                  <a:cubicBezTo>
                    <a:pt x="2114" y="6131"/>
                    <a:pt x="2030" y="5796"/>
                    <a:pt x="1821" y="5566"/>
                  </a:cubicBezTo>
                  <a:cubicBezTo>
                    <a:pt x="1486" y="5189"/>
                    <a:pt x="879" y="5168"/>
                    <a:pt x="544" y="4813"/>
                  </a:cubicBezTo>
                  <a:cubicBezTo>
                    <a:pt x="231" y="4436"/>
                    <a:pt x="0" y="3453"/>
                    <a:pt x="0" y="2720"/>
                  </a:cubicBezTo>
                  <a:cubicBezTo>
                    <a:pt x="0" y="1298"/>
                    <a:pt x="440" y="0"/>
                    <a:pt x="1151" y="210"/>
                  </a:cubicBezTo>
                  <a:cubicBezTo>
                    <a:pt x="1570" y="335"/>
                    <a:pt x="1674" y="1067"/>
                    <a:pt x="1779" y="1381"/>
                  </a:cubicBezTo>
                  <a:cubicBezTo>
                    <a:pt x="1946" y="1925"/>
                    <a:pt x="2532" y="2260"/>
                    <a:pt x="2658" y="2846"/>
                  </a:cubicBezTo>
                  <a:close/>
                </a:path>
              </a:pathLst>
            </a:custGeom>
            <a:solidFill>
              <a:srgbClr val="FF2731"/>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85" name="Google Shape;1185;p39"/>
            <p:cNvSpPr/>
            <p:nvPr/>
          </p:nvSpPr>
          <p:spPr>
            <a:xfrm>
              <a:off x="8560425" y="-1244375"/>
              <a:ext cx="24100" cy="26050"/>
            </a:xfrm>
            <a:custGeom>
              <a:avLst/>
              <a:gdLst/>
              <a:ahLst/>
              <a:cxnLst/>
              <a:rect l="l" t="t" r="r" b="b"/>
              <a:pathLst>
                <a:path w="964" h="1042" extrusionOk="0">
                  <a:moveTo>
                    <a:pt x="656" y="0"/>
                  </a:moveTo>
                  <a:cubicBezTo>
                    <a:pt x="476" y="0"/>
                    <a:pt x="271" y="137"/>
                    <a:pt x="210" y="274"/>
                  </a:cubicBezTo>
                  <a:cubicBezTo>
                    <a:pt x="105" y="421"/>
                    <a:pt x="1" y="860"/>
                    <a:pt x="210" y="1007"/>
                  </a:cubicBezTo>
                  <a:cubicBezTo>
                    <a:pt x="235" y="1031"/>
                    <a:pt x="273" y="1041"/>
                    <a:pt x="318" y="1041"/>
                  </a:cubicBezTo>
                  <a:cubicBezTo>
                    <a:pt x="350" y="1041"/>
                    <a:pt x="385" y="1036"/>
                    <a:pt x="419" y="1028"/>
                  </a:cubicBezTo>
                  <a:cubicBezTo>
                    <a:pt x="566" y="1007"/>
                    <a:pt x="733" y="902"/>
                    <a:pt x="838" y="735"/>
                  </a:cubicBezTo>
                  <a:cubicBezTo>
                    <a:pt x="901" y="588"/>
                    <a:pt x="963" y="400"/>
                    <a:pt x="901" y="212"/>
                  </a:cubicBezTo>
                  <a:cubicBezTo>
                    <a:pt x="880" y="170"/>
                    <a:pt x="880" y="86"/>
                    <a:pt x="838" y="65"/>
                  </a:cubicBezTo>
                  <a:cubicBezTo>
                    <a:pt x="786" y="20"/>
                    <a:pt x="723" y="0"/>
                    <a:pt x="656" y="0"/>
                  </a:cubicBezTo>
                  <a:close/>
                </a:path>
              </a:pathLst>
            </a:custGeom>
            <a:solidFill>
              <a:srgbClr val="FFBDC0"/>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86" name="Google Shape;1186;p39"/>
            <p:cNvSpPr/>
            <p:nvPr/>
          </p:nvSpPr>
          <p:spPr>
            <a:xfrm>
              <a:off x="8568275" y="-1136575"/>
              <a:ext cx="62275" cy="94175"/>
            </a:xfrm>
            <a:custGeom>
              <a:avLst/>
              <a:gdLst/>
              <a:ahLst/>
              <a:cxnLst/>
              <a:rect l="l" t="t" r="r" b="b"/>
              <a:pathLst>
                <a:path w="2491" h="3767" extrusionOk="0">
                  <a:moveTo>
                    <a:pt x="2219" y="1968"/>
                  </a:moveTo>
                  <a:cubicBezTo>
                    <a:pt x="2009" y="1277"/>
                    <a:pt x="1612" y="608"/>
                    <a:pt x="1026" y="189"/>
                  </a:cubicBezTo>
                  <a:cubicBezTo>
                    <a:pt x="859" y="84"/>
                    <a:pt x="670" y="1"/>
                    <a:pt x="524" y="64"/>
                  </a:cubicBezTo>
                  <a:cubicBezTo>
                    <a:pt x="356" y="147"/>
                    <a:pt x="315" y="294"/>
                    <a:pt x="252" y="482"/>
                  </a:cubicBezTo>
                  <a:cubicBezTo>
                    <a:pt x="1" y="1549"/>
                    <a:pt x="147" y="2679"/>
                    <a:pt x="335" y="3767"/>
                  </a:cubicBezTo>
                  <a:lnTo>
                    <a:pt x="2491" y="3432"/>
                  </a:lnTo>
                  <a:cubicBezTo>
                    <a:pt x="2428" y="2909"/>
                    <a:pt x="2344" y="2449"/>
                    <a:pt x="2219" y="1968"/>
                  </a:cubicBezTo>
                  <a:close/>
                </a:path>
              </a:pathLst>
            </a:custGeom>
            <a:solidFill>
              <a:srgbClr val="AE66FF"/>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87" name="Google Shape;1187;p39"/>
            <p:cNvSpPr/>
            <p:nvPr/>
          </p:nvSpPr>
          <p:spPr>
            <a:xfrm>
              <a:off x="8576650" y="-1051300"/>
              <a:ext cx="62800" cy="132275"/>
            </a:xfrm>
            <a:custGeom>
              <a:avLst/>
              <a:gdLst/>
              <a:ahLst/>
              <a:cxnLst/>
              <a:rect l="l" t="t" r="r" b="b"/>
              <a:pathLst>
                <a:path w="2512" h="5291" extrusionOk="0">
                  <a:moveTo>
                    <a:pt x="2156" y="0"/>
                  </a:moveTo>
                  <a:lnTo>
                    <a:pt x="0" y="335"/>
                  </a:lnTo>
                  <a:cubicBezTo>
                    <a:pt x="21" y="440"/>
                    <a:pt x="21" y="544"/>
                    <a:pt x="63" y="649"/>
                  </a:cubicBezTo>
                  <a:cubicBezTo>
                    <a:pt x="231" y="1758"/>
                    <a:pt x="440" y="2846"/>
                    <a:pt x="628" y="3955"/>
                  </a:cubicBezTo>
                  <a:cubicBezTo>
                    <a:pt x="712" y="4373"/>
                    <a:pt x="691" y="4855"/>
                    <a:pt x="1068" y="5127"/>
                  </a:cubicBezTo>
                  <a:cubicBezTo>
                    <a:pt x="1218" y="5231"/>
                    <a:pt x="1408" y="5290"/>
                    <a:pt x="1593" y="5290"/>
                  </a:cubicBezTo>
                  <a:cubicBezTo>
                    <a:pt x="1742" y="5290"/>
                    <a:pt x="1888" y="5252"/>
                    <a:pt x="2009" y="5168"/>
                  </a:cubicBezTo>
                  <a:cubicBezTo>
                    <a:pt x="2260" y="5022"/>
                    <a:pt x="2407" y="4729"/>
                    <a:pt x="2469" y="4436"/>
                  </a:cubicBezTo>
                  <a:cubicBezTo>
                    <a:pt x="2511" y="4164"/>
                    <a:pt x="2490" y="3871"/>
                    <a:pt x="2469" y="3578"/>
                  </a:cubicBezTo>
                  <a:cubicBezTo>
                    <a:pt x="2344" y="2616"/>
                    <a:pt x="2281" y="1653"/>
                    <a:pt x="2197" y="712"/>
                  </a:cubicBezTo>
                  <a:cubicBezTo>
                    <a:pt x="2177" y="461"/>
                    <a:pt x="2177" y="230"/>
                    <a:pt x="2156" y="0"/>
                  </a:cubicBezTo>
                  <a:close/>
                </a:path>
              </a:pathLst>
            </a:custGeom>
            <a:solidFill>
              <a:srgbClr val="FFBDC0"/>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88" name="Google Shape;1188;p39"/>
            <p:cNvSpPr/>
            <p:nvPr/>
          </p:nvSpPr>
          <p:spPr>
            <a:xfrm>
              <a:off x="8474125" y="-962175"/>
              <a:ext cx="160675" cy="123225"/>
            </a:xfrm>
            <a:custGeom>
              <a:avLst/>
              <a:gdLst/>
              <a:ahLst/>
              <a:cxnLst/>
              <a:rect l="l" t="t" r="r" b="b"/>
              <a:pathLst>
                <a:path w="6427" h="4929" extrusionOk="0">
                  <a:moveTo>
                    <a:pt x="5393" y="1"/>
                  </a:moveTo>
                  <a:cubicBezTo>
                    <a:pt x="5354" y="1"/>
                    <a:pt x="5314" y="5"/>
                    <a:pt x="5273" y="13"/>
                  </a:cubicBezTo>
                  <a:cubicBezTo>
                    <a:pt x="4541" y="222"/>
                    <a:pt x="2532" y="2733"/>
                    <a:pt x="670" y="4114"/>
                  </a:cubicBezTo>
                  <a:cubicBezTo>
                    <a:pt x="461" y="4282"/>
                    <a:pt x="0" y="4637"/>
                    <a:pt x="147" y="4847"/>
                  </a:cubicBezTo>
                  <a:cubicBezTo>
                    <a:pt x="184" y="4906"/>
                    <a:pt x="272" y="4928"/>
                    <a:pt x="380" y="4928"/>
                  </a:cubicBezTo>
                  <a:cubicBezTo>
                    <a:pt x="578" y="4928"/>
                    <a:pt x="841" y="4852"/>
                    <a:pt x="963" y="4784"/>
                  </a:cubicBezTo>
                  <a:cubicBezTo>
                    <a:pt x="2197" y="4177"/>
                    <a:pt x="5964" y="1708"/>
                    <a:pt x="6131" y="1478"/>
                  </a:cubicBezTo>
                  <a:cubicBezTo>
                    <a:pt x="6427" y="1083"/>
                    <a:pt x="6035" y="1"/>
                    <a:pt x="5393" y="1"/>
                  </a:cubicBezTo>
                  <a:close/>
                </a:path>
              </a:pathLst>
            </a:custGeom>
            <a:solidFill>
              <a:srgbClr val="FFBDC0"/>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89" name="Google Shape;1189;p39"/>
            <p:cNvSpPr/>
            <p:nvPr/>
          </p:nvSpPr>
          <p:spPr>
            <a:xfrm>
              <a:off x="8429650" y="-858275"/>
              <a:ext cx="74100" cy="53825"/>
            </a:xfrm>
            <a:custGeom>
              <a:avLst/>
              <a:gdLst/>
              <a:ahLst/>
              <a:cxnLst/>
              <a:rect l="l" t="t" r="r" b="b"/>
              <a:pathLst>
                <a:path w="2964" h="2153" extrusionOk="0">
                  <a:moveTo>
                    <a:pt x="2305" y="1"/>
                  </a:moveTo>
                  <a:cubicBezTo>
                    <a:pt x="2088" y="1"/>
                    <a:pt x="1864" y="52"/>
                    <a:pt x="1717" y="126"/>
                  </a:cubicBezTo>
                  <a:cubicBezTo>
                    <a:pt x="1361" y="314"/>
                    <a:pt x="1026" y="481"/>
                    <a:pt x="650" y="649"/>
                  </a:cubicBezTo>
                  <a:cubicBezTo>
                    <a:pt x="608" y="732"/>
                    <a:pt x="712" y="795"/>
                    <a:pt x="775" y="795"/>
                  </a:cubicBezTo>
                  <a:cubicBezTo>
                    <a:pt x="859" y="795"/>
                    <a:pt x="942" y="753"/>
                    <a:pt x="1026" y="732"/>
                  </a:cubicBezTo>
                  <a:cubicBezTo>
                    <a:pt x="1044" y="721"/>
                    <a:pt x="1068" y="716"/>
                    <a:pt x="1093" y="716"/>
                  </a:cubicBezTo>
                  <a:cubicBezTo>
                    <a:pt x="1159" y="716"/>
                    <a:pt x="1235" y="750"/>
                    <a:pt x="1235" y="795"/>
                  </a:cubicBezTo>
                  <a:cubicBezTo>
                    <a:pt x="1256" y="879"/>
                    <a:pt x="1152" y="963"/>
                    <a:pt x="1068" y="984"/>
                  </a:cubicBezTo>
                  <a:cubicBezTo>
                    <a:pt x="712" y="1172"/>
                    <a:pt x="336" y="1360"/>
                    <a:pt x="1" y="1528"/>
                  </a:cubicBezTo>
                  <a:cubicBezTo>
                    <a:pt x="22" y="1841"/>
                    <a:pt x="315" y="2092"/>
                    <a:pt x="629" y="2134"/>
                  </a:cubicBezTo>
                  <a:cubicBezTo>
                    <a:pt x="691" y="2147"/>
                    <a:pt x="754" y="2153"/>
                    <a:pt x="817" y="2153"/>
                  </a:cubicBezTo>
                  <a:cubicBezTo>
                    <a:pt x="1067" y="2153"/>
                    <a:pt x="1315" y="2059"/>
                    <a:pt x="1549" y="1925"/>
                  </a:cubicBezTo>
                  <a:cubicBezTo>
                    <a:pt x="1926" y="1737"/>
                    <a:pt x="2303" y="1465"/>
                    <a:pt x="2616" y="1151"/>
                  </a:cubicBezTo>
                  <a:cubicBezTo>
                    <a:pt x="2805" y="963"/>
                    <a:pt x="2951" y="732"/>
                    <a:pt x="2951" y="481"/>
                  </a:cubicBezTo>
                  <a:cubicBezTo>
                    <a:pt x="2964" y="125"/>
                    <a:pt x="2643" y="1"/>
                    <a:pt x="2305" y="1"/>
                  </a:cubicBezTo>
                  <a:close/>
                </a:path>
              </a:pathLst>
            </a:custGeom>
            <a:solidFill>
              <a:srgbClr val="FFBDC0"/>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90" name="Google Shape;1190;p39"/>
            <p:cNvSpPr/>
            <p:nvPr/>
          </p:nvSpPr>
          <p:spPr>
            <a:xfrm>
              <a:off x="8801575" y="-817875"/>
              <a:ext cx="130800" cy="273400"/>
            </a:xfrm>
            <a:custGeom>
              <a:avLst/>
              <a:gdLst/>
              <a:ahLst/>
              <a:cxnLst/>
              <a:rect l="l" t="t" r="r" b="b"/>
              <a:pathLst>
                <a:path w="5232" h="10936" extrusionOk="0">
                  <a:moveTo>
                    <a:pt x="3510" y="1"/>
                  </a:moveTo>
                  <a:cubicBezTo>
                    <a:pt x="3371" y="1"/>
                    <a:pt x="3237" y="54"/>
                    <a:pt x="3118" y="184"/>
                  </a:cubicBezTo>
                  <a:cubicBezTo>
                    <a:pt x="2637" y="644"/>
                    <a:pt x="2323" y="1481"/>
                    <a:pt x="2051" y="2088"/>
                  </a:cubicBezTo>
                  <a:cubicBezTo>
                    <a:pt x="1361" y="3448"/>
                    <a:pt x="838" y="4912"/>
                    <a:pt x="482" y="6398"/>
                  </a:cubicBezTo>
                  <a:cubicBezTo>
                    <a:pt x="314" y="7235"/>
                    <a:pt x="189" y="8072"/>
                    <a:pt x="84" y="8909"/>
                  </a:cubicBezTo>
                  <a:cubicBezTo>
                    <a:pt x="22" y="9411"/>
                    <a:pt x="1" y="9934"/>
                    <a:pt x="210" y="10352"/>
                  </a:cubicBezTo>
                  <a:cubicBezTo>
                    <a:pt x="385" y="10686"/>
                    <a:pt x="752" y="10935"/>
                    <a:pt x="1111" y="10935"/>
                  </a:cubicBezTo>
                  <a:cubicBezTo>
                    <a:pt x="1225" y="10935"/>
                    <a:pt x="1338" y="10910"/>
                    <a:pt x="1444" y="10855"/>
                  </a:cubicBezTo>
                  <a:cubicBezTo>
                    <a:pt x="1674" y="10729"/>
                    <a:pt x="1842" y="10457"/>
                    <a:pt x="1947" y="10206"/>
                  </a:cubicBezTo>
                  <a:lnTo>
                    <a:pt x="4060" y="6042"/>
                  </a:lnTo>
                  <a:cubicBezTo>
                    <a:pt x="4625" y="4891"/>
                    <a:pt x="5232" y="3678"/>
                    <a:pt x="5148" y="2401"/>
                  </a:cubicBezTo>
                  <a:cubicBezTo>
                    <a:pt x="5127" y="1795"/>
                    <a:pt x="4939" y="1230"/>
                    <a:pt x="4583" y="748"/>
                  </a:cubicBezTo>
                  <a:cubicBezTo>
                    <a:pt x="4350" y="438"/>
                    <a:pt x="3910" y="1"/>
                    <a:pt x="3510" y="1"/>
                  </a:cubicBezTo>
                  <a:close/>
                </a:path>
              </a:pathLst>
            </a:custGeom>
            <a:solidFill>
              <a:srgbClr val="995F2D"/>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91" name="Google Shape;1191;p39"/>
            <p:cNvSpPr/>
            <p:nvPr/>
          </p:nvSpPr>
          <p:spPr>
            <a:xfrm>
              <a:off x="8816225" y="-836850"/>
              <a:ext cx="116675" cy="185725"/>
            </a:xfrm>
            <a:custGeom>
              <a:avLst/>
              <a:gdLst/>
              <a:ahLst/>
              <a:cxnLst/>
              <a:rect l="l" t="t" r="r" b="b"/>
              <a:pathLst>
                <a:path w="4667" h="7429" extrusionOk="0">
                  <a:moveTo>
                    <a:pt x="4604" y="3453"/>
                  </a:moveTo>
                  <a:cubicBezTo>
                    <a:pt x="4562" y="2805"/>
                    <a:pt x="4353" y="2156"/>
                    <a:pt x="3934" y="1633"/>
                  </a:cubicBezTo>
                  <a:cubicBezTo>
                    <a:pt x="3599" y="1152"/>
                    <a:pt x="3390" y="1"/>
                    <a:pt x="2867" y="545"/>
                  </a:cubicBezTo>
                  <a:cubicBezTo>
                    <a:pt x="2344" y="1068"/>
                    <a:pt x="1465" y="2428"/>
                    <a:pt x="1109" y="3077"/>
                  </a:cubicBezTo>
                  <a:cubicBezTo>
                    <a:pt x="691" y="3956"/>
                    <a:pt x="314" y="4876"/>
                    <a:pt x="0" y="5776"/>
                  </a:cubicBezTo>
                  <a:lnTo>
                    <a:pt x="3390" y="7429"/>
                  </a:lnTo>
                  <a:cubicBezTo>
                    <a:pt x="4039" y="6173"/>
                    <a:pt x="4666" y="4855"/>
                    <a:pt x="4604" y="3453"/>
                  </a:cubicBezTo>
                  <a:close/>
                </a:path>
              </a:pathLst>
            </a:custGeom>
            <a:solidFill>
              <a:srgbClr val="F5F5F5"/>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92" name="Google Shape;1192;p39"/>
            <p:cNvSpPr/>
            <p:nvPr/>
          </p:nvSpPr>
          <p:spPr>
            <a:xfrm>
              <a:off x="8796875" y="-610375"/>
              <a:ext cx="230175" cy="100550"/>
            </a:xfrm>
            <a:custGeom>
              <a:avLst/>
              <a:gdLst/>
              <a:ahLst/>
              <a:cxnLst/>
              <a:rect l="l" t="t" r="r" b="b"/>
              <a:pathLst>
                <a:path w="9207" h="4022" extrusionOk="0">
                  <a:moveTo>
                    <a:pt x="1555" y="0"/>
                  </a:moveTo>
                  <a:cubicBezTo>
                    <a:pt x="1110" y="0"/>
                    <a:pt x="652" y="160"/>
                    <a:pt x="377" y="504"/>
                  </a:cubicBezTo>
                  <a:cubicBezTo>
                    <a:pt x="0" y="985"/>
                    <a:pt x="105" y="1697"/>
                    <a:pt x="502" y="2073"/>
                  </a:cubicBezTo>
                  <a:cubicBezTo>
                    <a:pt x="942" y="2513"/>
                    <a:pt x="1758" y="2743"/>
                    <a:pt x="2302" y="2973"/>
                  </a:cubicBezTo>
                  <a:cubicBezTo>
                    <a:pt x="2951" y="3224"/>
                    <a:pt x="3641" y="3454"/>
                    <a:pt x="4311" y="3601"/>
                  </a:cubicBezTo>
                  <a:cubicBezTo>
                    <a:pt x="5402" y="3874"/>
                    <a:pt x="6549" y="4021"/>
                    <a:pt x="7684" y="4021"/>
                  </a:cubicBezTo>
                  <a:cubicBezTo>
                    <a:pt x="7941" y="4021"/>
                    <a:pt x="8198" y="4014"/>
                    <a:pt x="8453" y="3998"/>
                  </a:cubicBezTo>
                  <a:cubicBezTo>
                    <a:pt x="8642" y="3998"/>
                    <a:pt x="8788" y="3956"/>
                    <a:pt x="8956" y="3894"/>
                  </a:cubicBezTo>
                  <a:cubicBezTo>
                    <a:pt x="9102" y="3810"/>
                    <a:pt x="9207" y="3622"/>
                    <a:pt x="9165" y="3475"/>
                  </a:cubicBezTo>
                  <a:cubicBezTo>
                    <a:pt x="9123" y="3308"/>
                    <a:pt x="8977" y="3224"/>
                    <a:pt x="8809" y="3161"/>
                  </a:cubicBezTo>
                  <a:cubicBezTo>
                    <a:pt x="7909" y="2722"/>
                    <a:pt x="6968" y="2262"/>
                    <a:pt x="6047" y="1822"/>
                  </a:cubicBezTo>
                  <a:cubicBezTo>
                    <a:pt x="5168" y="1404"/>
                    <a:pt x="4248" y="964"/>
                    <a:pt x="3348" y="546"/>
                  </a:cubicBezTo>
                  <a:cubicBezTo>
                    <a:pt x="2888" y="295"/>
                    <a:pt x="2386" y="65"/>
                    <a:pt x="1842" y="23"/>
                  </a:cubicBezTo>
                  <a:cubicBezTo>
                    <a:pt x="1748" y="8"/>
                    <a:pt x="1652" y="0"/>
                    <a:pt x="1555" y="0"/>
                  </a:cubicBezTo>
                  <a:close/>
                </a:path>
              </a:pathLst>
            </a:custGeom>
            <a:solidFill>
              <a:srgbClr val="995F2D"/>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93" name="Google Shape;1193;p39"/>
            <p:cNvSpPr/>
            <p:nvPr/>
          </p:nvSpPr>
          <p:spPr>
            <a:xfrm>
              <a:off x="8919275" y="-522975"/>
              <a:ext cx="238025" cy="162175"/>
            </a:xfrm>
            <a:custGeom>
              <a:avLst/>
              <a:gdLst/>
              <a:ahLst/>
              <a:cxnLst/>
              <a:rect l="l" t="t" r="r" b="b"/>
              <a:pathLst>
                <a:path w="9521" h="6487" extrusionOk="0">
                  <a:moveTo>
                    <a:pt x="1277" y="147"/>
                  </a:moveTo>
                  <a:cubicBezTo>
                    <a:pt x="2302" y="0"/>
                    <a:pt x="7198" y="0"/>
                    <a:pt x="8244" y="147"/>
                  </a:cubicBezTo>
                  <a:cubicBezTo>
                    <a:pt x="9521" y="335"/>
                    <a:pt x="9332" y="1925"/>
                    <a:pt x="9165" y="2909"/>
                  </a:cubicBezTo>
                  <a:cubicBezTo>
                    <a:pt x="8977" y="3955"/>
                    <a:pt x="8767" y="5064"/>
                    <a:pt x="7993" y="5775"/>
                  </a:cubicBezTo>
                  <a:cubicBezTo>
                    <a:pt x="7240" y="6486"/>
                    <a:pt x="2239" y="6486"/>
                    <a:pt x="1528" y="5775"/>
                  </a:cubicBezTo>
                  <a:cubicBezTo>
                    <a:pt x="754" y="5043"/>
                    <a:pt x="524" y="3913"/>
                    <a:pt x="356" y="2909"/>
                  </a:cubicBezTo>
                  <a:cubicBezTo>
                    <a:pt x="210" y="1925"/>
                    <a:pt x="0" y="335"/>
                    <a:pt x="1277" y="147"/>
                  </a:cubicBezTo>
                  <a:close/>
                </a:path>
              </a:pathLst>
            </a:custGeom>
            <a:solidFill>
              <a:srgbClr val="6800FF"/>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94" name="Google Shape;1194;p39"/>
            <p:cNvSpPr/>
            <p:nvPr/>
          </p:nvSpPr>
          <p:spPr>
            <a:xfrm>
              <a:off x="9055275" y="-506775"/>
              <a:ext cx="367750" cy="164275"/>
            </a:xfrm>
            <a:custGeom>
              <a:avLst/>
              <a:gdLst/>
              <a:ahLst/>
              <a:cxnLst/>
              <a:rect l="l" t="t" r="r" b="b"/>
              <a:pathLst>
                <a:path w="14710" h="6571" extrusionOk="0">
                  <a:moveTo>
                    <a:pt x="13810" y="3872"/>
                  </a:moveTo>
                  <a:cubicBezTo>
                    <a:pt x="14354" y="4478"/>
                    <a:pt x="14710" y="5441"/>
                    <a:pt x="14229" y="6048"/>
                  </a:cubicBezTo>
                  <a:cubicBezTo>
                    <a:pt x="13831" y="6571"/>
                    <a:pt x="2804" y="5546"/>
                    <a:pt x="1151" y="5546"/>
                  </a:cubicBezTo>
                  <a:cubicBezTo>
                    <a:pt x="1" y="4060"/>
                    <a:pt x="21" y="1842"/>
                    <a:pt x="3014" y="315"/>
                  </a:cubicBezTo>
                  <a:cubicBezTo>
                    <a:pt x="3641" y="1"/>
                    <a:pt x="4332" y="336"/>
                    <a:pt x="5022" y="482"/>
                  </a:cubicBezTo>
                  <a:cubicBezTo>
                    <a:pt x="7031" y="900"/>
                    <a:pt x="12471" y="2407"/>
                    <a:pt x="13810" y="3872"/>
                  </a:cubicBezTo>
                  <a:close/>
                </a:path>
              </a:pathLst>
            </a:custGeom>
            <a:solidFill>
              <a:srgbClr val="6800FF"/>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95" name="Google Shape;1195;p39"/>
            <p:cNvSpPr/>
            <p:nvPr/>
          </p:nvSpPr>
          <p:spPr>
            <a:xfrm>
              <a:off x="8744050" y="-675200"/>
              <a:ext cx="323800" cy="315450"/>
            </a:xfrm>
            <a:custGeom>
              <a:avLst/>
              <a:gdLst/>
              <a:ahLst/>
              <a:cxnLst/>
              <a:rect l="l" t="t" r="r" b="b"/>
              <a:pathLst>
                <a:path w="12952" h="12618" extrusionOk="0">
                  <a:moveTo>
                    <a:pt x="2385" y="63"/>
                  </a:moveTo>
                  <a:cubicBezTo>
                    <a:pt x="1569" y="0"/>
                    <a:pt x="711" y="314"/>
                    <a:pt x="314" y="1005"/>
                  </a:cubicBezTo>
                  <a:cubicBezTo>
                    <a:pt x="0" y="1591"/>
                    <a:pt x="42" y="2323"/>
                    <a:pt x="335" y="2888"/>
                  </a:cubicBezTo>
                  <a:cubicBezTo>
                    <a:pt x="607" y="3495"/>
                    <a:pt x="1046" y="3997"/>
                    <a:pt x="1486" y="4499"/>
                  </a:cubicBezTo>
                  <a:cubicBezTo>
                    <a:pt x="7825" y="11550"/>
                    <a:pt x="7888" y="11864"/>
                    <a:pt x="8976" y="12157"/>
                  </a:cubicBezTo>
                  <a:cubicBezTo>
                    <a:pt x="10776" y="12617"/>
                    <a:pt x="12952" y="12157"/>
                    <a:pt x="11341" y="8014"/>
                  </a:cubicBezTo>
                  <a:cubicBezTo>
                    <a:pt x="11069" y="7345"/>
                    <a:pt x="4352" y="231"/>
                    <a:pt x="2385" y="63"/>
                  </a:cubicBezTo>
                  <a:close/>
                </a:path>
              </a:pathLst>
            </a:custGeom>
            <a:solidFill>
              <a:srgbClr val="6800FF"/>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96" name="Google Shape;1196;p39"/>
            <p:cNvSpPr/>
            <p:nvPr/>
          </p:nvSpPr>
          <p:spPr>
            <a:xfrm>
              <a:off x="8888400" y="-397450"/>
              <a:ext cx="65525" cy="85450"/>
            </a:xfrm>
            <a:custGeom>
              <a:avLst/>
              <a:gdLst/>
              <a:ahLst/>
              <a:cxnLst/>
              <a:rect l="l" t="t" r="r" b="b"/>
              <a:pathLst>
                <a:path w="2621" h="3418" extrusionOk="0">
                  <a:moveTo>
                    <a:pt x="1842" y="1"/>
                  </a:moveTo>
                  <a:lnTo>
                    <a:pt x="1" y="649"/>
                  </a:lnTo>
                  <a:cubicBezTo>
                    <a:pt x="984" y="2072"/>
                    <a:pt x="1821" y="3160"/>
                    <a:pt x="2240" y="3390"/>
                  </a:cubicBezTo>
                  <a:cubicBezTo>
                    <a:pt x="2270" y="3409"/>
                    <a:pt x="2297" y="3417"/>
                    <a:pt x="2320" y="3417"/>
                  </a:cubicBezTo>
                  <a:lnTo>
                    <a:pt x="2320" y="3417"/>
                  </a:lnTo>
                  <a:cubicBezTo>
                    <a:pt x="2620" y="3417"/>
                    <a:pt x="2366" y="1961"/>
                    <a:pt x="1842" y="1"/>
                  </a:cubicBezTo>
                  <a:close/>
                </a:path>
              </a:pathLst>
            </a:custGeom>
            <a:solidFill>
              <a:srgbClr val="995F2D"/>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97" name="Google Shape;1197;p39"/>
            <p:cNvSpPr/>
            <p:nvPr/>
          </p:nvSpPr>
          <p:spPr>
            <a:xfrm>
              <a:off x="8741425" y="-684625"/>
              <a:ext cx="192525" cy="310750"/>
            </a:xfrm>
            <a:custGeom>
              <a:avLst/>
              <a:gdLst/>
              <a:ahLst/>
              <a:cxnLst/>
              <a:rect l="l" t="t" r="r" b="b"/>
              <a:pathLst>
                <a:path w="7701" h="12430" extrusionOk="0">
                  <a:moveTo>
                    <a:pt x="858" y="545"/>
                  </a:moveTo>
                  <a:cubicBezTo>
                    <a:pt x="1988" y="1"/>
                    <a:pt x="3076" y="168"/>
                    <a:pt x="3976" y="1591"/>
                  </a:cubicBezTo>
                  <a:cubicBezTo>
                    <a:pt x="5169" y="3558"/>
                    <a:pt x="6801" y="8328"/>
                    <a:pt x="7700" y="11467"/>
                  </a:cubicBezTo>
                  <a:lnTo>
                    <a:pt x="5566" y="12429"/>
                  </a:lnTo>
                  <a:cubicBezTo>
                    <a:pt x="4248" y="9395"/>
                    <a:pt x="1591" y="5441"/>
                    <a:pt x="586" y="3641"/>
                  </a:cubicBezTo>
                  <a:cubicBezTo>
                    <a:pt x="63" y="2637"/>
                    <a:pt x="0" y="1005"/>
                    <a:pt x="858" y="545"/>
                  </a:cubicBezTo>
                  <a:close/>
                </a:path>
              </a:pathLst>
            </a:custGeom>
            <a:solidFill>
              <a:srgbClr val="6800FF"/>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98" name="Google Shape;1198;p39"/>
            <p:cNvSpPr/>
            <p:nvPr/>
          </p:nvSpPr>
          <p:spPr>
            <a:xfrm>
              <a:off x="9021275" y="-362925"/>
              <a:ext cx="84775" cy="44000"/>
            </a:xfrm>
            <a:custGeom>
              <a:avLst/>
              <a:gdLst/>
              <a:ahLst/>
              <a:cxnLst/>
              <a:rect l="l" t="t" r="r" b="b"/>
              <a:pathLst>
                <a:path w="3391" h="1760" extrusionOk="0">
                  <a:moveTo>
                    <a:pt x="2490" y="1"/>
                  </a:moveTo>
                  <a:cubicBezTo>
                    <a:pt x="921" y="754"/>
                    <a:pt x="1" y="1444"/>
                    <a:pt x="461" y="1633"/>
                  </a:cubicBezTo>
                  <a:cubicBezTo>
                    <a:pt x="722" y="1724"/>
                    <a:pt x="1162" y="1759"/>
                    <a:pt x="1727" y="1759"/>
                  </a:cubicBezTo>
                  <a:cubicBezTo>
                    <a:pt x="2203" y="1759"/>
                    <a:pt x="2768" y="1734"/>
                    <a:pt x="3390" y="1696"/>
                  </a:cubicBezTo>
                  <a:lnTo>
                    <a:pt x="2490" y="1"/>
                  </a:lnTo>
                  <a:close/>
                </a:path>
              </a:pathLst>
            </a:custGeom>
            <a:solidFill>
              <a:srgbClr val="995F2D"/>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199" name="Google Shape;1199;p39"/>
            <p:cNvSpPr/>
            <p:nvPr/>
          </p:nvSpPr>
          <p:spPr>
            <a:xfrm>
              <a:off x="9083000" y="-410525"/>
              <a:ext cx="333225" cy="95225"/>
            </a:xfrm>
            <a:custGeom>
              <a:avLst/>
              <a:gdLst/>
              <a:ahLst/>
              <a:cxnLst/>
              <a:rect l="l" t="t" r="r" b="b"/>
              <a:pathLst>
                <a:path w="13329" h="3809" extrusionOk="0">
                  <a:moveTo>
                    <a:pt x="10797" y="1"/>
                  </a:moveTo>
                  <a:cubicBezTo>
                    <a:pt x="12492" y="1"/>
                    <a:pt x="13329" y="859"/>
                    <a:pt x="13329" y="1486"/>
                  </a:cubicBezTo>
                  <a:cubicBezTo>
                    <a:pt x="13329" y="2532"/>
                    <a:pt x="12680" y="3662"/>
                    <a:pt x="11090" y="3662"/>
                  </a:cubicBezTo>
                  <a:cubicBezTo>
                    <a:pt x="9040" y="3662"/>
                    <a:pt x="3892" y="3579"/>
                    <a:pt x="733" y="3809"/>
                  </a:cubicBezTo>
                  <a:lnTo>
                    <a:pt x="1" y="1926"/>
                  </a:lnTo>
                  <a:cubicBezTo>
                    <a:pt x="2344" y="775"/>
                    <a:pt x="8307" y="1"/>
                    <a:pt x="10797" y="1"/>
                  </a:cubicBezTo>
                  <a:close/>
                </a:path>
              </a:pathLst>
            </a:custGeom>
            <a:solidFill>
              <a:srgbClr val="6800FF"/>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00" name="Google Shape;1200;p39"/>
            <p:cNvSpPr/>
            <p:nvPr/>
          </p:nvSpPr>
          <p:spPr>
            <a:xfrm>
              <a:off x="9016050" y="-354550"/>
              <a:ext cx="121900" cy="104125"/>
            </a:xfrm>
            <a:custGeom>
              <a:avLst/>
              <a:gdLst/>
              <a:ahLst/>
              <a:cxnLst/>
              <a:rect l="l" t="t" r="r" b="b"/>
              <a:pathLst>
                <a:path w="4876" h="4165" extrusionOk="0">
                  <a:moveTo>
                    <a:pt x="0" y="1047"/>
                  </a:moveTo>
                  <a:cubicBezTo>
                    <a:pt x="63" y="1026"/>
                    <a:pt x="523" y="314"/>
                    <a:pt x="837" y="189"/>
                  </a:cubicBezTo>
                  <a:cubicBezTo>
                    <a:pt x="1026" y="126"/>
                    <a:pt x="1256" y="1"/>
                    <a:pt x="1444" y="126"/>
                  </a:cubicBezTo>
                  <a:cubicBezTo>
                    <a:pt x="1653" y="231"/>
                    <a:pt x="1674" y="524"/>
                    <a:pt x="1800" y="691"/>
                  </a:cubicBezTo>
                  <a:cubicBezTo>
                    <a:pt x="1904" y="817"/>
                    <a:pt x="2051" y="921"/>
                    <a:pt x="2176" y="1005"/>
                  </a:cubicBezTo>
                  <a:lnTo>
                    <a:pt x="2469" y="607"/>
                  </a:lnTo>
                  <a:cubicBezTo>
                    <a:pt x="3515" y="1109"/>
                    <a:pt x="2679" y="2344"/>
                    <a:pt x="3746" y="2846"/>
                  </a:cubicBezTo>
                  <a:cubicBezTo>
                    <a:pt x="3997" y="2972"/>
                    <a:pt x="4269" y="3055"/>
                    <a:pt x="4499" y="3223"/>
                  </a:cubicBezTo>
                  <a:cubicBezTo>
                    <a:pt x="4708" y="3411"/>
                    <a:pt x="4875" y="3725"/>
                    <a:pt x="4708" y="3997"/>
                  </a:cubicBezTo>
                  <a:cubicBezTo>
                    <a:pt x="4666" y="4060"/>
                    <a:pt x="4583" y="4143"/>
                    <a:pt x="4478" y="4164"/>
                  </a:cubicBezTo>
                  <a:lnTo>
                    <a:pt x="1067" y="2532"/>
                  </a:lnTo>
                  <a:cubicBezTo>
                    <a:pt x="1067" y="2532"/>
                    <a:pt x="1046" y="1842"/>
                    <a:pt x="1151" y="1758"/>
                  </a:cubicBezTo>
                  <a:cubicBezTo>
                    <a:pt x="1046" y="1821"/>
                    <a:pt x="754" y="1946"/>
                    <a:pt x="628" y="1946"/>
                  </a:cubicBezTo>
                  <a:close/>
                </a:path>
              </a:pathLst>
            </a:custGeom>
            <a:solidFill>
              <a:srgbClr val="222222"/>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01" name="Google Shape;1201;p39"/>
            <p:cNvSpPr/>
            <p:nvPr/>
          </p:nvSpPr>
          <p:spPr>
            <a:xfrm>
              <a:off x="8885800" y="-365525"/>
              <a:ext cx="68025" cy="62275"/>
            </a:xfrm>
            <a:custGeom>
              <a:avLst/>
              <a:gdLst/>
              <a:ahLst/>
              <a:cxnLst/>
              <a:rect l="l" t="t" r="r" b="b"/>
              <a:pathLst>
                <a:path w="2721" h="2491" extrusionOk="0">
                  <a:moveTo>
                    <a:pt x="0" y="2197"/>
                  </a:moveTo>
                  <a:cubicBezTo>
                    <a:pt x="0" y="1904"/>
                    <a:pt x="105" y="1674"/>
                    <a:pt x="251" y="1632"/>
                  </a:cubicBezTo>
                  <a:cubicBezTo>
                    <a:pt x="377" y="1548"/>
                    <a:pt x="565" y="1067"/>
                    <a:pt x="795" y="398"/>
                  </a:cubicBezTo>
                  <a:cubicBezTo>
                    <a:pt x="900" y="84"/>
                    <a:pt x="1549" y="0"/>
                    <a:pt x="1863" y="523"/>
                  </a:cubicBezTo>
                  <a:cubicBezTo>
                    <a:pt x="1967" y="712"/>
                    <a:pt x="2072" y="816"/>
                    <a:pt x="2176" y="816"/>
                  </a:cubicBezTo>
                  <a:cubicBezTo>
                    <a:pt x="2281" y="816"/>
                    <a:pt x="2386" y="628"/>
                    <a:pt x="2469" y="753"/>
                  </a:cubicBezTo>
                  <a:cubicBezTo>
                    <a:pt x="2532" y="858"/>
                    <a:pt x="2574" y="1130"/>
                    <a:pt x="2595" y="1318"/>
                  </a:cubicBezTo>
                  <a:cubicBezTo>
                    <a:pt x="2616" y="1632"/>
                    <a:pt x="2679" y="1967"/>
                    <a:pt x="2699" y="2281"/>
                  </a:cubicBezTo>
                  <a:cubicBezTo>
                    <a:pt x="2699" y="2365"/>
                    <a:pt x="2720" y="2427"/>
                    <a:pt x="2720" y="2490"/>
                  </a:cubicBezTo>
                  <a:lnTo>
                    <a:pt x="63" y="2490"/>
                  </a:lnTo>
                  <a:cubicBezTo>
                    <a:pt x="42" y="2406"/>
                    <a:pt x="42" y="2302"/>
                    <a:pt x="0" y="2197"/>
                  </a:cubicBezTo>
                  <a:close/>
                </a:path>
              </a:pathLst>
            </a:custGeom>
            <a:solidFill>
              <a:srgbClr val="222222"/>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02" name="Google Shape;1202;p39"/>
            <p:cNvSpPr/>
            <p:nvPr/>
          </p:nvSpPr>
          <p:spPr>
            <a:xfrm>
              <a:off x="9144725" y="-817875"/>
              <a:ext cx="130800" cy="273400"/>
            </a:xfrm>
            <a:custGeom>
              <a:avLst/>
              <a:gdLst/>
              <a:ahLst/>
              <a:cxnLst/>
              <a:rect l="l" t="t" r="r" b="b"/>
              <a:pathLst>
                <a:path w="5232" h="10936" extrusionOk="0">
                  <a:moveTo>
                    <a:pt x="1725" y="1"/>
                  </a:moveTo>
                  <a:cubicBezTo>
                    <a:pt x="1331" y="1"/>
                    <a:pt x="903" y="438"/>
                    <a:pt x="670" y="748"/>
                  </a:cubicBezTo>
                  <a:cubicBezTo>
                    <a:pt x="293" y="1230"/>
                    <a:pt x="105" y="1795"/>
                    <a:pt x="84" y="2401"/>
                  </a:cubicBezTo>
                  <a:cubicBezTo>
                    <a:pt x="0" y="3678"/>
                    <a:pt x="607" y="4891"/>
                    <a:pt x="1193" y="6042"/>
                  </a:cubicBezTo>
                  <a:lnTo>
                    <a:pt x="3306" y="10206"/>
                  </a:lnTo>
                  <a:cubicBezTo>
                    <a:pt x="3411" y="10457"/>
                    <a:pt x="3558" y="10729"/>
                    <a:pt x="3809" y="10855"/>
                  </a:cubicBezTo>
                  <a:cubicBezTo>
                    <a:pt x="3914" y="10910"/>
                    <a:pt x="4026" y="10935"/>
                    <a:pt x="4138" y="10935"/>
                  </a:cubicBezTo>
                  <a:cubicBezTo>
                    <a:pt x="4492" y="10935"/>
                    <a:pt x="4847" y="10686"/>
                    <a:pt x="5022" y="10352"/>
                  </a:cubicBezTo>
                  <a:cubicBezTo>
                    <a:pt x="5231" y="9934"/>
                    <a:pt x="5210" y="9411"/>
                    <a:pt x="5169" y="8909"/>
                  </a:cubicBezTo>
                  <a:cubicBezTo>
                    <a:pt x="5064" y="8072"/>
                    <a:pt x="4918" y="7235"/>
                    <a:pt x="4771" y="6398"/>
                  </a:cubicBezTo>
                  <a:cubicBezTo>
                    <a:pt x="4394" y="4912"/>
                    <a:pt x="3871" y="3448"/>
                    <a:pt x="3202" y="2088"/>
                  </a:cubicBezTo>
                  <a:cubicBezTo>
                    <a:pt x="2909" y="1481"/>
                    <a:pt x="2595" y="644"/>
                    <a:pt x="2114" y="184"/>
                  </a:cubicBezTo>
                  <a:cubicBezTo>
                    <a:pt x="1995" y="54"/>
                    <a:pt x="1862" y="1"/>
                    <a:pt x="1725" y="1"/>
                  </a:cubicBezTo>
                  <a:close/>
                </a:path>
              </a:pathLst>
            </a:custGeom>
            <a:solidFill>
              <a:srgbClr val="995F2D"/>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03" name="Google Shape;1203;p39"/>
            <p:cNvSpPr/>
            <p:nvPr/>
          </p:nvSpPr>
          <p:spPr>
            <a:xfrm>
              <a:off x="9143675" y="-836850"/>
              <a:ext cx="117725" cy="185725"/>
            </a:xfrm>
            <a:custGeom>
              <a:avLst/>
              <a:gdLst/>
              <a:ahLst/>
              <a:cxnLst/>
              <a:rect l="l" t="t" r="r" b="b"/>
              <a:pathLst>
                <a:path w="4709" h="7429" extrusionOk="0">
                  <a:moveTo>
                    <a:pt x="105" y="3453"/>
                  </a:moveTo>
                  <a:cubicBezTo>
                    <a:pt x="126" y="2805"/>
                    <a:pt x="335" y="2156"/>
                    <a:pt x="754" y="1633"/>
                  </a:cubicBezTo>
                  <a:cubicBezTo>
                    <a:pt x="1089" y="1152"/>
                    <a:pt x="1298" y="1"/>
                    <a:pt x="1821" y="545"/>
                  </a:cubicBezTo>
                  <a:cubicBezTo>
                    <a:pt x="2344" y="1068"/>
                    <a:pt x="3244" y="2428"/>
                    <a:pt x="3579" y="3077"/>
                  </a:cubicBezTo>
                  <a:cubicBezTo>
                    <a:pt x="3997" y="3956"/>
                    <a:pt x="4395" y="4876"/>
                    <a:pt x="4708" y="5776"/>
                  </a:cubicBezTo>
                  <a:lnTo>
                    <a:pt x="1298" y="7429"/>
                  </a:lnTo>
                  <a:cubicBezTo>
                    <a:pt x="649" y="6173"/>
                    <a:pt x="1" y="4855"/>
                    <a:pt x="105" y="3453"/>
                  </a:cubicBezTo>
                  <a:close/>
                </a:path>
              </a:pathLst>
            </a:custGeom>
            <a:solidFill>
              <a:srgbClr val="F5F5F5"/>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04" name="Google Shape;1204;p39"/>
            <p:cNvSpPr/>
            <p:nvPr/>
          </p:nvSpPr>
          <p:spPr>
            <a:xfrm>
              <a:off x="9047425" y="-604075"/>
              <a:ext cx="230700" cy="100575"/>
            </a:xfrm>
            <a:custGeom>
              <a:avLst/>
              <a:gdLst/>
              <a:ahLst/>
              <a:cxnLst/>
              <a:rect l="l" t="t" r="r" b="b"/>
              <a:pathLst>
                <a:path w="9228" h="4023" extrusionOk="0">
                  <a:moveTo>
                    <a:pt x="7652" y="1"/>
                  </a:moveTo>
                  <a:cubicBezTo>
                    <a:pt x="7563" y="1"/>
                    <a:pt x="7474" y="8"/>
                    <a:pt x="7387" y="22"/>
                  </a:cubicBezTo>
                  <a:cubicBezTo>
                    <a:pt x="6822" y="85"/>
                    <a:pt x="6341" y="315"/>
                    <a:pt x="5859" y="545"/>
                  </a:cubicBezTo>
                  <a:cubicBezTo>
                    <a:pt x="4981" y="963"/>
                    <a:pt x="4060" y="1403"/>
                    <a:pt x="3160" y="1842"/>
                  </a:cubicBezTo>
                  <a:cubicBezTo>
                    <a:pt x="2260" y="2282"/>
                    <a:pt x="1319" y="2721"/>
                    <a:pt x="398" y="3160"/>
                  </a:cubicBezTo>
                  <a:cubicBezTo>
                    <a:pt x="231" y="3244"/>
                    <a:pt x="84" y="3328"/>
                    <a:pt x="63" y="3474"/>
                  </a:cubicBezTo>
                  <a:cubicBezTo>
                    <a:pt x="1" y="3642"/>
                    <a:pt x="105" y="3830"/>
                    <a:pt x="273" y="3893"/>
                  </a:cubicBezTo>
                  <a:cubicBezTo>
                    <a:pt x="419" y="3976"/>
                    <a:pt x="587" y="3997"/>
                    <a:pt x="754" y="3997"/>
                  </a:cubicBezTo>
                  <a:cubicBezTo>
                    <a:pt x="1034" y="4014"/>
                    <a:pt x="1315" y="4023"/>
                    <a:pt x="1595" y="4023"/>
                  </a:cubicBezTo>
                  <a:cubicBezTo>
                    <a:pt x="2714" y="4023"/>
                    <a:pt x="3826" y="3889"/>
                    <a:pt x="4897" y="3621"/>
                  </a:cubicBezTo>
                  <a:cubicBezTo>
                    <a:pt x="5566" y="3453"/>
                    <a:pt x="6257" y="3244"/>
                    <a:pt x="6905" y="2972"/>
                  </a:cubicBezTo>
                  <a:cubicBezTo>
                    <a:pt x="7450" y="2742"/>
                    <a:pt x="8266" y="2512"/>
                    <a:pt x="8705" y="2093"/>
                  </a:cubicBezTo>
                  <a:cubicBezTo>
                    <a:pt x="9102" y="1696"/>
                    <a:pt x="9228" y="963"/>
                    <a:pt x="8851" y="524"/>
                  </a:cubicBezTo>
                  <a:cubicBezTo>
                    <a:pt x="8555" y="175"/>
                    <a:pt x="8099" y="1"/>
                    <a:pt x="7652" y="1"/>
                  </a:cubicBezTo>
                  <a:close/>
                </a:path>
              </a:pathLst>
            </a:custGeom>
            <a:solidFill>
              <a:srgbClr val="995F2D"/>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05" name="Google Shape;1205;p39"/>
            <p:cNvSpPr/>
            <p:nvPr/>
          </p:nvSpPr>
          <p:spPr>
            <a:xfrm>
              <a:off x="8872200" y="-886525"/>
              <a:ext cx="332175" cy="405425"/>
            </a:xfrm>
            <a:custGeom>
              <a:avLst/>
              <a:gdLst/>
              <a:ahLst/>
              <a:cxnLst/>
              <a:rect l="l" t="t" r="r" b="b"/>
              <a:pathLst>
                <a:path w="13287" h="16217" extrusionOk="0">
                  <a:moveTo>
                    <a:pt x="502" y="2699"/>
                  </a:moveTo>
                  <a:cubicBezTo>
                    <a:pt x="837" y="2302"/>
                    <a:pt x="1339" y="2072"/>
                    <a:pt x="1800" y="1904"/>
                  </a:cubicBezTo>
                  <a:cubicBezTo>
                    <a:pt x="3243" y="1381"/>
                    <a:pt x="6508" y="0"/>
                    <a:pt x="6654" y="21"/>
                  </a:cubicBezTo>
                  <a:cubicBezTo>
                    <a:pt x="6780" y="21"/>
                    <a:pt x="10044" y="1381"/>
                    <a:pt x="11487" y="1904"/>
                  </a:cubicBezTo>
                  <a:cubicBezTo>
                    <a:pt x="11990" y="2093"/>
                    <a:pt x="12471" y="2302"/>
                    <a:pt x="12785" y="2699"/>
                  </a:cubicBezTo>
                  <a:cubicBezTo>
                    <a:pt x="13245" y="3222"/>
                    <a:pt x="13287" y="3997"/>
                    <a:pt x="13140" y="4666"/>
                  </a:cubicBezTo>
                  <a:cubicBezTo>
                    <a:pt x="12973" y="5336"/>
                    <a:pt x="12638" y="5943"/>
                    <a:pt x="12324" y="6570"/>
                  </a:cubicBezTo>
                  <a:cubicBezTo>
                    <a:pt x="11948" y="7344"/>
                    <a:pt x="11634" y="8160"/>
                    <a:pt x="11383" y="8976"/>
                  </a:cubicBezTo>
                  <a:cubicBezTo>
                    <a:pt x="10943" y="10462"/>
                    <a:pt x="10734" y="12031"/>
                    <a:pt x="10734" y="13580"/>
                  </a:cubicBezTo>
                  <a:cubicBezTo>
                    <a:pt x="10734" y="14040"/>
                    <a:pt x="10985" y="14856"/>
                    <a:pt x="10839" y="15295"/>
                  </a:cubicBezTo>
                  <a:cubicBezTo>
                    <a:pt x="10650" y="15881"/>
                    <a:pt x="9688" y="16007"/>
                    <a:pt x="9186" y="16049"/>
                  </a:cubicBezTo>
                  <a:cubicBezTo>
                    <a:pt x="8349" y="16174"/>
                    <a:pt x="7491" y="16216"/>
                    <a:pt x="6654" y="16174"/>
                  </a:cubicBezTo>
                  <a:cubicBezTo>
                    <a:pt x="5775" y="16195"/>
                    <a:pt x="4938" y="16174"/>
                    <a:pt x="4101" y="16049"/>
                  </a:cubicBezTo>
                  <a:cubicBezTo>
                    <a:pt x="3620" y="16007"/>
                    <a:pt x="2637" y="15881"/>
                    <a:pt x="2469" y="15295"/>
                  </a:cubicBezTo>
                  <a:cubicBezTo>
                    <a:pt x="2302" y="14856"/>
                    <a:pt x="2574" y="14040"/>
                    <a:pt x="2574" y="13580"/>
                  </a:cubicBezTo>
                  <a:cubicBezTo>
                    <a:pt x="2574" y="12010"/>
                    <a:pt x="2365" y="10462"/>
                    <a:pt x="1904" y="8976"/>
                  </a:cubicBezTo>
                  <a:cubicBezTo>
                    <a:pt x="1674" y="8140"/>
                    <a:pt x="1360" y="7323"/>
                    <a:pt x="963" y="6570"/>
                  </a:cubicBezTo>
                  <a:cubicBezTo>
                    <a:pt x="649" y="5943"/>
                    <a:pt x="314" y="5336"/>
                    <a:pt x="168" y="4666"/>
                  </a:cubicBezTo>
                  <a:cubicBezTo>
                    <a:pt x="0" y="3997"/>
                    <a:pt x="84" y="3222"/>
                    <a:pt x="502" y="2699"/>
                  </a:cubicBezTo>
                  <a:close/>
                </a:path>
              </a:pathLst>
            </a:custGeom>
            <a:solidFill>
              <a:srgbClr val="F5F5F5"/>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06" name="Google Shape;1206;p39"/>
            <p:cNvSpPr/>
            <p:nvPr/>
          </p:nvSpPr>
          <p:spPr>
            <a:xfrm>
              <a:off x="9005050" y="-931900"/>
              <a:ext cx="65950" cy="95875"/>
            </a:xfrm>
            <a:custGeom>
              <a:avLst/>
              <a:gdLst/>
              <a:ahLst/>
              <a:cxnLst/>
              <a:rect l="l" t="t" r="r" b="b"/>
              <a:pathLst>
                <a:path w="2638" h="3835" extrusionOk="0">
                  <a:moveTo>
                    <a:pt x="1301" y="0"/>
                  </a:moveTo>
                  <a:cubicBezTo>
                    <a:pt x="1052" y="0"/>
                    <a:pt x="806" y="47"/>
                    <a:pt x="733" y="141"/>
                  </a:cubicBezTo>
                  <a:cubicBezTo>
                    <a:pt x="461" y="434"/>
                    <a:pt x="378" y="1229"/>
                    <a:pt x="252" y="1648"/>
                  </a:cubicBezTo>
                  <a:cubicBezTo>
                    <a:pt x="106" y="2129"/>
                    <a:pt x="1" y="2694"/>
                    <a:pt x="147" y="3196"/>
                  </a:cubicBezTo>
                  <a:cubicBezTo>
                    <a:pt x="252" y="3552"/>
                    <a:pt x="482" y="3719"/>
                    <a:pt x="733" y="3803"/>
                  </a:cubicBezTo>
                  <a:cubicBezTo>
                    <a:pt x="817" y="3824"/>
                    <a:pt x="1063" y="3834"/>
                    <a:pt x="1311" y="3834"/>
                  </a:cubicBezTo>
                  <a:cubicBezTo>
                    <a:pt x="1560" y="3834"/>
                    <a:pt x="1811" y="3824"/>
                    <a:pt x="1905" y="3803"/>
                  </a:cubicBezTo>
                  <a:cubicBezTo>
                    <a:pt x="2135" y="3719"/>
                    <a:pt x="2365" y="3552"/>
                    <a:pt x="2470" y="3196"/>
                  </a:cubicBezTo>
                  <a:cubicBezTo>
                    <a:pt x="2637" y="2694"/>
                    <a:pt x="2512" y="2129"/>
                    <a:pt x="2344" y="1648"/>
                  </a:cubicBezTo>
                  <a:cubicBezTo>
                    <a:pt x="2219" y="1229"/>
                    <a:pt x="2135" y="434"/>
                    <a:pt x="1884" y="141"/>
                  </a:cubicBezTo>
                  <a:cubicBezTo>
                    <a:pt x="1800" y="47"/>
                    <a:pt x="1549" y="0"/>
                    <a:pt x="1301" y="0"/>
                  </a:cubicBezTo>
                  <a:close/>
                </a:path>
              </a:pathLst>
            </a:custGeom>
            <a:solidFill>
              <a:srgbClr val="995F2D"/>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07" name="Google Shape;1207;p39"/>
            <p:cNvSpPr/>
            <p:nvPr/>
          </p:nvSpPr>
          <p:spPr>
            <a:xfrm>
              <a:off x="8987800" y="-1016775"/>
              <a:ext cx="99400" cy="149625"/>
            </a:xfrm>
            <a:custGeom>
              <a:avLst/>
              <a:gdLst/>
              <a:ahLst/>
              <a:cxnLst/>
              <a:rect l="l" t="t" r="r" b="b"/>
              <a:pathLst>
                <a:path w="3976" h="5985" extrusionOk="0">
                  <a:moveTo>
                    <a:pt x="1988" y="0"/>
                  </a:moveTo>
                  <a:cubicBezTo>
                    <a:pt x="1193" y="0"/>
                    <a:pt x="377" y="1046"/>
                    <a:pt x="251" y="1444"/>
                  </a:cubicBezTo>
                  <a:cubicBezTo>
                    <a:pt x="21" y="2051"/>
                    <a:pt x="0" y="2741"/>
                    <a:pt x="147" y="3411"/>
                  </a:cubicBezTo>
                  <a:cubicBezTo>
                    <a:pt x="251" y="4039"/>
                    <a:pt x="503" y="4583"/>
                    <a:pt x="837" y="5043"/>
                  </a:cubicBezTo>
                  <a:cubicBezTo>
                    <a:pt x="1088" y="5357"/>
                    <a:pt x="1402" y="5838"/>
                    <a:pt x="1737" y="5984"/>
                  </a:cubicBezTo>
                  <a:lnTo>
                    <a:pt x="2281" y="5984"/>
                  </a:lnTo>
                  <a:cubicBezTo>
                    <a:pt x="2616" y="5838"/>
                    <a:pt x="2930" y="5357"/>
                    <a:pt x="3181" y="5043"/>
                  </a:cubicBezTo>
                  <a:cubicBezTo>
                    <a:pt x="3516" y="4583"/>
                    <a:pt x="3767" y="4039"/>
                    <a:pt x="3871" y="3411"/>
                  </a:cubicBezTo>
                  <a:cubicBezTo>
                    <a:pt x="3976" y="2741"/>
                    <a:pt x="3955" y="2072"/>
                    <a:pt x="3746" y="1444"/>
                  </a:cubicBezTo>
                  <a:cubicBezTo>
                    <a:pt x="3620" y="1046"/>
                    <a:pt x="2804" y="0"/>
                    <a:pt x="1988" y="0"/>
                  </a:cubicBezTo>
                  <a:close/>
                </a:path>
              </a:pathLst>
            </a:custGeom>
            <a:solidFill>
              <a:srgbClr val="995F2D"/>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08" name="Google Shape;1208;p39"/>
            <p:cNvSpPr/>
            <p:nvPr/>
          </p:nvSpPr>
          <p:spPr>
            <a:xfrm>
              <a:off x="8989375" y="-956100"/>
              <a:ext cx="95225" cy="99400"/>
            </a:xfrm>
            <a:custGeom>
              <a:avLst/>
              <a:gdLst/>
              <a:ahLst/>
              <a:cxnLst/>
              <a:rect l="l" t="t" r="r" b="b"/>
              <a:pathLst>
                <a:path w="3809" h="3976" extrusionOk="0">
                  <a:moveTo>
                    <a:pt x="251" y="1088"/>
                  </a:moveTo>
                  <a:cubicBezTo>
                    <a:pt x="230" y="900"/>
                    <a:pt x="126" y="712"/>
                    <a:pt x="105" y="523"/>
                  </a:cubicBezTo>
                  <a:cubicBezTo>
                    <a:pt x="84" y="356"/>
                    <a:pt x="0" y="147"/>
                    <a:pt x="126" y="0"/>
                  </a:cubicBezTo>
                  <a:cubicBezTo>
                    <a:pt x="251" y="586"/>
                    <a:pt x="502" y="1130"/>
                    <a:pt x="670" y="1674"/>
                  </a:cubicBezTo>
                  <a:cubicBezTo>
                    <a:pt x="733" y="1821"/>
                    <a:pt x="753" y="1925"/>
                    <a:pt x="858" y="2030"/>
                  </a:cubicBezTo>
                  <a:cubicBezTo>
                    <a:pt x="963" y="2135"/>
                    <a:pt x="1130" y="2176"/>
                    <a:pt x="1277" y="2197"/>
                  </a:cubicBezTo>
                  <a:cubicBezTo>
                    <a:pt x="1423" y="2239"/>
                    <a:pt x="1883" y="2051"/>
                    <a:pt x="1925" y="2051"/>
                  </a:cubicBezTo>
                  <a:cubicBezTo>
                    <a:pt x="1988" y="2051"/>
                    <a:pt x="2427" y="2239"/>
                    <a:pt x="2574" y="2197"/>
                  </a:cubicBezTo>
                  <a:cubicBezTo>
                    <a:pt x="2741" y="2176"/>
                    <a:pt x="2909" y="2135"/>
                    <a:pt x="2992" y="2030"/>
                  </a:cubicBezTo>
                  <a:cubicBezTo>
                    <a:pt x="3076" y="1946"/>
                    <a:pt x="3139" y="1821"/>
                    <a:pt x="3181" y="1674"/>
                  </a:cubicBezTo>
                  <a:cubicBezTo>
                    <a:pt x="3369" y="1130"/>
                    <a:pt x="3515" y="586"/>
                    <a:pt x="3662" y="0"/>
                  </a:cubicBezTo>
                  <a:cubicBezTo>
                    <a:pt x="3787" y="147"/>
                    <a:pt x="3808" y="356"/>
                    <a:pt x="3766" y="523"/>
                  </a:cubicBezTo>
                  <a:cubicBezTo>
                    <a:pt x="3746" y="712"/>
                    <a:pt x="3662" y="900"/>
                    <a:pt x="3599" y="1088"/>
                  </a:cubicBezTo>
                  <a:lnTo>
                    <a:pt x="3599" y="1130"/>
                  </a:lnTo>
                  <a:cubicBezTo>
                    <a:pt x="3578" y="1256"/>
                    <a:pt x="3578" y="1402"/>
                    <a:pt x="3620" y="1507"/>
                  </a:cubicBezTo>
                  <a:cubicBezTo>
                    <a:pt x="3662" y="1549"/>
                    <a:pt x="3683" y="1570"/>
                    <a:pt x="3683" y="1632"/>
                  </a:cubicBezTo>
                  <a:cubicBezTo>
                    <a:pt x="3683" y="1674"/>
                    <a:pt x="3662" y="1758"/>
                    <a:pt x="3662" y="1821"/>
                  </a:cubicBezTo>
                  <a:cubicBezTo>
                    <a:pt x="3599" y="2072"/>
                    <a:pt x="3536" y="2302"/>
                    <a:pt x="3453" y="2553"/>
                  </a:cubicBezTo>
                  <a:cubicBezTo>
                    <a:pt x="3348" y="2783"/>
                    <a:pt x="3243" y="3013"/>
                    <a:pt x="3118" y="3223"/>
                  </a:cubicBezTo>
                  <a:cubicBezTo>
                    <a:pt x="3034" y="3327"/>
                    <a:pt x="2971" y="3432"/>
                    <a:pt x="2909" y="3536"/>
                  </a:cubicBezTo>
                  <a:cubicBezTo>
                    <a:pt x="2867" y="3599"/>
                    <a:pt x="2720" y="3829"/>
                    <a:pt x="2657" y="3829"/>
                  </a:cubicBezTo>
                  <a:lnTo>
                    <a:pt x="2093" y="3976"/>
                  </a:lnTo>
                  <a:lnTo>
                    <a:pt x="1821" y="3976"/>
                  </a:lnTo>
                  <a:lnTo>
                    <a:pt x="1256" y="3829"/>
                  </a:lnTo>
                  <a:cubicBezTo>
                    <a:pt x="1193" y="3829"/>
                    <a:pt x="1046" y="3599"/>
                    <a:pt x="1005" y="3536"/>
                  </a:cubicBezTo>
                  <a:cubicBezTo>
                    <a:pt x="942" y="3432"/>
                    <a:pt x="858" y="3327"/>
                    <a:pt x="816" y="3223"/>
                  </a:cubicBezTo>
                  <a:cubicBezTo>
                    <a:pt x="670" y="3013"/>
                    <a:pt x="544" y="2783"/>
                    <a:pt x="461" y="2553"/>
                  </a:cubicBezTo>
                  <a:cubicBezTo>
                    <a:pt x="356" y="2302"/>
                    <a:pt x="314" y="2072"/>
                    <a:pt x="251" y="1821"/>
                  </a:cubicBezTo>
                  <a:cubicBezTo>
                    <a:pt x="251" y="1758"/>
                    <a:pt x="230" y="1716"/>
                    <a:pt x="230" y="1632"/>
                  </a:cubicBezTo>
                  <a:cubicBezTo>
                    <a:pt x="230" y="1570"/>
                    <a:pt x="251" y="1549"/>
                    <a:pt x="293" y="1507"/>
                  </a:cubicBezTo>
                  <a:cubicBezTo>
                    <a:pt x="335" y="1402"/>
                    <a:pt x="335" y="1256"/>
                    <a:pt x="314" y="1130"/>
                  </a:cubicBezTo>
                  <a:cubicBezTo>
                    <a:pt x="251" y="1109"/>
                    <a:pt x="251" y="1088"/>
                    <a:pt x="251" y="1088"/>
                  </a:cubicBezTo>
                  <a:close/>
                </a:path>
              </a:pathLst>
            </a:custGeom>
            <a:solidFill>
              <a:srgbClr val="222222"/>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09" name="Google Shape;1209;p39"/>
            <p:cNvSpPr/>
            <p:nvPr/>
          </p:nvSpPr>
          <p:spPr>
            <a:xfrm>
              <a:off x="9077775" y="-951400"/>
              <a:ext cx="18850" cy="33225"/>
            </a:xfrm>
            <a:custGeom>
              <a:avLst/>
              <a:gdLst/>
              <a:ahLst/>
              <a:cxnLst/>
              <a:rect l="l" t="t" r="r" b="b"/>
              <a:pathLst>
                <a:path w="754" h="1329" extrusionOk="0">
                  <a:moveTo>
                    <a:pt x="440" y="1"/>
                  </a:moveTo>
                  <a:cubicBezTo>
                    <a:pt x="356" y="1"/>
                    <a:pt x="272" y="84"/>
                    <a:pt x="230" y="168"/>
                  </a:cubicBezTo>
                  <a:cubicBezTo>
                    <a:pt x="168" y="252"/>
                    <a:pt x="147" y="335"/>
                    <a:pt x="147" y="419"/>
                  </a:cubicBezTo>
                  <a:cubicBezTo>
                    <a:pt x="126" y="587"/>
                    <a:pt x="63" y="733"/>
                    <a:pt x="42" y="900"/>
                  </a:cubicBezTo>
                  <a:cubicBezTo>
                    <a:pt x="21" y="1026"/>
                    <a:pt x="0" y="1214"/>
                    <a:pt x="105" y="1298"/>
                  </a:cubicBezTo>
                  <a:cubicBezTo>
                    <a:pt x="131" y="1319"/>
                    <a:pt x="158" y="1329"/>
                    <a:pt x="185" y="1329"/>
                  </a:cubicBezTo>
                  <a:cubicBezTo>
                    <a:pt x="370" y="1329"/>
                    <a:pt x="552" y="879"/>
                    <a:pt x="607" y="733"/>
                  </a:cubicBezTo>
                  <a:cubicBezTo>
                    <a:pt x="691" y="607"/>
                    <a:pt x="754" y="440"/>
                    <a:pt x="733" y="294"/>
                  </a:cubicBezTo>
                  <a:cubicBezTo>
                    <a:pt x="691" y="147"/>
                    <a:pt x="565" y="1"/>
                    <a:pt x="440" y="1"/>
                  </a:cubicBezTo>
                  <a:close/>
                </a:path>
              </a:pathLst>
            </a:custGeom>
            <a:solidFill>
              <a:srgbClr val="995F2D"/>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10" name="Google Shape;1210;p39"/>
            <p:cNvSpPr/>
            <p:nvPr/>
          </p:nvSpPr>
          <p:spPr>
            <a:xfrm>
              <a:off x="8979425" y="-951400"/>
              <a:ext cx="18850" cy="33225"/>
            </a:xfrm>
            <a:custGeom>
              <a:avLst/>
              <a:gdLst/>
              <a:ahLst/>
              <a:cxnLst/>
              <a:rect l="l" t="t" r="r" b="b"/>
              <a:pathLst>
                <a:path w="754" h="1329" extrusionOk="0">
                  <a:moveTo>
                    <a:pt x="314" y="1"/>
                  </a:moveTo>
                  <a:cubicBezTo>
                    <a:pt x="189" y="1"/>
                    <a:pt x="42" y="147"/>
                    <a:pt x="22" y="294"/>
                  </a:cubicBezTo>
                  <a:cubicBezTo>
                    <a:pt x="1" y="440"/>
                    <a:pt x="63" y="607"/>
                    <a:pt x="126" y="733"/>
                  </a:cubicBezTo>
                  <a:cubicBezTo>
                    <a:pt x="199" y="879"/>
                    <a:pt x="416" y="1329"/>
                    <a:pt x="581" y="1329"/>
                  </a:cubicBezTo>
                  <a:cubicBezTo>
                    <a:pt x="605" y="1329"/>
                    <a:pt x="628" y="1319"/>
                    <a:pt x="649" y="1298"/>
                  </a:cubicBezTo>
                  <a:cubicBezTo>
                    <a:pt x="754" y="1214"/>
                    <a:pt x="733" y="1026"/>
                    <a:pt x="712" y="900"/>
                  </a:cubicBezTo>
                  <a:cubicBezTo>
                    <a:pt x="670" y="733"/>
                    <a:pt x="628" y="587"/>
                    <a:pt x="607" y="419"/>
                  </a:cubicBezTo>
                  <a:cubicBezTo>
                    <a:pt x="607" y="335"/>
                    <a:pt x="566" y="252"/>
                    <a:pt x="524" y="168"/>
                  </a:cubicBezTo>
                  <a:cubicBezTo>
                    <a:pt x="461" y="84"/>
                    <a:pt x="398" y="1"/>
                    <a:pt x="314" y="1"/>
                  </a:cubicBezTo>
                  <a:close/>
                </a:path>
              </a:pathLst>
            </a:custGeom>
            <a:solidFill>
              <a:srgbClr val="995F2D"/>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11" name="Google Shape;1211;p39"/>
            <p:cNvSpPr/>
            <p:nvPr/>
          </p:nvSpPr>
          <p:spPr>
            <a:xfrm>
              <a:off x="8894175" y="-679900"/>
              <a:ext cx="292950" cy="181000"/>
            </a:xfrm>
            <a:custGeom>
              <a:avLst/>
              <a:gdLst/>
              <a:ahLst/>
              <a:cxnLst/>
              <a:rect l="l" t="t" r="r" b="b"/>
              <a:pathLst>
                <a:path w="11718" h="7240" extrusionOk="0">
                  <a:moveTo>
                    <a:pt x="879" y="0"/>
                  </a:moveTo>
                  <a:cubicBezTo>
                    <a:pt x="398" y="0"/>
                    <a:pt x="0" y="419"/>
                    <a:pt x="63" y="879"/>
                  </a:cubicBezTo>
                  <a:lnTo>
                    <a:pt x="523" y="6486"/>
                  </a:lnTo>
                  <a:cubicBezTo>
                    <a:pt x="565" y="6905"/>
                    <a:pt x="900" y="7240"/>
                    <a:pt x="1339" y="7240"/>
                  </a:cubicBezTo>
                  <a:lnTo>
                    <a:pt x="10399" y="7240"/>
                  </a:lnTo>
                  <a:cubicBezTo>
                    <a:pt x="10818" y="7240"/>
                    <a:pt x="11173" y="6926"/>
                    <a:pt x="11194" y="6486"/>
                  </a:cubicBezTo>
                  <a:lnTo>
                    <a:pt x="11675" y="879"/>
                  </a:lnTo>
                  <a:cubicBezTo>
                    <a:pt x="11717" y="419"/>
                    <a:pt x="11341" y="0"/>
                    <a:pt x="10859" y="0"/>
                  </a:cubicBezTo>
                  <a:close/>
                </a:path>
              </a:pathLst>
            </a:custGeom>
            <a:solidFill>
              <a:srgbClr val="535353"/>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12" name="Google Shape;1212;p39"/>
            <p:cNvSpPr/>
            <p:nvPr/>
          </p:nvSpPr>
          <p:spPr>
            <a:xfrm>
              <a:off x="8894700" y="-679400"/>
              <a:ext cx="292950" cy="28275"/>
            </a:xfrm>
            <a:custGeom>
              <a:avLst/>
              <a:gdLst/>
              <a:ahLst/>
              <a:cxnLst/>
              <a:rect l="l" t="t" r="r" b="b"/>
              <a:pathLst>
                <a:path w="11718" h="1131" extrusionOk="0">
                  <a:moveTo>
                    <a:pt x="858" y="1"/>
                  </a:moveTo>
                  <a:cubicBezTo>
                    <a:pt x="377" y="1"/>
                    <a:pt x="0" y="419"/>
                    <a:pt x="42" y="901"/>
                  </a:cubicBezTo>
                  <a:lnTo>
                    <a:pt x="63" y="1131"/>
                  </a:lnTo>
                  <a:cubicBezTo>
                    <a:pt x="146" y="754"/>
                    <a:pt x="460" y="503"/>
                    <a:pt x="858" y="503"/>
                  </a:cubicBezTo>
                  <a:lnTo>
                    <a:pt x="10838" y="503"/>
                  </a:lnTo>
                  <a:cubicBezTo>
                    <a:pt x="11236" y="503"/>
                    <a:pt x="11550" y="754"/>
                    <a:pt x="11634" y="1131"/>
                  </a:cubicBezTo>
                  <a:lnTo>
                    <a:pt x="11654" y="901"/>
                  </a:lnTo>
                  <a:cubicBezTo>
                    <a:pt x="11717" y="419"/>
                    <a:pt x="11320" y="1"/>
                    <a:pt x="10838" y="1"/>
                  </a:cubicBezTo>
                  <a:close/>
                </a:path>
              </a:pathLst>
            </a:custGeom>
            <a:solidFill>
              <a:srgbClr val="535353"/>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13" name="Google Shape;1213;p39"/>
            <p:cNvSpPr/>
            <p:nvPr/>
          </p:nvSpPr>
          <p:spPr>
            <a:xfrm>
              <a:off x="9313150" y="-1079775"/>
              <a:ext cx="683725" cy="512875"/>
            </a:xfrm>
            <a:custGeom>
              <a:avLst/>
              <a:gdLst/>
              <a:ahLst/>
              <a:cxnLst/>
              <a:rect l="l" t="t" r="r" b="b"/>
              <a:pathLst>
                <a:path w="27349" h="20515" extrusionOk="0">
                  <a:moveTo>
                    <a:pt x="9515" y="0"/>
                  </a:moveTo>
                  <a:cubicBezTo>
                    <a:pt x="7753" y="0"/>
                    <a:pt x="6014" y="521"/>
                    <a:pt x="4520" y="1641"/>
                  </a:cubicBezTo>
                  <a:cubicBezTo>
                    <a:pt x="1738" y="3692"/>
                    <a:pt x="1" y="10701"/>
                    <a:pt x="419" y="14614"/>
                  </a:cubicBezTo>
                  <a:cubicBezTo>
                    <a:pt x="482" y="15242"/>
                    <a:pt x="1612" y="20515"/>
                    <a:pt x="5253" y="20515"/>
                  </a:cubicBezTo>
                  <a:lnTo>
                    <a:pt x="15715" y="20515"/>
                  </a:lnTo>
                  <a:cubicBezTo>
                    <a:pt x="27348" y="20494"/>
                    <a:pt x="19732" y="4069"/>
                    <a:pt x="13915" y="1077"/>
                  </a:cubicBezTo>
                  <a:cubicBezTo>
                    <a:pt x="12522" y="375"/>
                    <a:pt x="11010" y="0"/>
                    <a:pt x="9515" y="0"/>
                  </a:cubicBezTo>
                  <a:close/>
                </a:path>
              </a:pathLst>
            </a:custGeom>
            <a:solidFill>
              <a:srgbClr val="FF7C7F"/>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14" name="Google Shape;1214;p39"/>
            <p:cNvSpPr/>
            <p:nvPr/>
          </p:nvSpPr>
          <p:spPr>
            <a:xfrm>
              <a:off x="9428775" y="-1042250"/>
              <a:ext cx="428950" cy="270825"/>
            </a:xfrm>
            <a:custGeom>
              <a:avLst/>
              <a:gdLst/>
              <a:ahLst/>
              <a:cxnLst/>
              <a:rect l="l" t="t" r="r" b="b"/>
              <a:pathLst>
                <a:path w="17158" h="10833" extrusionOk="0">
                  <a:moveTo>
                    <a:pt x="5928" y="0"/>
                  </a:moveTo>
                  <a:cubicBezTo>
                    <a:pt x="4829" y="0"/>
                    <a:pt x="3748" y="276"/>
                    <a:pt x="2825" y="873"/>
                  </a:cubicBezTo>
                  <a:cubicBezTo>
                    <a:pt x="1067" y="1961"/>
                    <a:pt x="0" y="5643"/>
                    <a:pt x="251" y="7715"/>
                  </a:cubicBezTo>
                  <a:cubicBezTo>
                    <a:pt x="314" y="8050"/>
                    <a:pt x="1025" y="10832"/>
                    <a:pt x="3285" y="10832"/>
                  </a:cubicBezTo>
                  <a:lnTo>
                    <a:pt x="9855" y="10832"/>
                  </a:lnTo>
                  <a:cubicBezTo>
                    <a:pt x="17157" y="10832"/>
                    <a:pt x="12387" y="2149"/>
                    <a:pt x="8704" y="580"/>
                  </a:cubicBezTo>
                  <a:cubicBezTo>
                    <a:pt x="7825" y="203"/>
                    <a:pt x="6870" y="0"/>
                    <a:pt x="5928" y="0"/>
                  </a:cubicBezTo>
                  <a:close/>
                </a:path>
              </a:pathLst>
            </a:custGeom>
            <a:solidFill>
              <a:srgbClr val="FF7D80"/>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15" name="Google Shape;1215;p39"/>
            <p:cNvSpPr/>
            <p:nvPr/>
          </p:nvSpPr>
          <p:spPr>
            <a:xfrm>
              <a:off x="9597200" y="-899075"/>
              <a:ext cx="292950" cy="126075"/>
            </a:xfrm>
            <a:custGeom>
              <a:avLst/>
              <a:gdLst/>
              <a:ahLst/>
              <a:cxnLst/>
              <a:rect l="l" t="t" r="r" b="b"/>
              <a:pathLst>
                <a:path w="11718" h="5043" extrusionOk="0">
                  <a:moveTo>
                    <a:pt x="2511" y="21"/>
                  </a:moveTo>
                  <a:cubicBezTo>
                    <a:pt x="4227" y="63"/>
                    <a:pt x="5985" y="481"/>
                    <a:pt x="7679" y="1046"/>
                  </a:cubicBezTo>
                  <a:cubicBezTo>
                    <a:pt x="8663" y="1381"/>
                    <a:pt x="9667" y="1799"/>
                    <a:pt x="10630" y="2302"/>
                  </a:cubicBezTo>
                  <a:cubicBezTo>
                    <a:pt x="11027" y="2511"/>
                    <a:pt x="11487" y="2950"/>
                    <a:pt x="11592" y="3432"/>
                  </a:cubicBezTo>
                  <a:cubicBezTo>
                    <a:pt x="11655" y="3641"/>
                    <a:pt x="11718" y="5043"/>
                    <a:pt x="11236" y="5043"/>
                  </a:cubicBezTo>
                  <a:lnTo>
                    <a:pt x="1884" y="5043"/>
                  </a:lnTo>
                  <a:cubicBezTo>
                    <a:pt x="1235" y="5022"/>
                    <a:pt x="0" y="0"/>
                    <a:pt x="2511" y="21"/>
                  </a:cubicBezTo>
                  <a:close/>
                </a:path>
              </a:pathLst>
            </a:custGeom>
            <a:solidFill>
              <a:srgbClr val="222222"/>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16" name="Google Shape;1216;p39"/>
            <p:cNvSpPr/>
            <p:nvPr/>
          </p:nvSpPr>
          <p:spPr>
            <a:xfrm>
              <a:off x="9801200" y="-841425"/>
              <a:ext cx="104125" cy="340575"/>
            </a:xfrm>
            <a:custGeom>
              <a:avLst/>
              <a:gdLst/>
              <a:ahLst/>
              <a:cxnLst/>
              <a:rect l="l" t="t" r="r" b="b"/>
              <a:pathLst>
                <a:path w="4165" h="13623" extrusionOk="0">
                  <a:moveTo>
                    <a:pt x="2189" y="1"/>
                  </a:moveTo>
                  <a:cubicBezTo>
                    <a:pt x="1742" y="1"/>
                    <a:pt x="1314" y="277"/>
                    <a:pt x="1047" y="1021"/>
                  </a:cubicBezTo>
                  <a:cubicBezTo>
                    <a:pt x="1" y="3971"/>
                    <a:pt x="2260" y="12989"/>
                    <a:pt x="2302" y="13575"/>
                  </a:cubicBezTo>
                  <a:cubicBezTo>
                    <a:pt x="2489" y="13606"/>
                    <a:pt x="2676" y="13623"/>
                    <a:pt x="2860" y="13623"/>
                  </a:cubicBezTo>
                  <a:cubicBezTo>
                    <a:pt x="3170" y="13623"/>
                    <a:pt x="3470" y="13576"/>
                    <a:pt x="3746" y="13470"/>
                  </a:cubicBezTo>
                  <a:cubicBezTo>
                    <a:pt x="3641" y="12947"/>
                    <a:pt x="4164" y="1774"/>
                    <a:pt x="3872" y="1230"/>
                  </a:cubicBezTo>
                  <a:cubicBezTo>
                    <a:pt x="3582" y="627"/>
                    <a:pt x="2863" y="1"/>
                    <a:pt x="2189" y="1"/>
                  </a:cubicBezTo>
                  <a:close/>
                </a:path>
              </a:pathLst>
            </a:custGeom>
            <a:solidFill>
              <a:srgbClr val="FFBDC0"/>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17" name="Google Shape;1217;p39"/>
            <p:cNvSpPr/>
            <p:nvPr/>
          </p:nvSpPr>
          <p:spPr>
            <a:xfrm>
              <a:off x="9844625" y="-535550"/>
              <a:ext cx="113525" cy="75350"/>
            </a:xfrm>
            <a:custGeom>
              <a:avLst/>
              <a:gdLst/>
              <a:ahLst/>
              <a:cxnLst/>
              <a:rect l="l" t="t" r="r" b="b"/>
              <a:pathLst>
                <a:path w="4541" h="3014" extrusionOk="0">
                  <a:moveTo>
                    <a:pt x="461" y="1905"/>
                  </a:moveTo>
                  <a:cubicBezTo>
                    <a:pt x="251" y="1884"/>
                    <a:pt x="84" y="1738"/>
                    <a:pt x="84" y="1487"/>
                  </a:cubicBezTo>
                  <a:cubicBezTo>
                    <a:pt x="42" y="1005"/>
                    <a:pt x="0" y="336"/>
                    <a:pt x="230" y="336"/>
                  </a:cubicBezTo>
                  <a:cubicBezTo>
                    <a:pt x="440" y="336"/>
                    <a:pt x="691" y="524"/>
                    <a:pt x="858" y="629"/>
                  </a:cubicBezTo>
                  <a:cubicBezTo>
                    <a:pt x="984" y="712"/>
                    <a:pt x="1925" y="1"/>
                    <a:pt x="1925" y="1"/>
                  </a:cubicBezTo>
                  <a:cubicBezTo>
                    <a:pt x="2909" y="22"/>
                    <a:pt x="2595" y="1340"/>
                    <a:pt x="4039" y="1591"/>
                  </a:cubicBezTo>
                  <a:cubicBezTo>
                    <a:pt x="4206" y="1633"/>
                    <a:pt x="4331" y="1696"/>
                    <a:pt x="4415" y="1863"/>
                  </a:cubicBezTo>
                  <a:cubicBezTo>
                    <a:pt x="4541" y="2072"/>
                    <a:pt x="4478" y="2219"/>
                    <a:pt x="4352" y="2365"/>
                  </a:cubicBezTo>
                  <a:cubicBezTo>
                    <a:pt x="2490" y="3014"/>
                    <a:pt x="1360" y="1989"/>
                    <a:pt x="461" y="1905"/>
                  </a:cubicBezTo>
                  <a:close/>
                </a:path>
              </a:pathLst>
            </a:custGeom>
            <a:solidFill>
              <a:srgbClr val="F5F5F5"/>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18" name="Google Shape;1218;p39"/>
            <p:cNvSpPr/>
            <p:nvPr/>
          </p:nvSpPr>
          <p:spPr>
            <a:xfrm>
              <a:off x="9635375" y="-1066475"/>
              <a:ext cx="154875" cy="177875"/>
            </a:xfrm>
            <a:custGeom>
              <a:avLst/>
              <a:gdLst/>
              <a:ahLst/>
              <a:cxnLst/>
              <a:rect l="l" t="t" r="r" b="b"/>
              <a:pathLst>
                <a:path w="6195" h="7115" extrusionOk="0">
                  <a:moveTo>
                    <a:pt x="189" y="1"/>
                  </a:moveTo>
                  <a:lnTo>
                    <a:pt x="189" y="1"/>
                  </a:lnTo>
                  <a:cubicBezTo>
                    <a:pt x="1" y="1633"/>
                    <a:pt x="147" y="3537"/>
                    <a:pt x="252" y="3955"/>
                  </a:cubicBezTo>
                  <a:cubicBezTo>
                    <a:pt x="294" y="4143"/>
                    <a:pt x="3767" y="6612"/>
                    <a:pt x="5420" y="7115"/>
                  </a:cubicBezTo>
                  <a:cubicBezTo>
                    <a:pt x="5692" y="6968"/>
                    <a:pt x="6194" y="6550"/>
                    <a:pt x="6090" y="6257"/>
                  </a:cubicBezTo>
                  <a:cubicBezTo>
                    <a:pt x="6069" y="6194"/>
                    <a:pt x="2533" y="3411"/>
                    <a:pt x="2219" y="2930"/>
                  </a:cubicBezTo>
                  <a:cubicBezTo>
                    <a:pt x="2240" y="2218"/>
                    <a:pt x="2867" y="1235"/>
                    <a:pt x="2951" y="63"/>
                  </a:cubicBezTo>
                  <a:lnTo>
                    <a:pt x="189" y="1"/>
                  </a:lnTo>
                  <a:close/>
                </a:path>
              </a:pathLst>
            </a:custGeom>
            <a:solidFill>
              <a:srgbClr val="FFBDC0"/>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19" name="Google Shape;1219;p39"/>
            <p:cNvSpPr/>
            <p:nvPr/>
          </p:nvSpPr>
          <p:spPr>
            <a:xfrm>
              <a:off x="9634350" y="-1195800"/>
              <a:ext cx="85800" cy="130925"/>
            </a:xfrm>
            <a:custGeom>
              <a:avLst/>
              <a:gdLst/>
              <a:ahLst/>
              <a:cxnLst/>
              <a:rect l="l" t="t" r="r" b="b"/>
              <a:pathLst>
                <a:path w="3432" h="5237" extrusionOk="0">
                  <a:moveTo>
                    <a:pt x="1878" y="0"/>
                  </a:moveTo>
                  <a:cubicBezTo>
                    <a:pt x="1596" y="0"/>
                    <a:pt x="1329" y="748"/>
                    <a:pt x="1234" y="842"/>
                  </a:cubicBezTo>
                  <a:cubicBezTo>
                    <a:pt x="586" y="1470"/>
                    <a:pt x="188" y="3395"/>
                    <a:pt x="0" y="5174"/>
                  </a:cubicBezTo>
                  <a:lnTo>
                    <a:pt x="3327" y="5236"/>
                  </a:lnTo>
                  <a:cubicBezTo>
                    <a:pt x="3431" y="3395"/>
                    <a:pt x="3431" y="863"/>
                    <a:pt x="1967" y="26"/>
                  </a:cubicBezTo>
                  <a:cubicBezTo>
                    <a:pt x="1937" y="9"/>
                    <a:pt x="1908" y="0"/>
                    <a:pt x="1878" y="0"/>
                  </a:cubicBezTo>
                  <a:close/>
                </a:path>
              </a:pathLst>
            </a:custGeom>
            <a:solidFill>
              <a:srgbClr val="FF2731"/>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20" name="Google Shape;1220;p39"/>
            <p:cNvSpPr/>
            <p:nvPr/>
          </p:nvSpPr>
          <p:spPr>
            <a:xfrm>
              <a:off x="9764575" y="-920050"/>
              <a:ext cx="61750" cy="45400"/>
            </a:xfrm>
            <a:custGeom>
              <a:avLst/>
              <a:gdLst/>
              <a:ahLst/>
              <a:cxnLst/>
              <a:rect l="l" t="t" r="r" b="b"/>
              <a:pathLst>
                <a:path w="2470" h="1816" extrusionOk="0">
                  <a:moveTo>
                    <a:pt x="1347" y="0"/>
                  </a:moveTo>
                  <a:cubicBezTo>
                    <a:pt x="1075" y="0"/>
                    <a:pt x="825" y="140"/>
                    <a:pt x="629" y="316"/>
                  </a:cubicBezTo>
                  <a:cubicBezTo>
                    <a:pt x="399" y="525"/>
                    <a:pt x="1" y="965"/>
                    <a:pt x="189" y="1341"/>
                  </a:cubicBezTo>
                  <a:cubicBezTo>
                    <a:pt x="275" y="1571"/>
                    <a:pt x="529" y="1682"/>
                    <a:pt x="775" y="1682"/>
                  </a:cubicBezTo>
                  <a:cubicBezTo>
                    <a:pt x="887" y="1682"/>
                    <a:pt x="997" y="1659"/>
                    <a:pt x="1089" y="1613"/>
                  </a:cubicBezTo>
                  <a:cubicBezTo>
                    <a:pt x="1231" y="1524"/>
                    <a:pt x="1389" y="1344"/>
                    <a:pt x="1549" y="1344"/>
                  </a:cubicBezTo>
                  <a:cubicBezTo>
                    <a:pt x="1577" y="1344"/>
                    <a:pt x="1605" y="1350"/>
                    <a:pt x="1633" y="1362"/>
                  </a:cubicBezTo>
                  <a:cubicBezTo>
                    <a:pt x="1821" y="1446"/>
                    <a:pt x="1863" y="1739"/>
                    <a:pt x="2051" y="1802"/>
                  </a:cubicBezTo>
                  <a:cubicBezTo>
                    <a:pt x="2073" y="1811"/>
                    <a:pt x="2096" y="1815"/>
                    <a:pt x="2119" y="1815"/>
                  </a:cubicBezTo>
                  <a:cubicBezTo>
                    <a:pt x="2251" y="1815"/>
                    <a:pt x="2396" y="1675"/>
                    <a:pt x="2449" y="1550"/>
                  </a:cubicBezTo>
                  <a:cubicBezTo>
                    <a:pt x="2470" y="1362"/>
                    <a:pt x="2407" y="1174"/>
                    <a:pt x="2365" y="1027"/>
                  </a:cubicBezTo>
                  <a:cubicBezTo>
                    <a:pt x="2282" y="797"/>
                    <a:pt x="2177" y="546"/>
                    <a:pt x="2031" y="379"/>
                  </a:cubicBezTo>
                  <a:cubicBezTo>
                    <a:pt x="1863" y="170"/>
                    <a:pt x="1633" y="23"/>
                    <a:pt x="1403" y="2"/>
                  </a:cubicBezTo>
                  <a:cubicBezTo>
                    <a:pt x="1384" y="1"/>
                    <a:pt x="1365" y="0"/>
                    <a:pt x="1347" y="0"/>
                  </a:cubicBezTo>
                  <a:close/>
                </a:path>
              </a:pathLst>
            </a:custGeom>
            <a:solidFill>
              <a:srgbClr val="FFBDC0"/>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21" name="Google Shape;1221;p39"/>
            <p:cNvSpPr/>
            <p:nvPr/>
          </p:nvSpPr>
          <p:spPr>
            <a:xfrm>
              <a:off x="9465375" y="-1230200"/>
              <a:ext cx="248500" cy="382400"/>
            </a:xfrm>
            <a:custGeom>
              <a:avLst/>
              <a:gdLst/>
              <a:ahLst/>
              <a:cxnLst/>
              <a:rect l="l" t="t" r="r" b="b"/>
              <a:pathLst>
                <a:path w="9940" h="15296" extrusionOk="0">
                  <a:moveTo>
                    <a:pt x="5625" y="0"/>
                  </a:moveTo>
                  <a:cubicBezTo>
                    <a:pt x="5613" y="0"/>
                    <a:pt x="5600" y="0"/>
                    <a:pt x="5587" y="0"/>
                  </a:cubicBezTo>
                  <a:cubicBezTo>
                    <a:pt x="2512" y="0"/>
                    <a:pt x="607" y="1737"/>
                    <a:pt x="335" y="3160"/>
                  </a:cubicBezTo>
                  <a:cubicBezTo>
                    <a:pt x="1" y="5022"/>
                    <a:pt x="607" y="7156"/>
                    <a:pt x="1151" y="8956"/>
                  </a:cubicBezTo>
                  <a:cubicBezTo>
                    <a:pt x="1695" y="10755"/>
                    <a:pt x="1403" y="12576"/>
                    <a:pt x="775" y="14375"/>
                  </a:cubicBezTo>
                  <a:cubicBezTo>
                    <a:pt x="712" y="14626"/>
                    <a:pt x="607" y="15003"/>
                    <a:pt x="859" y="15149"/>
                  </a:cubicBezTo>
                  <a:cubicBezTo>
                    <a:pt x="984" y="15233"/>
                    <a:pt x="1151" y="15233"/>
                    <a:pt x="1277" y="15233"/>
                  </a:cubicBezTo>
                  <a:cubicBezTo>
                    <a:pt x="3432" y="15254"/>
                    <a:pt x="6843" y="15254"/>
                    <a:pt x="8998" y="15296"/>
                  </a:cubicBezTo>
                  <a:cubicBezTo>
                    <a:pt x="9144" y="15296"/>
                    <a:pt x="9333" y="15296"/>
                    <a:pt x="9458" y="15233"/>
                  </a:cubicBezTo>
                  <a:cubicBezTo>
                    <a:pt x="9709" y="15107"/>
                    <a:pt x="9814" y="14856"/>
                    <a:pt x="9772" y="14605"/>
                  </a:cubicBezTo>
                  <a:cubicBezTo>
                    <a:pt x="9751" y="14375"/>
                    <a:pt x="9395" y="6654"/>
                    <a:pt x="9626" y="5148"/>
                  </a:cubicBezTo>
                  <a:cubicBezTo>
                    <a:pt x="9730" y="4415"/>
                    <a:pt x="9939" y="2972"/>
                    <a:pt x="9521" y="2344"/>
                  </a:cubicBezTo>
                  <a:cubicBezTo>
                    <a:pt x="9146" y="1761"/>
                    <a:pt x="7779" y="0"/>
                    <a:pt x="5625" y="0"/>
                  </a:cubicBezTo>
                  <a:close/>
                </a:path>
              </a:pathLst>
            </a:custGeom>
            <a:solidFill>
              <a:srgbClr val="FF2731"/>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22" name="Google Shape;1222;p39"/>
            <p:cNvSpPr/>
            <p:nvPr/>
          </p:nvSpPr>
          <p:spPr>
            <a:xfrm>
              <a:off x="9480550" y="-878675"/>
              <a:ext cx="241175" cy="85800"/>
            </a:xfrm>
            <a:custGeom>
              <a:avLst/>
              <a:gdLst/>
              <a:ahLst/>
              <a:cxnLst/>
              <a:rect l="l" t="t" r="r" b="b"/>
              <a:pathLst>
                <a:path w="9647" h="3432" extrusionOk="0">
                  <a:moveTo>
                    <a:pt x="9144" y="0"/>
                  </a:moveTo>
                  <a:cubicBezTo>
                    <a:pt x="9646" y="1820"/>
                    <a:pt x="6968" y="3432"/>
                    <a:pt x="2469" y="3432"/>
                  </a:cubicBezTo>
                  <a:cubicBezTo>
                    <a:pt x="1925" y="3432"/>
                    <a:pt x="1319" y="3369"/>
                    <a:pt x="879" y="3055"/>
                  </a:cubicBezTo>
                  <a:cubicBezTo>
                    <a:pt x="0" y="2427"/>
                    <a:pt x="586" y="1465"/>
                    <a:pt x="900" y="670"/>
                  </a:cubicBezTo>
                  <a:close/>
                </a:path>
              </a:pathLst>
            </a:custGeom>
            <a:solidFill>
              <a:srgbClr val="222222"/>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23" name="Google Shape;1223;p39"/>
            <p:cNvSpPr/>
            <p:nvPr/>
          </p:nvSpPr>
          <p:spPr>
            <a:xfrm>
              <a:off x="9555875" y="-1390800"/>
              <a:ext cx="107775" cy="126100"/>
            </a:xfrm>
            <a:custGeom>
              <a:avLst/>
              <a:gdLst/>
              <a:ahLst/>
              <a:cxnLst/>
              <a:rect l="l" t="t" r="r" b="b"/>
              <a:pathLst>
                <a:path w="4311" h="5044" extrusionOk="0">
                  <a:moveTo>
                    <a:pt x="4227" y="1654"/>
                  </a:moveTo>
                  <a:cubicBezTo>
                    <a:pt x="4122" y="1340"/>
                    <a:pt x="2972" y="1"/>
                    <a:pt x="1946" y="796"/>
                  </a:cubicBezTo>
                  <a:cubicBezTo>
                    <a:pt x="1570" y="1068"/>
                    <a:pt x="1193" y="1654"/>
                    <a:pt x="1047" y="2093"/>
                  </a:cubicBezTo>
                  <a:cubicBezTo>
                    <a:pt x="900" y="2679"/>
                    <a:pt x="482" y="4604"/>
                    <a:pt x="0" y="4667"/>
                  </a:cubicBezTo>
                  <a:cubicBezTo>
                    <a:pt x="314" y="4918"/>
                    <a:pt x="733" y="5043"/>
                    <a:pt x="1172" y="4981"/>
                  </a:cubicBezTo>
                  <a:cubicBezTo>
                    <a:pt x="1549" y="4897"/>
                    <a:pt x="1925" y="4625"/>
                    <a:pt x="2135" y="4269"/>
                  </a:cubicBezTo>
                  <a:cubicBezTo>
                    <a:pt x="2344" y="3851"/>
                    <a:pt x="2344" y="3328"/>
                    <a:pt x="2679" y="2993"/>
                  </a:cubicBezTo>
                  <a:cubicBezTo>
                    <a:pt x="2888" y="2784"/>
                    <a:pt x="3139" y="2700"/>
                    <a:pt x="3432" y="2616"/>
                  </a:cubicBezTo>
                  <a:cubicBezTo>
                    <a:pt x="3641" y="2533"/>
                    <a:pt x="3976" y="2512"/>
                    <a:pt x="4122" y="2323"/>
                  </a:cubicBezTo>
                  <a:cubicBezTo>
                    <a:pt x="4269" y="2177"/>
                    <a:pt x="4311" y="1884"/>
                    <a:pt x="4227" y="1654"/>
                  </a:cubicBezTo>
                  <a:close/>
                </a:path>
              </a:pathLst>
            </a:custGeom>
            <a:solidFill>
              <a:srgbClr val="222222"/>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24" name="Google Shape;1224;p39"/>
            <p:cNvSpPr/>
            <p:nvPr/>
          </p:nvSpPr>
          <p:spPr>
            <a:xfrm>
              <a:off x="9655250" y="-1341100"/>
              <a:ext cx="33525" cy="47100"/>
            </a:xfrm>
            <a:custGeom>
              <a:avLst/>
              <a:gdLst/>
              <a:ahLst/>
              <a:cxnLst/>
              <a:rect l="l" t="t" r="r" b="b"/>
              <a:pathLst>
                <a:path w="1341" h="1884" extrusionOk="0">
                  <a:moveTo>
                    <a:pt x="1235" y="1047"/>
                  </a:moveTo>
                  <a:cubicBezTo>
                    <a:pt x="1319" y="858"/>
                    <a:pt x="1340" y="649"/>
                    <a:pt x="1298" y="482"/>
                  </a:cubicBezTo>
                  <a:cubicBezTo>
                    <a:pt x="1194" y="189"/>
                    <a:pt x="859" y="42"/>
                    <a:pt x="524" y="1"/>
                  </a:cubicBezTo>
                  <a:cubicBezTo>
                    <a:pt x="357" y="1"/>
                    <a:pt x="168" y="22"/>
                    <a:pt x="85" y="189"/>
                  </a:cubicBezTo>
                  <a:cubicBezTo>
                    <a:pt x="1" y="314"/>
                    <a:pt x="64" y="482"/>
                    <a:pt x="106" y="607"/>
                  </a:cubicBezTo>
                  <a:cubicBezTo>
                    <a:pt x="210" y="921"/>
                    <a:pt x="378" y="1361"/>
                    <a:pt x="629" y="1591"/>
                  </a:cubicBezTo>
                  <a:cubicBezTo>
                    <a:pt x="901" y="1884"/>
                    <a:pt x="1173" y="1277"/>
                    <a:pt x="1235" y="1047"/>
                  </a:cubicBezTo>
                  <a:close/>
                </a:path>
              </a:pathLst>
            </a:custGeom>
            <a:solidFill>
              <a:srgbClr val="222222"/>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25" name="Google Shape;1225;p39"/>
            <p:cNvSpPr/>
            <p:nvPr/>
          </p:nvSpPr>
          <p:spPr>
            <a:xfrm>
              <a:off x="9563200" y="-1309775"/>
              <a:ext cx="65925" cy="98250"/>
            </a:xfrm>
            <a:custGeom>
              <a:avLst/>
              <a:gdLst/>
              <a:ahLst/>
              <a:cxnLst/>
              <a:rect l="l" t="t" r="r" b="b"/>
              <a:pathLst>
                <a:path w="2637" h="3930" extrusionOk="0">
                  <a:moveTo>
                    <a:pt x="1558" y="1"/>
                  </a:moveTo>
                  <a:cubicBezTo>
                    <a:pt x="1434" y="1"/>
                    <a:pt x="1315" y="31"/>
                    <a:pt x="1214" y="87"/>
                  </a:cubicBezTo>
                  <a:cubicBezTo>
                    <a:pt x="942" y="1844"/>
                    <a:pt x="691" y="2598"/>
                    <a:pt x="0" y="3560"/>
                  </a:cubicBezTo>
                  <a:cubicBezTo>
                    <a:pt x="397" y="3818"/>
                    <a:pt x="934" y="3930"/>
                    <a:pt x="1423" y="3930"/>
                  </a:cubicBezTo>
                  <a:cubicBezTo>
                    <a:pt x="1967" y="3930"/>
                    <a:pt x="2451" y="3791"/>
                    <a:pt x="2616" y="3560"/>
                  </a:cubicBezTo>
                  <a:cubicBezTo>
                    <a:pt x="2616" y="3414"/>
                    <a:pt x="2637" y="1489"/>
                    <a:pt x="2553" y="1007"/>
                  </a:cubicBezTo>
                  <a:cubicBezTo>
                    <a:pt x="2395" y="294"/>
                    <a:pt x="1948" y="1"/>
                    <a:pt x="1558" y="1"/>
                  </a:cubicBezTo>
                  <a:close/>
                </a:path>
              </a:pathLst>
            </a:custGeom>
            <a:solidFill>
              <a:srgbClr val="FFBDC0"/>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26" name="Google Shape;1226;p39"/>
            <p:cNvSpPr/>
            <p:nvPr/>
          </p:nvSpPr>
          <p:spPr>
            <a:xfrm>
              <a:off x="9597200" y="-1345675"/>
              <a:ext cx="87375" cy="108475"/>
            </a:xfrm>
            <a:custGeom>
              <a:avLst/>
              <a:gdLst/>
              <a:ahLst/>
              <a:cxnLst/>
              <a:rect l="l" t="t" r="r" b="b"/>
              <a:pathLst>
                <a:path w="3495" h="4339" extrusionOk="0">
                  <a:moveTo>
                    <a:pt x="1812" y="1"/>
                  </a:moveTo>
                  <a:cubicBezTo>
                    <a:pt x="1507" y="1"/>
                    <a:pt x="1200" y="99"/>
                    <a:pt x="942" y="309"/>
                  </a:cubicBezTo>
                  <a:cubicBezTo>
                    <a:pt x="293" y="874"/>
                    <a:pt x="0" y="2339"/>
                    <a:pt x="105" y="3113"/>
                  </a:cubicBezTo>
                  <a:cubicBezTo>
                    <a:pt x="172" y="3550"/>
                    <a:pt x="969" y="4338"/>
                    <a:pt x="1681" y="4338"/>
                  </a:cubicBezTo>
                  <a:cubicBezTo>
                    <a:pt x="1855" y="4338"/>
                    <a:pt x="2024" y="4291"/>
                    <a:pt x="2176" y="4180"/>
                  </a:cubicBezTo>
                  <a:cubicBezTo>
                    <a:pt x="2616" y="3908"/>
                    <a:pt x="3495" y="2130"/>
                    <a:pt x="3244" y="1146"/>
                  </a:cubicBezTo>
                  <a:cubicBezTo>
                    <a:pt x="3074" y="425"/>
                    <a:pt x="2446" y="1"/>
                    <a:pt x="1812" y="1"/>
                  </a:cubicBezTo>
                  <a:close/>
                </a:path>
              </a:pathLst>
            </a:custGeom>
            <a:solidFill>
              <a:srgbClr val="FFBDC0"/>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27" name="Google Shape;1227;p39"/>
            <p:cNvSpPr/>
            <p:nvPr/>
          </p:nvSpPr>
          <p:spPr>
            <a:xfrm>
              <a:off x="9648450" y="-1358875"/>
              <a:ext cx="52350" cy="79525"/>
            </a:xfrm>
            <a:custGeom>
              <a:avLst/>
              <a:gdLst/>
              <a:ahLst/>
              <a:cxnLst/>
              <a:rect l="l" t="t" r="r" b="b"/>
              <a:pathLst>
                <a:path w="2094" h="3181" extrusionOk="0">
                  <a:moveTo>
                    <a:pt x="1277" y="1946"/>
                  </a:moveTo>
                  <a:cubicBezTo>
                    <a:pt x="1194" y="2155"/>
                    <a:pt x="1068" y="2344"/>
                    <a:pt x="1026" y="2553"/>
                  </a:cubicBezTo>
                  <a:cubicBezTo>
                    <a:pt x="963" y="2762"/>
                    <a:pt x="963" y="3013"/>
                    <a:pt x="1131" y="3181"/>
                  </a:cubicBezTo>
                  <a:cubicBezTo>
                    <a:pt x="1089" y="2971"/>
                    <a:pt x="1194" y="2783"/>
                    <a:pt x="1340" y="2616"/>
                  </a:cubicBezTo>
                  <a:cubicBezTo>
                    <a:pt x="1466" y="2469"/>
                    <a:pt x="1612" y="2344"/>
                    <a:pt x="1759" y="2176"/>
                  </a:cubicBezTo>
                  <a:cubicBezTo>
                    <a:pt x="2010" y="1841"/>
                    <a:pt x="2093" y="1339"/>
                    <a:pt x="1968" y="921"/>
                  </a:cubicBezTo>
                  <a:cubicBezTo>
                    <a:pt x="1821" y="502"/>
                    <a:pt x="1466" y="168"/>
                    <a:pt x="1047" y="63"/>
                  </a:cubicBezTo>
                  <a:cubicBezTo>
                    <a:pt x="796" y="0"/>
                    <a:pt x="545" y="0"/>
                    <a:pt x="336" y="105"/>
                  </a:cubicBezTo>
                  <a:cubicBezTo>
                    <a:pt x="126" y="209"/>
                    <a:pt x="1" y="502"/>
                    <a:pt x="85" y="733"/>
                  </a:cubicBezTo>
                  <a:cubicBezTo>
                    <a:pt x="147" y="921"/>
                    <a:pt x="336" y="1046"/>
                    <a:pt x="524" y="1109"/>
                  </a:cubicBezTo>
                  <a:cubicBezTo>
                    <a:pt x="670" y="1151"/>
                    <a:pt x="775" y="1088"/>
                    <a:pt x="922" y="1088"/>
                  </a:cubicBezTo>
                  <a:cubicBezTo>
                    <a:pt x="1403" y="1046"/>
                    <a:pt x="1403" y="1632"/>
                    <a:pt x="1277" y="1946"/>
                  </a:cubicBezTo>
                  <a:close/>
                </a:path>
              </a:pathLst>
            </a:custGeom>
            <a:solidFill>
              <a:srgbClr val="222222"/>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28" name="Google Shape;1228;p39"/>
            <p:cNvSpPr/>
            <p:nvPr/>
          </p:nvSpPr>
          <p:spPr>
            <a:xfrm>
              <a:off x="9584125" y="-1315550"/>
              <a:ext cx="25125" cy="31900"/>
            </a:xfrm>
            <a:custGeom>
              <a:avLst/>
              <a:gdLst/>
              <a:ahLst/>
              <a:cxnLst/>
              <a:rect l="l" t="t" r="r" b="b"/>
              <a:pathLst>
                <a:path w="1005" h="1276" extrusionOk="0">
                  <a:moveTo>
                    <a:pt x="480" y="1"/>
                  </a:moveTo>
                  <a:cubicBezTo>
                    <a:pt x="316" y="1"/>
                    <a:pt x="158" y="100"/>
                    <a:pt x="84" y="339"/>
                  </a:cubicBezTo>
                  <a:cubicBezTo>
                    <a:pt x="0" y="569"/>
                    <a:pt x="42" y="820"/>
                    <a:pt x="147" y="1029"/>
                  </a:cubicBezTo>
                  <a:cubicBezTo>
                    <a:pt x="241" y="1205"/>
                    <a:pt x="356" y="1275"/>
                    <a:pt x="470" y="1275"/>
                  </a:cubicBezTo>
                  <a:cubicBezTo>
                    <a:pt x="738" y="1275"/>
                    <a:pt x="1005" y="891"/>
                    <a:pt x="1005" y="569"/>
                  </a:cubicBezTo>
                  <a:cubicBezTo>
                    <a:pt x="1005" y="238"/>
                    <a:pt x="735" y="1"/>
                    <a:pt x="480" y="1"/>
                  </a:cubicBezTo>
                  <a:close/>
                </a:path>
              </a:pathLst>
            </a:custGeom>
            <a:solidFill>
              <a:srgbClr val="FFBDC0"/>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29" name="Google Shape;1229;p39"/>
            <p:cNvSpPr/>
            <p:nvPr/>
          </p:nvSpPr>
          <p:spPr>
            <a:xfrm>
              <a:off x="9599825" y="-1356275"/>
              <a:ext cx="64350" cy="71700"/>
            </a:xfrm>
            <a:custGeom>
              <a:avLst/>
              <a:gdLst/>
              <a:ahLst/>
              <a:cxnLst/>
              <a:rect l="l" t="t" r="r" b="b"/>
              <a:pathLst>
                <a:path w="2574" h="2868" extrusionOk="0">
                  <a:moveTo>
                    <a:pt x="2364" y="775"/>
                  </a:moveTo>
                  <a:cubicBezTo>
                    <a:pt x="2281" y="921"/>
                    <a:pt x="1695" y="942"/>
                    <a:pt x="1548" y="1005"/>
                  </a:cubicBezTo>
                  <a:cubicBezTo>
                    <a:pt x="1360" y="1047"/>
                    <a:pt x="1172" y="1089"/>
                    <a:pt x="1046" y="1193"/>
                  </a:cubicBezTo>
                  <a:cubicBezTo>
                    <a:pt x="858" y="1319"/>
                    <a:pt x="774" y="1549"/>
                    <a:pt x="711" y="1758"/>
                  </a:cubicBezTo>
                  <a:cubicBezTo>
                    <a:pt x="649" y="1989"/>
                    <a:pt x="628" y="2240"/>
                    <a:pt x="523" y="2449"/>
                  </a:cubicBezTo>
                  <a:cubicBezTo>
                    <a:pt x="419" y="2658"/>
                    <a:pt x="251" y="2826"/>
                    <a:pt x="21" y="2867"/>
                  </a:cubicBezTo>
                  <a:cubicBezTo>
                    <a:pt x="209" y="2700"/>
                    <a:pt x="230" y="2449"/>
                    <a:pt x="209" y="2240"/>
                  </a:cubicBezTo>
                  <a:cubicBezTo>
                    <a:pt x="188" y="1989"/>
                    <a:pt x="84" y="1779"/>
                    <a:pt x="63" y="1549"/>
                  </a:cubicBezTo>
                  <a:cubicBezTo>
                    <a:pt x="0" y="1110"/>
                    <a:pt x="209" y="670"/>
                    <a:pt x="586" y="398"/>
                  </a:cubicBezTo>
                  <a:cubicBezTo>
                    <a:pt x="837" y="210"/>
                    <a:pt x="1381" y="1"/>
                    <a:pt x="1695" y="43"/>
                  </a:cubicBezTo>
                  <a:cubicBezTo>
                    <a:pt x="1946" y="85"/>
                    <a:pt x="2574" y="419"/>
                    <a:pt x="2364" y="775"/>
                  </a:cubicBezTo>
                  <a:close/>
                </a:path>
              </a:pathLst>
            </a:custGeom>
            <a:solidFill>
              <a:srgbClr val="222222"/>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30" name="Google Shape;1230;p39"/>
            <p:cNvSpPr/>
            <p:nvPr/>
          </p:nvSpPr>
          <p:spPr>
            <a:xfrm>
              <a:off x="9444450" y="-1066475"/>
              <a:ext cx="154875" cy="177875"/>
            </a:xfrm>
            <a:custGeom>
              <a:avLst/>
              <a:gdLst/>
              <a:ahLst/>
              <a:cxnLst/>
              <a:rect l="l" t="t" r="r" b="b"/>
              <a:pathLst>
                <a:path w="6195" h="7115" extrusionOk="0">
                  <a:moveTo>
                    <a:pt x="189" y="1"/>
                  </a:moveTo>
                  <a:cubicBezTo>
                    <a:pt x="1" y="1633"/>
                    <a:pt x="147" y="3537"/>
                    <a:pt x="252" y="3955"/>
                  </a:cubicBezTo>
                  <a:cubicBezTo>
                    <a:pt x="294" y="4143"/>
                    <a:pt x="3767" y="6612"/>
                    <a:pt x="5420" y="7115"/>
                  </a:cubicBezTo>
                  <a:cubicBezTo>
                    <a:pt x="5692" y="6968"/>
                    <a:pt x="6194" y="6550"/>
                    <a:pt x="6090" y="6257"/>
                  </a:cubicBezTo>
                  <a:cubicBezTo>
                    <a:pt x="6069" y="6194"/>
                    <a:pt x="2532" y="3411"/>
                    <a:pt x="2219" y="2930"/>
                  </a:cubicBezTo>
                  <a:cubicBezTo>
                    <a:pt x="2240" y="2218"/>
                    <a:pt x="2867" y="1235"/>
                    <a:pt x="2951" y="63"/>
                  </a:cubicBezTo>
                  <a:lnTo>
                    <a:pt x="189" y="1"/>
                  </a:lnTo>
                  <a:close/>
                </a:path>
              </a:pathLst>
            </a:custGeom>
            <a:solidFill>
              <a:srgbClr val="FFBDC0"/>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31" name="Google Shape;1231;p39"/>
            <p:cNvSpPr/>
            <p:nvPr/>
          </p:nvSpPr>
          <p:spPr>
            <a:xfrm>
              <a:off x="9444450" y="-1181500"/>
              <a:ext cx="85825" cy="117150"/>
            </a:xfrm>
            <a:custGeom>
              <a:avLst/>
              <a:gdLst/>
              <a:ahLst/>
              <a:cxnLst/>
              <a:rect l="l" t="t" r="r" b="b"/>
              <a:pathLst>
                <a:path w="3433" h="4686" extrusionOk="0">
                  <a:moveTo>
                    <a:pt x="2300" y="1"/>
                  </a:moveTo>
                  <a:cubicBezTo>
                    <a:pt x="1917" y="1"/>
                    <a:pt x="1537" y="209"/>
                    <a:pt x="1444" y="312"/>
                  </a:cubicBezTo>
                  <a:cubicBezTo>
                    <a:pt x="775" y="919"/>
                    <a:pt x="189" y="2823"/>
                    <a:pt x="1" y="4622"/>
                  </a:cubicBezTo>
                  <a:lnTo>
                    <a:pt x="3328" y="4685"/>
                  </a:lnTo>
                  <a:cubicBezTo>
                    <a:pt x="3432" y="2844"/>
                    <a:pt x="3181" y="1024"/>
                    <a:pt x="3181" y="1024"/>
                  </a:cubicBezTo>
                  <a:cubicBezTo>
                    <a:pt x="3096" y="225"/>
                    <a:pt x="2696" y="1"/>
                    <a:pt x="2300" y="1"/>
                  </a:cubicBezTo>
                  <a:close/>
                </a:path>
              </a:pathLst>
            </a:custGeom>
            <a:solidFill>
              <a:srgbClr val="FF2731"/>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32" name="Google Shape;1232;p39"/>
            <p:cNvSpPr/>
            <p:nvPr/>
          </p:nvSpPr>
          <p:spPr>
            <a:xfrm>
              <a:off x="9573650" y="-920050"/>
              <a:ext cx="61750" cy="45400"/>
            </a:xfrm>
            <a:custGeom>
              <a:avLst/>
              <a:gdLst/>
              <a:ahLst/>
              <a:cxnLst/>
              <a:rect l="l" t="t" r="r" b="b"/>
              <a:pathLst>
                <a:path w="2470" h="1816" extrusionOk="0">
                  <a:moveTo>
                    <a:pt x="1347" y="0"/>
                  </a:moveTo>
                  <a:cubicBezTo>
                    <a:pt x="1075" y="0"/>
                    <a:pt x="824" y="140"/>
                    <a:pt x="629" y="316"/>
                  </a:cubicBezTo>
                  <a:cubicBezTo>
                    <a:pt x="398" y="525"/>
                    <a:pt x="1" y="965"/>
                    <a:pt x="189" y="1341"/>
                  </a:cubicBezTo>
                  <a:cubicBezTo>
                    <a:pt x="275" y="1571"/>
                    <a:pt x="529" y="1682"/>
                    <a:pt x="774" y="1682"/>
                  </a:cubicBezTo>
                  <a:cubicBezTo>
                    <a:pt x="887" y="1682"/>
                    <a:pt x="997" y="1659"/>
                    <a:pt x="1089" y="1613"/>
                  </a:cubicBezTo>
                  <a:cubicBezTo>
                    <a:pt x="1231" y="1524"/>
                    <a:pt x="1389" y="1344"/>
                    <a:pt x="1549" y="1344"/>
                  </a:cubicBezTo>
                  <a:cubicBezTo>
                    <a:pt x="1577" y="1344"/>
                    <a:pt x="1605" y="1350"/>
                    <a:pt x="1633" y="1362"/>
                  </a:cubicBezTo>
                  <a:cubicBezTo>
                    <a:pt x="1821" y="1446"/>
                    <a:pt x="1863" y="1739"/>
                    <a:pt x="2051" y="1802"/>
                  </a:cubicBezTo>
                  <a:cubicBezTo>
                    <a:pt x="2073" y="1811"/>
                    <a:pt x="2096" y="1815"/>
                    <a:pt x="2119" y="1815"/>
                  </a:cubicBezTo>
                  <a:cubicBezTo>
                    <a:pt x="2251" y="1815"/>
                    <a:pt x="2395" y="1675"/>
                    <a:pt x="2449" y="1550"/>
                  </a:cubicBezTo>
                  <a:cubicBezTo>
                    <a:pt x="2470" y="1362"/>
                    <a:pt x="2407" y="1174"/>
                    <a:pt x="2365" y="1027"/>
                  </a:cubicBezTo>
                  <a:cubicBezTo>
                    <a:pt x="2282" y="797"/>
                    <a:pt x="2177" y="546"/>
                    <a:pt x="2030" y="379"/>
                  </a:cubicBezTo>
                  <a:cubicBezTo>
                    <a:pt x="1863" y="170"/>
                    <a:pt x="1633" y="23"/>
                    <a:pt x="1403" y="2"/>
                  </a:cubicBezTo>
                  <a:cubicBezTo>
                    <a:pt x="1384" y="1"/>
                    <a:pt x="1365" y="0"/>
                    <a:pt x="1347" y="0"/>
                  </a:cubicBezTo>
                  <a:close/>
                </a:path>
              </a:pathLst>
            </a:custGeom>
            <a:solidFill>
              <a:srgbClr val="FFBDC0"/>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33" name="Google Shape;1233;p39"/>
            <p:cNvSpPr/>
            <p:nvPr/>
          </p:nvSpPr>
          <p:spPr>
            <a:xfrm>
              <a:off x="9458050" y="-873450"/>
              <a:ext cx="292450" cy="99925"/>
            </a:xfrm>
            <a:custGeom>
              <a:avLst/>
              <a:gdLst/>
              <a:ahLst/>
              <a:cxnLst/>
              <a:rect l="l" t="t" r="r" b="b"/>
              <a:pathLst>
                <a:path w="11698" h="3997" extrusionOk="0">
                  <a:moveTo>
                    <a:pt x="2491" y="0"/>
                  </a:moveTo>
                  <a:lnTo>
                    <a:pt x="7638" y="0"/>
                  </a:lnTo>
                  <a:cubicBezTo>
                    <a:pt x="8642" y="335"/>
                    <a:pt x="9626" y="754"/>
                    <a:pt x="10588" y="1256"/>
                  </a:cubicBezTo>
                  <a:cubicBezTo>
                    <a:pt x="10986" y="1465"/>
                    <a:pt x="11467" y="1904"/>
                    <a:pt x="11572" y="2386"/>
                  </a:cubicBezTo>
                  <a:cubicBezTo>
                    <a:pt x="11613" y="2595"/>
                    <a:pt x="11697" y="3997"/>
                    <a:pt x="11195" y="3997"/>
                  </a:cubicBezTo>
                  <a:lnTo>
                    <a:pt x="1863" y="3997"/>
                  </a:lnTo>
                  <a:cubicBezTo>
                    <a:pt x="1172" y="3997"/>
                    <a:pt x="1" y="0"/>
                    <a:pt x="2491" y="0"/>
                  </a:cubicBezTo>
                  <a:close/>
                </a:path>
              </a:pathLst>
            </a:custGeom>
            <a:solidFill>
              <a:srgbClr val="222222"/>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34" name="Google Shape;1234;p39"/>
            <p:cNvSpPr/>
            <p:nvPr/>
          </p:nvSpPr>
          <p:spPr>
            <a:xfrm>
              <a:off x="9661025" y="-841425"/>
              <a:ext cx="104625" cy="340575"/>
            </a:xfrm>
            <a:custGeom>
              <a:avLst/>
              <a:gdLst/>
              <a:ahLst/>
              <a:cxnLst/>
              <a:rect l="l" t="t" r="r" b="b"/>
              <a:pathLst>
                <a:path w="4185" h="13623" extrusionOk="0">
                  <a:moveTo>
                    <a:pt x="2195" y="1"/>
                  </a:moveTo>
                  <a:cubicBezTo>
                    <a:pt x="1749" y="1"/>
                    <a:pt x="1326" y="277"/>
                    <a:pt x="1067" y="1021"/>
                  </a:cubicBezTo>
                  <a:cubicBezTo>
                    <a:pt x="0" y="3971"/>
                    <a:pt x="2260" y="12989"/>
                    <a:pt x="2323" y="13575"/>
                  </a:cubicBezTo>
                  <a:cubicBezTo>
                    <a:pt x="2510" y="13606"/>
                    <a:pt x="2694" y="13623"/>
                    <a:pt x="2875" y="13623"/>
                  </a:cubicBezTo>
                  <a:cubicBezTo>
                    <a:pt x="3180" y="13623"/>
                    <a:pt x="3477" y="13576"/>
                    <a:pt x="3766" y="13470"/>
                  </a:cubicBezTo>
                  <a:cubicBezTo>
                    <a:pt x="3641" y="12947"/>
                    <a:pt x="4185" y="1774"/>
                    <a:pt x="3892" y="1230"/>
                  </a:cubicBezTo>
                  <a:cubicBezTo>
                    <a:pt x="3590" y="627"/>
                    <a:pt x="2866" y="1"/>
                    <a:pt x="2195" y="1"/>
                  </a:cubicBezTo>
                  <a:close/>
                </a:path>
              </a:pathLst>
            </a:custGeom>
            <a:solidFill>
              <a:srgbClr val="FFBDC0"/>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35" name="Google Shape;1235;p39"/>
            <p:cNvSpPr/>
            <p:nvPr/>
          </p:nvSpPr>
          <p:spPr>
            <a:xfrm>
              <a:off x="9696050" y="-537625"/>
              <a:ext cx="102550" cy="84750"/>
            </a:xfrm>
            <a:custGeom>
              <a:avLst/>
              <a:gdLst/>
              <a:ahLst/>
              <a:cxnLst/>
              <a:rect l="l" t="t" r="r" b="b"/>
              <a:pathLst>
                <a:path w="4102" h="3390" extrusionOk="0">
                  <a:moveTo>
                    <a:pt x="315" y="1653"/>
                  </a:moveTo>
                  <a:cubicBezTo>
                    <a:pt x="106" y="1570"/>
                    <a:pt x="1" y="1339"/>
                    <a:pt x="85" y="1130"/>
                  </a:cubicBezTo>
                  <a:cubicBezTo>
                    <a:pt x="210" y="670"/>
                    <a:pt x="399" y="0"/>
                    <a:pt x="629" y="105"/>
                  </a:cubicBezTo>
                  <a:cubicBezTo>
                    <a:pt x="817" y="189"/>
                    <a:pt x="984" y="461"/>
                    <a:pt x="1131" y="586"/>
                  </a:cubicBezTo>
                  <a:cubicBezTo>
                    <a:pt x="1194" y="691"/>
                    <a:pt x="2365" y="356"/>
                    <a:pt x="2365" y="356"/>
                  </a:cubicBezTo>
                  <a:cubicBezTo>
                    <a:pt x="3244" y="712"/>
                    <a:pt x="2491" y="1821"/>
                    <a:pt x="3788" y="2574"/>
                  </a:cubicBezTo>
                  <a:cubicBezTo>
                    <a:pt x="3935" y="2658"/>
                    <a:pt x="4039" y="2783"/>
                    <a:pt x="4060" y="2930"/>
                  </a:cubicBezTo>
                  <a:cubicBezTo>
                    <a:pt x="4102" y="3181"/>
                    <a:pt x="3976" y="3306"/>
                    <a:pt x="3830" y="3390"/>
                  </a:cubicBezTo>
                  <a:cubicBezTo>
                    <a:pt x="1842" y="3348"/>
                    <a:pt x="1131" y="2030"/>
                    <a:pt x="315" y="1653"/>
                  </a:cubicBezTo>
                  <a:close/>
                </a:path>
              </a:pathLst>
            </a:custGeom>
            <a:solidFill>
              <a:srgbClr val="F5F5F5"/>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36" name="Google Shape;1236;p39"/>
            <p:cNvSpPr/>
            <p:nvPr/>
          </p:nvSpPr>
          <p:spPr>
            <a:xfrm>
              <a:off x="9621775" y="-1048700"/>
              <a:ext cx="270475" cy="191475"/>
            </a:xfrm>
            <a:custGeom>
              <a:avLst/>
              <a:gdLst/>
              <a:ahLst/>
              <a:cxnLst/>
              <a:rect l="l" t="t" r="r" b="b"/>
              <a:pathLst>
                <a:path w="10819" h="7659" extrusionOk="0">
                  <a:moveTo>
                    <a:pt x="1717" y="1"/>
                  </a:moveTo>
                  <a:cubicBezTo>
                    <a:pt x="1319" y="1"/>
                    <a:pt x="984" y="315"/>
                    <a:pt x="942" y="670"/>
                  </a:cubicBezTo>
                  <a:lnTo>
                    <a:pt x="43" y="6989"/>
                  </a:lnTo>
                  <a:cubicBezTo>
                    <a:pt x="1" y="7345"/>
                    <a:pt x="273" y="7659"/>
                    <a:pt x="649" y="7659"/>
                  </a:cubicBezTo>
                  <a:lnTo>
                    <a:pt x="9103" y="7659"/>
                  </a:lnTo>
                  <a:cubicBezTo>
                    <a:pt x="9479" y="7659"/>
                    <a:pt x="9835" y="7345"/>
                    <a:pt x="9877" y="6989"/>
                  </a:cubicBezTo>
                  <a:lnTo>
                    <a:pt x="10776" y="670"/>
                  </a:lnTo>
                  <a:cubicBezTo>
                    <a:pt x="10818" y="315"/>
                    <a:pt x="10525" y="1"/>
                    <a:pt x="10170" y="1"/>
                  </a:cubicBezTo>
                  <a:close/>
                </a:path>
              </a:pathLst>
            </a:custGeom>
            <a:solidFill>
              <a:srgbClr val="535353"/>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37" name="Google Shape;1237;p39"/>
            <p:cNvSpPr/>
            <p:nvPr/>
          </p:nvSpPr>
          <p:spPr>
            <a:xfrm>
              <a:off x="9515075" y="-880250"/>
              <a:ext cx="135500" cy="23025"/>
            </a:xfrm>
            <a:custGeom>
              <a:avLst/>
              <a:gdLst/>
              <a:ahLst/>
              <a:cxnLst/>
              <a:rect l="l" t="t" r="r" b="b"/>
              <a:pathLst>
                <a:path w="5420" h="921" extrusionOk="0">
                  <a:moveTo>
                    <a:pt x="461" y="0"/>
                  </a:moveTo>
                  <a:cubicBezTo>
                    <a:pt x="210" y="0"/>
                    <a:pt x="21" y="210"/>
                    <a:pt x="0" y="461"/>
                  </a:cubicBezTo>
                  <a:cubicBezTo>
                    <a:pt x="0" y="712"/>
                    <a:pt x="210" y="921"/>
                    <a:pt x="461" y="921"/>
                  </a:cubicBezTo>
                  <a:lnTo>
                    <a:pt x="5420" y="921"/>
                  </a:lnTo>
                  <a:lnTo>
                    <a:pt x="5420" y="0"/>
                  </a:lnTo>
                  <a:close/>
                </a:path>
              </a:pathLst>
            </a:custGeom>
            <a:solidFill>
              <a:srgbClr val="535353"/>
            </a:solidFill>
            <a:ln>
              <a:noFill/>
            </a:ln>
          </p:spPr>
          <p:txBody>
            <a:bodyPr spcFirstLastPara="1" wrap="square" lIns="182850" tIns="182850" rIns="182850" bIns="182850" anchor="ctr" anchorCtr="0">
              <a:noAutofit/>
            </a:bodyPr>
            <a:lstStyle/>
            <a:p>
              <a:pPr defTabSz="1828800">
                <a:buSzPts val="1400"/>
              </a:pPr>
              <a:endParaRPr lang="en-US" sz="2800" noProof="0"/>
            </a:p>
          </p:txBody>
        </p:sp>
        <p:sp>
          <p:nvSpPr>
            <p:cNvPr id="1238" name="Google Shape;1238;p39"/>
            <p:cNvSpPr/>
            <p:nvPr/>
          </p:nvSpPr>
          <p:spPr>
            <a:xfrm>
              <a:off x="9634850" y="-1048700"/>
              <a:ext cx="270475" cy="191475"/>
            </a:xfrm>
            <a:custGeom>
              <a:avLst/>
              <a:gdLst/>
              <a:ahLst/>
              <a:cxnLst/>
              <a:rect l="l" t="t" r="r" b="b"/>
              <a:pathLst>
                <a:path w="10819" h="7659" extrusionOk="0">
                  <a:moveTo>
                    <a:pt x="1717" y="1"/>
                  </a:moveTo>
                  <a:cubicBezTo>
                    <a:pt x="1319" y="1"/>
                    <a:pt x="984" y="315"/>
                    <a:pt x="942" y="670"/>
                  </a:cubicBezTo>
                  <a:lnTo>
                    <a:pt x="43" y="6989"/>
                  </a:lnTo>
                  <a:cubicBezTo>
                    <a:pt x="1" y="7345"/>
                    <a:pt x="273" y="7659"/>
                    <a:pt x="650" y="7659"/>
                  </a:cubicBezTo>
                  <a:lnTo>
                    <a:pt x="9103" y="7659"/>
                  </a:lnTo>
                  <a:cubicBezTo>
                    <a:pt x="9479" y="7659"/>
                    <a:pt x="9835" y="7345"/>
                    <a:pt x="9877" y="6989"/>
                  </a:cubicBezTo>
                  <a:lnTo>
                    <a:pt x="10777" y="670"/>
                  </a:lnTo>
                  <a:cubicBezTo>
                    <a:pt x="10818" y="315"/>
                    <a:pt x="10526" y="1"/>
                    <a:pt x="10170" y="1"/>
                  </a:cubicBezTo>
                  <a:close/>
                </a:path>
              </a:pathLst>
            </a:custGeom>
            <a:solidFill>
              <a:srgbClr val="535353"/>
            </a:solidFill>
            <a:ln>
              <a:noFill/>
            </a:ln>
          </p:spPr>
          <p:txBody>
            <a:bodyPr spcFirstLastPara="1" wrap="square" lIns="182850" tIns="182850" rIns="182850" bIns="182850" anchor="ctr" anchorCtr="0">
              <a:noAutofit/>
            </a:bodyPr>
            <a:lstStyle/>
            <a:p>
              <a:pPr defTabSz="1828800">
                <a:buSzPts val="1400"/>
              </a:pPr>
              <a:endParaRPr lang="en-US" sz="2800" noProof="0"/>
            </a:p>
          </p:txBody>
        </p:sp>
      </p:grpSp>
      <p:sp>
        <p:nvSpPr>
          <p:cNvPr id="1239" name="Google Shape;1239;p39"/>
          <p:cNvSpPr txBox="1"/>
          <p:nvPr/>
        </p:nvSpPr>
        <p:spPr>
          <a:xfrm>
            <a:off x="877400" y="2498550"/>
            <a:ext cx="8204400" cy="2668200"/>
          </a:xfrm>
          <a:prstGeom prst="rect">
            <a:avLst/>
          </a:prstGeom>
          <a:noFill/>
          <a:ln>
            <a:noFill/>
          </a:ln>
        </p:spPr>
        <p:txBody>
          <a:bodyPr spcFirstLastPara="1" wrap="square" lIns="182850" tIns="182850" rIns="182850" bIns="182850" anchor="t" anchorCtr="0">
            <a:noAutofit/>
          </a:bodyPr>
          <a:lstStyle/>
          <a:p>
            <a:pPr defTabSz="1828800">
              <a:lnSpc>
                <a:spcPct val="80000"/>
              </a:lnSpc>
              <a:buSzPts val="4000"/>
            </a:pPr>
            <a:r>
              <a:rPr lang="en-US" sz="6400" b="1" dirty="0">
                <a:solidFill>
                  <a:srgbClr val="222222"/>
                </a:solidFill>
                <a:latin typeface="Montserrat"/>
                <a:sym typeface="Montserrat"/>
              </a:rPr>
              <a:t>Not all processes can be easily automated.</a:t>
            </a:r>
          </a:p>
        </p:txBody>
      </p:sp>
      <p:sp>
        <p:nvSpPr>
          <p:cNvPr id="5" name="TextBox 4">
            <a:extLst>
              <a:ext uri="{FF2B5EF4-FFF2-40B4-BE49-F238E27FC236}">
                <a16:creationId xmlns:a16="http://schemas.microsoft.com/office/drawing/2014/main" id="{082EEE08-CBA7-8608-34E9-C62C0CF66508}"/>
              </a:ext>
            </a:extLst>
          </p:cNvPr>
          <p:cNvSpPr txBox="1"/>
          <p:nvPr/>
        </p:nvSpPr>
        <p:spPr>
          <a:xfrm>
            <a:off x="719138" y="9348788"/>
            <a:ext cx="3255318" cy="459876"/>
          </a:xfrm>
          <a:prstGeom prst="rect">
            <a:avLst/>
          </a:prstGeom>
        </p:spPr>
        <p:txBody>
          <a:bodyPr lIns="0" tIns="0" rIns="0" bIns="0" rtlCol="0" anchor="t">
            <a:spAutoFit/>
          </a:bodyPr>
          <a:lstStyle/>
          <a:p>
            <a:pPr algn="l">
              <a:lnSpc>
                <a:spcPts val="2940"/>
              </a:lnSpc>
            </a:pPr>
            <a:r>
              <a:rPr lang="en-US" sz="1500" noProof="0">
                <a:solidFill>
                  <a:srgbClr val="575758"/>
                </a:solidFill>
                <a:latin typeface="Montserrat"/>
                <a:ea typeface="Montserrat"/>
                <a:cs typeface="Montserrat"/>
                <a:sym typeface="Montserrat"/>
              </a:rPr>
              <a:t>accelerate your essence</a:t>
            </a:r>
          </a:p>
        </p:txBody>
      </p:sp>
      <p:pic>
        <p:nvPicPr>
          <p:cNvPr id="4" name="Imagem 3" descr="Logotipo&#10;&#10;O conteúdo gerado por IA pode estar incorreto.">
            <a:extLst>
              <a:ext uri="{FF2B5EF4-FFF2-40B4-BE49-F238E27FC236}">
                <a16:creationId xmlns:a16="http://schemas.microsoft.com/office/drawing/2014/main" id="{26AF3B5A-6ACF-E1D6-112E-775A1B04B91B}"/>
              </a:ext>
            </a:extLst>
          </p:cNvPr>
          <p:cNvPicPr>
            <a:picLocks noChangeAspect="1"/>
          </p:cNvPicPr>
          <p:nvPr/>
        </p:nvPicPr>
        <p:blipFill>
          <a:blip r:embed="rId3"/>
          <a:stretch>
            <a:fillRect/>
          </a:stretch>
        </p:blipFill>
        <p:spPr>
          <a:xfrm>
            <a:off x="15986342" y="9376372"/>
            <a:ext cx="1534439" cy="396421"/>
          </a:xfrm>
          <a:prstGeom prst="rect">
            <a:avLst/>
          </a:prstGeom>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243">
          <a:extLst>
            <a:ext uri="{FF2B5EF4-FFF2-40B4-BE49-F238E27FC236}">
              <a16:creationId xmlns:a16="http://schemas.microsoft.com/office/drawing/2014/main" id="{D2EE7A93-C2A3-BCD7-5262-BC8536C7259B}"/>
            </a:ext>
          </a:extLst>
        </p:cNvPr>
        <p:cNvGrpSpPr/>
        <p:nvPr/>
      </p:nvGrpSpPr>
      <p:grpSpPr>
        <a:xfrm>
          <a:off x="0" y="0"/>
          <a:ext cx="0" cy="0"/>
          <a:chOff x="0" y="0"/>
          <a:chExt cx="0" cy="0"/>
        </a:xfrm>
      </p:grpSpPr>
      <p:sp>
        <p:nvSpPr>
          <p:cNvPr id="1244" name="Google Shape;1244;p40">
            <a:extLst>
              <a:ext uri="{FF2B5EF4-FFF2-40B4-BE49-F238E27FC236}">
                <a16:creationId xmlns:a16="http://schemas.microsoft.com/office/drawing/2014/main" id="{617D61D1-2469-E15D-C143-6268CCE6482A}"/>
              </a:ext>
            </a:extLst>
          </p:cNvPr>
          <p:cNvSpPr txBox="1"/>
          <p:nvPr/>
        </p:nvSpPr>
        <p:spPr>
          <a:xfrm>
            <a:off x="1363092" y="1913502"/>
            <a:ext cx="9034899" cy="1914231"/>
          </a:xfrm>
          <a:prstGeom prst="rect">
            <a:avLst/>
          </a:prstGeom>
          <a:noFill/>
          <a:ln>
            <a:noFill/>
          </a:ln>
        </p:spPr>
        <p:txBody>
          <a:bodyPr spcFirstLastPara="1" wrap="square" lIns="72000" tIns="0" rIns="72000" bIns="72000" anchor="t" anchorCtr="0">
            <a:noAutofit/>
          </a:bodyPr>
          <a:lstStyle/>
          <a:p>
            <a:pPr defTabSz="1828800">
              <a:lnSpc>
                <a:spcPct val="115000"/>
              </a:lnSpc>
              <a:spcBef>
                <a:spcPts val="3200"/>
              </a:spcBef>
              <a:buSzPts val="1000"/>
            </a:pPr>
            <a:r>
              <a:rPr lang="en-US" sz="2000" noProof="0">
                <a:solidFill>
                  <a:srgbClr val="222222"/>
                </a:solidFill>
                <a:latin typeface="Montserrat Light"/>
                <a:ea typeface="Montserrat Light"/>
                <a:cs typeface="Montserrat Light"/>
                <a:sym typeface="Montserrat Light"/>
              </a:rPr>
              <a:t>A Qintess proprietary platform supporting the vision of task automation, where </a:t>
            </a:r>
            <a:r>
              <a:rPr lang="en-US" sz="2000" b="1" noProof="0">
                <a:solidFill>
                  <a:srgbClr val="6800FF"/>
                </a:solidFill>
                <a:latin typeface="Montserrat"/>
                <a:ea typeface="Montserrat"/>
                <a:cs typeface="Montserrat"/>
                <a:sym typeface="Montserrat"/>
              </a:rPr>
              <a:t>a robot/script is configured to handle existing applications in the same way that a person would</a:t>
            </a:r>
            <a:r>
              <a:rPr lang="en-US" sz="2000" noProof="0">
                <a:solidFill>
                  <a:srgbClr val="222222"/>
                </a:solidFill>
                <a:latin typeface="Montserrat Light"/>
                <a:ea typeface="Montserrat Light"/>
                <a:cs typeface="Montserrat Light"/>
                <a:sym typeface="Montserrat Light"/>
              </a:rPr>
              <a:t>, through the application's user interface, to perform a certain task.</a:t>
            </a:r>
            <a:endParaRPr lang="en-US" sz="2000" b="1" noProof="0">
              <a:solidFill>
                <a:srgbClr val="222222"/>
              </a:solidFill>
              <a:latin typeface="Montserrat"/>
              <a:ea typeface="Montserrat"/>
              <a:cs typeface="Montserrat"/>
              <a:sym typeface="Montserrat"/>
            </a:endParaRPr>
          </a:p>
        </p:txBody>
      </p:sp>
      <p:sp>
        <p:nvSpPr>
          <p:cNvPr id="1245" name="Google Shape;1245;p40">
            <a:extLst>
              <a:ext uri="{FF2B5EF4-FFF2-40B4-BE49-F238E27FC236}">
                <a16:creationId xmlns:a16="http://schemas.microsoft.com/office/drawing/2014/main" id="{7CC44C16-7E1B-3278-2340-094E0A90CFFD}"/>
              </a:ext>
            </a:extLst>
          </p:cNvPr>
          <p:cNvSpPr/>
          <p:nvPr/>
        </p:nvSpPr>
        <p:spPr>
          <a:xfrm>
            <a:off x="11611042" y="4286276"/>
            <a:ext cx="5259600" cy="2010000"/>
          </a:xfrm>
          <a:prstGeom prst="roundRect">
            <a:avLst>
              <a:gd name="adj" fmla="val 8875"/>
            </a:avLst>
          </a:prstGeom>
          <a:solidFill>
            <a:srgbClr val="6800FF"/>
          </a:solidFill>
          <a:ln>
            <a:noFill/>
          </a:ln>
        </p:spPr>
        <p:txBody>
          <a:bodyPr spcFirstLastPara="1" wrap="square" lIns="182850" tIns="91400" rIns="182850" bIns="91400" anchor="ctr" anchorCtr="0">
            <a:noAutofit/>
          </a:bodyPr>
          <a:lstStyle/>
          <a:p>
            <a:pPr algn="ctr" defTabSz="1828800"/>
            <a:endParaRPr lang="en-US" sz="5400" noProof="0">
              <a:solidFill>
                <a:srgbClr val="FFFFFF"/>
              </a:solidFill>
              <a:latin typeface="Calibri"/>
              <a:ea typeface="Calibri"/>
              <a:cs typeface="Calibri"/>
              <a:sym typeface="Calibri"/>
            </a:endParaRPr>
          </a:p>
        </p:txBody>
      </p:sp>
      <p:sp>
        <p:nvSpPr>
          <p:cNvPr id="1246" name="Google Shape;1246;p40">
            <a:extLst>
              <a:ext uri="{FF2B5EF4-FFF2-40B4-BE49-F238E27FC236}">
                <a16:creationId xmlns:a16="http://schemas.microsoft.com/office/drawing/2014/main" id="{3F29B4FC-A417-15C1-1D41-5CB77D5C0326}"/>
              </a:ext>
            </a:extLst>
          </p:cNvPr>
          <p:cNvSpPr/>
          <p:nvPr/>
        </p:nvSpPr>
        <p:spPr>
          <a:xfrm>
            <a:off x="11779591" y="4083876"/>
            <a:ext cx="5259600" cy="2054400"/>
          </a:xfrm>
          <a:prstGeom prst="roundRect">
            <a:avLst>
              <a:gd name="adj" fmla="val 8875"/>
            </a:avLst>
          </a:prstGeom>
          <a:solidFill>
            <a:srgbClr val="FFFFFF"/>
          </a:solidFill>
          <a:ln w="19050" cap="flat" cmpd="sng">
            <a:solidFill>
              <a:srgbClr val="6800FF"/>
            </a:solidFill>
            <a:prstDash val="solid"/>
            <a:round/>
            <a:headEnd type="none" w="sm" len="sm"/>
            <a:tailEnd type="none" w="sm" len="sm"/>
          </a:ln>
        </p:spPr>
        <p:txBody>
          <a:bodyPr spcFirstLastPara="1" wrap="square" lIns="182850" tIns="91400" rIns="182850" bIns="91400" anchor="ctr" anchorCtr="0">
            <a:noAutofit/>
          </a:bodyPr>
          <a:lstStyle/>
          <a:p>
            <a:pPr algn="ctr" defTabSz="1828800"/>
            <a:endParaRPr lang="en-US" sz="5400" noProof="0">
              <a:solidFill>
                <a:srgbClr val="FFFFFF"/>
              </a:solidFill>
              <a:latin typeface="Calibri"/>
              <a:ea typeface="Calibri"/>
              <a:cs typeface="Calibri"/>
              <a:sym typeface="Calibri"/>
            </a:endParaRPr>
          </a:p>
        </p:txBody>
      </p:sp>
      <p:sp>
        <p:nvSpPr>
          <p:cNvPr id="1247" name="Google Shape;1247;p40">
            <a:extLst>
              <a:ext uri="{FF2B5EF4-FFF2-40B4-BE49-F238E27FC236}">
                <a16:creationId xmlns:a16="http://schemas.microsoft.com/office/drawing/2014/main" id="{1FD88500-3530-2A38-5930-0CC23CF6F30A}"/>
              </a:ext>
            </a:extLst>
          </p:cNvPr>
          <p:cNvSpPr txBox="1"/>
          <p:nvPr/>
        </p:nvSpPr>
        <p:spPr>
          <a:xfrm>
            <a:off x="11944222" y="4083876"/>
            <a:ext cx="2287200" cy="553917"/>
          </a:xfrm>
          <a:prstGeom prst="rect">
            <a:avLst/>
          </a:prstGeom>
          <a:noFill/>
          <a:ln>
            <a:noFill/>
          </a:ln>
        </p:spPr>
        <p:txBody>
          <a:bodyPr spcFirstLastPara="1" wrap="square" lIns="182850" tIns="91400" rIns="182850" bIns="91400" anchor="t" anchorCtr="0">
            <a:spAutoFit/>
          </a:bodyPr>
          <a:lstStyle/>
          <a:p>
            <a:pPr defTabSz="1828800"/>
            <a:r>
              <a:rPr lang="en-US" sz="2400" b="1" noProof="0">
                <a:solidFill>
                  <a:srgbClr val="6800FF"/>
                </a:solidFill>
                <a:latin typeface="Montserrat"/>
                <a:ea typeface="Montserrat"/>
                <a:cs typeface="Montserrat"/>
                <a:sym typeface="Montserrat"/>
              </a:rPr>
              <a:t>Client Page</a:t>
            </a:r>
            <a:endParaRPr lang="en-US" sz="2800" noProof="0">
              <a:solidFill>
                <a:srgbClr val="6800FF"/>
              </a:solidFill>
            </a:endParaRPr>
          </a:p>
        </p:txBody>
      </p:sp>
      <p:sp>
        <p:nvSpPr>
          <p:cNvPr id="1252" name="Google Shape;1252;p40">
            <a:extLst>
              <a:ext uri="{FF2B5EF4-FFF2-40B4-BE49-F238E27FC236}">
                <a16:creationId xmlns:a16="http://schemas.microsoft.com/office/drawing/2014/main" id="{0B71C088-778A-8C61-56F4-F02718272F8B}"/>
              </a:ext>
            </a:extLst>
          </p:cNvPr>
          <p:cNvSpPr txBox="1"/>
          <p:nvPr/>
        </p:nvSpPr>
        <p:spPr>
          <a:xfrm>
            <a:off x="12021447" y="5236601"/>
            <a:ext cx="1315800" cy="615472"/>
          </a:xfrm>
          <a:prstGeom prst="rect">
            <a:avLst/>
          </a:prstGeom>
          <a:noFill/>
          <a:ln>
            <a:noFill/>
          </a:ln>
        </p:spPr>
        <p:txBody>
          <a:bodyPr spcFirstLastPara="1" wrap="square" lIns="182850" tIns="91400" rIns="182850" bIns="91400" anchor="t" anchorCtr="0">
            <a:spAutoFit/>
          </a:bodyPr>
          <a:lstStyle/>
          <a:p>
            <a:pPr algn="ctr" defTabSz="1828800"/>
            <a:r>
              <a:rPr lang="en-US" i="1" noProof="0">
                <a:latin typeface="Montserrat"/>
                <a:ea typeface="Montserrat"/>
                <a:cs typeface="Montserrat"/>
                <a:sym typeface="Montserrat"/>
              </a:rPr>
              <a:t>Virtual machine</a:t>
            </a:r>
            <a:endParaRPr lang="en-US" i="1" noProof="0"/>
          </a:p>
        </p:txBody>
      </p:sp>
      <p:sp>
        <p:nvSpPr>
          <p:cNvPr id="1253" name="Google Shape;1253;p40">
            <a:extLst>
              <a:ext uri="{FF2B5EF4-FFF2-40B4-BE49-F238E27FC236}">
                <a16:creationId xmlns:a16="http://schemas.microsoft.com/office/drawing/2014/main" id="{AC0BD898-4A2F-4AE1-BDEF-F08507D7CE0A}"/>
              </a:ext>
            </a:extLst>
          </p:cNvPr>
          <p:cNvSpPr txBox="1"/>
          <p:nvPr/>
        </p:nvSpPr>
        <p:spPr>
          <a:xfrm>
            <a:off x="13529737" y="4958856"/>
            <a:ext cx="1022400" cy="400029"/>
          </a:xfrm>
          <a:prstGeom prst="rect">
            <a:avLst/>
          </a:prstGeom>
          <a:noFill/>
          <a:ln>
            <a:noFill/>
          </a:ln>
        </p:spPr>
        <p:txBody>
          <a:bodyPr spcFirstLastPara="1" wrap="square" lIns="182850" tIns="91400" rIns="182850" bIns="91400" anchor="t" anchorCtr="0">
            <a:spAutoFit/>
          </a:bodyPr>
          <a:lstStyle/>
          <a:p>
            <a:pPr algn="ctr" defTabSz="1828800"/>
            <a:r>
              <a:rPr lang="en-US" i="1" noProof="0">
                <a:latin typeface="Montserrat Medium"/>
                <a:ea typeface="Montserrat Medium"/>
                <a:cs typeface="Montserrat Medium"/>
                <a:sym typeface="Montserrat Medium"/>
              </a:rPr>
              <a:t>Agent</a:t>
            </a:r>
            <a:endParaRPr lang="en-US" sz="2800" i="1" noProof="0"/>
          </a:p>
        </p:txBody>
      </p:sp>
      <p:sp>
        <p:nvSpPr>
          <p:cNvPr id="1254" name="Google Shape;1254;p40">
            <a:extLst>
              <a:ext uri="{FF2B5EF4-FFF2-40B4-BE49-F238E27FC236}">
                <a16:creationId xmlns:a16="http://schemas.microsoft.com/office/drawing/2014/main" id="{D020338B-1205-BBFF-8195-CA7472D422A3}"/>
              </a:ext>
            </a:extLst>
          </p:cNvPr>
          <p:cNvSpPr txBox="1"/>
          <p:nvPr/>
        </p:nvSpPr>
        <p:spPr>
          <a:xfrm>
            <a:off x="15156291" y="4755737"/>
            <a:ext cx="1423896" cy="1261803"/>
          </a:xfrm>
          <a:prstGeom prst="rect">
            <a:avLst/>
          </a:prstGeom>
          <a:noFill/>
          <a:ln>
            <a:noFill/>
          </a:ln>
        </p:spPr>
        <p:txBody>
          <a:bodyPr spcFirstLastPara="1" wrap="square" lIns="182850" tIns="91400" rIns="182850" bIns="91400" anchor="t" anchorCtr="0">
            <a:spAutoFit/>
          </a:bodyPr>
          <a:lstStyle/>
          <a:p>
            <a:pPr defTabSz="1828800"/>
            <a:r>
              <a:rPr lang="en-US" i="1" noProof="0">
                <a:latin typeface="Montserrat Medium"/>
                <a:ea typeface="Montserrat Medium"/>
                <a:cs typeface="Montserrat Medium"/>
                <a:sym typeface="Montserrat Medium"/>
              </a:rPr>
              <a:t>SAP</a:t>
            </a:r>
          </a:p>
          <a:p>
            <a:pPr defTabSz="1828800"/>
            <a:r>
              <a:rPr lang="en-US" i="1" noProof="0">
                <a:latin typeface="Montserrat Medium"/>
                <a:sym typeface="Montserrat Medium"/>
              </a:rPr>
              <a:t>Mainframe</a:t>
            </a:r>
          </a:p>
          <a:p>
            <a:pPr defTabSz="1828800"/>
            <a:r>
              <a:rPr lang="en-US" i="1" noProof="0">
                <a:latin typeface="Montserrat Medium"/>
                <a:sym typeface="Montserrat Medium"/>
              </a:rPr>
              <a:t>Intranet</a:t>
            </a:r>
          </a:p>
          <a:p>
            <a:pPr defTabSz="1828800"/>
            <a:r>
              <a:rPr lang="en-US" i="1" noProof="0">
                <a:latin typeface="Montserrat Medium"/>
                <a:sym typeface="Montserrat Medium"/>
              </a:rPr>
              <a:t>Web page</a:t>
            </a:r>
          </a:p>
          <a:p>
            <a:pPr defTabSz="1828800"/>
            <a:r>
              <a:rPr lang="en-US" i="1" noProof="0">
                <a:latin typeface="Montserrat Medium"/>
                <a:sym typeface="Montserrat Medium"/>
              </a:rPr>
              <a:t>...</a:t>
            </a:r>
          </a:p>
        </p:txBody>
      </p:sp>
      <p:pic>
        <p:nvPicPr>
          <p:cNvPr id="1257" name="Google Shape;1257;p40" descr="A screenshot of a computer&#10;&#10;Description automatically generated">
            <a:extLst>
              <a:ext uri="{FF2B5EF4-FFF2-40B4-BE49-F238E27FC236}">
                <a16:creationId xmlns:a16="http://schemas.microsoft.com/office/drawing/2014/main" id="{51A00BEA-B6D9-EF4E-2026-4720DEEE79CD}"/>
              </a:ext>
            </a:extLst>
          </p:cNvPr>
          <p:cNvPicPr preferRelativeResize="0"/>
          <p:nvPr/>
        </p:nvPicPr>
        <p:blipFill rotWithShape="1">
          <a:blip r:embed="rId3">
            <a:alphaModFix/>
          </a:blip>
          <a:srcRect/>
          <a:stretch/>
        </p:blipFill>
        <p:spPr>
          <a:xfrm>
            <a:off x="5837891" y="6410227"/>
            <a:ext cx="4855900" cy="1905250"/>
          </a:xfrm>
          <a:prstGeom prst="rect">
            <a:avLst/>
          </a:prstGeom>
          <a:noFill/>
          <a:ln>
            <a:noFill/>
          </a:ln>
        </p:spPr>
      </p:pic>
      <p:grpSp>
        <p:nvGrpSpPr>
          <p:cNvPr id="1258" name="Google Shape;1258;p40">
            <a:extLst>
              <a:ext uri="{FF2B5EF4-FFF2-40B4-BE49-F238E27FC236}">
                <a16:creationId xmlns:a16="http://schemas.microsoft.com/office/drawing/2014/main" id="{1487BD79-438B-923A-7BBE-4F740164C438}"/>
              </a:ext>
            </a:extLst>
          </p:cNvPr>
          <p:cNvGrpSpPr/>
          <p:nvPr/>
        </p:nvGrpSpPr>
        <p:grpSpPr>
          <a:xfrm>
            <a:off x="5803708" y="4083876"/>
            <a:ext cx="4855884" cy="2212904"/>
            <a:chOff x="549533" y="2852850"/>
            <a:chExt cx="2427942" cy="1106452"/>
          </a:xfrm>
        </p:grpSpPr>
        <p:sp>
          <p:nvSpPr>
            <p:cNvPr id="1259" name="Google Shape;1259;p40">
              <a:extLst>
                <a:ext uri="{FF2B5EF4-FFF2-40B4-BE49-F238E27FC236}">
                  <a16:creationId xmlns:a16="http://schemas.microsoft.com/office/drawing/2014/main" id="{4EC05D0F-D9C5-D2FC-E252-8FAFDA6B36FC}"/>
                </a:ext>
              </a:extLst>
            </p:cNvPr>
            <p:cNvSpPr/>
            <p:nvPr/>
          </p:nvSpPr>
          <p:spPr>
            <a:xfrm>
              <a:off x="549533" y="2944102"/>
              <a:ext cx="2351100" cy="1015200"/>
            </a:xfrm>
            <a:prstGeom prst="roundRect">
              <a:avLst>
                <a:gd name="adj" fmla="val 8875"/>
              </a:avLst>
            </a:prstGeom>
            <a:solidFill>
              <a:srgbClr val="FF2D35"/>
            </a:solidFill>
            <a:ln>
              <a:noFill/>
            </a:ln>
          </p:spPr>
          <p:txBody>
            <a:bodyPr spcFirstLastPara="1" wrap="square" lIns="182850" tIns="91400" rIns="182850" bIns="91400" anchor="ctr" anchorCtr="0">
              <a:noAutofit/>
            </a:bodyPr>
            <a:lstStyle/>
            <a:p>
              <a:pPr algn="ctr" defTabSz="1828800"/>
              <a:endParaRPr lang="en-US" sz="5400" noProof="0">
                <a:solidFill>
                  <a:srgbClr val="FFFFFF"/>
                </a:solidFill>
                <a:latin typeface="Calibri"/>
                <a:ea typeface="Calibri"/>
                <a:cs typeface="Calibri"/>
                <a:sym typeface="Calibri"/>
              </a:endParaRPr>
            </a:p>
          </p:txBody>
        </p:sp>
        <p:sp>
          <p:nvSpPr>
            <p:cNvPr id="1260" name="Google Shape;1260;p40">
              <a:extLst>
                <a:ext uri="{FF2B5EF4-FFF2-40B4-BE49-F238E27FC236}">
                  <a16:creationId xmlns:a16="http://schemas.microsoft.com/office/drawing/2014/main" id="{DE1D7343-4851-6B23-B6E1-6A16CBCF5EA5}"/>
                </a:ext>
              </a:extLst>
            </p:cNvPr>
            <p:cNvSpPr/>
            <p:nvPr/>
          </p:nvSpPr>
          <p:spPr>
            <a:xfrm>
              <a:off x="626375" y="2852850"/>
              <a:ext cx="2351100" cy="1027200"/>
            </a:xfrm>
            <a:prstGeom prst="roundRect">
              <a:avLst>
                <a:gd name="adj" fmla="val 8875"/>
              </a:avLst>
            </a:prstGeom>
            <a:solidFill>
              <a:srgbClr val="FFFFFF"/>
            </a:solidFill>
            <a:ln w="19050" cap="flat" cmpd="sng">
              <a:solidFill>
                <a:srgbClr val="FF2D35"/>
              </a:solidFill>
              <a:prstDash val="solid"/>
              <a:round/>
              <a:headEnd type="none" w="sm" len="sm"/>
              <a:tailEnd type="none" w="sm" len="sm"/>
            </a:ln>
          </p:spPr>
          <p:txBody>
            <a:bodyPr spcFirstLastPara="1" wrap="square" lIns="182850" tIns="91400" rIns="182850" bIns="91400" anchor="ctr" anchorCtr="0">
              <a:noAutofit/>
            </a:bodyPr>
            <a:lstStyle/>
            <a:p>
              <a:pPr algn="ctr" defTabSz="1828800"/>
              <a:endParaRPr lang="en-US" sz="5400" noProof="0">
                <a:solidFill>
                  <a:srgbClr val="FFFFFF"/>
                </a:solidFill>
                <a:latin typeface="Calibri"/>
                <a:ea typeface="Calibri"/>
                <a:cs typeface="Calibri"/>
                <a:sym typeface="Calibri"/>
              </a:endParaRPr>
            </a:p>
          </p:txBody>
        </p:sp>
        <p:sp>
          <p:nvSpPr>
            <p:cNvPr id="1261" name="Google Shape;1261;p40">
              <a:extLst>
                <a:ext uri="{FF2B5EF4-FFF2-40B4-BE49-F238E27FC236}">
                  <a16:creationId xmlns:a16="http://schemas.microsoft.com/office/drawing/2014/main" id="{07A96D24-570B-A582-994F-123E83A6861B}"/>
                </a:ext>
              </a:extLst>
            </p:cNvPr>
            <p:cNvSpPr txBox="1"/>
            <p:nvPr/>
          </p:nvSpPr>
          <p:spPr>
            <a:xfrm>
              <a:off x="742580" y="2874162"/>
              <a:ext cx="2206800" cy="369292"/>
            </a:xfrm>
            <a:prstGeom prst="rect">
              <a:avLst/>
            </a:prstGeom>
            <a:noFill/>
            <a:ln>
              <a:noFill/>
            </a:ln>
          </p:spPr>
          <p:txBody>
            <a:bodyPr spcFirstLastPara="1" wrap="square" lIns="182850" tIns="91400" rIns="182850" bIns="91400" anchor="t" anchorCtr="0">
              <a:spAutoFit/>
            </a:bodyPr>
            <a:lstStyle/>
            <a:p>
              <a:pPr defTabSz="1828800"/>
              <a:r>
                <a:rPr lang="en-US" sz="2400" b="1" noProof="0">
                  <a:solidFill>
                    <a:srgbClr val="FF2D35"/>
                  </a:solidFill>
                  <a:latin typeface="Montserrat"/>
                  <a:ea typeface="Montserrat"/>
                  <a:cs typeface="Montserrat"/>
                  <a:sym typeface="Montserrat"/>
                </a:rPr>
                <a:t>Bring to</a:t>
              </a:r>
              <a:endParaRPr lang="en-US" sz="2800" noProof="0">
                <a:solidFill>
                  <a:srgbClr val="FF2D35"/>
                </a:solidFill>
              </a:endParaRPr>
            </a:p>
            <a:p>
              <a:pPr defTabSz="1828800"/>
              <a:r>
                <a:rPr lang="en-US" sz="1200" b="1" noProof="0">
                  <a:solidFill>
                    <a:srgbClr val="FF2D35"/>
                  </a:solidFill>
                  <a:latin typeface="Montserrat"/>
                  <a:ea typeface="Montserrat"/>
                  <a:cs typeface="Montserrat"/>
                  <a:sym typeface="Montserrat"/>
                </a:rPr>
                <a:t>(Cloud or </a:t>
              </a:r>
              <a:r>
                <a:rPr lang="en-US" sz="1200" b="1" i="1" noProof="0">
                  <a:solidFill>
                    <a:srgbClr val="FF2D35"/>
                  </a:solidFill>
                  <a:latin typeface="Montserrat"/>
                  <a:ea typeface="Montserrat"/>
                  <a:cs typeface="Montserrat"/>
                  <a:sym typeface="Montserrat"/>
                </a:rPr>
                <a:t>on-premises</a:t>
              </a:r>
              <a:r>
                <a:rPr lang="en-US" sz="1200" b="1" noProof="0">
                  <a:solidFill>
                    <a:srgbClr val="FF2D35"/>
                  </a:solidFill>
                  <a:latin typeface="Montserrat"/>
                  <a:ea typeface="Montserrat"/>
                  <a:cs typeface="Montserrat"/>
                  <a:sym typeface="Montserrat"/>
                </a:rPr>
                <a:t>)</a:t>
              </a:r>
              <a:endParaRPr lang="en-US" sz="4000" b="1" noProof="0">
                <a:solidFill>
                  <a:srgbClr val="FF2C70"/>
                </a:solidFill>
                <a:latin typeface="Montserrat"/>
                <a:ea typeface="Montserrat"/>
                <a:cs typeface="Montserrat"/>
                <a:sym typeface="Montserrat"/>
              </a:endParaRPr>
            </a:p>
          </p:txBody>
        </p:sp>
        <p:sp>
          <p:nvSpPr>
            <p:cNvPr id="1262" name="Google Shape;1262;p40">
              <a:extLst>
                <a:ext uri="{FF2B5EF4-FFF2-40B4-BE49-F238E27FC236}">
                  <a16:creationId xmlns:a16="http://schemas.microsoft.com/office/drawing/2014/main" id="{66FD52AA-0CA8-757F-E69C-73E212DC5291}"/>
                </a:ext>
              </a:extLst>
            </p:cNvPr>
            <p:cNvSpPr txBox="1"/>
            <p:nvPr/>
          </p:nvSpPr>
          <p:spPr>
            <a:xfrm>
              <a:off x="846525" y="3592421"/>
              <a:ext cx="613800" cy="200015"/>
            </a:xfrm>
            <a:prstGeom prst="rect">
              <a:avLst/>
            </a:prstGeom>
            <a:noFill/>
            <a:ln>
              <a:noFill/>
            </a:ln>
          </p:spPr>
          <p:txBody>
            <a:bodyPr spcFirstLastPara="1" wrap="square" lIns="182850" tIns="91400" rIns="182850" bIns="91400" anchor="t" anchorCtr="0">
              <a:spAutoFit/>
            </a:bodyPr>
            <a:lstStyle/>
            <a:p>
              <a:pPr algn="ctr" defTabSz="1828800"/>
              <a:r>
                <a:rPr lang="en-US" i="1" noProof="0">
                  <a:latin typeface="Montserrat Medium"/>
                  <a:ea typeface="Montserrat Medium"/>
                  <a:cs typeface="Montserrat Medium"/>
                  <a:sym typeface="Montserrat Medium"/>
                </a:rPr>
                <a:t>Consoles</a:t>
              </a:r>
              <a:endParaRPr lang="en-US" sz="2000" i="1" noProof="0"/>
            </a:p>
          </p:txBody>
        </p:sp>
        <p:sp>
          <p:nvSpPr>
            <p:cNvPr id="1263" name="Google Shape;1263;p40">
              <a:extLst>
                <a:ext uri="{FF2B5EF4-FFF2-40B4-BE49-F238E27FC236}">
                  <a16:creationId xmlns:a16="http://schemas.microsoft.com/office/drawing/2014/main" id="{3A0D916E-E05A-B36D-B7DA-4791333D7D2C}"/>
                </a:ext>
              </a:extLst>
            </p:cNvPr>
            <p:cNvSpPr/>
            <p:nvPr/>
          </p:nvSpPr>
          <p:spPr>
            <a:xfrm>
              <a:off x="1600530" y="3445398"/>
              <a:ext cx="361200" cy="108300"/>
            </a:xfrm>
            <a:prstGeom prst="leftRightArrow">
              <a:avLst>
                <a:gd name="adj1" fmla="val 38064"/>
                <a:gd name="adj2" fmla="val 49069"/>
              </a:avLst>
            </a:prstGeom>
            <a:solidFill>
              <a:srgbClr val="FF2D35"/>
            </a:solidFill>
            <a:ln>
              <a:noFill/>
            </a:ln>
          </p:spPr>
          <p:txBody>
            <a:bodyPr spcFirstLastPara="1" wrap="square" lIns="182850" tIns="91400" rIns="182850" bIns="91400" anchor="ctr" anchorCtr="0">
              <a:noAutofit/>
            </a:bodyPr>
            <a:lstStyle/>
            <a:p>
              <a:pPr algn="ctr" defTabSz="1828800"/>
              <a:endParaRPr lang="en-US" sz="3600" noProof="0">
                <a:solidFill>
                  <a:srgbClr val="FFFFFF"/>
                </a:solidFill>
                <a:latin typeface="Calibri"/>
                <a:ea typeface="Calibri"/>
                <a:cs typeface="Calibri"/>
                <a:sym typeface="Calibri"/>
              </a:endParaRPr>
            </a:p>
          </p:txBody>
        </p:sp>
        <p:pic>
          <p:nvPicPr>
            <p:cNvPr id="1264" name="Google Shape;1264;p40">
              <a:extLst>
                <a:ext uri="{FF2B5EF4-FFF2-40B4-BE49-F238E27FC236}">
                  <a16:creationId xmlns:a16="http://schemas.microsoft.com/office/drawing/2014/main" id="{C502F398-0AB5-EF70-6985-00DDCB7D6AFE}"/>
                </a:ext>
              </a:extLst>
            </p:cNvPr>
            <p:cNvPicPr preferRelativeResize="0"/>
            <p:nvPr/>
          </p:nvPicPr>
          <p:blipFill>
            <a:blip r:embed="rId4" cstate="email">
              <a:alphaModFix/>
              <a:extLst>
                <a:ext uri="{28A0092B-C50C-407E-A947-70E740481C1C}">
                  <a14:useLocalDpi xmlns:a14="http://schemas.microsoft.com/office/drawing/2010/main"/>
                </a:ext>
              </a:extLst>
            </a:blip>
            <a:stretch>
              <a:fillRect/>
            </a:stretch>
          </p:blipFill>
          <p:spPr>
            <a:xfrm>
              <a:off x="2144842" y="3363198"/>
              <a:ext cx="272700" cy="272700"/>
            </a:xfrm>
            <a:prstGeom prst="rect">
              <a:avLst/>
            </a:prstGeom>
            <a:noFill/>
            <a:ln>
              <a:noFill/>
            </a:ln>
          </p:spPr>
        </p:pic>
        <p:pic>
          <p:nvPicPr>
            <p:cNvPr id="1265" name="Google Shape;1265;p40">
              <a:extLst>
                <a:ext uri="{FF2B5EF4-FFF2-40B4-BE49-F238E27FC236}">
                  <a16:creationId xmlns:a16="http://schemas.microsoft.com/office/drawing/2014/main" id="{F00C0ECB-715F-6114-97C2-6296266B553E}"/>
                </a:ext>
              </a:extLst>
            </p:cNvPr>
            <p:cNvPicPr preferRelativeResize="0"/>
            <p:nvPr/>
          </p:nvPicPr>
          <p:blipFill>
            <a:blip r:embed="rId5" cstate="email">
              <a:alphaModFix/>
              <a:extLst>
                <a:ext uri="{28A0092B-C50C-407E-A947-70E740481C1C}">
                  <a14:useLocalDpi xmlns:a14="http://schemas.microsoft.com/office/drawing/2010/main"/>
                </a:ext>
              </a:extLst>
            </a:blip>
            <a:stretch>
              <a:fillRect/>
            </a:stretch>
          </p:blipFill>
          <p:spPr>
            <a:xfrm>
              <a:off x="834955" y="3346798"/>
              <a:ext cx="305509" cy="305514"/>
            </a:xfrm>
            <a:prstGeom prst="rect">
              <a:avLst/>
            </a:prstGeom>
            <a:noFill/>
            <a:ln>
              <a:noFill/>
            </a:ln>
          </p:spPr>
        </p:pic>
        <p:pic>
          <p:nvPicPr>
            <p:cNvPr id="1266" name="Google Shape;1266;p40">
              <a:extLst>
                <a:ext uri="{FF2B5EF4-FFF2-40B4-BE49-F238E27FC236}">
                  <a16:creationId xmlns:a16="http://schemas.microsoft.com/office/drawing/2014/main" id="{090E8170-4F77-0F0B-0AFA-8A50E5C81363}"/>
                </a:ext>
              </a:extLst>
            </p:cNvPr>
            <p:cNvPicPr preferRelativeResize="0"/>
            <p:nvPr/>
          </p:nvPicPr>
          <p:blipFill>
            <a:blip r:embed="rId5" cstate="email">
              <a:alphaModFix/>
              <a:extLst>
                <a:ext uri="{28A0092B-C50C-407E-A947-70E740481C1C}">
                  <a14:useLocalDpi xmlns:a14="http://schemas.microsoft.com/office/drawing/2010/main"/>
                </a:ext>
              </a:extLst>
            </a:blip>
            <a:stretch>
              <a:fillRect/>
            </a:stretch>
          </p:blipFill>
          <p:spPr>
            <a:xfrm>
              <a:off x="1143246" y="3346798"/>
              <a:ext cx="305509" cy="305514"/>
            </a:xfrm>
            <a:prstGeom prst="rect">
              <a:avLst/>
            </a:prstGeom>
            <a:noFill/>
            <a:ln>
              <a:noFill/>
            </a:ln>
          </p:spPr>
        </p:pic>
        <p:pic>
          <p:nvPicPr>
            <p:cNvPr id="1267" name="Google Shape;1267;p40">
              <a:extLst>
                <a:ext uri="{FF2B5EF4-FFF2-40B4-BE49-F238E27FC236}">
                  <a16:creationId xmlns:a16="http://schemas.microsoft.com/office/drawing/2014/main" id="{C0074D9D-7C34-FDB9-8B94-5C3E6976F940}"/>
                </a:ext>
              </a:extLst>
            </p:cNvPr>
            <p:cNvPicPr preferRelativeResize="0"/>
            <p:nvPr/>
          </p:nvPicPr>
          <p:blipFill>
            <a:blip r:embed="rId4" cstate="email">
              <a:alphaModFix/>
              <a:extLst>
                <a:ext uri="{28A0092B-C50C-407E-A947-70E740481C1C}">
                  <a14:useLocalDpi xmlns:a14="http://schemas.microsoft.com/office/drawing/2010/main"/>
                </a:ext>
              </a:extLst>
            </a:blip>
            <a:stretch>
              <a:fillRect/>
            </a:stretch>
          </p:blipFill>
          <p:spPr>
            <a:xfrm>
              <a:off x="2470817" y="3363198"/>
              <a:ext cx="272700" cy="272700"/>
            </a:xfrm>
            <a:prstGeom prst="rect">
              <a:avLst/>
            </a:prstGeom>
            <a:noFill/>
            <a:ln>
              <a:noFill/>
            </a:ln>
          </p:spPr>
        </p:pic>
      </p:grpSp>
      <p:grpSp>
        <p:nvGrpSpPr>
          <p:cNvPr id="1268" name="Google Shape;1268;p40">
            <a:extLst>
              <a:ext uri="{FF2B5EF4-FFF2-40B4-BE49-F238E27FC236}">
                <a16:creationId xmlns:a16="http://schemas.microsoft.com/office/drawing/2014/main" id="{00079A03-53B0-E778-6FF2-9A9E621BF37A}"/>
              </a:ext>
            </a:extLst>
          </p:cNvPr>
          <p:cNvGrpSpPr/>
          <p:nvPr/>
        </p:nvGrpSpPr>
        <p:grpSpPr>
          <a:xfrm>
            <a:off x="2920603" y="4125095"/>
            <a:ext cx="1713300" cy="2061200"/>
            <a:chOff x="825625" y="1230448"/>
            <a:chExt cx="856650" cy="1030600"/>
          </a:xfrm>
        </p:grpSpPr>
        <p:sp>
          <p:nvSpPr>
            <p:cNvPr id="1269" name="Google Shape;1269;p40">
              <a:extLst>
                <a:ext uri="{FF2B5EF4-FFF2-40B4-BE49-F238E27FC236}">
                  <a16:creationId xmlns:a16="http://schemas.microsoft.com/office/drawing/2014/main" id="{5D9D25B1-6900-634C-BA16-0849E3A4C836}"/>
                </a:ext>
              </a:extLst>
            </p:cNvPr>
            <p:cNvSpPr/>
            <p:nvPr/>
          </p:nvSpPr>
          <p:spPr>
            <a:xfrm>
              <a:off x="825625" y="1419548"/>
              <a:ext cx="762300" cy="841500"/>
            </a:xfrm>
            <a:prstGeom prst="roundRect">
              <a:avLst>
                <a:gd name="adj" fmla="val 8875"/>
              </a:avLst>
            </a:prstGeom>
            <a:solidFill>
              <a:srgbClr val="6800FF"/>
            </a:solidFill>
            <a:ln>
              <a:noFill/>
            </a:ln>
          </p:spPr>
          <p:txBody>
            <a:bodyPr spcFirstLastPara="1" wrap="square" lIns="182850" tIns="91400" rIns="182850" bIns="91400" anchor="ctr" anchorCtr="0">
              <a:noAutofit/>
            </a:bodyPr>
            <a:lstStyle/>
            <a:p>
              <a:pPr algn="ctr" defTabSz="1828800"/>
              <a:endParaRPr lang="en-US" sz="5400" noProof="0">
                <a:solidFill>
                  <a:srgbClr val="FFFFFF"/>
                </a:solidFill>
                <a:latin typeface="Calibri"/>
                <a:ea typeface="Calibri"/>
                <a:cs typeface="Calibri"/>
                <a:sym typeface="Calibri"/>
              </a:endParaRPr>
            </a:p>
          </p:txBody>
        </p:sp>
        <p:sp>
          <p:nvSpPr>
            <p:cNvPr id="1270" name="Google Shape;1270;p40">
              <a:extLst>
                <a:ext uri="{FF2B5EF4-FFF2-40B4-BE49-F238E27FC236}">
                  <a16:creationId xmlns:a16="http://schemas.microsoft.com/office/drawing/2014/main" id="{57C9D829-1A7F-5682-6C58-B56A207292AA}"/>
                </a:ext>
              </a:extLst>
            </p:cNvPr>
            <p:cNvSpPr/>
            <p:nvPr/>
          </p:nvSpPr>
          <p:spPr>
            <a:xfrm>
              <a:off x="902850" y="1230448"/>
              <a:ext cx="728400" cy="952500"/>
            </a:xfrm>
            <a:prstGeom prst="roundRect">
              <a:avLst>
                <a:gd name="adj" fmla="val 8875"/>
              </a:avLst>
            </a:prstGeom>
            <a:solidFill>
              <a:srgbClr val="FFFFFF"/>
            </a:solidFill>
            <a:ln w="19050" cap="flat" cmpd="sng">
              <a:solidFill>
                <a:srgbClr val="6800FF"/>
              </a:solidFill>
              <a:prstDash val="solid"/>
              <a:round/>
              <a:headEnd type="none" w="sm" len="sm"/>
              <a:tailEnd type="none" w="sm" len="sm"/>
            </a:ln>
          </p:spPr>
          <p:txBody>
            <a:bodyPr spcFirstLastPara="1" wrap="square" lIns="182850" tIns="91400" rIns="182850" bIns="91400" anchor="ctr" anchorCtr="0">
              <a:noAutofit/>
            </a:bodyPr>
            <a:lstStyle/>
            <a:p>
              <a:pPr algn="ctr" defTabSz="1828800"/>
              <a:endParaRPr lang="en-US" sz="5400" noProof="0">
                <a:solidFill>
                  <a:srgbClr val="FFFFFF"/>
                </a:solidFill>
                <a:latin typeface="Calibri"/>
                <a:ea typeface="Calibri"/>
                <a:cs typeface="Calibri"/>
                <a:sym typeface="Calibri"/>
              </a:endParaRPr>
            </a:p>
          </p:txBody>
        </p:sp>
        <p:sp>
          <p:nvSpPr>
            <p:cNvPr id="1271" name="Google Shape;1271;p40">
              <a:extLst>
                <a:ext uri="{FF2B5EF4-FFF2-40B4-BE49-F238E27FC236}">
                  <a16:creationId xmlns:a16="http://schemas.microsoft.com/office/drawing/2014/main" id="{C569E2DD-4EB5-3B29-2C46-91416A342B3E}"/>
                </a:ext>
              </a:extLst>
            </p:cNvPr>
            <p:cNvSpPr txBox="1"/>
            <p:nvPr/>
          </p:nvSpPr>
          <p:spPr>
            <a:xfrm>
              <a:off x="845575" y="1681300"/>
              <a:ext cx="836700" cy="307736"/>
            </a:xfrm>
            <a:prstGeom prst="rect">
              <a:avLst/>
            </a:prstGeom>
            <a:noFill/>
            <a:ln>
              <a:noFill/>
            </a:ln>
          </p:spPr>
          <p:txBody>
            <a:bodyPr spcFirstLastPara="1" wrap="square" lIns="182850" tIns="91400" rIns="182850" bIns="91400" anchor="t" anchorCtr="0">
              <a:spAutoFit/>
            </a:bodyPr>
            <a:lstStyle/>
            <a:p>
              <a:pPr algn="ctr" defTabSz="1828800"/>
              <a:r>
                <a:rPr lang="en-US" sz="2800" b="1" noProof="0">
                  <a:solidFill>
                    <a:srgbClr val="6800FF"/>
                  </a:solidFill>
                  <a:latin typeface="Montserrat"/>
                  <a:ea typeface="Montserrat"/>
                  <a:cs typeface="Montserrat"/>
                  <a:sym typeface="Montserrat"/>
                </a:rPr>
                <a:t>Client</a:t>
              </a:r>
            </a:p>
          </p:txBody>
        </p:sp>
        <p:sp>
          <p:nvSpPr>
            <p:cNvPr id="1272" name="Google Shape;1272;p40">
              <a:extLst>
                <a:ext uri="{FF2B5EF4-FFF2-40B4-BE49-F238E27FC236}">
                  <a16:creationId xmlns:a16="http://schemas.microsoft.com/office/drawing/2014/main" id="{9F86BEA3-AAB1-7896-0354-F1776D2447AA}"/>
                </a:ext>
              </a:extLst>
            </p:cNvPr>
            <p:cNvSpPr txBox="1"/>
            <p:nvPr/>
          </p:nvSpPr>
          <p:spPr>
            <a:xfrm>
              <a:off x="922085" y="1901875"/>
              <a:ext cx="683700" cy="184626"/>
            </a:xfrm>
            <a:prstGeom prst="rect">
              <a:avLst/>
            </a:prstGeom>
            <a:noFill/>
            <a:ln>
              <a:noFill/>
            </a:ln>
          </p:spPr>
          <p:txBody>
            <a:bodyPr spcFirstLastPara="1" wrap="square" lIns="182850" tIns="91400" rIns="182850" bIns="91400" anchor="t" anchorCtr="0">
              <a:spAutoFit/>
            </a:bodyPr>
            <a:lstStyle/>
            <a:p>
              <a:pPr algn="ctr" defTabSz="1828800"/>
              <a:r>
                <a:rPr lang="en-US" sz="1200" b="1" noProof="0">
                  <a:solidFill>
                    <a:srgbClr val="6800FF"/>
                  </a:solidFill>
                  <a:latin typeface="Montserrat"/>
                  <a:ea typeface="Montserrat"/>
                  <a:cs typeface="Montserrat"/>
                  <a:sym typeface="Montserrat"/>
                </a:rPr>
                <a:t>(anywhere)</a:t>
              </a:r>
              <a:endParaRPr lang="en-US" sz="1200" noProof="0"/>
            </a:p>
          </p:txBody>
        </p:sp>
        <p:pic>
          <p:nvPicPr>
            <p:cNvPr id="1273" name="Google Shape;1273;p40">
              <a:extLst>
                <a:ext uri="{FF2B5EF4-FFF2-40B4-BE49-F238E27FC236}">
                  <a16:creationId xmlns:a16="http://schemas.microsoft.com/office/drawing/2014/main" id="{4596A8E7-2C8C-45BB-3AD1-7042B0718029}"/>
                </a:ext>
              </a:extLst>
            </p:cNvPr>
            <p:cNvPicPr preferRelativeResize="0"/>
            <p:nvPr/>
          </p:nvPicPr>
          <p:blipFill>
            <a:blip r:embed="rId6" cstate="email">
              <a:alphaModFix/>
              <a:extLst>
                <a:ext uri="{28A0092B-C50C-407E-A947-70E740481C1C}">
                  <a14:useLocalDpi xmlns:a14="http://schemas.microsoft.com/office/drawing/2010/main"/>
                </a:ext>
              </a:extLst>
            </a:blip>
            <a:stretch>
              <a:fillRect/>
            </a:stretch>
          </p:blipFill>
          <p:spPr>
            <a:xfrm>
              <a:off x="1113975" y="1415525"/>
              <a:ext cx="305500" cy="305500"/>
            </a:xfrm>
            <a:prstGeom prst="rect">
              <a:avLst/>
            </a:prstGeom>
            <a:noFill/>
            <a:ln>
              <a:noFill/>
            </a:ln>
          </p:spPr>
        </p:pic>
      </p:grpSp>
      <p:grpSp>
        <p:nvGrpSpPr>
          <p:cNvPr id="1274" name="Google Shape;1274;p40">
            <a:extLst>
              <a:ext uri="{FF2B5EF4-FFF2-40B4-BE49-F238E27FC236}">
                <a16:creationId xmlns:a16="http://schemas.microsoft.com/office/drawing/2014/main" id="{8891FF89-9B21-CCE9-B8E4-50CB24700F9C}"/>
              </a:ext>
            </a:extLst>
          </p:cNvPr>
          <p:cNvGrpSpPr/>
          <p:nvPr/>
        </p:nvGrpSpPr>
        <p:grpSpPr>
          <a:xfrm>
            <a:off x="11611036" y="2260830"/>
            <a:ext cx="3124856" cy="1579050"/>
            <a:chOff x="942747" y="145925"/>
            <a:chExt cx="1562428" cy="789525"/>
          </a:xfrm>
        </p:grpSpPr>
        <p:sp>
          <p:nvSpPr>
            <p:cNvPr id="1275" name="Google Shape;1275;p40">
              <a:extLst>
                <a:ext uri="{FF2B5EF4-FFF2-40B4-BE49-F238E27FC236}">
                  <a16:creationId xmlns:a16="http://schemas.microsoft.com/office/drawing/2014/main" id="{A60D6953-DB70-FEF3-7113-AA2E02CB6362}"/>
                </a:ext>
              </a:extLst>
            </p:cNvPr>
            <p:cNvSpPr/>
            <p:nvPr/>
          </p:nvSpPr>
          <p:spPr>
            <a:xfrm>
              <a:off x="942747" y="270350"/>
              <a:ext cx="1468800" cy="665100"/>
            </a:xfrm>
            <a:prstGeom prst="roundRect">
              <a:avLst>
                <a:gd name="adj" fmla="val 8875"/>
              </a:avLst>
            </a:prstGeom>
            <a:solidFill>
              <a:srgbClr val="6800FF"/>
            </a:solidFill>
            <a:ln>
              <a:noFill/>
            </a:ln>
          </p:spPr>
          <p:txBody>
            <a:bodyPr spcFirstLastPara="1" wrap="square" lIns="182850" tIns="91400" rIns="182850" bIns="91400" anchor="ctr" anchorCtr="0">
              <a:noAutofit/>
            </a:bodyPr>
            <a:lstStyle/>
            <a:p>
              <a:pPr algn="ctr" defTabSz="1828800"/>
              <a:endParaRPr lang="en-US" sz="5400" noProof="0">
                <a:solidFill>
                  <a:srgbClr val="FFFFFF"/>
                </a:solidFill>
                <a:latin typeface="Calibri"/>
                <a:ea typeface="Calibri"/>
                <a:cs typeface="Calibri"/>
                <a:sym typeface="Calibri"/>
              </a:endParaRPr>
            </a:p>
          </p:txBody>
        </p:sp>
        <p:sp>
          <p:nvSpPr>
            <p:cNvPr id="1276" name="Google Shape;1276;p40">
              <a:extLst>
                <a:ext uri="{FF2B5EF4-FFF2-40B4-BE49-F238E27FC236}">
                  <a16:creationId xmlns:a16="http://schemas.microsoft.com/office/drawing/2014/main" id="{AE9356BD-7802-7083-E341-DD31913F6CCE}"/>
                </a:ext>
              </a:extLst>
            </p:cNvPr>
            <p:cNvSpPr/>
            <p:nvPr/>
          </p:nvSpPr>
          <p:spPr>
            <a:xfrm>
              <a:off x="1015975" y="146025"/>
              <a:ext cx="1489200" cy="713700"/>
            </a:xfrm>
            <a:prstGeom prst="roundRect">
              <a:avLst>
                <a:gd name="adj" fmla="val 8875"/>
              </a:avLst>
            </a:prstGeom>
            <a:solidFill>
              <a:srgbClr val="FFFFFF"/>
            </a:solidFill>
            <a:ln w="19050" cap="flat" cmpd="sng">
              <a:solidFill>
                <a:srgbClr val="6800FF"/>
              </a:solidFill>
              <a:prstDash val="solid"/>
              <a:round/>
              <a:headEnd type="none" w="sm" len="sm"/>
              <a:tailEnd type="none" w="sm" len="sm"/>
            </a:ln>
          </p:spPr>
          <p:txBody>
            <a:bodyPr spcFirstLastPara="1" wrap="square" lIns="182850" tIns="91400" rIns="182850" bIns="91400" anchor="ctr" anchorCtr="0">
              <a:noAutofit/>
            </a:bodyPr>
            <a:lstStyle/>
            <a:p>
              <a:pPr algn="ctr" defTabSz="1828800"/>
              <a:endParaRPr lang="en-US" sz="5400" noProof="0">
                <a:solidFill>
                  <a:srgbClr val="FFFFFF"/>
                </a:solidFill>
                <a:latin typeface="Calibri"/>
                <a:ea typeface="Calibri"/>
                <a:cs typeface="Calibri"/>
                <a:sym typeface="Calibri"/>
              </a:endParaRPr>
            </a:p>
          </p:txBody>
        </p:sp>
        <p:sp>
          <p:nvSpPr>
            <p:cNvPr id="1277" name="Google Shape;1277;p40">
              <a:extLst>
                <a:ext uri="{FF2B5EF4-FFF2-40B4-BE49-F238E27FC236}">
                  <a16:creationId xmlns:a16="http://schemas.microsoft.com/office/drawing/2014/main" id="{DCB3CEDD-4E8D-B9BA-A838-472C92B89527}"/>
                </a:ext>
              </a:extLst>
            </p:cNvPr>
            <p:cNvSpPr txBox="1"/>
            <p:nvPr/>
          </p:nvSpPr>
          <p:spPr>
            <a:xfrm>
              <a:off x="1081953" y="145925"/>
              <a:ext cx="1423200" cy="400069"/>
            </a:xfrm>
            <a:prstGeom prst="rect">
              <a:avLst/>
            </a:prstGeom>
            <a:noFill/>
            <a:ln>
              <a:noFill/>
            </a:ln>
          </p:spPr>
          <p:txBody>
            <a:bodyPr spcFirstLastPara="1" wrap="square" lIns="182850" tIns="91400" rIns="182850" bIns="91400" anchor="t" anchorCtr="0">
              <a:spAutoFit/>
            </a:bodyPr>
            <a:lstStyle/>
            <a:p>
              <a:pPr defTabSz="1828800"/>
              <a:r>
                <a:rPr lang="en-US" sz="2400" b="1" noProof="0">
                  <a:solidFill>
                    <a:srgbClr val="6800FF"/>
                  </a:solidFill>
                  <a:latin typeface="Montserrat"/>
                  <a:ea typeface="Montserrat"/>
                  <a:cs typeface="Montserrat"/>
                  <a:sym typeface="Montserrat"/>
                </a:rPr>
                <a:t>Systems</a:t>
              </a:r>
              <a:r>
                <a:rPr lang="en-US" sz="4000" b="1" noProof="0">
                  <a:solidFill>
                    <a:srgbClr val="6800FF"/>
                  </a:solidFill>
                  <a:latin typeface="Montserrat"/>
                  <a:ea typeface="Montserrat"/>
                  <a:cs typeface="Montserrat"/>
                  <a:sym typeface="Montserrat"/>
                </a:rPr>
                <a:t> </a:t>
              </a:r>
              <a:r>
                <a:rPr lang="en-US" sz="2400" b="1" noProof="0">
                  <a:solidFill>
                    <a:srgbClr val="6800FF"/>
                  </a:solidFill>
                  <a:latin typeface="Montserrat"/>
                  <a:ea typeface="Montserrat"/>
                  <a:cs typeface="Montserrat"/>
                  <a:sym typeface="Montserrat"/>
                </a:rPr>
                <a:t>A</a:t>
              </a:r>
              <a:endParaRPr lang="en-US" sz="2800" noProof="0">
                <a:solidFill>
                  <a:srgbClr val="6800FF"/>
                </a:solidFill>
              </a:endParaRPr>
            </a:p>
          </p:txBody>
        </p:sp>
        <p:grpSp>
          <p:nvGrpSpPr>
            <p:cNvPr id="1278" name="Google Shape;1278;p40">
              <a:extLst>
                <a:ext uri="{FF2B5EF4-FFF2-40B4-BE49-F238E27FC236}">
                  <a16:creationId xmlns:a16="http://schemas.microsoft.com/office/drawing/2014/main" id="{6E8E22F2-FAA4-AA2C-1C78-C605FA4471F4}"/>
                </a:ext>
              </a:extLst>
            </p:cNvPr>
            <p:cNvGrpSpPr/>
            <p:nvPr/>
          </p:nvGrpSpPr>
          <p:grpSpPr>
            <a:xfrm>
              <a:off x="1181338" y="611547"/>
              <a:ext cx="1139325" cy="156928"/>
              <a:chOff x="658338" y="1034772"/>
              <a:chExt cx="1139325" cy="156928"/>
            </a:xfrm>
          </p:grpSpPr>
          <p:pic>
            <p:nvPicPr>
              <p:cNvPr id="1279" name="Google Shape;1279;p40">
                <a:extLst>
                  <a:ext uri="{FF2B5EF4-FFF2-40B4-BE49-F238E27FC236}">
                    <a16:creationId xmlns:a16="http://schemas.microsoft.com/office/drawing/2014/main" id="{4523F2E0-0B73-0843-9294-D33D0D17F227}"/>
                  </a:ext>
                </a:extLst>
              </p:cNvPr>
              <p:cNvPicPr preferRelativeResize="0"/>
              <p:nvPr/>
            </p:nvPicPr>
            <p:blipFill rotWithShape="1">
              <a:blip r:embed="rId7" cstate="email">
                <a:alphaModFix/>
                <a:extLst>
                  <a:ext uri="{28A0092B-C50C-407E-A947-70E740481C1C}">
                    <a14:useLocalDpi xmlns:a14="http://schemas.microsoft.com/office/drawing/2010/main"/>
                  </a:ext>
                </a:extLst>
              </a:blip>
              <a:srcRect/>
              <a:stretch/>
            </p:blipFill>
            <p:spPr>
              <a:xfrm>
                <a:off x="658338" y="1034772"/>
                <a:ext cx="192900" cy="156928"/>
              </a:xfrm>
              <a:prstGeom prst="rect">
                <a:avLst/>
              </a:prstGeom>
              <a:noFill/>
              <a:ln>
                <a:noFill/>
              </a:ln>
            </p:spPr>
          </p:pic>
          <p:pic>
            <p:nvPicPr>
              <p:cNvPr id="1280" name="Google Shape;1280;p40">
                <a:extLst>
                  <a:ext uri="{FF2B5EF4-FFF2-40B4-BE49-F238E27FC236}">
                    <a16:creationId xmlns:a16="http://schemas.microsoft.com/office/drawing/2014/main" id="{1E9F9BA0-857B-7A5B-BB70-CE1E4493E921}"/>
                  </a:ext>
                </a:extLst>
              </p:cNvPr>
              <p:cNvPicPr preferRelativeResize="0"/>
              <p:nvPr/>
            </p:nvPicPr>
            <p:blipFill rotWithShape="1">
              <a:blip r:embed="rId7" cstate="email">
                <a:alphaModFix/>
                <a:extLst>
                  <a:ext uri="{28A0092B-C50C-407E-A947-70E740481C1C}">
                    <a14:useLocalDpi xmlns:a14="http://schemas.microsoft.com/office/drawing/2010/main"/>
                  </a:ext>
                </a:extLst>
              </a:blip>
              <a:srcRect/>
              <a:stretch/>
            </p:blipFill>
            <p:spPr>
              <a:xfrm>
                <a:off x="973813" y="1034772"/>
                <a:ext cx="192900" cy="156928"/>
              </a:xfrm>
              <a:prstGeom prst="rect">
                <a:avLst/>
              </a:prstGeom>
              <a:noFill/>
              <a:ln>
                <a:noFill/>
              </a:ln>
            </p:spPr>
          </p:pic>
          <p:pic>
            <p:nvPicPr>
              <p:cNvPr id="1281" name="Google Shape;1281;p40">
                <a:extLst>
                  <a:ext uri="{FF2B5EF4-FFF2-40B4-BE49-F238E27FC236}">
                    <a16:creationId xmlns:a16="http://schemas.microsoft.com/office/drawing/2014/main" id="{188EFAF2-D6D2-2625-4E05-013E250C536A}"/>
                  </a:ext>
                </a:extLst>
              </p:cNvPr>
              <p:cNvPicPr preferRelativeResize="0"/>
              <p:nvPr/>
            </p:nvPicPr>
            <p:blipFill rotWithShape="1">
              <a:blip r:embed="rId7" cstate="email">
                <a:alphaModFix/>
                <a:extLst>
                  <a:ext uri="{28A0092B-C50C-407E-A947-70E740481C1C}">
                    <a14:useLocalDpi xmlns:a14="http://schemas.microsoft.com/office/drawing/2010/main"/>
                  </a:ext>
                </a:extLst>
              </a:blip>
              <a:srcRect/>
              <a:stretch/>
            </p:blipFill>
            <p:spPr>
              <a:xfrm>
                <a:off x="1289288" y="1034772"/>
                <a:ext cx="192900" cy="156928"/>
              </a:xfrm>
              <a:prstGeom prst="rect">
                <a:avLst/>
              </a:prstGeom>
              <a:noFill/>
              <a:ln>
                <a:noFill/>
              </a:ln>
            </p:spPr>
          </p:pic>
          <p:pic>
            <p:nvPicPr>
              <p:cNvPr id="1282" name="Google Shape;1282;p40">
                <a:extLst>
                  <a:ext uri="{FF2B5EF4-FFF2-40B4-BE49-F238E27FC236}">
                    <a16:creationId xmlns:a16="http://schemas.microsoft.com/office/drawing/2014/main" id="{C566E29F-6FD2-EAC6-D308-9F718F0277AA}"/>
                  </a:ext>
                </a:extLst>
              </p:cNvPr>
              <p:cNvPicPr preferRelativeResize="0"/>
              <p:nvPr/>
            </p:nvPicPr>
            <p:blipFill rotWithShape="1">
              <a:blip r:embed="rId7" cstate="email">
                <a:alphaModFix/>
                <a:extLst>
                  <a:ext uri="{28A0092B-C50C-407E-A947-70E740481C1C}">
                    <a14:useLocalDpi xmlns:a14="http://schemas.microsoft.com/office/drawing/2010/main"/>
                  </a:ext>
                </a:extLst>
              </a:blip>
              <a:srcRect/>
              <a:stretch/>
            </p:blipFill>
            <p:spPr>
              <a:xfrm>
                <a:off x="1604763" y="1034772"/>
                <a:ext cx="192900" cy="156928"/>
              </a:xfrm>
              <a:prstGeom prst="rect">
                <a:avLst/>
              </a:prstGeom>
              <a:noFill/>
              <a:ln>
                <a:noFill/>
              </a:ln>
            </p:spPr>
          </p:pic>
        </p:grpSp>
      </p:grpSp>
      <p:grpSp>
        <p:nvGrpSpPr>
          <p:cNvPr id="1283" name="Google Shape;1283;p40">
            <a:extLst>
              <a:ext uri="{FF2B5EF4-FFF2-40B4-BE49-F238E27FC236}">
                <a16:creationId xmlns:a16="http://schemas.microsoft.com/office/drawing/2014/main" id="{14B8F4E4-267D-87A1-118D-8B709A66FC6F}"/>
              </a:ext>
            </a:extLst>
          </p:cNvPr>
          <p:cNvGrpSpPr/>
          <p:nvPr/>
        </p:nvGrpSpPr>
        <p:grpSpPr>
          <a:xfrm>
            <a:off x="11611036" y="6513964"/>
            <a:ext cx="3124856" cy="1579050"/>
            <a:chOff x="942747" y="1081975"/>
            <a:chExt cx="1562428" cy="789525"/>
          </a:xfrm>
        </p:grpSpPr>
        <p:sp>
          <p:nvSpPr>
            <p:cNvPr id="1284" name="Google Shape;1284;p40">
              <a:extLst>
                <a:ext uri="{FF2B5EF4-FFF2-40B4-BE49-F238E27FC236}">
                  <a16:creationId xmlns:a16="http://schemas.microsoft.com/office/drawing/2014/main" id="{26F855E5-4650-BB68-E923-1B948F602E8C}"/>
                </a:ext>
              </a:extLst>
            </p:cNvPr>
            <p:cNvSpPr/>
            <p:nvPr/>
          </p:nvSpPr>
          <p:spPr>
            <a:xfrm>
              <a:off x="942747" y="1206400"/>
              <a:ext cx="1468800" cy="665100"/>
            </a:xfrm>
            <a:prstGeom prst="roundRect">
              <a:avLst>
                <a:gd name="adj" fmla="val 8875"/>
              </a:avLst>
            </a:prstGeom>
            <a:solidFill>
              <a:srgbClr val="6800FF"/>
            </a:solidFill>
            <a:ln>
              <a:noFill/>
            </a:ln>
          </p:spPr>
          <p:txBody>
            <a:bodyPr spcFirstLastPara="1" wrap="square" lIns="182850" tIns="91400" rIns="182850" bIns="91400" anchor="ctr" anchorCtr="0">
              <a:noAutofit/>
            </a:bodyPr>
            <a:lstStyle/>
            <a:p>
              <a:pPr algn="ctr" defTabSz="1828800"/>
              <a:endParaRPr lang="en-US" sz="5400" noProof="0">
                <a:solidFill>
                  <a:srgbClr val="FFFFFF"/>
                </a:solidFill>
                <a:latin typeface="Calibri"/>
                <a:ea typeface="Calibri"/>
                <a:cs typeface="Calibri"/>
                <a:sym typeface="Calibri"/>
              </a:endParaRPr>
            </a:p>
          </p:txBody>
        </p:sp>
        <p:sp>
          <p:nvSpPr>
            <p:cNvPr id="1285" name="Google Shape;1285;p40">
              <a:extLst>
                <a:ext uri="{FF2B5EF4-FFF2-40B4-BE49-F238E27FC236}">
                  <a16:creationId xmlns:a16="http://schemas.microsoft.com/office/drawing/2014/main" id="{88A31447-642B-DA59-B6D3-DF9593CCD1A7}"/>
                </a:ext>
              </a:extLst>
            </p:cNvPr>
            <p:cNvSpPr/>
            <p:nvPr/>
          </p:nvSpPr>
          <p:spPr>
            <a:xfrm>
              <a:off x="1015975" y="1082075"/>
              <a:ext cx="1489200" cy="713700"/>
            </a:xfrm>
            <a:prstGeom prst="roundRect">
              <a:avLst>
                <a:gd name="adj" fmla="val 8875"/>
              </a:avLst>
            </a:prstGeom>
            <a:solidFill>
              <a:srgbClr val="FFFFFF"/>
            </a:solidFill>
            <a:ln w="19050" cap="flat" cmpd="sng">
              <a:solidFill>
                <a:srgbClr val="6800FF"/>
              </a:solidFill>
              <a:prstDash val="solid"/>
              <a:round/>
              <a:headEnd type="none" w="sm" len="sm"/>
              <a:tailEnd type="none" w="sm" len="sm"/>
            </a:ln>
          </p:spPr>
          <p:txBody>
            <a:bodyPr spcFirstLastPara="1" wrap="square" lIns="182850" tIns="91400" rIns="182850" bIns="91400" anchor="ctr" anchorCtr="0">
              <a:noAutofit/>
            </a:bodyPr>
            <a:lstStyle/>
            <a:p>
              <a:pPr algn="ctr" defTabSz="1828800"/>
              <a:endParaRPr lang="en-US" sz="5400" noProof="0">
                <a:solidFill>
                  <a:srgbClr val="FFFFFF"/>
                </a:solidFill>
                <a:latin typeface="Calibri"/>
                <a:ea typeface="Calibri"/>
                <a:cs typeface="Calibri"/>
                <a:sym typeface="Calibri"/>
              </a:endParaRPr>
            </a:p>
          </p:txBody>
        </p:sp>
        <p:sp>
          <p:nvSpPr>
            <p:cNvPr id="1286" name="Google Shape;1286;p40">
              <a:extLst>
                <a:ext uri="{FF2B5EF4-FFF2-40B4-BE49-F238E27FC236}">
                  <a16:creationId xmlns:a16="http://schemas.microsoft.com/office/drawing/2014/main" id="{F18FFD3E-BDB5-9D9F-AAB6-DED8C70E98C2}"/>
                </a:ext>
              </a:extLst>
            </p:cNvPr>
            <p:cNvSpPr txBox="1"/>
            <p:nvPr/>
          </p:nvSpPr>
          <p:spPr>
            <a:xfrm>
              <a:off x="1081953" y="1081975"/>
              <a:ext cx="1423200" cy="400069"/>
            </a:xfrm>
            <a:prstGeom prst="rect">
              <a:avLst/>
            </a:prstGeom>
            <a:noFill/>
            <a:ln>
              <a:noFill/>
            </a:ln>
          </p:spPr>
          <p:txBody>
            <a:bodyPr spcFirstLastPara="1" wrap="square" lIns="182850" tIns="91400" rIns="182850" bIns="91400" anchor="t" anchorCtr="0">
              <a:spAutoFit/>
            </a:bodyPr>
            <a:lstStyle/>
            <a:p>
              <a:pPr defTabSz="1828800"/>
              <a:r>
                <a:rPr lang="en-US" sz="2400" b="1" noProof="0">
                  <a:solidFill>
                    <a:srgbClr val="6800FF"/>
                  </a:solidFill>
                  <a:latin typeface="Montserrat"/>
                  <a:ea typeface="Montserrat"/>
                  <a:cs typeface="Montserrat"/>
                  <a:sym typeface="Montserrat"/>
                </a:rPr>
                <a:t>Systems</a:t>
              </a:r>
              <a:r>
                <a:rPr lang="en-US" sz="4000" b="1" noProof="0">
                  <a:solidFill>
                    <a:srgbClr val="6800FF"/>
                  </a:solidFill>
                  <a:latin typeface="Montserrat"/>
                  <a:ea typeface="Montserrat"/>
                  <a:cs typeface="Montserrat"/>
                  <a:sym typeface="Montserrat"/>
                </a:rPr>
                <a:t> </a:t>
              </a:r>
              <a:r>
                <a:rPr lang="en-US" sz="2400" b="1" noProof="0">
                  <a:solidFill>
                    <a:srgbClr val="6800FF"/>
                  </a:solidFill>
                  <a:latin typeface="Montserrat"/>
                  <a:ea typeface="Montserrat"/>
                  <a:cs typeface="Montserrat"/>
                  <a:sym typeface="Montserrat"/>
                </a:rPr>
                <a:t>B</a:t>
              </a:r>
              <a:endParaRPr lang="en-US" sz="2800" noProof="0">
                <a:solidFill>
                  <a:srgbClr val="6800FF"/>
                </a:solidFill>
              </a:endParaRPr>
            </a:p>
          </p:txBody>
        </p:sp>
        <p:grpSp>
          <p:nvGrpSpPr>
            <p:cNvPr id="1287" name="Google Shape;1287;p40">
              <a:extLst>
                <a:ext uri="{FF2B5EF4-FFF2-40B4-BE49-F238E27FC236}">
                  <a16:creationId xmlns:a16="http://schemas.microsoft.com/office/drawing/2014/main" id="{D270606C-90A8-F411-3BC1-0F80B2A64869}"/>
                </a:ext>
              </a:extLst>
            </p:cNvPr>
            <p:cNvGrpSpPr/>
            <p:nvPr/>
          </p:nvGrpSpPr>
          <p:grpSpPr>
            <a:xfrm>
              <a:off x="1181338" y="1547597"/>
              <a:ext cx="1139325" cy="156928"/>
              <a:chOff x="658338" y="1034772"/>
              <a:chExt cx="1139325" cy="156928"/>
            </a:xfrm>
          </p:grpSpPr>
          <p:pic>
            <p:nvPicPr>
              <p:cNvPr id="1288" name="Google Shape;1288;p40">
                <a:extLst>
                  <a:ext uri="{FF2B5EF4-FFF2-40B4-BE49-F238E27FC236}">
                    <a16:creationId xmlns:a16="http://schemas.microsoft.com/office/drawing/2014/main" id="{793997ED-D765-1D98-3D5C-47F058072B3C}"/>
                  </a:ext>
                </a:extLst>
              </p:cNvPr>
              <p:cNvPicPr preferRelativeResize="0"/>
              <p:nvPr/>
            </p:nvPicPr>
            <p:blipFill rotWithShape="1">
              <a:blip r:embed="rId7" cstate="email">
                <a:alphaModFix/>
                <a:extLst>
                  <a:ext uri="{28A0092B-C50C-407E-A947-70E740481C1C}">
                    <a14:useLocalDpi xmlns:a14="http://schemas.microsoft.com/office/drawing/2010/main"/>
                  </a:ext>
                </a:extLst>
              </a:blip>
              <a:srcRect/>
              <a:stretch/>
            </p:blipFill>
            <p:spPr>
              <a:xfrm>
                <a:off x="658338" y="1034772"/>
                <a:ext cx="192900" cy="156928"/>
              </a:xfrm>
              <a:prstGeom prst="rect">
                <a:avLst/>
              </a:prstGeom>
              <a:noFill/>
              <a:ln>
                <a:noFill/>
              </a:ln>
            </p:spPr>
          </p:pic>
          <p:pic>
            <p:nvPicPr>
              <p:cNvPr id="1289" name="Google Shape;1289;p40">
                <a:extLst>
                  <a:ext uri="{FF2B5EF4-FFF2-40B4-BE49-F238E27FC236}">
                    <a16:creationId xmlns:a16="http://schemas.microsoft.com/office/drawing/2014/main" id="{903B1852-DCA8-A800-2C0D-A041D4E890B3}"/>
                  </a:ext>
                </a:extLst>
              </p:cNvPr>
              <p:cNvPicPr preferRelativeResize="0"/>
              <p:nvPr/>
            </p:nvPicPr>
            <p:blipFill rotWithShape="1">
              <a:blip r:embed="rId7" cstate="email">
                <a:alphaModFix/>
                <a:extLst>
                  <a:ext uri="{28A0092B-C50C-407E-A947-70E740481C1C}">
                    <a14:useLocalDpi xmlns:a14="http://schemas.microsoft.com/office/drawing/2010/main"/>
                  </a:ext>
                </a:extLst>
              </a:blip>
              <a:srcRect/>
              <a:stretch/>
            </p:blipFill>
            <p:spPr>
              <a:xfrm>
                <a:off x="973813" y="1034772"/>
                <a:ext cx="192900" cy="156928"/>
              </a:xfrm>
              <a:prstGeom prst="rect">
                <a:avLst/>
              </a:prstGeom>
              <a:noFill/>
              <a:ln>
                <a:noFill/>
              </a:ln>
            </p:spPr>
          </p:pic>
          <p:pic>
            <p:nvPicPr>
              <p:cNvPr id="1290" name="Google Shape;1290;p40">
                <a:extLst>
                  <a:ext uri="{FF2B5EF4-FFF2-40B4-BE49-F238E27FC236}">
                    <a16:creationId xmlns:a16="http://schemas.microsoft.com/office/drawing/2014/main" id="{06B1943C-7F47-7B19-7049-70678351944B}"/>
                  </a:ext>
                </a:extLst>
              </p:cNvPr>
              <p:cNvPicPr preferRelativeResize="0"/>
              <p:nvPr/>
            </p:nvPicPr>
            <p:blipFill rotWithShape="1">
              <a:blip r:embed="rId7" cstate="email">
                <a:alphaModFix/>
                <a:extLst>
                  <a:ext uri="{28A0092B-C50C-407E-A947-70E740481C1C}">
                    <a14:useLocalDpi xmlns:a14="http://schemas.microsoft.com/office/drawing/2010/main"/>
                  </a:ext>
                </a:extLst>
              </a:blip>
              <a:srcRect/>
              <a:stretch/>
            </p:blipFill>
            <p:spPr>
              <a:xfrm>
                <a:off x="1289288" y="1034772"/>
                <a:ext cx="192900" cy="156928"/>
              </a:xfrm>
              <a:prstGeom prst="rect">
                <a:avLst/>
              </a:prstGeom>
              <a:noFill/>
              <a:ln>
                <a:noFill/>
              </a:ln>
            </p:spPr>
          </p:pic>
          <p:pic>
            <p:nvPicPr>
              <p:cNvPr id="1291" name="Google Shape;1291;p40">
                <a:extLst>
                  <a:ext uri="{FF2B5EF4-FFF2-40B4-BE49-F238E27FC236}">
                    <a16:creationId xmlns:a16="http://schemas.microsoft.com/office/drawing/2014/main" id="{4502CB5E-B41E-6E08-EB1C-B3C786E25D89}"/>
                  </a:ext>
                </a:extLst>
              </p:cNvPr>
              <p:cNvPicPr preferRelativeResize="0"/>
              <p:nvPr/>
            </p:nvPicPr>
            <p:blipFill rotWithShape="1">
              <a:blip r:embed="rId7" cstate="email">
                <a:alphaModFix/>
                <a:extLst>
                  <a:ext uri="{28A0092B-C50C-407E-A947-70E740481C1C}">
                    <a14:useLocalDpi xmlns:a14="http://schemas.microsoft.com/office/drawing/2010/main"/>
                  </a:ext>
                </a:extLst>
              </a:blip>
              <a:srcRect/>
              <a:stretch/>
            </p:blipFill>
            <p:spPr>
              <a:xfrm>
                <a:off x="1604763" y="1034772"/>
                <a:ext cx="192900" cy="156928"/>
              </a:xfrm>
              <a:prstGeom prst="rect">
                <a:avLst/>
              </a:prstGeom>
              <a:noFill/>
              <a:ln>
                <a:noFill/>
              </a:ln>
            </p:spPr>
          </p:pic>
        </p:grpSp>
      </p:grpSp>
      <p:pic>
        <p:nvPicPr>
          <p:cNvPr id="1292" name="Google Shape;1292;p40">
            <a:extLst>
              <a:ext uri="{FF2B5EF4-FFF2-40B4-BE49-F238E27FC236}">
                <a16:creationId xmlns:a16="http://schemas.microsoft.com/office/drawing/2014/main" id="{E14B1519-A728-A8C5-3524-EE0403072F6D}"/>
              </a:ext>
            </a:extLst>
          </p:cNvPr>
          <p:cNvPicPr preferRelativeResize="0"/>
          <p:nvPr/>
        </p:nvPicPr>
        <p:blipFill>
          <a:blip r:embed="rId8" cstate="email">
            <a:alphaModFix/>
            <a:extLst>
              <a:ext uri="{28A0092B-C50C-407E-A947-70E740481C1C}">
                <a14:useLocalDpi xmlns:a14="http://schemas.microsoft.com/office/drawing/2010/main"/>
              </a:ext>
            </a:extLst>
          </a:blip>
          <a:stretch>
            <a:fillRect/>
          </a:stretch>
        </p:blipFill>
        <p:spPr>
          <a:xfrm>
            <a:off x="13875642" y="4763182"/>
            <a:ext cx="330600" cy="330600"/>
          </a:xfrm>
          <a:prstGeom prst="rect">
            <a:avLst/>
          </a:prstGeom>
          <a:noFill/>
          <a:ln>
            <a:noFill/>
          </a:ln>
        </p:spPr>
      </p:pic>
      <p:sp>
        <p:nvSpPr>
          <p:cNvPr id="1293" name="Google Shape;1293;p40">
            <a:extLst>
              <a:ext uri="{FF2B5EF4-FFF2-40B4-BE49-F238E27FC236}">
                <a16:creationId xmlns:a16="http://schemas.microsoft.com/office/drawing/2014/main" id="{75C437E9-2946-783D-D7B5-91C4267D9790}"/>
              </a:ext>
            </a:extLst>
          </p:cNvPr>
          <p:cNvSpPr txBox="1"/>
          <p:nvPr/>
        </p:nvSpPr>
        <p:spPr>
          <a:xfrm>
            <a:off x="13529737" y="5648962"/>
            <a:ext cx="1022400" cy="400029"/>
          </a:xfrm>
          <a:prstGeom prst="rect">
            <a:avLst/>
          </a:prstGeom>
          <a:noFill/>
          <a:ln>
            <a:noFill/>
          </a:ln>
        </p:spPr>
        <p:txBody>
          <a:bodyPr spcFirstLastPara="1" wrap="square" lIns="182850" tIns="91400" rIns="182850" bIns="91400" anchor="t" anchorCtr="0">
            <a:spAutoFit/>
          </a:bodyPr>
          <a:lstStyle/>
          <a:p>
            <a:pPr algn="ctr" defTabSz="1828800"/>
            <a:r>
              <a:rPr lang="en-US" i="1" noProof="0">
                <a:latin typeface="Montserrat Medium"/>
                <a:ea typeface="Montserrat Medium"/>
                <a:cs typeface="Montserrat Medium"/>
                <a:sym typeface="Montserrat Medium"/>
              </a:rPr>
              <a:t>Agent</a:t>
            </a:r>
            <a:endParaRPr lang="en-US" sz="2800" i="1" noProof="0"/>
          </a:p>
        </p:txBody>
      </p:sp>
      <p:pic>
        <p:nvPicPr>
          <p:cNvPr id="1294" name="Google Shape;1294;p40">
            <a:extLst>
              <a:ext uri="{FF2B5EF4-FFF2-40B4-BE49-F238E27FC236}">
                <a16:creationId xmlns:a16="http://schemas.microsoft.com/office/drawing/2014/main" id="{9573CA15-34F6-A7C2-11ED-A86B83EE89F1}"/>
              </a:ext>
            </a:extLst>
          </p:cNvPr>
          <p:cNvPicPr preferRelativeResize="0"/>
          <p:nvPr/>
        </p:nvPicPr>
        <p:blipFill>
          <a:blip r:embed="rId8" cstate="email">
            <a:alphaModFix/>
            <a:extLst>
              <a:ext uri="{28A0092B-C50C-407E-A947-70E740481C1C}">
                <a14:useLocalDpi xmlns:a14="http://schemas.microsoft.com/office/drawing/2010/main"/>
              </a:ext>
            </a:extLst>
          </a:blip>
          <a:stretch>
            <a:fillRect/>
          </a:stretch>
        </p:blipFill>
        <p:spPr>
          <a:xfrm>
            <a:off x="13875642" y="5428332"/>
            <a:ext cx="330600" cy="330600"/>
          </a:xfrm>
          <a:prstGeom prst="rect">
            <a:avLst/>
          </a:prstGeom>
          <a:noFill/>
          <a:ln>
            <a:noFill/>
          </a:ln>
        </p:spPr>
      </p:pic>
      <p:pic>
        <p:nvPicPr>
          <p:cNvPr id="1295" name="Google Shape;1295;p40">
            <a:extLst>
              <a:ext uri="{FF2B5EF4-FFF2-40B4-BE49-F238E27FC236}">
                <a16:creationId xmlns:a16="http://schemas.microsoft.com/office/drawing/2014/main" id="{66BD5CA2-9FB3-0CE6-B10F-D6147578BD10}"/>
              </a:ext>
            </a:extLst>
          </p:cNvPr>
          <p:cNvPicPr preferRelativeResize="0"/>
          <p:nvPr/>
        </p:nvPicPr>
        <p:blipFill>
          <a:blip r:embed="rId9" cstate="email">
            <a:alphaModFix/>
            <a:extLst>
              <a:ext uri="{28A0092B-C50C-407E-A947-70E740481C1C}">
                <a14:useLocalDpi xmlns:a14="http://schemas.microsoft.com/office/drawing/2010/main"/>
              </a:ext>
            </a:extLst>
          </a:blip>
          <a:stretch>
            <a:fillRect/>
          </a:stretch>
        </p:blipFill>
        <p:spPr>
          <a:xfrm>
            <a:off x="12504292" y="4945776"/>
            <a:ext cx="330600" cy="330600"/>
          </a:xfrm>
          <a:prstGeom prst="rect">
            <a:avLst/>
          </a:prstGeom>
          <a:noFill/>
          <a:ln>
            <a:noFill/>
          </a:ln>
        </p:spPr>
      </p:pic>
      <p:cxnSp>
        <p:nvCxnSpPr>
          <p:cNvPr id="1296" name="Google Shape;1296;p40">
            <a:extLst>
              <a:ext uri="{FF2B5EF4-FFF2-40B4-BE49-F238E27FC236}">
                <a16:creationId xmlns:a16="http://schemas.microsoft.com/office/drawing/2014/main" id="{07F00E5D-70CC-2EFF-CB38-2C80F38CD8F6}"/>
              </a:ext>
            </a:extLst>
          </p:cNvPr>
          <p:cNvCxnSpPr/>
          <p:nvPr/>
        </p:nvCxnSpPr>
        <p:spPr>
          <a:xfrm rot="10800000" flipH="1">
            <a:off x="13151242" y="4975026"/>
            <a:ext cx="574200" cy="424200"/>
          </a:xfrm>
          <a:prstGeom prst="straightConnector1">
            <a:avLst/>
          </a:prstGeom>
          <a:noFill/>
          <a:ln w="9525" cap="flat" cmpd="sng">
            <a:solidFill>
              <a:srgbClr val="6800FF"/>
            </a:solidFill>
            <a:prstDash val="dot"/>
            <a:round/>
            <a:headEnd type="none" w="med" len="med"/>
            <a:tailEnd type="oval" w="med" len="med"/>
          </a:ln>
        </p:spPr>
      </p:cxnSp>
      <p:cxnSp>
        <p:nvCxnSpPr>
          <p:cNvPr id="1297" name="Google Shape;1297;p40">
            <a:extLst>
              <a:ext uri="{FF2B5EF4-FFF2-40B4-BE49-F238E27FC236}">
                <a16:creationId xmlns:a16="http://schemas.microsoft.com/office/drawing/2014/main" id="{292223A4-4B2E-1F2F-1C74-FF694464AF8E}"/>
              </a:ext>
            </a:extLst>
          </p:cNvPr>
          <p:cNvCxnSpPr/>
          <p:nvPr/>
        </p:nvCxnSpPr>
        <p:spPr>
          <a:xfrm>
            <a:off x="13151441" y="5399232"/>
            <a:ext cx="607200" cy="333000"/>
          </a:xfrm>
          <a:prstGeom prst="straightConnector1">
            <a:avLst/>
          </a:prstGeom>
          <a:noFill/>
          <a:ln w="9525" cap="flat" cmpd="sng">
            <a:solidFill>
              <a:srgbClr val="6800FF"/>
            </a:solidFill>
            <a:prstDash val="dot"/>
            <a:round/>
            <a:headEnd type="none" w="med" len="med"/>
            <a:tailEnd type="oval" w="med" len="med"/>
          </a:ln>
        </p:spPr>
      </p:cxnSp>
      <p:cxnSp>
        <p:nvCxnSpPr>
          <p:cNvPr id="1298" name="Google Shape;1298;p40">
            <a:extLst>
              <a:ext uri="{FF2B5EF4-FFF2-40B4-BE49-F238E27FC236}">
                <a16:creationId xmlns:a16="http://schemas.microsoft.com/office/drawing/2014/main" id="{4BFAF93E-A54B-4B5F-EDE6-D98E230A18B5}"/>
              </a:ext>
            </a:extLst>
          </p:cNvPr>
          <p:cNvCxnSpPr/>
          <p:nvPr/>
        </p:nvCxnSpPr>
        <p:spPr>
          <a:xfrm>
            <a:off x="14470192" y="4850526"/>
            <a:ext cx="573600" cy="0"/>
          </a:xfrm>
          <a:prstGeom prst="straightConnector1">
            <a:avLst/>
          </a:prstGeom>
          <a:noFill/>
          <a:ln w="9525" cap="flat" cmpd="sng">
            <a:solidFill>
              <a:srgbClr val="6800FF"/>
            </a:solidFill>
            <a:prstDash val="dot"/>
            <a:round/>
            <a:headEnd type="none" w="med" len="med"/>
            <a:tailEnd type="oval" w="med" len="med"/>
          </a:ln>
        </p:spPr>
      </p:cxnSp>
      <p:cxnSp>
        <p:nvCxnSpPr>
          <p:cNvPr id="1299" name="Google Shape;1299;p40">
            <a:extLst>
              <a:ext uri="{FF2B5EF4-FFF2-40B4-BE49-F238E27FC236}">
                <a16:creationId xmlns:a16="http://schemas.microsoft.com/office/drawing/2014/main" id="{FF9B9E4E-A2D2-57BC-92FA-117E9E410AD4}"/>
              </a:ext>
            </a:extLst>
          </p:cNvPr>
          <p:cNvCxnSpPr/>
          <p:nvPr/>
        </p:nvCxnSpPr>
        <p:spPr>
          <a:xfrm>
            <a:off x="14470192" y="5241576"/>
            <a:ext cx="573600" cy="0"/>
          </a:xfrm>
          <a:prstGeom prst="straightConnector1">
            <a:avLst/>
          </a:prstGeom>
          <a:noFill/>
          <a:ln w="9525" cap="flat" cmpd="sng">
            <a:solidFill>
              <a:srgbClr val="6800FF"/>
            </a:solidFill>
            <a:prstDash val="dot"/>
            <a:round/>
            <a:headEnd type="none" w="med" len="med"/>
            <a:tailEnd type="oval" w="med" len="med"/>
          </a:ln>
        </p:spPr>
      </p:cxnSp>
      <p:cxnSp>
        <p:nvCxnSpPr>
          <p:cNvPr id="1300" name="Google Shape;1300;p40">
            <a:extLst>
              <a:ext uri="{FF2B5EF4-FFF2-40B4-BE49-F238E27FC236}">
                <a16:creationId xmlns:a16="http://schemas.microsoft.com/office/drawing/2014/main" id="{84CD5D5A-7F83-A83E-7EA6-30F7B29EAF67}"/>
              </a:ext>
            </a:extLst>
          </p:cNvPr>
          <p:cNvCxnSpPr/>
          <p:nvPr/>
        </p:nvCxnSpPr>
        <p:spPr>
          <a:xfrm>
            <a:off x="14337937" y="5702415"/>
            <a:ext cx="662400" cy="11400"/>
          </a:xfrm>
          <a:prstGeom prst="straightConnector1">
            <a:avLst/>
          </a:prstGeom>
          <a:noFill/>
          <a:ln w="9525" cap="flat" cmpd="sng">
            <a:solidFill>
              <a:srgbClr val="6800FF"/>
            </a:solidFill>
            <a:prstDash val="dot"/>
            <a:round/>
            <a:headEnd type="none" w="med" len="med"/>
            <a:tailEnd type="oval" w="med" len="med"/>
          </a:ln>
        </p:spPr>
      </p:cxnSp>
      <p:cxnSp>
        <p:nvCxnSpPr>
          <p:cNvPr id="1301" name="Google Shape;1301;p40">
            <a:extLst>
              <a:ext uri="{FF2B5EF4-FFF2-40B4-BE49-F238E27FC236}">
                <a16:creationId xmlns:a16="http://schemas.microsoft.com/office/drawing/2014/main" id="{0A862FAE-A2B9-55AB-7BA5-1F73F7055440}"/>
              </a:ext>
            </a:extLst>
          </p:cNvPr>
          <p:cNvCxnSpPr/>
          <p:nvPr/>
        </p:nvCxnSpPr>
        <p:spPr>
          <a:xfrm rot="10800000" flipH="1">
            <a:off x="10453392" y="3708176"/>
            <a:ext cx="1072800" cy="528000"/>
          </a:xfrm>
          <a:prstGeom prst="straightConnector1">
            <a:avLst/>
          </a:prstGeom>
          <a:noFill/>
          <a:ln w="9525" cap="flat" cmpd="sng">
            <a:solidFill>
              <a:srgbClr val="FF2731"/>
            </a:solidFill>
            <a:prstDash val="solid"/>
            <a:round/>
            <a:headEnd type="oval" w="med" len="med"/>
            <a:tailEnd type="oval" w="med" len="med"/>
          </a:ln>
        </p:spPr>
      </p:cxnSp>
      <p:cxnSp>
        <p:nvCxnSpPr>
          <p:cNvPr id="1302" name="Google Shape;1302;p40">
            <a:extLst>
              <a:ext uri="{FF2B5EF4-FFF2-40B4-BE49-F238E27FC236}">
                <a16:creationId xmlns:a16="http://schemas.microsoft.com/office/drawing/2014/main" id="{1963AE83-4D88-BB3C-33D3-D31778A163EC}"/>
              </a:ext>
            </a:extLst>
          </p:cNvPr>
          <p:cNvCxnSpPr/>
          <p:nvPr/>
        </p:nvCxnSpPr>
        <p:spPr>
          <a:xfrm>
            <a:off x="10446142" y="5947026"/>
            <a:ext cx="1174800" cy="676800"/>
          </a:xfrm>
          <a:prstGeom prst="straightConnector1">
            <a:avLst/>
          </a:prstGeom>
          <a:noFill/>
          <a:ln w="9525" cap="flat" cmpd="sng">
            <a:solidFill>
              <a:srgbClr val="FF2731"/>
            </a:solidFill>
            <a:prstDash val="solid"/>
            <a:round/>
            <a:headEnd type="oval" w="med" len="med"/>
            <a:tailEnd type="oval" w="med" len="med"/>
          </a:ln>
        </p:spPr>
      </p:cxnSp>
      <p:cxnSp>
        <p:nvCxnSpPr>
          <p:cNvPr id="1303" name="Google Shape;1303;p40">
            <a:extLst>
              <a:ext uri="{FF2B5EF4-FFF2-40B4-BE49-F238E27FC236}">
                <a16:creationId xmlns:a16="http://schemas.microsoft.com/office/drawing/2014/main" id="{06CB67D1-8E55-11F0-95D9-C2C9E5488E4C}"/>
              </a:ext>
            </a:extLst>
          </p:cNvPr>
          <p:cNvCxnSpPr/>
          <p:nvPr/>
        </p:nvCxnSpPr>
        <p:spPr>
          <a:xfrm>
            <a:off x="10424342" y="5201376"/>
            <a:ext cx="1039200" cy="0"/>
          </a:xfrm>
          <a:prstGeom prst="straightConnector1">
            <a:avLst/>
          </a:prstGeom>
          <a:noFill/>
          <a:ln w="9525" cap="flat" cmpd="sng">
            <a:solidFill>
              <a:srgbClr val="FF2731"/>
            </a:solidFill>
            <a:prstDash val="solid"/>
            <a:round/>
            <a:headEnd type="oval" w="med" len="med"/>
            <a:tailEnd type="oval" w="med" len="med"/>
          </a:ln>
        </p:spPr>
      </p:cxnSp>
      <p:sp>
        <p:nvSpPr>
          <p:cNvPr id="1304" name="Google Shape;1304;p40">
            <a:extLst>
              <a:ext uri="{FF2B5EF4-FFF2-40B4-BE49-F238E27FC236}">
                <a16:creationId xmlns:a16="http://schemas.microsoft.com/office/drawing/2014/main" id="{BA898195-B19D-7078-D285-B17840CFB56B}"/>
              </a:ext>
            </a:extLst>
          </p:cNvPr>
          <p:cNvSpPr txBox="1"/>
          <p:nvPr/>
        </p:nvSpPr>
        <p:spPr>
          <a:xfrm>
            <a:off x="1232542" y="886879"/>
            <a:ext cx="10388400" cy="1027800"/>
          </a:xfrm>
          <a:prstGeom prst="rect">
            <a:avLst/>
          </a:prstGeom>
          <a:noFill/>
          <a:ln>
            <a:noFill/>
          </a:ln>
        </p:spPr>
        <p:txBody>
          <a:bodyPr spcFirstLastPara="1" wrap="square" lIns="182850" tIns="182850" rIns="182850" bIns="182850" anchor="t" anchorCtr="0">
            <a:noAutofit/>
          </a:bodyPr>
          <a:lstStyle/>
          <a:p>
            <a:pPr defTabSz="1828800">
              <a:buSzPts val="2000"/>
            </a:pPr>
            <a:r>
              <a:rPr lang="en-US" sz="4000" b="1" dirty="0">
                <a:solidFill>
                  <a:srgbClr val="222222"/>
                </a:solidFill>
                <a:latin typeface="Montserrat"/>
                <a:sym typeface="Montserrat"/>
              </a:rPr>
              <a:t>What is </a:t>
            </a:r>
            <a:r>
              <a:rPr lang="en-US" sz="4000" b="1" i="1" dirty="0">
                <a:solidFill>
                  <a:srgbClr val="6816FF"/>
                </a:solidFill>
                <a:latin typeface="Montserrat"/>
                <a:ea typeface="Montserrat"/>
                <a:sym typeface="Montserrat"/>
              </a:rPr>
              <a:t>Bring</a:t>
            </a:r>
            <a:r>
              <a:rPr lang="en-US" sz="4000" b="1" i="1" dirty="0">
                <a:solidFill>
                  <a:srgbClr val="6816FF"/>
                </a:solidFill>
                <a:latin typeface="Montserrat"/>
                <a:ea typeface="Montserrat"/>
                <a:cs typeface="Montserrat"/>
                <a:sym typeface="Montserrat"/>
              </a:rPr>
              <a:t> to</a:t>
            </a:r>
            <a:r>
              <a:rPr lang="en-US" sz="4000" b="1" i="1" noProof="0" dirty="0">
                <a:solidFill>
                  <a:srgbClr val="6816FF"/>
                </a:solidFill>
                <a:latin typeface="Montserrat"/>
                <a:ea typeface="Montserrat"/>
                <a:cs typeface="Montserrat"/>
                <a:sym typeface="Montserrat"/>
              </a:rPr>
              <a:t>?</a:t>
            </a:r>
            <a:endParaRPr lang="en-US" sz="4000" b="1" i="1" noProof="0" dirty="0">
              <a:solidFill>
                <a:srgbClr val="6816FF"/>
              </a:solidFill>
              <a:latin typeface="Montserrat"/>
              <a:ea typeface="Montserrat"/>
              <a:cs typeface="Montserrat"/>
            </a:endParaRPr>
          </a:p>
        </p:txBody>
      </p:sp>
      <p:sp>
        <p:nvSpPr>
          <p:cNvPr id="1305" name="Google Shape;1305;p40">
            <a:extLst>
              <a:ext uri="{FF2B5EF4-FFF2-40B4-BE49-F238E27FC236}">
                <a16:creationId xmlns:a16="http://schemas.microsoft.com/office/drawing/2014/main" id="{CA5550D0-51CE-F9CF-5D86-C2901C83C692}"/>
              </a:ext>
            </a:extLst>
          </p:cNvPr>
          <p:cNvSpPr txBox="1"/>
          <p:nvPr/>
        </p:nvSpPr>
        <p:spPr>
          <a:xfrm>
            <a:off x="1522794" y="8746527"/>
            <a:ext cx="15277913" cy="400069"/>
          </a:xfrm>
          <a:prstGeom prst="rect">
            <a:avLst/>
          </a:prstGeom>
          <a:noFill/>
          <a:ln>
            <a:noFill/>
          </a:ln>
        </p:spPr>
        <p:txBody>
          <a:bodyPr spcFirstLastPara="1" wrap="square" lIns="91450" tIns="45700" rIns="91450" bIns="45700" anchor="t" anchorCtr="0">
            <a:spAutoFit/>
          </a:bodyPr>
          <a:lstStyle/>
          <a:p>
            <a:pPr defTabSz="1828800"/>
            <a:r>
              <a:rPr lang="en-US" sz="2000" b="1" i="1" noProof="0">
                <a:solidFill>
                  <a:srgbClr val="FFFFFF"/>
                </a:solidFill>
                <a:highlight>
                  <a:srgbClr val="6800FF"/>
                </a:highlight>
                <a:latin typeface="Montserrat"/>
                <a:ea typeface="Montserrat"/>
                <a:cs typeface="Montserrat"/>
                <a:sym typeface="Montserrat"/>
              </a:rPr>
              <a:t>Are you able to change your systems or do want to leverage the skills and know-how on the way people work?</a:t>
            </a:r>
            <a:endParaRPr lang="en-US" sz="2000" b="1" i="1" noProof="0">
              <a:solidFill>
                <a:srgbClr val="FFFFFF"/>
              </a:solidFill>
              <a:highlight>
                <a:srgbClr val="6800FF"/>
              </a:highlight>
            </a:endParaRPr>
          </a:p>
        </p:txBody>
      </p:sp>
      <p:sp>
        <p:nvSpPr>
          <p:cNvPr id="3" name="Google Shape;1263;p40">
            <a:extLst>
              <a:ext uri="{FF2B5EF4-FFF2-40B4-BE49-F238E27FC236}">
                <a16:creationId xmlns:a16="http://schemas.microsoft.com/office/drawing/2014/main" id="{9826FFC8-2E03-AD68-C63B-06065AB6A874}"/>
              </a:ext>
            </a:extLst>
          </p:cNvPr>
          <p:cNvSpPr/>
          <p:nvPr/>
        </p:nvSpPr>
        <p:spPr>
          <a:xfrm>
            <a:off x="4813850" y="5153234"/>
            <a:ext cx="722400" cy="216600"/>
          </a:xfrm>
          <a:prstGeom prst="leftRightArrow">
            <a:avLst>
              <a:gd name="adj1" fmla="val 38064"/>
              <a:gd name="adj2" fmla="val 49069"/>
            </a:avLst>
          </a:prstGeom>
          <a:solidFill>
            <a:srgbClr val="6800FF"/>
          </a:solidFill>
          <a:ln>
            <a:noFill/>
          </a:ln>
        </p:spPr>
        <p:txBody>
          <a:bodyPr spcFirstLastPara="1" wrap="square" lIns="182850" tIns="91400" rIns="182850" bIns="91400" anchor="ctr" anchorCtr="0">
            <a:noAutofit/>
          </a:bodyPr>
          <a:lstStyle/>
          <a:p>
            <a:pPr algn="ctr" defTabSz="1828800"/>
            <a:endParaRPr lang="en-US" sz="3600" noProof="0">
              <a:solidFill>
                <a:srgbClr val="FFFFFF"/>
              </a:solidFill>
              <a:latin typeface="Calibri"/>
              <a:ea typeface="Calibri"/>
              <a:cs typeface="Calibri"/>
              <a:sym typeface="Calibri"/>
            </a:endParaRPr>
          </a:p>
        </p:txBody>
      </p:sp>
      <p:grpSp>
        <p:nvGrpSpPr>
          <p:cNvPr id="5" name="Group 7">
            <a:extLst>
              <a:ext uri="{FF2B5EF4-FFF2-40B4-BE49-F238E27FC236}">
                <a16:creationId xmlns:a16="http://schemas.microsoft.com/office/drawing/2014/main" id="{ED864D12-728E-4B8C-CEFB-110FA96EDA05}"/>
              </a:ext>
            </a:extLst>
          </p:cNvPr>
          <p:cNvGrpSpPr/>
          <p:nvPr/>
        </p:nvGrpSpPr>
        <p:grpSpPr>
          <a:xfrm>
            <a:off x="5984710" y="1505552"/>
            <a:ext cx="612363" cy="56823"/>
            <a:chOff x="0" y="0"/>
            <a:chExt cx="1078484" cy="100076"/>
          </a:xfrm>
        </p:grpSpPr>
        <p:sp>
          <p:nvSpPr>
            <p:cNvPr id="4" name="Freeform 8">
              <a:extLst>
                <a:ext uri="{FF2B5EF4-FFF2-40B4-BE49-F238E27FC236}">
                  <a16:creationId xmlns:a16="http://schemas.microsoft.com/office/drawing/2014/main" id="{AE6B4FB2-6686-5B7C-8844-EBD07FC3CD83}"/>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spTree>
    <p:extLst>
      <p:ext uri="{BB962C8B-B14F-4D97-AF65-F5344CB8AC3E}">
        <p14:creationId xmlns:p14="http://schemas.microsoft.com/office/powerpoint/2010/main" val="23944498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2">
            <a:extLst>
              <a:ext uri="{FF2B5EF4-FFF2-40B4-BE49-F238E27FC236}">
                <a16:creationId xmlns:a16="http://schemas.microsoft.com/office/drawing/2014/main" id="{66121158-07B3-1694-47A2-841173DC696F}"/>
              </a:ext>
            </a:extLst>
          </p:cNvPr>
          <p:cNvSpPr/>
          <p:nvPr/>
        </p:nvSpPr>
        <p:spPr>
          <a:xfrm rot="5400000">
            <a:off x="6527886" y="1025783"/>
            <a:ext cx="10287000" cy="8235437"/>
          </a:xfrm>
          <a:custGeom>
            <a:avLst/>
            <a:gdLst/>
            <a:ahLst/>
            <a:cxnLst/>
            <a:rect l="l" t="t" r="r" b="b"/>
            <a:pathLst>
              <a:path w="10287000" h="9506921">
                <a:moveTo>
                  <a:pt x="0" y="0"/>
                </a:moveTo>
                <a:lnTo>
                  <a:pt x="10287000" y="0"/>
                </a:lnTo>
                <a:lnTo>
                  <a:pt x="10287000" y="9506922"/>
                </a:lnTo>
                <a:lnTo>
                  <a:pt x="0" y="9506922"/>
                </a:lnTo>
                <a:lnTo>
                  <a:pt x="0" y="0"/>
                </a:lnTo>
                <a:close/>
              </a:path>
            </a:pathLst>
          </a:custGeom>
          <a:blipFill>
            <a:blip r:embed="rId2" cstate="email">
              <a:extLst>
                <a:ext uri="{28A0092B-C50C-407E-A947-70E740481C1C}">
                  <a14:useLocalDpi xmlns:a14="http://schemas.microsoft.com/office/drawing/2010/main"/>
                </a:ext>
              </a:extLst>
            </a:blip>
            <a:stretch>
              <a:fillRect/>
            </a:stretch>
          </a:blipFill>
        </p:spPr>
        <p:txBody>
          <a:bodyPr/>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
        <p:nvSpPr>
          <p:cNvPr id="3" name="TextBox 21">
            <a:extLst>
              <a:ext uri="{FF2B5EF4-FFF2-40B4-BE49-F238E27FC236}">
                <a16:creationId xmlns:a16="http://schemas.microsoft.com/office/drawing/2014/main" id="{83B67735-EE20-813E-196D-9FFC357736B6}"/>
              </a:ext>
            </a:extLst>
          </p:cNvPr>
          <p:cNvSpPr txBox="1"/>
          <p:nvPr/>
        </p:nvSpPr>
        <p:spPr>
          <a:xfrm>
            <a:off x="661647" y="5368493"/>
            <a:ext cx="6515094" cy="1332929"/>
          </a:xfrm>
          <a:prstGeom prst="rect">
            <a:avLst/>
          </a:prstGeom>
        </p:spPr>
        <p:txBody>
          <a:bodyPr wrap="square" lIns="0" tIns="0" rIns="0" bIns="0" rtlCol="0" anchor="t">
            <a:spAutoFit/>
          </a:bodyPr>
          <a:lstStyle/>
          <a:p>
            <a:pPr>
              <a:lnSpc>
                <a:spcPct val="150000"/>
              </a:lnSpc>
            </a:pPr>
            <a:r>
              <a:rPr lang="en-US" sz="2000" noProof="0">
                <a:solidFill>
                  <a:srgbClr val="000000"/>
                </a:solidFill>
                <a:latin typeface="Montserrat"/>
                <a:ea typeface="+mn-lt"/>
                <a:cs typeface="+mn-lt"/>
              </a:rPr>
              <a:t>Bringing your expertise to help accelerate your digital transformation and software development through </a:t>
            </a:r>
            <a:r>
              <a:rPr lang="en-US" sz="2000" b="1" noProof="0">
                <a:solidFill>
                  <a:schemeClr val="tx1"/>
                </a:solidFill>
                <a:highlight>
                  <a:srgbClr val="6800FF"/>
                </a:highlight>
                <a:latin typeface="Montserrat"/>
                <a:ea typeface="+mn-lt"/>
                <a:cs typeface="+mn-lt"/>
              </a:rPr>
              <a:t>OUTSYSTEM Low Code Platform</a:t>
            </a:r>
            <a:endParaRPr lang="en-US" sz="2000" b="1" noProof="0">
              <a:solidFill>
                <a:schemeClr val="tx1"/>
              </a:solidFill>
              <a:highlight>
                <a:srgbClr val="6800FF"/>
              </a:highlight>
              <a:latin typeface="Montserrat"/>
            </a:endParaRPr>
          </a:p>
        </p:txBody>
      </p:sp>
      <p:sp>
        <p:nvSpPr>
          <p:cNvPr id="5" name="TextBox 21">
            <a:extLst>
              <a:ext uri="{FF2B5EF4-FFF2-40B4-BE49-F238E27FC236}">
                <a16:creationId xmlns:a16="http://schemas.microsoft.com/office/drawing/2014/main" id="{12B71810-4471-208D-C5F0-949448AB3F2B}"/>
              </a:ext>
            </a:extLst>
          </p:cNvPr>
          <p:cNvSpPr txBox="1"/>
          <p:nvPr/>
        </p:nvSpPr>
        <p:spPr>
          <a:xfrm>
            <a:off x="661647" y="2939119"/>
            <a:ext cx="6466114" cy="2077492"/>
          </a:xfrm>
          <a:prstGeom prst="rect">
            <a:avLst/>
          </a:prstGeom>
        </p:spPr>
        <p:txBody>
          <a:bodyPr wrap="square" lIns="0" tIns="0" rIns="0" bIns="0" rtlCol="0" anchor="t">
            <a:spAutoFit/>
          </a:bodyPr>
          <a:lstStyle/>
          <a:p>
            <a:pPr>
              <a:lnSpc>
                <a:spcPts val="5400"/>
              </a:lnSpc>
              <a:spcAft>
                <a:spcPts val="1200"/>
              </a:spcAft>
            </a:pPr>
            <a:r>
              <a:rPr lang="en-US" sz="4800" b="1" noProof="0">
                <a:solidFill>
                  <a:srgbClr val="6800FF"/>
                </a:solidFill>
                <a:latin typeface="Montserrat Bold"/>
              </a:rPr>
              <a:t>Qintess helps you overcome these challenges!</a:t>
            </a:r>
            <a:endParaRPr lang="en-US" noProof="0"/>
          </a:p>
        </p:txBody>
      </p:sp>
      <p:sp>
        <p:nvSpPr>
          <p:cNvPr id="44" name="TextBox 22">
            <a:extLst>
              <a:ext uri="{FF2B5EF4-FFF2-40B4-BE49-F238E27FC236}">
                <a16:creationId xmlns:a16="http://schemas.microsoft.com/office/drawing/2014/main" id="{E9C8149F-3990-94E6-1663-A236F34C70EB}"/>
              </a:ext>
            </a:extLst>
          </p:cNvPr>
          <p:cNvSpPr txBox="1"/>
          <p:nvPr/>
        </p:nvSpPr>
        <p:spPr>
          <a:xfrm>
            <a:off x="8991172" y="2946237"/>
            <a:ext cx="8409214" cy="1072088"/>
          </a:xfrm>
          <a:prstGeom prst="rect">
            <a:avLst/>
          </a:prstGeom>
        </p:spPr>
        <p:txBody>
          <a:bodyPr wrap="square" lIns="0" tIns="0" rIns="0" bIns="0" rtlCol="0" anchor="t">
            <a:spAutoFit/>
          </a:bodyPr>
          <a:lstStyle/>
          <a:p>
            <a:pPr marL="457200" indent="-457200">
              <a:lnSpc>
                <a:spcPts val="3919"/>
              </a:lnSpc>
              <a:spcAft>
                <a:spcPts val="200"/>
              </a:spcAft>
              <a:buClr>
                <a:srgbClr val="5C00D6"/>
              </a:buClr>
              <a:buSzPct val="90000"/>
              <a:buFont typeface="Wingdings" panose="05000000000000000000" pitchFamily="2" charset="2"/>
              <a:buChar char="l"/>
            </a:pPr>
            <a:r>
              <a:rPr lang="en-US" sz="2800" b="1" noProof="0">
                <a:solidFill>
                  <a:schemeClr val="bg1"/>
                </a:solidFill>
                <a:latin typeface="Montserrat"/>
                <a:ea typeface="+mn-lt"/>
                <a:cs typeface="Arial"/>
              </a:rPr>
              <a:t>Increase ROI and reduce time</a:t>
            </a:r>
          </a:p>
          <a:p>
            <a:pPr marL="457200" indent="-457200">
              <a:lnSpc>
                <a:spcPts val="2200"/>
              </a:lnSpc>
              <a:spcAft>
                <a:spcPts val="4800"/>
              </a:spcAft>
              <a:buClr>
                <a:srgbClr val="5C00D6"/>
              </a:buClr>
              <a:buSzPct val="90000"/>
              <a:buFont typeface="Webdings" panose="05030102010509060703" pitchFamily="18" charset="2"/>
              <a:buChar char=" "/>
            </a:pPr>
            <a:r>
              <a:rPr lang="en-US" sz="1800" noProof="0">
                <a:solidFill>
                  <a:schemeClr val="bg1"/>
                </a:solidFill>
                <a:latin typeface="Montserrat"/>
                <a:ea typeface="+mn-lt"/>
                <a:cs typeface="Arial"/>
              </a:rPr>
              <a:t>You can go from an average of 6 months to 4 weeks, launching products faster and gaining users first</a:t>
            </a:r>
            <a:endParaRPr lang="en-US" sz="1800" noProof="0">
              <a:solidFill>
                <a:schemeClr val="bg1"/>
              </a:solidFill>
              <a:latin typeface="Montserrat" pitchFamily="2" charset="0"/>
            </a:endParaRPr>
          </a:p>
        </p:txBody>
      </p:sp>
      <p:sp>
        <p:nvSpPr>
          <p:cNvPr id="56" name="TextBox 22">
            <a:extLst>
              <a:ext uri="{FF2B5EF4-FFF2-40B4-BE49-F238E27FC236}">
                <a16:creationId xmlns:a16="http://schemas.microsoft.com/office/drawing/2014/main" id="{6050FE96-416D-6BA7-C4D7-057B0ED9BDF5}"/>
              </a:ext>
            </a:extLst>
          </p:cNvPr>
          <p:cNvSpPr txBox="1"/>
          <p:nvPr/>
        </p:nvSpPr>
        <p:spPr>
          <a:xfrm>
            <a:off x="8991172" y="4703994"/>
            <a:ext cx="8409214" cy="1570302"/>
          </a:xfrm>
          <a:prstGeom prst="rect">
            <a:avLst/>
          </a:prstGeom>
        </p:spPr>
        <p:txBody>
          <a:bodyPr wrap="square" lIns="0" tIns="0" rIns="0" bIns="0" rtlCol="0" anchor="t">
            <a:spAutoFit/>
          </a:bodyPr>
          <a:lstStyle/>
          <a:p>
            <a:pPr marL="457200" indent="-457200">
              <a:lnSpc>
                <a:spcPts val="3919"/>
              </a:lnSpc>
              <a:spcAft>
                <a:spcPts val="200"/>
              </a:spcAft>
              <a:buClr>
                <a:srgbClr val="5C00D6"/>
              </a:buClr>
              <a:buSzPct val="90000"/>
              <a:buFont typeface="Wingdings" panose="05000000000000000000" pitchFamily="2" charset="2"/>
              <a:buChar char="l"/>
            </a:pPr>
            <a:r>
              <a:rPr lang="en-US" sz="2800" b="1" noProof="0">
                <a:solidFill>
                  <a:schemeClr val="bg1"/>
                </a:solidFill>
                <a:latin typeface="Montserrat"/>
                <a:ea typeface="+mn-lt"/>
                <a:cs typeface="Arial"/>
              </a:rPr>
              <a:t>Simplify testing, piloting and modifications</a:t>
            </a:r>
          </a:p>
          <a:p>
            <a:pPr marL="457200" indent="-457200">
              <a:lnSpc>
                <a:spcPts val="2200"/>
              </a:lnSpc>
              <a:spcAft>
                <a:spcPts val="4800"/>
              </a:spcAft>
              <a:buClr>
                <a:srgbClr val="5C00D6"/>
              </a:buClr>
              <a:buSzPct val="90000"/>
              <a:buFont typeface="Webdings" panose="05030102010509060703" pitchFamily="18" charset="2"/>
              <a:buChar char=" "/>
            </a:pPr>
            <a:r>
              <a:rPr lang="en-US" sz="1800" noProof="0">
                <a:solidFill>
                  <a:schemeClr val="bg1"/>
                </a:solidFill>
                <a:latin typeface="Montserrat"/>
                <a:ea typeface="+mn-lt"/>
                <a:cs typeface="Arial"/>
              </a:rPr>
              <a:t>You can more easily align with customer needs and implement changes faster</a:t>
            </a:r>
            <a:endParaRPr lang="en-US" sz="1800" noProof="0">
              <a:solidFill>
                <a:schemeClr val="bg1"/>
              </a:solidFill>
              <a:latin typeface="Montserrat" pitchFamily="2" charset="0"/>
            </a:endParaRPr>
          </a:p>
        </p:txBody>
      </p:sp>
      <p:sp>
        <p:nvSpPr>
          <p:cNvPr id="57" name="TextBox 22">
            <a:extLst>
              <a:ext uri="{FF2B5EF4-FFF2-40B4-BE49-F238E27FC236}">
                <a16:creationId xmlns:a16="http://schemas.microsoft.com/office/drawing/2014/main" id="{0B531E87-68EC-D135-8259-BF3181084CC9}"/>
              </a:ext>
            </a:extLst>
          </p:cNvPr>
          <p:cNvSpPr txBox="1"/>
          <p:nvPr/>
        </p:nvSpPr>
        <p:spPr>
          <a:xfrm>
            <a:off x="8991172" y="6308172"/>
            <a:ext cx="8409214" cy="789960"/>
          </a:xfrm>
          <a:prstGeom prst="rect">
            <a:avLst/>
          </a:prstGeom>
        </p:spPr>
        <p:txBody>
          <a:bodyPr wrap="square" lIns="0" tIns="0" rIns="0" bIns="0" rtlCol="0" anchor="t">
            <a:spAutoFit/>
          </a:bodyPr>
          <a:lstStyle/>
          <a:p>
            <a:pPr marL="457200" indent="-457200">
              <a:lnSpc>
                <a:spcPts val="3919"/>
              </a:lnSpc>
              <a:spcAft>
                <a:spcPts val="200"/>
              </a:spcAft>
              <a:buClr>
                <a:srgbClr val="5C00D6"/>
              </a:buClr>
              <a:buSzPct val="90000"/>
              <a:buFont typeface="Wingdings" panose="05000000000000000000" pitchFamily="2" charset="2"/>
              <a:buChar char="l"/>
            </a:pPr>
            <a:r>
              <a:rPr lang="en-US" sz="2800" b="1" noProof="0">
                <a:solidFill>
                  <a:schemeClr val="bg1"/>
                </a:solidFill>
                <a:latin typeface="Montserrat"/>
                <a:ea typeface="+mn-lt"/>
                <a:cs typeface="Arial"/>
              </a:rPr>
              <a:t>Democratize your knowledge</a:t>
            </a:r>
          </a:p>
          <a:p>
            <a:pPr marL="457200" indent="-457200">
              <a:lnSpc>
                <a:spcPts val="2200"/>
              </a:lnSpc>
              <a:spcAft>
                <a:spcPts val="4800"/>
              </a:spcAft>
              <a:buClr>
                <a:srgbClr val="5C00D6"/>
              </a:buClr>
              <a:buSzPct val="90000"/>
              <a:buFont typeface="Webdings" panose="05030102010509060703" pitchFamily="18" charset="2"/>
              <a:buChar char=" "/>
            </a:pPr>
            <a:r>
              <a:rPr lang="en-US" sz="1800" noProof="0">
                <a:solidFill>
                  <a:schemeClr val="bg1"/>
                </a:solidFill>
                <a:latin typeface="Montserrat"/>
                <a:ea typeface="+mn-lt"/>
                <a:cs typeface="Arial"/>
              </a:rPr>
              <a:t>Everyone can participate and work with the tool.  </a:t>
            </a:r>
            <a:endParaRPr lang="en-US" sz="1800" noProof="0">
              <a:solidFill>
                <a:schemeClr val="bg1"/>
              </a:solidFill>
              <a:latin typeface="Montserrat" pitchFamily="2" charset="0"/>
            </a:endParaRPr>
          </a:p>
        </p:txBody>
      </p:sp>
      <p:sp>
        <p:nvSpPr>
          <p:cNvPr id="58" name="TextBox 22">
            <a:extLst>
              <a:ext uri="{FF2B5EF4-FFF2-40B4-BE49-F238E27FC236}">
                <a16:creationId xmlns:a16="http://schemas.microsoft.com/office/drawing/2014/main" id="{759877CD-5278-5CF9-96A3-52D533E305E0}"/>
              </a:ext>
            </a:extLst>
          </p:cNvPr>
          <p:cNvSpPr txBox="1"/>
          <p:nvPr/>
        </p:nvSpPr>
        <p:spPr>
          <a:xfrm>
            <a:off x="8991172" y="7783800"/>
            <a:ext cx="8409214" cy="1072088"/>
          </a:xfrm>
          <a:prstGeom prst="rect">
            <a:avLst/>
          </a:prstGeom>
        </p:spPr>
        <p:txBody>
          <a:bodyPr wrap="square" lIns="0" tIns="0" rIns="0" bIns="0" rtlCol="0" anchor="t">
            <a:spAutoFit/>
          </a:bodyPr>
          <a:lstStyle/>
          <a:p>
            <a:pPr marL="457200" indent="-457200">
              <a:lnSpc>
                <a:spcPts val="3919"/>
              </a:lnSpc>
              <a:spcAft>
                <a:spcPts val="200"/>
              </a:spcAft>
              <a:buClr>
                <a:srgbClr val="5C00D6"/>
              </a:buClr>
              <a:buSzPct val="90000"/>
              <a:buFont typeface="Wingdings" panose="05000000000000000000" pitchFamily="2" charset="2"/>
              <a:buChar char="l"/>
            </a:pPr>
            <a:r>
              <a:rPr lang="en-US" sz="2800" b="1" noProof="0">
                <a:solidFill>
                  <a:srgbClr val="000000"/>
                </a:solidFill>
                <a:latin typeface="Montserrat"/>
              </a:rPr>
              <a:t>Innovate in one click</a:t>
            </a:r>
            <a:endParaRPr lang="en-US" sz="2800" b="1" noProof="0">
              <a:solidFill>
                <a:schemeClr val="bg1"/>
              </a:solidFill>
              <a:latin typeface="Montserrat"/>
              <a:ea typeface="+mn-lt"/>
              <a:cs typeface="Arial"/>
            </a:endParaRPr>
          </a:p>
          <a:p>
            <a:pPr marL="457200" indent="-457200">
              <a:lnSpc>
                <a:spcPts val="2200"/>
              </a:lnSpc>
              <a:spcAft>
                <a:spcPts val="4800"/>
              </a:spcAft>
              <a:buClr>
                <a:srgbClr val="5C00D6"/>
              </a:buClr>
              <a:buSzPct val="90000"/>
              <a:buFont typeface="Webdings" panose="05030102010509060703" pitchFamily="18" charset="2"/>
              <a:buChar char=" "/>
            </a:pPr>
            <a:r>
              <a:rPr lang="en-US" sz="1800" noProof="0">
                <a:solidFill>
                  <a:schemeClr val="bg1"/>
                </a:solidFill>
                <a:latin typeface="Montserrat"/>
                <a:ea typeface="+mn-lt"/>
                <a:cs typeface="Arial"/>
              </a:rPr>
              <a:t>You can connect any new asset, with 6,000+ available assets, 715+ resources, AI integration and impact analysis</a:t>
            </a:r>
            <a:endParaRPr lang="en-US" sz="1800" noProof="0">
              <a:solidFill>
                <a:schemeClr val="bg1"/>
              </a:solidFill>
              <a:latin typeface="Montserrat" pitchFamily="2" charset="0"/>
            </a:endParaRPr>
          </a:p>
        </p:txBody>
      </p:sp>
      <p:sp>
        <p:nvSpPr>
          <p:cNvPr id="59" name="TextBox 22">
            <a:extLst>
              <a:ext uri="{FF2B5EF4-FFF2-40B4-BE49-F238E27FC236}">
                <a16:creationId xmlns:a16="http://schemas.microsoft.com/office/drawing/2014/main" id="{F029ED3D-4DB5-CF44-E508-7CC54BB76DE6}"/>
              </a:ext>
            </a:extLst>
          </p:cNvPr>
          <p:cNvSpPr txBox="1"/>
          <p:nvPr/>
        </p:nvSpPr>
        <p:spPr>
          <a:xfrm>
            <a:off x="8991172" y="1188480"/>
            <a:ext cx="8409214" cy="1072088"/>
          </a:xfrm>
          <a:prstGeom prst="rect">
            <a:avLst/>
          </a:prstGeom>
        </p:spPr>
        <p:txBody>
          <a:bodyPr wrap="square" lIns="0" tIns="0" rIns="0" bIns="0" rtlCol="0" anchor="t">
            <a:spAutoFit/>
          </a:bodyPr>
          <a:lstStyle/>
          <a:p>
            <a:pPr marL="457200" indent="-457200">
              <a:lnSpc>
                <a:spcPts val="3919"/>
              </a:lnSpc>
              <a:spcAft>
                <a:spcPts val="200"/>
              </a:spcAft>
              <a:buClr>
                <a:srgbClr val="5C00D6"/>
              </a:buClr>
              <a:buSzPct val="90000"/>
              <a:buFont typeface="Wingdings" panose="05000000000000000000" pitchFamily="2" charset="2"/>
              <a:buChar char="l"/>
            </a:pPr>
            <a:r>
              <a:rPr lang="en-US" sz="2800" b="1" noProof="0">
                <a:solidFill>
                  <a:schemeClr val="bg1"/>
                </a:solidFill>
                <a:latin typeface="Montserrat"/>
                <a:ea typeface="+mn-lt"/>
                <a:cs typeface="Arial"/>
              </a:rPr>
              <a:t>Focus on your business</a:t>
            </a:r>
          </a:p>
          <a:p>
            <a:pPr marL="457200" indent="-457200">
              <a:lnSpc>
                <a:spcPts val="2200"/>
              </a:lnSpc>
              <a:spcAft>
                <a:spcPts val="4800"/>
              </a:spcAft>
              <a:buClr>
                <a:srgbClr val="5C00D6"/>
              </a:buClr>
              <a:buSzPct val="90000"/>
              <a:buFont typeface="Webdings" panose="05030102010509060703" pitchFamily="18" charset="2"/>
              <a:buChar char=" "/>
            </a:pPr>
            <a:r>
              <a:rPr lang="en-US" sz="1800" noProof="0">
                <a:solidFill>
                  <a:schemeClr val="bg1"/>
                </a:solidFill>
                <a:latin typeface="Montserrat"/>
                <a:ea typeface="+mn-lt"/>
                <a:cs typeface="Arial"/>
              </a:rPr>
              <a:t>Spend more time thinking about how to create value for your customer instead of developing an app</a:t>
            </a:r>
            <a:endParaRPr lang="en-US" sz="1800" noProof="0">
              <a:solidFill>
                <a:schemeClr val="bg1"/>
              </a:solidFill>
              <a:latin typeface="Montserrat" pitchFamily="2" charset="0"/>
            </a:endParaRPr>
          </a:p>
        </p:txBody>
      </p:sp>
    </p:spTree>
    <p:extLst>
      <p:ext uri="{BB962C8B-B14F-4D97-AF65-F5344CB8AC3E}">
        <p14:creationId xmlns:p14="http://schemas.microsoft.com/office/powerpoint/2010/main" val="26793100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E83167-75CC-FC0A-D7CA-F9B3268A034F}"/>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0462160A-D120-3261-54DA-74E2020E8851}"/>
              </a:ext>
            </a:extLst>
          </p:cNvPr>
          <p:cNvSpPr>
            <a:spLocks noGrp="1"/>
          </p:cNvSpPr>
          <p:nvPr>
            <p:ph type="title"/>
          </p:nvPr>
        </p:nvSpPr>
        <p:spPr>
          <a:xfrm>
            <a:off x="1230100" y="4501712"/>
            <a:ext cx="6692400" cy="1472088"/>
          </a:xfrm>
        </p:spPr>
        <p:txBody>
          <a:bodyPr/>
          <a:lstStyle/>
          <a:p>
            <a:r>
              <a:rPr lang="en-US" noProof="0">
                <a:latin typeface="Montserrat Bold"/>
              </a:rPr>
              <a:t>REASON</a:t>
            </a:r>
            <a:br>
              <a:rPr lang="en-US" sz="5400" noProof="0"/>
            </a:br>
            <a:r>
              <a:rPr lang="en-US" sz="2400" noProof="0">
                <a:latin typeface="Montserrat Light"/>
              </a:rPr>
              <a:t>The AI you can Trust</a:t>
            </a:r>
          </a:p>
        </p:txBody>
      </p:sp>
      <p:sp>
        <p:nvSpPr>
          <p:cNvPr id="2" name="Retângulo: Cantos Arredondados 11">
            <a:extLst>
              <a:ext uri="{FF2B5EF4-FFF2-40B4-BE49-F238E27FC236}">
                <a16:creationId xmlns:a16="http://schemas.microsoft.com/office/drawing/2014/main" id="{B0381D22-FF48-6AEA-BA1E-F0AFF95BF6EC}"/>
              </a:ext>
            </a:extLst>
          </p:cNvPr>
          <p:cNvSpPr/>
          <p:nvPr/>
        </p:nvSpPr>
        <p:spPr>
          <a:xfrm>
            <a:off x="-1891866" y="7848179"/>
            <a:ext cx="6109697" cy="1385272"/>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ES" sz="3200" b="0" i="0" u="none" strike="noStrike" kern="1200" cap="none" spc="0" normalizeH="0" baseline="0" noProof="0">
                <a:ln>
                  <a:noFill/>
                </a:ln>
                <a:solidFill>
                  <a:srgbClr val="7D43FF"/>
                </a:solidFill>
                <a:effectLst/>
                <a:uLnTx/>
                <a:uFillTx/>
                <a:latin typeface="Montserrat" panose="00000500000000000000" pitchFamily="2" charset="0"/>
              </a:rPr>
              <a:t>           POWERED BY</a:t>
            </a:r>
          </a:p>
        </p:txBody>
      </p:sp>
      <p:pic>
        <p:nvPicPr>
          <p:cNvPr id="3" name="Picture 2" descr="A purple letter on a black background&#10;&#10;AI-generated content may be incorrect.">
            <a:extLst>
              <a:ext uri="{FF2B5EF4-FFF2-40B4-BE49-F238E27FC236}">
                <a16:creationId xmlns:a16="http://schemas.microsoft.com/office/drawing/2014/main" id="{3FF5AFF8-1567-6F0D-2965-6D564764CD04}"/>
              </a:ext>
            </a:extLst>
          </p:cNvPr>
          <p:cNvPicPr>
            <a:picLocks noChangeAspect="1"/>
          </p:cNvPicPr>
          <p:nvPr/>
        </p:nvPicPr>
        <p:blipFill>
          <a:blip r:embed="rId2"/>
          <a:stretch>
            <a:fillRect/>
          </a:stretch>
        </p:blipFill>
        <p:spPr>
          <a:xfrm>
            <a:off x="4667250" y="8265583"/>
            <a:ext cx="2857500" cy="762000"/>
          </a:xfrm>
          <a:prstGeom prst="rect">
            <a:avLst/>
          </a:prstGeom>
        </p:spPr>
      </p:pic>
    </p:spTree>
    <p:extLst>
      <p:ext uri="{BB962C8B-B14F-4D97-AF65-F5344CB8AC3E}">
        <p14:creationId xmlns:p14="http://schemas.microsoft.com/office/powerpoint/2010/main" val="15855077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DFDC94-3449-7D6B-D28F-4137120AFB9C}"/>
            </a:ext>
          </a:extLst>
        </p:cNvPr>
        <p:cNvGrpSpPr/>
        <p:nvPr/>
      </p:nvGrpSpPr>
      <p:grpSpPr>
        <a:xfrm>
          <a:off x="0" y="0"/>
          <a:ext cx="0" cy="0"/>
          <a:chOff x="0" y="0"/>
          <a:chExt cx="0" cy="0"/>
        </a:xfrm>
      </p:grpSpPr>
      <p:pic>
        <p:nvPicPr>
          <p:cNvPr id="16" name="Imagem 6" descr="Distrito de Strijp-S Eindhoven à noite">
            <a:extLst>
              <a:ext uri="{FF2B5EF4-FFF2-40B4-BE49-F238E27FC236}">
                <a16:creationId xmlns:a16="http://schemas.microsoft.com/office/drawing/2014/main" id="{FE25FA49-9A7E-E291-EAD1-C06267CFDC6F}"/>
              </a:ext>
            </a:extLst>
          </p:cNvPr>
          <p:cNvPicPr>
            <a:picLocks noChangeAspect="1"/>
          </p:cNvPicPr>
          <p:nvPr/>
        </p:nvPicPr>
        <p:blipFill>
          <a:blip r:embed="rId2">
            <a:alphaModFix amt="70000"/>
            <a:duotone>
              <a:schemeClr val="accent3">
                <a:shade val="45000"/>
                <a:satMod val="135000"/>
              </a:schemeClr>
              <a:prstClr val="white"/>
            </a:duotone>
            <a:extLst>
              <a:ext uri="{28A0092B-C50C-407E-A947-70E740481C1C}">
                <a14:useLocalDpi xmlns:a14="http://schemas.microsoft.com/office/drawing/2010/main" val="0"/>
              </a:ext>
            </a:extLst>
          </a:blip>
          <a:srcRect l="36945" r="22654"/>
          <a:stretch/>
        </p:blipFill>
        <p:spPr>
          <a:xfrm>
            <a:off x="1" y="-1"/>
            <a:ext cx="6043352" cy="10307177"/>
          </a:xfrm>
          <a:prstGeom prst="rect">
            <a:avLst/>
          </a:prstGeom>
        </p:spPr>
      </p:pic>
      <p:sp>
        <p:nvSpPr>
          <p:cNvPr id="14" name="CaixaDeTexto 12">
            <a:extLst>
              <a:ext uri="{FF2B5EF4-FFF2-40B4-BE49-F238E27FC236}">
                <a16:creationId xmlns:a16="http://schemas.microsoft.com/office/drawing/2014/main" id="{56455619-06CC-8FF4-8837-FC4E52285DD7}"/>
              </a:ext>
            </a:extLst>
          </p:cNvPr>
          <p:cNvSpPr txBox="1"/>
          <p:nvPr/>
        </p:nvSpPr>
        <p:spPr>
          <a:xfrm>
            <a:off x="8046308" y="4065065"/>
            <a:ext cx="8175353" cy="4870564"/>
          </a:xfrm>
          <a:prstGeom prst="rect">
            <a:avLst/>
          </a:prstGeom>
          <a:noFill/>
        </p:spPr>
        <p:txBody>
          <a:bodyPr wrap="square" lIns="91440" tIns="45720" rIns="91440" bIns="45720" anchor="t">
            <a:spAutoFit/>
          </a:bodyPr>
          <a:lstStyle/>
          <a:p>
            <a:pPr marL="213995" indent="-213995" defTabSz="685800">
              <a:spcBef>
                <a:spcPts val="900"/>
              </a:spcBef>
              <a:buClrTx/>
              <a:buFont typeface="Arial" panose="020B0604020202020204" pitchFamily="34" charset="0"/>
              <a:buChar char="•"/>
            </a:pPr>
            <a:r>
              <a:rPr lang="en-US" sz="2400" kern="1200" noProof="0">
                <a:solidFill>
                  <a:schemeClr val="bg1"/>
                </a:solidFill>
                <a:latin typeface="Montserrat"/>
                <a:ea typeface="+mn-ea"/>
                <a:cs typeface="+mn-cs"/>
              </a:rPr>
              <a:t>Over the past 2 years, business decisions have often been more complex, with many stakeholders and diverse scenarios</a:t>
            </a:r>
            <a:br>
              <a:rPr lang="en-US" sz="2400" kern="1200">
                <a:solidFill>
                  <a:schemeClr val="bg1"/>
                </a:solidFill>
                <a:latin typeface="Montserrat"/>
                <a:ea typeface="+mn-ea"/>
                <a:cs typeface="+mn-cs"/>
              </a:rPr>
            </a:br>
            <a:r>
              <a:rPr lang="en-US" sz="2400" kern="1200" noProof="0">
                <a:solidFill>
                  <a:schemeClr val="bg1"/>
                </a:solidFill>
                <a:latin typeface="Montserrat"/>
                <a:ea typeface="+mn-ea"/>
                <a:cs typeface="+mn-cs"/>
              </a:rPr>
              <a:t>
The large daily volume of strategic decisions and moves the "needle" of the business
American research shows that large-scale errors are occurring, representing large financial losses due to poor decision-making</a:t>
            </a:r>
            <a:br>
              <a:rPr lang="en-US" sz="2400" kern="1200">
                <a:solidFill>
                  <a:schemeClr val="bg1"/>
                </a:solidFill>
                <a:latin typeface="Montserrat"/>
                <a:ea typeface="+mn-ea"/>
                <a:cs typeface="+mn-cs"/>
              </a:rPr>
            </a:br>
            <a:r>
              <a:rPr lang="en-US" sz="2400" kern="1200" noProof="0">
                <a:solidFill>
                  <a:schemeClr val="bg1"/>
                </a:solidFill>
                <a:latin typeface="Montserrat"/>
                <a:ea typeface="+mn-ea"/>
                <a:cs typeface="+mn-cs"/>
              </a:rPr>
              <a:t>
Research shows that 75% of Global 500 companies will apply decision intelligence by 2026</a:t>
            </a:r>
            <a:endParaRPr lang="en-US">
              <a:solidFill>
                <a:schemeClr val="bg1"/>
              </a:solidFill>
              <a:latin typeface="Montserrat"/>
              <a:ea typeface="+mn-ea"/>
              <a:cs typeface="+mn-cs"/>
            </a:endParaRPr>
          </a:p>
        </p:txBody>
      </p:sp>
      <p:sp>
        <p:nvSpPr>
          <p:cNvPr id="15" name="CaixaDeTexto 3">
            <a:extLst>
              <a:ext uri="{FF2B5EF4-FFF2-40B4-BE49-F238E27FC236}">
                <a16:creationId xmlns:a16="http://schemas.microsoft.com/office/drawing/2014/main" id="{12092347-7ADD-C9BD-9F2B-77C5F051B710}"/>
              </a:ext>
            </a:extLst>
          </p:cNvPr>
          <p:cNvSpPr txBox="1"/>
          <p:nvPr/>
        </p:nvSpPr>
        <p:spPr>
          <a:xfrm>
            <a:off x="7639212" y="612264"/>
            <a:ext cx="8582449" cy="2877979"/>
          </a:xfrm>
          <a:prstGeom prst="rect">
            <a:avLst/>
          </a:prstGeom>
          <a:noFill/>
        </p:spPr>
        <p:txBody>
          <a:bodyPr wrap="square" rtlCol="0">
            <a:spAutoFit/>
          </a:bodyPr>
          <a:lstStyle/>
          <a:p>
            <a:r>
              <a:rPr lang="en-US" sz="3600" b="1" noProof="0">
                <a:solidFill>
                  <a:schemeClr val="bg1"/>
                </a:solidFill>
                <a:latin typeface="Montserrat" panose="00000500000000000000" pitchFamily="2" charset="0"/>
              </a:rPr>
              <a:t>In Gartner research, published in July 2024, it highlights the challenges in decision-making and the opportunity that organizations perceive in AI-assisted decisioning</a:t>
            </a:r>
          </a:p>
        </p:txBody>
      </p:sp>
      <p:sp>
        <p:nvSpPr>
          <p:cNvPr id="17" name="Retângulo 1">
            <a:extLst>
              <a:ext uri="{FF2B5EF4-FFF2-40B4-BE49-F238E27FC236}">
                <a16:creationId xmlns:a16="http://schemas.microsoft.com/office/drawing/2014/main" id="{E07D0600-9129-5ED3-0B7A-E6B75199B8D1}"/>
              </a:ext>
            </a:extLst>
          </p:cNvPr>
          <p:cNvSpPr/>
          <p:nvPr/>
        </p:nvSpPr>
        <p:spPr>
          <a:xfrm>
            <a:off x="517" y="-2"/>
            <a:ext cx="6043354" cy="5491127"/>
          </a:xfrm>
          <a:prstGeom prst="rect">
            <a:avLst/>
          </a:prstGeom>
          <a:solidFill>
            <a:srgbClr val="6816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4000" noProof="0">
              <a:solidFill>
                <a:schemeClr val="bg1"/>
              </a:solidFill>
            </a:endParaRPr>
          </a:p>
        </p:txBody>
      </p:sp>
      <p:pic>
        <p:nvPicPr>
          <p:cNvPr id="18" name="Picture 2" descr="Gartner Logo PNG Transparent &amp; SVG Vector - Freebie Supply">
            <a:extLst>
              <a:ext uri="{FF2B5EF4-FFF2-40B4-BE49-F238E27FC236}">
                <a16:creationId xmlns:a16="http://schemas.microsoft.com/office/drawing/2014/main" id="{3566D01E-2471-E6A1-D8C0-FC31D2C8FB0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7077" b="29846"/>
          <a:stretch/>
        </p:blipFill>
        <p:spPr bwMode="auto">
          <a:xfrm>
            <a:off x="627621" y="452110"/>
            <a:ext cx="2401314" cy="1034412"/>
          </a:xfrm>
          <a:prstGeom prst="rect">
            <a:avLst/>
          </a:prstGeom>
          <a:noFill/>
          <a:extLst>
            <a:ext uri="{909E8E84-426E-40DD-AFC4-6F175D3DCCD1}">
              <a14:hiddenFill xmlns:a14="http://schemas.microsoft.com/office/drawing/2010/main">
                <a:solidFill>
                  <a:srgbClr val="FFFFFF"/>
                </a:solidFill>
              </a14:hiddenFill>
            </a:ext>
          </a:extLst>
        </p:spPr>
      </p:pic>
      <p:sp>
        <p:nvSpPr>
          <p:cNvPr id="19" name="CaixaDeTexto 8">
            <a:extLst>
              <a:ext uri="{FF2B5EF4-FFF2-40B4-BE49-F238E27FC236}">
                <a16:creationId xmlns:a16="http://schemas.microsoft.com/office/drawing/2014/main" id="{B8850640-8137-84CF-C3A4-30C6E7BED26B}"/>
              </a:ext>
            </a:extLst>
          </p:cNvPr>
          <p:cNvSpPr txBox="1"/>
          <p:nvPr/>
        </p:nvSpPr>
        <p:spPr>
          <a:xfrm>
            <a:off x="574517" y="1674376"/>
            <a:ext cx="4645933" cy="3108543"/>
          </a:xfrm>
          <a:prstGeom prst="rect">
            <a:avLst/>
          </a:prstGeom>
          <a:noFill/>
        </p:spPr>
        <p:txBody>
          <a:bodyPr wrap="square">
            <a:spAutoFit/>
          </a:bodyPr>
          <a:lstStyle/>
          <a:p>
            <a:pPr defTabSz="685800">
              <a:buClrTx/>
            </a:pPr>
            <a:r>
              <a:rPr lang="en-US" sz="2800" b="1" kern="1200" noProof="0">
                <a:solidFill>
                  <a:srgbClr val="FFFFFF"/>
                </a:solidFill>
                <a:latin typeface="Montserrat" panose="00000500000000000000" pitchFamily="2" charset="0"/>
                <a:ea typeface="+mn-ea"/>
                <a:cs typeface="+mn-cs"/>
              </a:rPr>
              <a:t>Decision Intelligence</a:t>
            </a:r>
            <a:r>
              <a:rPr lang="en-US" sz="2800" kern="1200" noProof="0">
                <a:solidFill>
                  <a:srgbClr val="FFFFFF"/>
                </a:solidFill>
                <a:latin typeface="Montserrat" panose="00000500000000000000" pitchFamily="2" charset="0"/>
                <a:ea typeface="+mn-ea"/>
                <a:cs typeface="+mn-cs"/>
              </a:rPr>
              <a:t> is an evolving discipline that combines data, analytics, AI, automation, and human knowledge and expertise to help make better decisions</a:t>
            </a:r>
          </a:p>
        </p:txBody>
      </p:sp>
      <p:sp>
        <p:nvSpPr>
          <p:cNvPr id="3" name="TextBox 4">
            <a:extLst>
              <a:ext uri="{FF2B5EF4-FFF2-40B4-BE49-F238E27FC236}">
                <a16:creationId xmlns:a16="http://schemas.microsoft.com/office/drawing/2014/main" id="{828747E5-90B8-F872-8F27-B129FEC97F07}"/>
              </a:ext>
            </a:extLst>
          </p:cNvPr>
          <p:cNvSpPr txBox="1"/>
          <p:nvPr/>
        </p:nvSpPr>
        <p:spPr>
          <a:xfrm>
            <a:off x="734796" y="9377725"/>
            <a:ext cx="3255318" cy="459876"/>
          </a:xfrm>
          <a:prstGeom prst="rect">
            <a:avLst/>
          </a:prstGeom>
        </p:spPr>
        <p:txBody>
          <a:bodyPr lIns="0" tIns="0" rIns="0" bIns="0" rtlCol="0" anchor="t">
            <a:spAutoFit/>
          </a:bodyPr>
          <a:lstStyle/>
          <a:p>
            <a:pPr algn="l">
              <a:lnSpc>
                <a:spcPts val="2940"/>
              </a:lnSpc>
            </a:pPr>
            <a:r>
              <a:rPr lang="en-US" sz="1500">
                <a:solidFill>
                  <a:srgbClr val="575758"/>
                </a:solidFill>
                <a:latin typeface="Montserrat"/>
                <a:ea typeface="Montserrat"/>
                <a:cs typeface="Montserrat"/>
                <a:sym typeface="Montserrat"/>
              </a:rPr>
              <a:t>accelerate your essence</a:t>
            </a:r>
          </a:p>
        </p:txBody>
      </p:sp>
    </p:spTree>
    <p:extLst>
      <p:ext uri="{BB962C8B-B14F-4D97-AF65-F5344CB8AC3E}">
        <p14:creationId xmlns:p14="http://schemas.microsoft.com/office/powerpoint/2010/main" val="29415080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AD0820-9028-B6E2-6F77-5B2BBC99DA3A}"/>
              </a:ext>
            </a:extLst>
          </p:cNvPr>
          <p:cNvSpPr>
            <a:spLocks noGrp="1"/>
          </p:cNvSpPr>
          <p:nvPr>
            <p:ph type="title" idx="4294967295"/>
          </p:nvPr>
        </p:nvSpPr>
        <p:spPr>
          <a:xfrm>
            <a:off x="1080599" y="1042450"/>
            <a:ext cx="13898935" cy="1145400"/>
          </a:xfrm>
        </p:spPr>
        <p:txBody>
          <a:bodyPr/>
          <a:lstStyle/>
          <a:p>
            <a:r>
              <a:rPr lang="en-US" sz="4000" b="1" kern="1200" noProof="0">
                <a:solidFill>
                  <a:srgbClr val="222222"/>
                </a:solidFill>
                <a:latin typeface="Montserrat"/>
                <a:ea typeface="+mn-ea"/>
                <a:cs typeface="+mn-cs"/>
                <a:sym typeface="Montserrat"/>
              </a:rPr>
              <a:t>GARTNER </a:t>
            </a:r>
            <a:r>
              <a:rPr lang="en-US" sz="4000" kern="1200">
                <a:solidFill>
                  <a:srgbClr val="222222"/>
                </a:solidFill>
                <a:ea typeface="+mn-ea"/>
                <a:cs typeface="+mn-cs"/>
              </a:rPr>
              <a:t>hype cycle artificial intelligence</a:t>
            </a:r>
            <a:endParaRPr lang="en-US" noProof="0"/>
          </a:p>
        </p:txBody>
      </p:sp>
      <p:pic>
        <p:nvPicPr>
          <p:cNvPr id="5" name="Picture 4" descr="What’s New in Artificial Intelligence From the 2023 Gartner Hype Cycle™">
            <a:extLst>
              <a:ext uri="{FF2B5EF4-FFF2-40B4-BE49-F238E27FC236}">
                <a16:creationId xmlns:a16="http://schemas.microsoft.com/office/drawing/2014/main" id="{77F352D9-CFD3-1A90-32D8-0273DFB5B9C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6293" y="2187850"/>
            <a:ext cx="7572006" cy="705318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6" name="Picture 10">
            <a:extLst>
              <a:ext uri="{FF2B5EF4-FFF2-40B4-BE49-F238E27FC236}">
                <a16:creationId xmlns:a16="http://schemas.microsoft.com/office/drawing/2014/main" id="{8333E688-5D72-7D13-EFF7-8D08D7C1415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449229" y="2819617"/>
            <a:ext cx="8156046" cy="591705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7" name="Retângulo 11">
            <a:extLst>
              <a:ext uri="{FF2B5EF4-FFF2-40B4-BE49-F238E27FC236}">
                <a16:creationId xmlns:a16="http://schemas.microsoft.com/office/drawing/2014/main" id="{BF1015B7-8B0A-91EE-ED79-82E2759AD3FC}"/>
              </a:ext>
            </a:extLst>
          </p:cNvPr>
          <p:cNvSpPr/>
          <p:nvPr/>
        </p:nvSpPr>
        <p:spPr>
          <a:xfrm>
            <a:off x="10912929" y="5285014"/>
            <a:ext cx="1009649" cy="238125"/>
          </a:xfrm>
          <a:prstGeom prst="rect">
            <a:avLst/>
          </a:prstGeom>
          <a:noFill/>
          <a:ln w="12700">
            <a:solidFill>
              <a:srgbClr val="FF5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8" name="Retângulo 11">
            <a:extLst>
              <a:ext uri="{FF2B5EF4-FFF2-40B4-BE49-F238E27FC236}">
                <a16:creationId xmlns:a16="http://schemas.microsoft.com/office/drawing/2014/main" id="{A23CF624-8EBF-A4AA-97B3-B502BDE42768}"/>
              </a:ext>
            </a:extLst>
          </p:cNvPr>
          <p:cNvSpPr/>
          <p:nvPr/>
        </p:nvSpPr>
        <p:spPr>
          <a:xfrm>
            <a:off x="14200415" y="6498771"/>
            <a:ext cx="887185" cy="120196"/>
          </a:xfrm>
          <a:prstGeom prst="rect">
            <a:avLst/>
          </a:prstGeom>
          <a:noFill/>
          <a:ln w="12700">
            <a:solidFill>
              <a:srgbClr val="FF5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9" name="Retângulo 11">
            <a:extLst>
              <a:ext uri="{FF2B5EF4-FFF2-40B4-BE49-F238E27FC236}">
                <a16:creationId xmlns:a16="http://schemas.microsoft.com/office/drawing/2014/main" id="{05750969-7432-6678-8536-74E6E41BC68B}"/>
              </a:ext>
            </a:extLst>
          </p:cNvPr>
          <p:cNvSpPr/>
          <p:nvPr/>
        </p:nvSpPr>
        <p:spPr>
          <a:xfrm>
            <a:off x="2389639" y="4698453"/>
            <a:ext cx="887185" cy="120196"/>
          </a:xfrm>
          <a:prstGeom prst="rect">
            <a:avLst/>
          </a:prstGeom>
          <a:noFill/>
          <a:ln w="12700">
            <a:solidFill>
              <a:srgbClr val="FF5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0" name="Retângulo 11">
            <a:extLst>
              <a:ext uri="{FF2B5EF4-FFF2-40B4-BE49-F238E27FC236}">
                <a16:creationId xmlns:a16="http://schemas.microsoft.com/office/drawing/2014/main" id="{291F9025-F9C5-07F2-CADF-5EFDCC342FAC}"/>
              </a:ext>
            </a:extLst>
          </p:cNvPr>
          <p:cNvSpPr/>
          <p:nvPr/>
        </p:nvSpPr>
        <p:spPr>
          <a:xfrm>
            <a:off x="4574237" y="5992435"/>
            <a:ext cx="910317" cy="153762"/>
          </a:xfrm>
          <a:prstGeom prst="rect">
            <a:avLst/>
          </a:prstGeom>
          <a:noFill/>
          <a:ln w="12700">
            <a:solidFill>
              <a:srgbClr val="FF5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tângulo 11">
            <a:extLst>
              <a:ext uri="{FF2B5EF4-FFF2-40B4-BE49-F238E27FC236}">
                <a16:creationId xmlns:a16="http://schemas.microsoft.com/office/drawing/2014/main" id="{2958BABE-B640-E05F-B193-E6B16389B5E4}"/>
              </a:ext>
            </a:extLst>
          </p:cNvPr>
          <p:cNvSpPr/>
          <p:nvPr/>
        </p:nvSpPr>
        <p:spPr>
          <a:xfrm>
            <a:off x="1824196" y="6276975"/>
            <a:ext cx="794657" cy="120196"/>
          </a:xfrm>
          <a:prstGeom prst="rect">
            <a:avLst/>
          </a:prstGeom>
          <a:noFill/>
          <a:ln w="12700">
            <a:solidFill>
              <a:srgbClr val="FF5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14" name="Group 7">
            <a:extLst>
              <a:ext uri="{FF2B5EF4-FFF2-40B4-BE49-F238E27FC236}">
                <a16:creationId xmlns:a16="http://schemas.microsoft.com/office/drawing/2014/main" id="{89785561-0C76-1014-C4BD-355B9B07A367}"/>
              </a:ext>
            </a:extLst>
          </p:cNvPr>
          <p:cNvGrpSpPr/>
          <p:nvPr/>
        </p:nvGrpSpPr>
        <p:grpSpPr>
          <a:xfrm>
            <a:off x="12509263" y="1562673"/>
            <a:ext cx="612363" cy="56823"/>
            <a:chOff x="0" y="0"/>
            <a:chExt cx="1078484" cy="100076"/>
          </a:xfrm>
        </p:grpSpPr>
        <p:sp>
          <p:nvSpPr>
            <p:cNvPr id="13" name="Freeform 8">
              <a:extLst>
                <a:ext uri="{FF2B5EF4-FFF2-40B4-BE49-F238E27FC236}">
                  <a16:creationId xmlns:a16="http://schemas.microsoft.com/office/drawing/2014/main" id="{B8E8533E-C1AA-4EC0-9869-B5A8E79F5148}"/>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spTree>
    <p:extLst>
      <p:ext uri="{BB962C8B-B14F-4D97-AF65-F5344CB8AC3E}">
        <p14:creationId xmlns:p14="http://schemas.microsoft.com/office/powerpoint/2010/main" val="21779935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5560AB-789F-4F23-A03D-9E8BD916A30A}"/>
            </a:ext>
          </a:extLst>
        </p:cNvPr>
        <p:cNvGrpSpPr/>
        <p:nvPr/>
      </p:nvGrpSpPr>
      <p:grpSpPr>
        <a:xfrm>
          <a:off x="0" y="0"/>
          <a:ext cx="0" cy="0"/>
          <a:chOff x="0" y="0"/>
          <a:chExt cx="0" cy="0"/>
        </a:xfrm>
      </p:grpSpPr>
      <p:sp>
        <p:nvSpPr>
          <p:cNvPr id="2" name="Google Shape;270;g169e3e8f587_0_201">
            <a:extLst>
              <a:ext uri="{FF2B5EF4-FFF2-40B4-BE49-F238E27FC236}">
                <a16:creationId xmlns:a16="http://schemas.microsoft.com/office/drawing/2014/main" id="{FD26E726-C4D4-2B4C-961D-63BDE9DB888B}"/>
              </a:ext>
            </a:extLst>
          </p:cNvPr>
          <p:cNvSpPr txBox="1"/>
          <p:nvPr/>
        </p:nvSpPr>
        <p:spPr>
          <a:xfrm>
            <a:off x="719138" y="938230"/>
            <a:ext cx="13187577" cy="1924388"/>
          </a:xfrm>
          <a:prstGeom prst="rect">
            <a:avLst/>
          </a:prstGeom>
          <a:noFill/>
          <a:ln>
            <a:noFill/>
          </a:ln>
        </p:spPr>
        <p:txBody>
          <a:bodyPr spcFirstLastPara="1" wrap="square" lIns="137138" tIns="137138" rIns="137138" bIns="137138" anchor="t" anchorCtr="0">
            <a:noAutofit/>
          </a:bodyPr>
          <a:lstStyle/>
          <a:p>
            <a:pPr marL="0" marR="0" lvl="0" indent="0" algn="l" defTabSz="1371566" rtl="0" eaLnBrk="1" fontAlgn="auto" latinLnBrk="0" hangingPunct="1">
              <a:lnSpc>
                <a:spcPct val="100000"/>
              </a:lnSpc>
              <a:spcBef>
                <a:spcPts val="0"/>
              </a:spcBef>
              <a:spcAft>
                <a:spcPts val="0"/>
              </a:spcAft>
              <a:buClr>
                <a:srgbClr val="000000"/>
              </a:buClr>
              <a:buSzTx/>
              <a:buFont typeface="Arial"/>
              <a:buNone/>
              <a:tabLst/>
              <a:defRPr/>
            </a:pPr>
            <a:r>
              <a:rPr kumimoji="0" lang="en-US" sz="4000" b="1" i="0" u="none" strike="noStrike" kern="1200" cap="none" spc="0" normalizeH="0" baseline="0" noProof="0">
                <a:ln>
                  <a:noFill/>
                </a:ln>
                <a:solidFill>
                  <a:srgbClr val="222222"/>
                </a:solidFill>
                <a:effectLst/>
                <a:uLnTx/>
                <a:uFillTx/>
                <a:latin typeface="Montserrat"/>
                <a:ea typeface="Montserrat"/>
                <a:cs typeface="Montserrat"/>
                <a:sym typeface="Montserrat"/>
              </a:rPr>
              <a:t>Potential challenges may arise during implementation, transforming your AI trajectory into a complex and challenging endeavor</a:t>
            </a:r>
            <a:endParaRPr lang="en-US" sz="4000" b="1" i="0" u="none" strike="noStrike" kern="1200" cap="none" spc="0" normalizeH="0" baseline="0" noProof="0">
              <a:ln>
                <a:noFill/>
              </a:ln>
              <a:solidFill>
                <a:srgbClr val="222222"/>
              </a:solidFill>
              <a:effectLst/>
              <a:uLnTx/>
              <a:uFillTx/>
              <a:latin typeface="Montserrat"/>
              <a:ea typeface="Montserrat"/>
              <a:cs typeface="Montserrat"/>
            </a:endParaRPr>
          </a:p>
        </p:txBody>
      </p:sp>
      <p:sp>
        <p:nvSpPr>
          <p:cNvPr id="3" name="Título 1">
            <a:extLst>
              <a:ext uri="{FF2B5EF4-FFF2-40B4-BE49-F238E27FC236}">
                <a16:creationId xmlns:a16="http://schemas.microsoft.com/office/drawing/2014/main" id="{D6B2117D-D4FA-9248-430C-9F56CF883C95}"/>
              </a:ext>
            </a:extLst>
          </p:cNvPr>
          <p:cNvSpPr txBox="1">
            <a:spLocks/>
          </p:cNvSpPr>
          <p:nvPr/>
        </p:nvSpPr>
        <p:spPr>
          <a:xfrm>
            <a:off x="752811" y="3324773"/>
            <a:ext cx="5802885" cy="71808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1371600" rtl="0" eaLnBrk="1" fontAlgn="auto" latinLnBrk="0" hangingPunct="1">
              <a:lnSpc>
                <a:spcPct val="150000"/>
              </a:lnSpc>
              <a:spcBef>
                <a:spcPts val="0"/>
              </a:spcBef>
              <a:spcAft>
                <a:spcPts val="0"/>
              </a:spcAft>
              <a:buClr>
                <a:srgbClr val="000000"/>
              </a:buClr>
              <a:buSzTx/>
              <a:buFont typeface="Arial"/>
              <a:buNone/>
              <a:tabLst/>
              <a:defRPr/>
            </a:pPr>
            <a:r>
              <a:rPr kumimoji="0" lang="en-US" sz="2000" b="1" i="0" u="none" strike="noStrike" kern="1200" cap="none" spc="0" normalizeH="0" baseline="0" noProof="0">
                <a:ln>
                  <a:noFill/>
                </a:ln>
                <a:solidFill>
                  <a:srgbClr val="6800FF"/>
                </a:solidFill>
                <a:effectLst/>
                <a:uLnTx/>
                <a:uFillTx/>
                <a:latin typeface="Montserrat" pitchFamily="2" charset="77"/>
                <a:cs typeface="Arial"/>
                <a:sym typeface="Arial"/>
              </a:rPr>
              <a:t>Poor decisions cost money</a:t>
            </a:r>
          </a:p>
          <a:p>
            <a:pPr marL="0" marR="0" lvl="0" indent="0" algn="l" defTabSz="1371600" rtl="0" eaLnBrk="1" fontAlgn="auto" latinLnBrk="0" hangingPunct="1">
              <a:lnSpc>
                <a:spcPct val="150000"/>
              </a:lnSpc>
              <a:spcBef>
                <a:spcPts val="0"/>
              </a:spcBef>
              <a:spcAft>
                <a:spcPts val="0"/>
              </a:spcAft>
              <a:buClr>
                <a:srgbClr val="000000"/>
              </a:buClr>
              <a:buSzTx/>
              <a:buFont typeface="Arial"/>
              <a:buNone/>
              <a:tabLst/>
              <a:defRPr/>
            </a:pPr>
            <a:endParaRPr kumimoji="0" lang="en-US" sz="2000" b="1" i="0" u="none" strike="noStrike" kern="1200" cap="none" spc="0" normalizeH="0" baseline="0" noProof="0">
              <a:ln>
                <a:noFill/>
              </a:ln>
              <a:solidFill>
                <a:srgbClr val="6800FF"/>
              </a:solidFill>
              <a:effectLst/>
              <a:uLnTx/>
              <a:uFillTx/>
              <a:latin typeface="Montserrat" pitchFamily="2" charset="77"/>
              <a:cs typeface="Arial"/>
              <a:sym typeface="Arial"/>
            </a:endParaRPr>
          </a:p>
        </p:txBody>
      </p:sp>
      <p:sp>
        <p:nvSpPr>
          <p:cNvPr id="4" name="Título 1">
            <a:extLst>
              <a:ext uri="{FF2B5EF4-FFF2-40B4-BE49-F238E27FC236}">
                <a16:creationId xmlns:a16="http://schemas.microsoft.com/office/drawing/2014/main" id="{2340F76A-441A-85FB-1490-7C8F2AE15E62}"/>
              </a:ext>
            </a:extLst>
          </p:cNvPr>
          <p:cNvSpPr txBox="1">
            <a:spLocks/>
          </p:cNvSpPr>
          <p:nvPr/>
        </p:nvSpPr>
        <p:spPr>
          <a:xfrm>
            <a:off x="6555696" y="3341376"/>
            <a:ext cx="4218051" cy="71808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1371600" rtl="0" eaLnBrk="1" fontAlgn="auto" latinLnBrk="0" hangingPunct="1">
              <a:lnSpc>
                <a:spcPct val="150000"/>
              </a:lnSpc>
              <a:spcBef>
                <a:spcPts val="0"/>
              </a:spcBef>
              <a:spcAft>
                <a:spcPts val="0"/>
              </a:spcAft>
              <a:buClr>
                <a:srgbClr val="000000"/>
              </a:buClr>
              <a:buSzTx/>
              <a:buFont typeface="Arial"/>
              <a:buNone/>
              <a:tabLst/>
              <a:defRPr/>
            </a:pPr>
            <a:r>
              <a:rPr kumimoji="0" lang="en-US" sz="2000" b="1" i="0" u="none" strike="noStrike" kern="1200" cap="none" spc="0" normalizeH="0" baseline="0" noProof="0">
                <a:ln>
                  <a:noFill/>
                </a:ln>
                <a:solidFill>
                  <a:srgbClr val="6800FF"/>
                </a:solidFill>
                <a:effectLst/>
                <a:uLnTx/>
                <a:uFillTx/>
                <a:latin typeface="Montserrat" pitchFamily="2" charset="77"/>
                <a:cs typeface="Arial"/>
                <a:sym typeface="Arial"/>
              </a:rPr>
              <a:t>Lack of trust in AI</a:t>
            </a:r>
          </a:p>
        </p:txBody>
      </p:sp>
      <p:sp>
        <p:nvSpPr>
          <p:cNvPr id="6" name="Título 1">
            <a:extLst>
              <a:ext uri="{FF2B5EF4-FFF2-40B4-BE49-F238E27FC236}">
                <a16:creationId xmlns:a16="http://schemas.microsoft.com/office/drawing/2014/main" id="{3AD03FC6-7041-1016-A1D7-91D9C848D293}"/>
              </a:ext>
            </a:extLst>
          </p:cNvPr>
          <p:cNvSpPr txBox="1">
            <a:spLocks/>
          </p:cNvSpPr>
          <p:nvPr/>
        </p:nvSpPr>
        <p:spPr>
          <a:xfrm>
            <a:off x="12221342" y="3324773"/>
            <a:ext cx="4369526" cy="71808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1371600" rtl="0" eaLnBrk="1" fontAlgn="auto" latinLnBrk="0" hangingPunct="1">
              <a:lnSpc>
                <a:spcPct val="150000"/>
              </a:lnSpc>
              <a:spcBef>
                <a:spcPts val="0"/>
              </a:spcBef>
              <a:spcAft>
                <a:spcPts val="0"/>
              </a:spcAft>
              <a:buClr>
                <a:srgbClr val="000000"/>
              </a:buClr>
              <a:buSzTx/>
              <a:buFont typeface="Arial"/>
              <a:buNone/>
              <a:tabLst/>
              <a:defRPr/>
            </a:pPr>
            <a:r>
              <a:rPr kumimoji="0" lang="en-US" sz="2000" b="1" i="0" u="none" strike="noStrike" kern="1200" cap="none" spc="0" normalizeH="0" baseline="0" noProof="0">
                <a:ln>
                  <a:noFill/>
                </a:ln>
                <a:solidFill>
                  <a:srgbClr val="6800FF"/>
                </a:solidFill>
                <a:effectLst/>
                <a:uLnTx/>
                <a:uFillTx/>
                <a:latin typeface="Montserrat" pitchFamily="2" charset="77"/>
                <a:cs typeface="Arial"/>
                <a:sym typeface="Arial"/>
              </a:rPr>
              <a:t>Capability shortfalls</a:t>
            </a:r>
          </a:p>
          <a:p>
            <a:pPr marL="0" marR="0" lvl="0" indent="0" algn="l" defTabSz="1371600" rtl="0" eaLnBrk="1" fontAlgn="auto" latinLnBrk="0" hangingPunct="1">
              <a:lnSpc>
                <a:spcPct val="150000"/>
              </a:lnSpc>
              <a:spcBef>
                <a:spcPts val="0"/>
              </a:spcBef>
              <a:spcAft>
                <a:spcPts val="0"/>
              </a:spcAft>
              <a:buClr>
                <a:srgbClr val="000000"/>
              </a:buClr>
              <a:buSzTx/>
              <a:buFont typeface="Arial"/>
              <a:buNone/>
              <a:tabLst/>
              <a:defRPr/>
            </a:pPr>
            <a:endParaRPr kumimoji="0" lang="en-US" sz="2000" b="1" i="0" u="none" strike="noStrike" kern="1200" cap="none" spc="0" normalizeH="0" baseline="0" noProof="0">
              <a:ln>
                <a:noFill/>
              </a:ln>
              <a:solidFill>
                <a:srgbClr val="6800FF"/>
              </a:solidFill>
              <a:effectLst/>
              <a:uLnTx/>
              <a:uFillTx/>
              <a:latin typeface="Montserrat" pitchFamily="2" charset="77"/>
              <a:cs typeface="Arial"/>
              <a:sym typeface="Arial"/>
            </a:endParaRPr>
          </a:p>
        </p:txBody>
      </p:sp>
      <p:sp>
        <p:nvSpPr>
          <p:cNvPr id="7" name="CaixaDeTexto 10">
            <a:extLst>
              <a:ext uri="{FF2B5EF4-FFF2-40B4-BE49-F238E27FC236}">
                <a16:creationId xmlns:a16="http://schemas.microsoft.com/office/drawing/2014/main" id="{F5C4207F-7C16-B285-66BB-AE4C82D7BC7F}"/>
              </a:ext>
            </a:extLst>
          </p:cNvPr>
          <p:cNvSpPr txBox="1"/>
          <p:nvPr/>
        </p:nvSpPr>
        <p:spPr>
          <a:xfrm>
            <a:off x="719136" y="4109632"/>
            <a:ext cx="4507023" cy="2600135"/>
          </a:xfrm>
          <a:prstGeom prst="rect">
            <a:avLst/>
          </a:prstGeom>
          <a:noFill/>
        </p:spPr>
        <p:txBody>
          <a:bodyPr wrap="square" lIns="137160" tIns="68580" rIns="137160" bIns="68580" rtlCol="0" anchor="t">
            <a:spAutoFit/>
          </a:bodyPr>
          <a:lstStyle/>
          <a:p>
            <a:pPr marL="257175" marR="0" lvl="0" indent="-257175" algn="l" defTabSz="1371600" rtl="0" eaLnBrk="1" fontAlgn="auto" latinLnBrk="0" hangingPunct="1">
              <a:lnSpc>
                <a:spcPct val="150000"/>
              </a:lnSpc>
              <a:spcBef>
                <a:spcPts val="0"/>
              </a:spcBef>
              <a:spcAft>
                <a:spcPts val="300"/>
              </a:spcAft>
              <a:buClr>
                <a:prstClr val="black"/>
              </a:buClr>
              <a:buSzTx/>
              <a:buFont typeface="Arial" panose="020B0604020202020204" pitchFamily="34" charset="0"/>
              <a:buChar char="•"/>
              <a:tabLst/>
              <a:defRPr/>
            </a:pPr>
            <a:r>
              <a:rPr kumimoji="0" lang="en-US" sz="1500" b="0" i="0" u="none" strike="noStrike" kern="1200" cap="none" spc="0" normalizeH="0" baseline="0" noProof="0">
                <a:ln>
                  <a:noFill/>
                </a:ln>
                <a:solidFill>
                  <a:prstClr val="black"/>
                </a:solidFill>
                <a:effectLst/>
                <a:uLnTx/>
                <a:uFillTx/>
                <a:latin typeface="Montserrat Light" pitchFamily="2" charset="77"/>
                <a:ea typeface="+mn-ea"/>
                <a:cs typeface="Arial"/>
                <a:sym typeface="Arial"/>
              </a:rPr>
              <a:t>All organizations employ teams that make poor operational decisions. </a:t>
            </a:r>
            <a:endParaRPr kumimoji="0" lang="en-US" sz="1500" b="0" i="0" u="none" strike="noStrike" kern="1200" cap="none" spc="0" normalizeH="0" baseline="0" noProof="0">
              <a:ln>
                <a:noFill/>
              </a:ln>
              <a:solidFill>
                <a:srgbClr val="FFFFFF"/>
              </a:solidFill>
              <a:effectLst/>
              <a:uLnTx/>
              <a:uFillTx/>
              <a:latin typeface="Montserrat Light" pitchFamily="2" charset="77"/>
              <a:ea typeface="+mn-ea"/>
              <a:cs typeface="Arial"/>
              <a:sym typeface="Arial"/>
            </a:endParaRPr>
          </a:p>
          <a:p>
            <a:pPr marL="257175" marR="0" lvl="0" indent="-257175" algn="l" defTabSz="1371600" rtl="0" eaLnBrk="1" fontAlgn="auto" latinLnBrk="0" hangingPunct="1">
              <a:lnSpc>
                <a:spcPct val="150000"/>
              </a:lnSpc>
              <a:spcBef>
                <a:spcPts val="0"/>
              </a:spcBef>
              <a:spcAft>
                <a:spcPts val="300"/>
              </a:spcAft>
              <a:buClr>
                <a:prstClr val="black"/>
              </a:buClr>
              <a:buSzTx/>
              <a:buFont typeface="Arial" panose="020B0604020202020204" pitchFamily="34" charset="0"/>
              <a:buChar char="•"/>
              <a:tabLst/>
              <a:defRPr/>
            </a:pPr>
            <a:r>
              <a:rPr kumimoji="0" lang="en-US" sz="1500" b="0" i="0" u="none" strike="noStrike" kern="1200" cap="none" spc="0" normalizeH="0" baseline="0" noProof="0">
                <a:ln>
                  <a:noFill/>
                </a:ln>
                <a:solidFill>
                  <a:prstClr val="black"/>
                </a:solidFill>
                <a:effectLst/>
                <a:uLnTx/>
                <a:uFillTx/>
                <a:latin typeface="Montserrat Light" pitchFamily="2" charset="77"/>
                <a:ea typeface="+mn-ea"/>
                <a:cs typeface="Arial"/>
                <a:sym typeface="Arial"/>
              </a:rPr>
              <a:t>The result is high costs, compliance failures, poor customer outcomes and lost revenues.</a:t>
            </a:r>
          </a:p>
          <a:p>
            <a:pPr marL="257175" marR="0" lvl="0" indent="-257175" algn="l" defTabSz="1371600" rtl="0" eaLnBrk="1" fontAlgn="auto" latinLnBrk="0" hangingPunct="1">
              <a:lnSpc>
                <a:spcPct val="150000"/>
              </a:lnSpc>
              <a:spcBef>
                <a:spcPts val="0"/>
              </a:spcBef>
              <a:spcAft>
                <a:spcPts val="300"/>
              </a:spcAft>
              <a:buClr>
                <a:prstClr val="black"/>
              </a:buClr>
              <a:buSzTx/>
              <a:buFont typeface="Arial" panose="020B0604020202020204" pitchFamily="34" charset="0"/>
              <a:buChar char="•"/>
              <a:tabLst/>
              <a:defRPr/>
            </a:pPr>
            <a:r>
              <a:rPr kumimoji="0" lang="en-US" sz="1500" b="0" i="0" u="none" strike="noStrike" kern="1200" cap="none" spc="0" normalizeH="0" baseline="0" noProof="0">
                <a:ln>
                  <a:noFill/>
                </a:ln>
                <a:solidFill>
                  <a:prstClr val="black"/>
                </a:solidFill>
                <a:effectLst/>
                <a:uLnTx/>
                <a:uFillTx/>
                <a:latin typeface="Montserrat Light" pitchFamily="2" charset="77"/>
                <a:ea typeface="+mn-ea"/>
                <a:cs typeface="Arial"/>
                <a:sym typeface="Arial"/>
              </a:rPr>
              <a:t>This has led organizations to invest in AI decision-intensive processes.</a:t>
            </a:r>
          </a:p>
        </p:txBody>
      </p:sp>
      <p:sp>
        <p:nvSpPr>
          <p:cNvPr id="8" name="CaixaDeTexto 14">
            <a:extLst>
              <a:ext uri="{FF2B5EF4-FFF2-40B4-BE49-F238E27FC236}">
                <a16:creationId xmlns:a16="http://schemas.microsoft.com/office/drawing/2014/main" id="{93CA7D81-2CDF-7E07-BCEF-2AEBAE4E253A}"/>
              </a:ext>
            </a:extLst>
          </p:cNvPr>
          <p:cNvSpPr txBox="1"/>
          <p:nvPr/>
        </p:nvSpPr>
        <p:spPr>
          <a:xfrm>
            <a:off x="6372275" y="4109631"/>
            <a:ext cx="5080656" cy="3292633"/>
          </a:xfrm>
          <a:prstGeom prst="rect">
            <a:avLst/>
          </a:prstGeom>
          <a:noFill/>
          <a:effectLst/>
        </p:spPr>
        <p:txBody>
          <a:bodyPr wrap="square" lIns="137160" tIns="68580" rIns="137160" bIns="68580" rtlCol="0" anchor="t">
            <a:spAutoFit/>
          </a:bodyPr>
          <a:lstStyle/>
          <a:p>
            <a:pPr marL="345758" marR="0" lvl="0" indent="-257175" algn="l" defTabSz="1371600" rtl="0" eaLnBrk="1" fontAlgn="auto" latinLnBrk="0" hangingPunct="1">
              <a:lnSpc>
                <a:spcPct val="150000"/>
              </a:lnSpc>
              <a:spcBef>
                <a:spcPts val="0"/>
              </a:spcBef>
              <a:spcAft>
                <a:spcPts val="300"/>
              </a:spcAft>
              <a:buClr>
                <a:prstClr val="black"/>
              </a:buClr>
              <a:buSzTx/>
              <a:buFont typeface="Arial" panose="020B0604020202020204" pitchFamily="34" charset="0"/>
              <a:buChar char="•"/>
              <a:tabLst>
                <a:tab pos="358784" algn="l"/>
              </a:tabLst>
              <a:defRPr/>
            </a:pPr>
            <a:r>
              <a:rPr kumimoji="0" lang="en-US" sz="1500" b="0" i="0" u="none" strike="noStrike" kern="1200" cap="none" spc="0" normalizeH="0" baseline="0" noProof="0">
                <a:ln>
                  <a:noFill/>
                </a:ln>
                <a:solidFill>
                  <a:prstClr val="black"/>
                </a:solidFill>
                <a:effectLst/>
                <a:uLnTx/>
                <a:uFillTx/>
                <a:latin typeface="Montserrat Light" pitchFamily="2" charset="77"/>
                <a:ea typeface="+mn-ea"/>
                <a:cs typeface="Arial"/>
                <a:sym typeface="Arial"/>
              </a:rPr>
              <a:t>Machine Learning (including LLMs) suffers from the problem of unreliable data sources used to train it.</a:t>
            </a:r>
            <a:endParaRPr kumimoji="0" lang="en-US" sz="1500" b="0" i="0" u="none" strike="noStrike" kern="1200" cap="none" spc="0" normalizeH="0" baseline="0" noProof="0">
              <a:ln>
                <a:noFill/>
              </a:ln>
              <a:solidFill>
                <a:srgbClr val="FFFFFF"/>
              </a:solidFill>
              <a:effectLst/>
              <a:uLnTx/>
              <a:uFillTx/>
              <a:latin typeface="Montserrat Light" pitchFamily="2" charset="77"/>
              <a:ea typeface="+mn-ea"/>
              <a:cs typeface="Arial"/>
              <a:sym typeface="Arial"/>
            </a:endParaRPr>
          </a:p>
          <a:p>
            <a:pPr marL="345758" marR="0" lvl="0" indent="-257175" algn="l" defTabSz="1371600" rtl="0" eaLnBrk="1" fontAlgn="auto" latinLnBrk="0" hangingPunct="1">
              <a:lnSpc>
                <a:spcPct val="150000"/>
              </a:lnSpc>
              <a:spcBef>
                <a:spcPts val="0"/>
              </a:spcBef>
              <a:spcAft>
                <a:spcPts val="300"/>
              </a:spcAft>
              <a:buClr>
                <a:prstClr val="black"/>
              </a:buClr>
              <a:buSzTx/>
              <a:buFont typeface="Arial" panose="020B0604020202020204" pitchFamily="34" charset="0"/>
              <a:buChar char="•"/>
              <a:tabLst>
                <a:tab pos="358784" algn="l"/>
              </a:tabLst>
              <a:defRPr/>
            </a:pPr>
            <a:r>
              <a:rPr kumimoji="0" lang="en-US" sz="1500" b="0" i="0" u="none" strike="noStrike" kern="1200" cap="none" spc="0" normalizeH="0" baseline="0" noProof="0">
                <a:ln>
                  <a:noFill/>
                </a:ln>
                <a:solidFill>
                  <a:prstClr val="black"/>
                </a:solidFill>
                <a:effectLst/>
                <a:uLnTx/>
                <a:uFillTx/>
                <a:latin typeface="Montserrat Light" pitchFamily="2" charset="77"/>
                <a:ea typeface="+mn-ea"/>
                <a:cs typeface="Arial"/>
                <a:sym typeface="Arial"/>
              </a:rPr>
              <a:t>They make predictions, not decisions, and LLMs are prone to errors and the creation of illusions.</a:t>
            </a:r>
          </a:p>
          <a:p>
            <a:pPr marL="345758" marR="0" lvl="0" indent="-257175" algn="l" defTabSz="1371600" rtl="0" eaLnBrk="1" fontAlgn="auto" latinLnBrk="0" hangingPunct="1">
              <a:lnSpc>
                <a:spcPct val="150000"/>
              </a:lnSpc>
              <a:spcBef>
                <a:spcPts val="0"/>
              </a:spcBef>
              <a:spcAft>
                <a:spcPts val="300"/>
              </a:spcAft>
              <a:buClr>
                <a:prstClr val="black"/>
              </a:buClr>
              <a:buSzTx/>
              <a:buFont typeface="Arial" panose="020B0604020202020204" pitchFamily="34" charset="0"/>
              <a:buChar char="•"/>
              <a:tabLst>
                <a:tab pos="358784" algn="l"/>
              </a:tabLst>
              <a:defRPr/>
            </a:pPr>
            <a:r>
              <a:rPr kumimoji="0" lang="en-US" sz="1500" b="0" i="0" u="none" strike="noStrike" kern="1200" cap="none" spc="0" normalizeH="0" baseline="0" noProof="0">
                <a:ln>
                  <a:noFill/>
                </a:ln>
                <a:solidFill>
                  <a:prstClr val="black"/>
                </a:solidFill>
                <a:effectLst/>
                <a:uLnTx/>
                <a:uFillTx/>
                <a:latin typeface="Montserrat Light" pitchFamily="2" charset="77"/>
                <a:ea typeface="+mn-ea"/>
                <a:cs typeface="Arial"/>
                <a:sym typeface="Arial"/>
              </a:rPr>
              <a:t>The underlying processes are a "black box", lacking transparency, explain ability and therefore trust.</a:t>
            </a:r>
          </a:p>
        </p:txBody>
      </p:sp>
      <p:sp>
        <p:nvSpPr>
          <p:cNvPr id="11" name="CaixaDeTexto 15">
            <a:extLst>
              <a:ext uri="{FF2B5EF4-FFF2-40B4-BE49-F238E27FC236}">
                <a16:creationId xmlns:a16="http://schemas.microsoft.com/office/drawing/2014/main" id="{18CBD7AD-88BF-629F-1504-B3E79653D2E3}"/>
              </a:ext>
            </a:extLst>
          </p:cNvPr>
          <p:cNvSpPr txBox="1"/>
          <p:nvPr/>
        </p:nvSpPr>
        <p:spPr>
          <a:xfrm>
            <a:off x="12070236" y="4109631"/>
            <a:ext cx="5194251" cy="2946384"/>
          </a:xfrm>
          <a:prstGeom prst="rect">
            <a:avLst/>
          </a:prstGeom>
          <a:noFill/>
        </p:spPr>
        <p:txBody>
          <a:bodyPr wrap="square" lIns="137160" tIns="68580" rIns="137160" bIns="68580" rtlCol="0" anchor="t">
            <a:spAutoFit/>
          </a:bodyPr>
          <a:lstStyle/>
          <a:p>
            <a:pPr marL="345758" marR="0" lvl="0" indent="-257175" algn="l" defTabSz="1371600" rtl="0" eaLnBrk="1" fontAlgn="auto" latinLnBrk="0" hangingPunct="1">
              <a:lnSpc>
                <a:spcPct val="150000"/>
              </a:lnSpc>
              <a:spcBef>
                <a:spcPts val="0"/>
              </a:spcBef>
              <a:spcAft>
                <a:spcPts val="300"/>
              </a:spcAft>
              <a:buClr>
                <a:prstClr val="black"/>
              </a:buClr>
              <a:buSzTx/>
              <a:buFont typeface="Arial" panose="020B0604020202020204" pitchFamily="34" charset="0"/>
              <a:buChar char="•"/>
              <a:tabLst>
                <a:tab pos="358784" algn="l"/>
              </a:tabLst>
              <a:defRPr/>
            </a:pPr>
            <a:r>
              <a:rPr kumimoji="0" lang="en-US" sz="1500" b="0" i="0" u="none" strike="noStrike" kern="1200" cap="none" spc="0" normalizeH="0" baseline="0" noProof="0">
                <a:ln>
                  <a:noFill/>
                </a:ln>
                <a:solidFill>
                  <a:prstClr val="black"/>
                </a:solidFill>
                <a:effectLst/>
                <a:uLnTx/>
                <a:uFillTx/>
                <a:latin typeface="Montserrat Light" pitchFamily="2" charset="77"/>
                <a:ea typeface="+mn-ea"/>
                <a:cs typeface="Arial"/>
                <a:sym typeface="Arial"/>
              </a:rPr>
              <a:t>Data-first ML approach used by digital natives for simple use cases (e.g. advertising) do not translate to higher complexity decisioning.</a:t>
            </a:r>
            <a:endParaRPr kumimoji="0" lang="en-US" sz="1500" b="0" i="0" u="none" strike="noStrike" kern="1200" cap="none" spc="0" normalizeH="0" baseline="0" noProof="0">
              <a:ln>
                <a:noFill/>
              </a:ln>
              <a:solidFill>
                <a:srgbClr val="FFFFFF"/>
              </a:solidFill>
              <a:effectLst/>
              <a:uLnTx/>
              <a:uFillTx/>
              <a:latin typeface="Montserrat Light" pitchFamily="2" charset="77"/>
              <a:ea typeface="+mn-ea"/>
              <a:cs typeface="Arial"/>
              <a:sym typeface="Arial"/>
            </a:endParaRPr>
          </a:p>
          <a:p>
            <a:pPr marL="345758" marR="0" lvl="0" indent="-257175" algn="l" defTabSz="1371600" rtl="0" eaLnBrk="1" fontAlgn="auto" latinLnBrk="0" hangingPunct="1">
              <a:lnSpc>
                <a:spcPct val="150000"/>
              </a:lnSpc>
              <a:spcBef>
                <a:spcPts val="0"/>
              </a:spcBef>
              <a:spcAft>
                <a:spcPts val="300"/>
              </a:spcAft>
              <a:buClr>
                <a:prstClr val="black"/>
              </a:buClr>
              <a:buSzTx/>
              <a:buFont typeface="Arial" panose="020B0604020202020204" pitchFamily="34" charset="0"/>
              <a:buChar char="•"/>
              <a:tabLst>
                <a:tab pos="358784" algn="l"/>
              </a:tabLst>
              <a:defRPr/>
            </a:pPr>
            <a:r>
              <a:rPr kumimoji="0" lang="en-US" sz="1500" b="0" i="0" u="none" strike="noStrike" kern="1200" cap="none" spc="0" normalizeH="0" baseline="0" noProof="0">
                <a:ln>
                  <a:noFill/>
                </a:ln>
                <a:solidFill>
                  <a:prstClr val="black"/>
                </a:solidFill>
                <a:effectLst/>
                <a:uLnTx/>
                <a:uFillTx/>
                <a:latin typeface="Montserrat Light" pitchFamily="2" charset="77"/>
                <a:ea typeface="+mn-ea"/>
                <a:cs typeface="Arial"/>
                <a:sym typeface="Arial"/>
              </a:rPr>
              <a:t>Linear technologies, like BPM and RPA, only handle low-value tasks and fail when applied to complex projects.</a:t>
            </a:r>
          </a:p>
          <a:p>
            <a:pPr marL="345758" marR="0" lvl="0" indent="-257175" algn="l" defTabSz="1371600" rtl="0" eaLnBrk="1" fontAlgn="auto" latinLnBrk="0" hangingPunct="1">
              <a:lnSpc>
                <a:spcPct val="150000"/>
              </a:lnSpc>
              <a:spcBef>
                <a:spcPts val="0"/>
              </a:spcBef>
              <a:spcAft>
                <a:spcPts val="300"/>
              </a:spcAft>
              <a:buClr>
                <a:prstClr val="black"/>
              </a:buClr>
              <a:buSzTx/>
              <a:buFont typeface="Arial" panose="020B0604020202020204" pitchFamily="34" charset="0"/>
              <a:buChar char="•"/>
              <a:tabLst>
                <a:tab pos="358784" algn="l"/>
              </a:tabLst>
              <a:defRPr/>
            </a:pPr>
            <a:r>
              <a:rPr kumimoji="0" lang="en-US" sz="1500" b="0" i="0" u="none" strike="noStrike" kern="1200" cap="none" spc="0" normalizeH="0" baseline="0" noProof="0">
                <a:ln>
                  <a:noFill/>
                </a:ln>
                <a:solidFill>
                  <a:prstClr val="black"/>
                </a:solidFill>
                <a:effectLst/>
                <a:uLnTx/>
                <a:uFillTx/>
                <a:latin typeface="Montserrat Light" pitchFamily="2" charset="77"/>
                <a:ea typeface="+mn-ea"/>
                <a:cs typeface="Arial"/>
                <a:sym typeface="Arial"/>
              </a:rPr>
              <a:t>These technologies cannot be applied to decision-intensive processes.</a:t>
            </a:r>
          </a:p>
        </p:txBody>
      </p:sp>
      <p:sp>
        <p:nvSpPr>
          <p:cNvPr id="16" name="Retângulo com Canto Arredondado do Mesmo Lado 15">
            <a:extLst>
              <a:ext uri="{FF2B5EF4-FFF2-40B4-BE49-F238E27FC236}">
                <a16:creationId xmlns:a16="http://schemas.microsoft.com/office/drawing/2014/main" id="{88636464-3712-3A73-A43D-08B01EE16689}"/>
              </a:ext>
            </a:extLst>
          </p:cNvPr>
          <p:cNvSpPr/>
          <p:nvPr/>
        </p:nvSpPr>
        <p:spPr>
          <a:xfrm rot="5400000">
            <a:off x="4965065" y="2684368"/>
            <a:ext cx="1538112" cy="11545733"/>
          </a:xfrm>
          <a:prstGeom prst="round2SameRect">
            <a:avLst/>
          </a:prstGeom>
          <a:solidFill>
            <a:srgbClr val="6800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 typeface="Arial"/>
              <a:buNone/>
              <a:tabLst/>
              <a:defRPr/>
            </a:pPr>
            <a:endParaRPr kumimoji="0" lang="en-US" sz="2700" b="0" i="0" u="none" strike="noStrike" kern="120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17" name="CaixaDeTexto 16">
            <a:extLst>
              <a:ext uri="{FF2B5EF4-FFF2-40B4-BE49-F238E27FC236}">
                <a16:creationId xmlns:a16="http://schemas.microsoft.com/office/drawing/2014/main" id="{23557050-4918-CD7F-22F7-3E549A931260}"/>
              </a:ext>
            </a:extLst>
          </p:cNvPr>
          <p:cNvSpPr txBox="1"/>
          <p:nvPr/>
        </p:nvSpPr>
        <p:spPr>
          <a:xfrm>
            <a:off x="875656" y="7894756"/>
            <a:ext cx="8687010" cy="1107996"/>
          </a:xfrm>
          <a:prstGeom prst="rect">
            <a:avLst/>
          </a:prstGeom>
          <a:noFill/>
        </p:spPr>
        <p:txBody>
          <a:bodyPr wrap="square" lIns="137160" tIns="68580" rIns="137160" bIns="68580" anchor="t">
            <a:spAutoFit/>
          </a:bodyPr>
          <a:lstStyle/>
          <a:p>
            <a:pPr marL="0" marR="0" lvl="0" indent="0" algn="l" defTabSz="1371600" rtl="0" eaLnBrk="1" fontAlgn="auto" latinLnBrk="0" hangingPunct="1">
              <a:lnSpc>
                <a:spcPct val="100000"/>
              </a:lnSpc>
              <a:spcBef>
                <a:spcPts val="0"/>
              </a:spcBef>
              <a:spcAft>
                <a:spcPts val="0"/>
              </a:spcAft>
              <a:buClr>
                <a:srgbClr val="000000"/>
              </a:buClr>
              <a:buSzTx/>
              <a:buFont typeface="Arial"/>
              <a:buNone/>
              <a:tabLst/>
              <a:defRPr/>
            </a:pPr>
            <a:r>
              <a:rPr kumimoji="0" lang="en-US" sz="2100" b="1" i="0" u="none" strike="noStrike" kern="1200" cap="none" spc="0" normalizeH="0" baseline="0" noProof="0">
                <a:ln>
                  <a:noFill/>
                </a:ln>
                <a:solidFill>
                  <a:prstClr val="white"/>
                </a:solidFill>
                <a:effectLst/>
                <a:uLnTx/>
                <a:uFillTx/>
                <a:latin typeface="Montserrat" panose="00000500000000000000" pitchFamily="2" charset="0"/>
                <a:ea typeface="+mn-ea"/>
                <a:cs typeface="Arial"/>
                <a:sym typeface="Arial"/>
              </a:rPr>
              <a:t>Therefore, it is crucial not only to recognize the value of AI and express interest in its application for your business, but also to execute its implementation accurately </a:t>
            </a:r>
            <a:endParaRPr kumimoji="0" lang="en-US" sz="27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cxnSp>
        <p:nvCxnSpPr>
          <p:cNvPr id="24" name="Conector Reto 23">
            <a:extLst>
              <a:ext uri="{FF2B5EF4-FFF2-40B4-BE49-F238E27FC236}">
                <a16:creationId xmlns:a16="http://schemas.microsoft.com/office/drawing/2014/main" id="{C305B974-B130-9A39-07CA-B0C5448C99CC}"/>
              </a:ext>
            </a:extLst>
          </p:cNvPr>
          <p:cNvCxnSpPr>
            <a:cxnSpLocks/>
          </p:cNvCxnSpPr>
          <p:nvPr/>
        </p:nvCxnSpPr>
        <p:spPr>
          <a:xfrm>
            <a:off x="5931725" y="3469224"/>
            <a:ext cx="0" cy="3933039"/>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6" name="Conector Reto 25">
            <a:extLst>
              <a:ext uri="{FF2B5EF4-FFF2-40B4-BE49-F238E27FC236}">
                <a16:creationId xmlns:a16="http://schemas.microsoft.com/office/drawing/2014/main" id="{B9DC3AC5-5B32-4A3A-5CA4-98112AB41831}"/>
              </a:ext>
            </a:extLst>
          </p:cNvPr>
          <p:cNvCxnSpPr>
            <a:cxnSpLocks/>
          </p:cNvCxnSpPr>
          <p:nvPr/>
        </p:nvCxnSpPr>
        <p:spPr>
          <a:xfrm>
            <a:off x="11667507" y="3469224"/>
            <a:ext cx="0" cy="3933039"/>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nvGrpSpPr>
          <p:cNvPr id="10" name="Group 7">
            <a:extLst>
              <a:ext uri="{FF2B5EF4-FFF2-40B4-BE49-F238E27FC236}">
                <a16:creationId xmlns:a16="http://schemas.microsoft.com/office/drawing/2014/main" id="{72A0CEC9-0355-F7BF-A1BB-29DA06398056}"/>
              </a:ext>
            </a:extLst>
          </p:cNvPr>
          <p:cNvGrpSpPr/>
          <p:nvPr/>
        </p:nvGrpSpPr>
        <p:grpSpPr>
          <a:xfrm>
            <a:off x="11914277" y="2690015"/>
            <a:ext cx="612363" cy="56823"/>
            <a:chOff x="0" y="0"/>
            <a:chExt cx="1078484" cy="100076"/>
          </a:xfrm>
        </p:grpSpPr>
        <p:sp>
          <p:nvSpPr>
            <p:cNvPr id="9" name="Freeform 8">
              <a:extLst>
                <a:ext uri="{FF2B5EF4-FFF2-40B4-BE49-F238E27FC236}">
                  <a16:creationId xmlns:a16="http://schemas.microsoft.com/office/drawing/2014/main" id="{44F789F8-8A2F-4245-EBCE-EDD341395C81}"/>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spTree>
    <p:extLst>
      <p:ext uri="{BB962C8B-B14F-4D97-AF65-F5344CB8AC3E}">
        <p14:creationId xmlns:p14="http://schemas.microsoft.com/office/powerpoint/2010/main" val="1145768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Retângulo 12">
            <a:extLst>
              <a:ext uri="{FF2B5EF4-FFF2-40B4-BE49-F238E27FC236}">
                <a16:creationId xmlns:a16="http://schemas.microsoft.com/office/drawing/2014/main" id="{62395626-68FC-8A9A-B7D8-7D4B9CEC03F8}"/>
              </a:ext>
            </a:extLst>
          </p:cNvPr>
          <p:cNvSpPr/>
          <p:nvPr/>
        </p:nvSpPr>
        <p:spPr>
          <a:xfrm>
            <a:off x="14577979" y="5504647"/>
            <a:ext cx="3710021" cy="624840"/>
          </a:xfrm>
          <a:prstGeom prst="rect">
            <a:avLst/>
          </a:prstGeom>
          <a:solidFill>
            <a:schemeClr val="bg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212121"/>
              </a:solidFill>
              <a:effectLst/>
              <a:uLnTx/>
              <a:uFillTx/>
              <a:latin typeface="Arial"/>
              <a:ea typeface="+mn-ea"/>
              <a:cs typeface="+mn-cs"/>
              <a:sym typeface="Arial"/>
            </a:endParaRPr>
          </a:p>
        </p:txBody>
      </p:sp>
      <p:sp>
        <p:nvSpPr>
          <p:cNvPr id="83" name="Subtitle 2">
            <a:extLst>
              <a:ext uri="{FF2B5EF4-FFF2-40B4-BE49-F238E27FC236}">
                <a16:creationId xmlns:a16="http://schemas.microsoft.com/office/drawing/2014/main" id="{52451B16-70AF-F831-8FC6-073791F918FA}"/>
              </a:ext>
            </a:extLst>
          </p:cNvPr>
          <p:cNvSpPr txBox="1">
            <a:spLocks/>
          </p:cNvSpPr>
          <p:nvPr/>
        </p:nvSpPr>
        <p:spPr>
          <a:xfrm>
            <a:off x="414070" y="8126503"/>
            <a:ext cx="3279277" cy="1644773"/>
          </a:xfrm>
          <a:prstGeom prst="rect">
            <a:avLst/>
          </a:prstGeom>
        </p:spPr>
        <p:txBody>
          <a:bodyPr vert="horz" wrap="square" lIns="137124" tIns="68562" rIns="137124" bIns="68562"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just" defTabSz="1630966" rtl="0" eaLnBrk="1" fontAlgn="auto" latinLnBrk="0" hangingPunct="1">
              <a:lnSpc>
                <a:spcPts val="2400"/>
              </a:lnSpc>
              <a:spcBef>
                <a:spcPts val="0"/>
              </a:spcBef>
              <a:spcAft>
                <a:spcPts val="0"/>
              </a:spcAft>
              <a:buClrTx/>
              <a:buSzTx/>
              <a:buFont typeface="Arial"/>
              <a:buNone/>
              <a:tabLst/>
              <a:defRPr/>
            </a:pPr>
            <a:r>
              <a:rPr kumimoji="0" lang="en-US" sz="1400" b="0" i="0" u="none" strike="noStrike" kern="1200" cap="none" spc="0" normalizeH="0" baseline="0" noProof="0">
                <a:ln>
                  <a:noFill/>
                </a:ln>
                <a:solidFill>
                  <a:srgbClr val="212121">
                    <a:lumMod val="50000"/>
                    <a:lumOff val="50000"/>
                  </a:srgbClr>
                </a:solidFill>
                <a:effectLst/>
                <a:uLnTx/>
                <a:uFillTx/>
                <a:latin typeface="Montserrat" pitchFamily="2" charset="0"/>
                <a:ea typeface="Lato Light" panose="020F0502020204030203" pitchFamily="34" charset="0"/>
                <a:cs typeface="Arial" panose="020B0604020202020204" pitchFamily="34" charset="0"/>
                <a:sym typeface="Arial"/>
              </a:rPr>
              <a:t>Top #3 in Financial Services</a:t>
            </a:r>
          </a:p>
          <a:p>
            <a:pPr marL="0" marR="0" lvl="0" indent="0" algn="just" defTabSz="1630966" rtl="0" eaLnBrk="1" fontAlgn="auto" latinLnBrk="0" hangingPunct="1">
              <a:lnSpc>
                <a:spcPts val="2400"/>
              </a:lnSpc>
              <a:spcBef>
                <a:spcPts val="0"/>
              </a:spcBef>
              <a:spcAft>
                <a:spcPts val="0"/>
              </a:spcAft>
              <a:buClrTx/>
              <a:buSzTx/>
              <a:buFont typeface="Arial"/>
              <a:buNone/>
              <a:tabLst/>
              <a:defRPr/>
            </a:pPr>
            <a:r>
              <a:rPr kumimoji="0" lang="en-US" sz="1400" b="0" i="0" u="none" strike="noStrike" kern="1200" cap="none" spc="0" normalizeH="0" baseline="0" noProof="0">
                <a:ln>
                  <a:noFill/>
                </a:ln>
                <a:solidFill>
                  <a:srgbClr val="212121">
                    <a:lumMod val="50000"/>
                    <a:lumOff val="50000"/>
                  </a:srgbClr>
                </a:solidFill>
                <a:effectLst/>
                <a:uLnTx/>
                <a:uFillTx/>
                <a:latin typeface="Montserrat" pitchFamily="2" charset="0"/>
                <a:ea typeface="Lato Light" panose="020F0502020204030203" pitchFamily="34" charset="0"/>
                <a:cs typeface="Arial" panose="020B0604020202020204" pitchFamily="34" charset="0"/>
                <a:sym typeface="Arial"/>
              </a:rPr>
              <a:t>Top #3 in the Public Sector</a:t>
            </a:r>
          </a:p>
          <a:p>
            <a:pPr marL="0" marR="0" lvl="0" indent="0" algn="just" defTabSz="1630966" rtl="0" eaLnBrk="1" fontAlgn="auto" latinLnBrk="0" hangingPunct="1">
              <a:lnSpc>
                <a:spcPts val="2400"/>
              </a:lnSpc>
              <a:spcBef>
                <a:spcPts val="0"/>
              </a:spcBef>
              <a:spcAft>
                <a:spcPts val="0"/>
              </a:spcAft>
              <a:buClrTx/>
              <a:buSzTx/>
              <a:buFont typeface="Arial"/>
              <a:buNone/>
              <a:tabLst/>
              <a:defRPr/>
            </a:pPr>
            <a:r>
              <a:rPr kumimoji="0" lang="en-US" sz="1400" b="0" i="0" u="none" strike="noStrike" kern="1200" cap="none" spc="0" normalizeH="0" baseline="0" noProof="0">
                <a:ln>
                  <a:noFill/>
                </a:ln>
                <a:solidFill>
                  <a:srgbClr val="212121">
                    <a:lumMod val="50000"/>
                    <a:lumOff val="50000"/>
                  </a:srgbClr>
                </a:solidFill>
                <a:effectLst/>
                <a:uLnTx/>
                <a:uFillTx/>
                <a:latin typeface="Montserrat" pitchFamily="2" charset="0"/>
                <a:ea typeface="Lato Light" panose="020F0502020204030203" pitchFamily="34" charset="0"/>
                <a:cs typeface="Arial" panose="020B0604020202020204" pitchFamily="34" charset="0"/>
                <a:sym typeface="Arial"/>
              </a:rPr>
              <a:t>Top #5 in the Retail Sector</a:t>
            </a:r>
          </a:p>
          <a:p>
            <a:pPr marL="0" marR="0" lvl="0" indent="0" algn="just" defTabSz="1630966" rtl="0" eaLnBrk="1" fontAlgn="auto" latinLnBrk="0" hangingPunct="1">
              <a:lnSpc>
                <a:spcPts val="2400"/>
              </a:lnSpc>
              <a:spcBef>
                <a:spcPts val="0"/>
              </a:spcBef>
              <a:spcAft>
                <a:spcPts val="0"/>
              </a:spcAft>
              <a:buClrTx/>
              <a:buSzTx/>
              <a:buFont typeface="Arial"/>
              <a:buNone/>
              <a:tabLst/>
              <a:defRPr/>
            </a:pPr>
            <a:r>
              <a:rPr kumimoji="0" lang="en-US" sz="1400" b="0" i="0" u="none" strike="noStrike" kern="1200" cap="none" spc="0" normalizeH="0" baseline="0" noProof="0">
                <a:ln>
                  <a:noFill/>
                </a:ln>
                <a:solidFill>
                  <a:srgbClr val="212121">
                    <a:lumMod val="50000"/>
                    <a:lumOff val="50000"/>
                  </a:srgbClr>
                </a:solidFill>
                <a:effectLst/>
                <a:uLnTx/>
                <a:uFillTx/>
                <a:latin typeface="Montserrat" pitchFamily="2" charset="0"/>
                <a:ea typeface="Lato Light" panose="020F0502020204030203" pitchFamily="34" charset="0"/>
                <a:cs typeface="Arial" panose="020B0604020202020204" pitchFamily="34" charset="0"/>
                <a:sym typeface="Arial"/>
              </a:rPr>
              <a:t>Top #5 in the Utilities Sector</a:t>
            </a:r>
          </a:p>
          <a:p>
            <a:pPr marL="0" marR="0" lvl="0" indent="0" algn="just" defTabSz="1630966" rtl="0" eaLnBrk="1" fontAlgn="auto" latinLnBrk="0" hangingPunct="1">
              <a:lnSpc>
                <a:spcPts val="2400"/>
              </a:lnSpc>
              <a:spcBef>
                <a:spcPts val="0"/>
              </a:spcBef>
              <a:spcAft>
                <a:spcPts val="0"/>
              </a:spcAft>
              <a:buClrTx/>
              <a:buSzTx/>
              <a:buFont typeface="Arial"/>
              <a:buNone/>
              <a:tabLst/>
              <a:defRPr/>
            </a:pPr>
            <a:endParaRPr kumimoji="0" lang="en-US" sz="1400" b="0" i="0" u="none" strike="noStrike" kern="1200" cap="none" spc="0" normalizeH="0" baseline="0" noProof="0">
              <a:ln>
                <a:noFill/>
              </a:ln>
              <a:solidFill>
                <a:srgbClr val="212121">
                  <a:lumMod val="50000"/>
                  <a:lumOff val="50000"/>
                </a:srgbClr>
              </a:solidFill>
              <a:effectLst/>
              <a:uLnTx/>
              <a:uFillTx/>
              <a:latin typeface="Montserrat" pitchFamily="2" charset="0"/>
              <a:ea typeface="Lato Light" panose="020F0502020204030203" pitchFamily="34" charset="0"/>
              <a:cs typeface="Arial" panose="020B0604020202020204" pitchFamily="34" charset="0"/>
              <a:sym typeface="Arial"/>
            </a:endParaRPr>
          </a:p>
        </p:txBody>
      </p:sp>
      <p:grpSp>
        <p:nvGrpSpPr>
          <p:cNvPr id="69" name="Group 37">
            <a:extLst>
              <a:ext uri="{FF2B5EF4-FFF2-40B4-BE49-F238E27FC236}">
                <a16:creationId xmlns:a16="http://schemas.microsoft.com/office/drawing/2014/main" id="{C9F6486B-8B60-4192-02AF-D58A72B81287}"/>
              </a:ext>
            </a:extLst>
          </p:cNvPr>
          <p:cNvGrpSpPr/>
          <p:nvPr/>
        </p:nvGrpSpPr>
        <p:grpSpPr>
          <a:xfrm>
            <a:off x="5897719" y="1231736"/>
            <a:ext cx="3200382" cy="1075487"/>
            <a:chOff x="6664556" y="8693299"/>
            <a:chExt cx="3814402" cy="1435834"/>
          </a:xfrm>
        </p:grpSpPr>
        <p:sp>
          <p:nvSpPr>
            <p:cNvPr id="70" name="Subtitle 2">
              <a:extLst>
                <a:ext uri="{FF2B5EF4-FFF2-40B4-BE49-F238E27FC236}">
                  <a16:creationId xmlns:a16="http://schemas.microsoft.com/office/drawing/2014/main" id="{36F248D7-AE4A-8CD7-45BB-2954652B8986}"/>
                </a:ext>
              </a:extLst>
            </p:cNvPr>
            <p:cNvSpPr txBox="1">
              <a:spLocks/>
            </p:cNvSpPr>
            <p:nvPr/>
          </p:nvSpPr>
          <p:spPr>
            <a:xfrm>
              <a:off x="7405103" y="9170589"/>
              <a:ext cx="3073855" cy="958544"/>
            </a:xfrm>
            <a:prstGeom prst="rect">
              <a:avLst/>
            </a:prstGeom>
          </p:spPr>
          <p:txBody>
            <a:bodyPr vert="horz" wrap="square" lIns="137124" tIns="68562" rIns="137124" bIns="68562"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630966" rtl="0" eaLnBrk="1" fontAlgn="auto" latinLnBrk="0" hangingPunct="1">
                <a:lnSpc>
                  <a:spcPts val="2400"/>
                </a:lnSpc>
                <a:spcBef>
                  <a:spcPts val="0"/>
                </a:spcBef>
                <a:spcAft>
                  <a:spcPts val="0"/>
                </a:spcAft>
                <a:buClrTx/>
                <a:buSzTx/>
                <a:buFont typeface="Arial"/>
                <a:buNone/>
                <a:tabLst/>
                <a:defRPr/>
              </a:pPr>
              <a:r>
                <a:rPr kumimoji="0" lang="en-US" sz="1400" b="0" i="0" u="none" strike="noStrike" kern="1200" cap="none" spc="0" normalizeH="0" baseline="0" noProof="0">
                  <a:ln>
                    <a:noFill/>
                  </a:ln>
                  <a:solidFill>
                    <a:srgbClr val="212121">
                      <a:lumMod val="50000"/>
                      <a:lumOff val="50000"/>
                    </a:srgbClr>
                  </a:solidFill>
                  <a:effectLst/>
                  <a:uLnTx/>
                  <a:uFillTx/>
                  <a:latin typeface="Montserrat" pitchFamily="2" charset="0"/>
                  <a:ea typeface="Lato Light" panose="020F0502020204030203" pitchFamily="34" charset="0"/>
                  <a:cs typeface="Arial" panose="020B0604020202020204" pitchFamily="34" charset="0"/>
                  <a:sym typeface="Arial"/>
                </a:rPr>
                <a:t>Diversity and Inclusion</a:t>
              </a:r>
            </a:p>
            <a:p>
              <a:pPr marL="0" marR="0" lvl="0" indent="0" algn="l" defTabSz="1630966" rtl="0" eaLnBrk="1" fontAlgn="auto" latinLnBrk="0" hangingPunct="1">
                <a:lnSpc>
                  <a:spcPts val="2400"/>
                </a:lnSpc>
                <a:spcBef>
                  <a:spcPts val="0"/>
                </a:spcBef>
                <a:spcAft>
                  <a:spcPts val="0"/>
                </a:spcAft>
                <a:buClrTx/>
                <a:buSzTx/>
                <a:buFont typeface="Arial"/>
                <a:buNone/>
                <a:tabLst/>
                <a:defRPr/>
              </a:pPr>
              <a:r>
                <a:rPr kumimoji="0" lang="en-US" sz="1400" b="0" i="0" u="none" strike="noStrike" kern="1200" cap="none" spc="0" normalizeH="0" baseline="0" noProof="0">
                  <a:ln>
                    <a:noFill/>
                  </a:ln>
                  <a:solidFill>
                    <a:srgbClr val="212121">
                      <a:lumMod val="50000"/>
                      <a:lumOff val="50000"/>
                    </a:srgbClr>
                  </a:solidFill>
                  <a:effectLst/>
                  <a:uLnTx/>
                  <a:uFillTx/>
                  <a:latin typeface="Montserrat" pitchFamily="2" charset="0"/>
                  <a:ea typeface="Lato Light" panose="020F0502020204030203" pitchFamily="34" charset="0"/>
                  <a:cs typeface="Arial" panose="020B0604020202020204" pitchFamily="34" charset="0"/>
                  <a:sym typeface="Arial"/>
                </a:rPr>
                <a:t>Sustainable Capitalism</a:t>
              </a:r>
            </a:p>
          </p:txBody>
        </p:sp>
        <p:cxnSp>
          <p:nvCxnSpPr>
            <p:cNvPr id="71" name="Straight Connector 40">
              <a:extLst>
                <a:ext uri="{FF2B5EF4-FFF2-40B4-BE49-F238E27FC236}">
                  <a16:creationId xmlns:a16="http://schemas.microsoft.com/office/drawing/2014/main" id="{B9DCFA17-A3A6-F7B6-DC28-625070B92341}"/>
                </a:ext>
              </a:extLst>
            </p:cNvPr>
            <p:cNvCxnSpPr/>
            <p:nvPr/>
          </p:nvCxnSpPr>
          <p:spPr>
            <a:xfrm>
              <a:off x="6664556" y="8693299"/>
              <a:ext cx="1840990" cy="0"/>
            </a:xfrm>
            <a:prstGeom prst="line">
              <a:avLst/>
            </a:prstGeom>
            <a:noFill/>
            <a:ln w="38100" cap="flat" cmpd="sng" algn="ctr">
              <a:solidFill>
                <a:sysClr val="window" lastClr="FFFFFF">
                  <a:lumMod val="90000"/>
                  <a:lumOff val="10000"/>
                </a:sysClr>
              </a:solidFill>
              <a:prstDash val="solid"/>
              <a:miter lim="800000"/>
            </a:ln>
            <a:effectLst/>
          </p:spPr>
        </p:cxnSp>
      </p:grpSp>
      <p:sp>
        <p:nvSpPr>
          <p:cNvPr id="72" name="Oval 56">
            <a:extLst>
              <a:ext uri="{FF2B5EF4-FFF2-40B4-BE49-F238E27FC236}">
                <a16:creationId xmlns:a16="http://schemas.microsoft.com/office/drawing/2014/main" id="{8EBD2E13-9AEB-30BC-8A05-22CC415C457A}"/>
              </a:ext>
            </a:extLst>
          </p:cNvPr>
          <p:cNvSpPr/>
          <p:nvPr/>
        </p:nvSpPr>
        <p:spPr>
          <a:xfrm>
            <a:off x="2594653" y="2719529"/>
            <a:ext cx="4906248" cy="4906248"/>
          </a:xfrm>
          <a:prstGeom prst="ellipse">
            <a:avLst/>
          </a:prstGeom>
          <a:noFill/>
          <a:ln w="25400" cap="flat" cmpd="sng" algn="ctr">
            <a:solidFill>
              <a:srgbClr val="6800FF">
                <a:lumMod val="40000"/>
                <a:lumOff val="60000"/>
              </a:srgbClr>
            </a:solidFill>
            <a:prstDash val="sysDot"/>
          </a:ln>
          <a:effectLst/>
        </p:spPr>
        <p:txBody>
          <a:bodyPr rtlCol="0" anchor="ctr"/>
          <a:lstStyle/>
          <a:p>
            <a:pPr marL="0" marR="0" lvl="0" indent="0" algn="ctr" defTabSz="1371600" rtl="0" eaLnBrk="0" fontAlgn="base" latinLnBrk="0" hangingPunct="0">
              <a:lnSpc>
                <a:spcPct val="100000"/>
              </a:lnSpc>
              <a:spcBef>
                <a:spcPct val="50000"/>
              </a:spcBef>
              <a:spcAft>
                <a:spcPct val="0"/>
              </a:spcAft>
              <a:buClrTx/>
              <a:buSzTx/>
              <a:buFont typeface="Arial"/>
              <a:buNone/>
              <a:tabLst/>
              <a:defRPr/>
            </a:pPr>
            <a:endParaRPr kumimoji="0" lang="en-US" sz="2026" b="0" i="0" u="none" strike="noStrike" kern="1200" cap="none" spc="0" normalizeH="0" baseline="0" noProof="0">
              <a:ln>
                <a:noFill/>
              </a:ln>
              <a:solidFill>
                <a:prstClr val="white"/>
              </a:solidFill>
              <a:effectLst/>
              <a:uLnTx/>
              <a:uFillTx/>
              <a:ea typeface="MS PGothic"/>
              <a:cs typeface="Arial" panose="020B0604020202020204" pitchFamily="34" charset="0"/>
              <a:sym typeface="Arial"/>
            </a:endParaRPr>
          </a:p>
        </p:txBody>
      </p:sp>
      <p:sp>
        <p:nvSpPr>
          <p:cNvPr id="73" name="Oval 58">
            <a:extLst>
              <a:ext uri="{FF2B5EF4-FFF2-40B4-BE49-F238E27FC236}">
                <a16:creationId xmlns:a16="http://schemas.microsoft.com/office/drawing/2014/main" id="{F4F86FE6-C043-F84D-CA1C-7769D5E2B82C}"/>
              </a:ext>
            </a:extLst>
          </p:cNvPr>
          <p:cNvSpPr/>
          <p:nvPr/>
        </p:nvSpPr>
        <p:spPr>
          <a:xfrm>
            <a:off x="6038650" y="5872508"/>
            <a:ext cx="2002536" cy="2002536"/>
          </a:xfrm>
          <a:prstGeom prst="ellipse">
            <a:avLst/>
          </a:prstGeom>
          <a:gradFill>
            <a:gsLst>
              <a:gs pos="33000">
                <a:srgbClr val="F2F2F2"/>
              </a:gs>
              <a:gs pos="100000">
                <a:srgbClr val="FBFBFB"/>
              </a:gs>
            </a:gsLst>
            <a:lin ang="5400000" scaled="1"/>
          </a:gradFill>
          <a:ln w="25400" cap="flat" cmpd="sng" algn="ctr">
            <a:noFill/>
            <a:prstDash val="solid"/>
          </a:ln>
          <a:effectLst>
            <a:outerShdw blurRad="330200" dist="342900" dir="5400000" algn="t" rotWithShape="0">
              <a:prstClr val="black">
                <a:alpha val="10000"/>
              </a:prstClr>
            </a:outerShdw>
          </a:effectLst>
        </p:spPr>
        <p:txBody>
          <a:bodyPr rtlCol="0" anchor="ctr"/>
          <a:lstStyle/>
          <a:p>
            <a:pPr marL="0" marR="0" lvl="0" indent="0" algn="ctr" defTabSz="1371600" rtl="0" eaLnBrk="0" fontAlgn="base" latinLnBrk="0" hangingPunct="0">
              <a:lnSpc>
                <a:spcPct val="100000"/>
              </a:lnSpc>
              <a:spcBef>
                <a:spcPct val="50000"/>
              </a:spcBef>
              <a:spcAft>
                <a:spcPct val="0"/>
              </a:spcAft>
              <a:buClrTx/>
              <a:buSzTx/>
              <a:buFont typeface="Arial"/>
              <a:buNone/>
              <a:tabLst/>
              <a:defRPr/>
            </a:pPr>
            <a:endParaRPr kumimoji="0" lang="en-US" sz="2026" b="0" i="0" u="none" strike="noStrike" kern="1200" cap="none" spc="0" normalizeH="0" baseline="0" noProof="0">
              <a:ln>
                <a:noFill/>
              </a:ln>
              <a:solidFill>
                <a:prstClr val="white"/>
              </a:solidFill>
              <a:effectLst/>
              <a:uLnTx/>
              <a:uFillTx/>
              <a:ea typeface="MS PGothic"/>
              <a:cs typeface="Arial" panose="020B0604020202020204" pitchFamily="34" charset="0"/>
              <a:sym typeface="Arial"/>
            </a:endParaRPr>
          </a:p>
        </p:txBody>
      </p:sp>
      <p:sp>
        <p:nvSpPr>
          <p:cNvPr id="74" name="Oval 59">
            <a:extLst>
              <a:ext uri="{FF2B5EF4-FFF2-40B4-BE49-F238E27FC236}">
                <a16:creationId xmlns:a16="http://schemas.microsoft.com/office/drawing/2014/main" id="{52C24673-E36F-C808-AF97-E52D654B7BC7}"/>
              </a:ext>
            </a:extLst>
          </p:cNvPr>
          <p:cNvSpPr/>
          <p:nvPr/>
        </p:nvSpPr>
        <p:spPr>
          <a:xfrm>
            <a:off x="2148667" y="5870303"/>
            <a:ext cx="1996630" cy="1996630"/>
          </a:xfrm>
          <a:prstGeom prst="ellipse">
            <a:avLst/>
          </a:prstGeom>
          <a:gradFill>
            <a:gsLst>
              <a:gs pos="33000">
                <a:srgbClr val="F2F2F2"/>
              </a:gs>
              <a:gs pos="100000">
                <a:srgbClr val="FBFBFB"/>
              </a:gs>
            </a:gsLst>
            <a:lin ang="5400000" scaled="1"/>
          </a:gradFill>
          <a:ln w="25400" cap="flat" cmpd="sng" algn="ctr">
            <a:noFill/>
            <a:prstDash val="solid"/>
          </a:ln>
          <a:effectLst>
            <a:outerShdw blurRad="330200" dist="431800" dir="5400000" algn="t" rotWithShape="0">
              <a:prstClr val="black">
                <a:alpha val="10000"/>
              </a:prstClr>
            </a:outerShdw>
          </a:effectLst>
        </p:spPr>
        <p:txBody>
          <a:bodyPr rtlCol="0" anchor="ctr"/>
          <a:lstStyle/>
          <a:p>
            <a:pPr marL="0" marR="0" lvl="0" indent="0" algn="ctr" defTabSz="1371600" rtl="0" eaLnBrk="0" fontAlgn="base" latinLnBrk="0" hangingPunct="0">
              <a:lnSpc>
                <a:spcPct val="100000"/>
              </a:lnSpc>
              <a:spcBef>
                <a:spcPct val="50000"/>
              </a:spcBef>
              <a:spcAft>
                <a:spcPct val="0"/>
              </a:spcAft>
              <a:buClrTx/>
              <a:buSzTx/>
              <a:buFont typeface="Arial"/>
              <a:buNone/>
              <a:tabLst/>
              <a:defRPr/>
            </a:pPr>
            <a:endParaRPr kumimoji="0" lang="en-US" sz="2026" b="0" i="0" u="none" strike="noStrike" kern="1200" cap="none" spc="0" normalizeH="0" baseline="0" noProof="0">
              <a:ln>
                <a:noFill/>
              </a:ln>
              <a:solidFill>
                <a:prstClr val="white"/>
              </a:solidFill>
              <a:effectLst/>
              <a:uLnTx/>
              <a:uFillTx/>
              <a:ea typeface="MS PGothic"/>
              <a:cs typeface="Arial" panose="020B0604020202020204" pitchFamily="34" charset="0"/>
              <a:sym typeface="Arial"/>
            </a:endParaRPr>
          </a:p>
        </p:txBody>
      </p:sp>
      <p:sp>
        <p:nvSpPr>
          <p:cNvPr id="75" name="Oval 78">
            <a:extLst>
              <a:ext uri="{FF2B5EF4-FFF2-40B4-BE49-F238E27FC236}">
                <a16:creationId xmlns:a16="http://schemas.microsoft.com/office/drawing/2014/main" id="{7D17F870-804F-CD2D-ED46-C5365C82C67E}"/>
              </a:ext>
            </a:extLst>
          </p:cNvPr>
          <p:cNvSpPr/>
          <p:nvPr/>
        </p:nvSpPr>
        <p:spPr>
          <a:xfrm>
            <a:off x="5976028" y="2686854"/>
            <a:ext cx="2002536" cy="2002536"/>
          </a:xfrm>
          <a:prstGeom prst="ellipse">
            <a:avLst/>
          </a:prstGeom>
          <a:gradFill>
            <a:gsLst>
              <a:gs pos="33000">
                <a:srgbClr val="F2F2F2"/>
              </a:gs>
              <a:gs pos="100000">
                <a:srgbClr val="FBFBFB"/>
              </a:gs>
            </a:gsLst>
            <a:lin ang="5400000" scaled="1"/>
          </a:gradFill>
          <a:ln w="25400" cap="flat" cmpd="sng" algn="ctr">
            <a:noFill/>
            <a:prstDash val="solid"/>
          </a:ln>
          <a:effectLst>
            <a:outerShdw blurRad="330200" dist="317500" dir="5400000" algn="t" rotWithShape="0">
              <a:prstClr val="black">
                <a:alpha val="10000"/>
              </a:prstClr>
            </a:outerShdw>
          </a:effectLst>
        </p:spPr>
        <p:txBody>
          <a:bodyPr rtlCol="0" anchor="ctr"/>
          <a:lstStyle/>
          <a:p>
            <a:pPr marL="0" marR="0" lvl="0" indent="0" algn="ctr" defTabSz="1371600" rtl="0" eaLnBrk="0" fontAlgn="base" latinLnBrk="0" hangingPunct="0">
              <a:lnSpc>
                <a:spcPct val="100000"/>
              </a:lnSpc>
              <a:spcBef>
                <a:spcPct val="50000"/>
              </a:spcBef>
              <a:spcAft>
                <a:spcPct val="0"/>
              </a:spcAft>
              <a:buClrTx/>
              <a:buSzTx/>
              <a:buFont typeface="Arial"/>
              <a:buNone/>
              <a:tabLst/>
              <a:defRPr/>
            </a:pPr>
            <a:endParaRPr kumimoji="0" lang="en-US" sz="2026" b="0" i="0" u="none" strike="noStrike" kern="1200" cap="none" spc="0" normalizeH="0" baseline="0" noProof="0">
              <a:ln>
                <a:noFill/>
              </a:ln>
              <a:solidFill>
                <a:prstClr val="white"/>
              </a:solidFill>
              <a:effectLst/>
              <a:uLnTx/>
              <a:uFillTx/>
              <a:ea typeface="MS PGothic"/>
              <a:cs typeface="Arial" panose="020B0604020202020204" pitchFamily="34" charset="0"/>
              <a:sym typeface="Arial"/>
            </a:endParaRPr>
          </a:p>
        </p:txBody>
      </p:sp>
      <p:sp>
        <p:nvSpPr>
          <p:cNvPr id="76" name="Oval 79">
            <a:extLst>
              <a:ext uri="{FF2B5EF4-FFF2-40B4-BE49-F238E27FC236}">
                <a16:creationId xmlns:a16="http://schemas.microsoft.com/office/drawing/2014/main" id="{EB0BFC7E-34EF-D607-0E93-46EA07F061E0}"/>
              </a:ext>
            </a:extLst>
          </p:cNvPr>
          <p:cNvSpPr/>
          <p:nvPr/>
        </p:nvSpPr>
        <p:spPr>
          <a:xfrm>
            <a:off x="2192376" y="2681112"/>
            <a:ext cx="2002536" cy="2002536"/>
          </a:xfrm>
          <a:prstGeom prst="ellipse">
            <a:avLst/>
          </a:prstGeom>
          <a:gradFill>
            <a:gsLst>
              <a:gs pos="33000">
                <a:srgbClr val="F2F2F2"/>
              </a:gs>
              <a:gs pos="100000">
                <a:srgbClr val="FBFBFB"/>
              </a:gs>
            </a:gsLst>
            <a:lin ang="5400000" scaled="1"/>
          </a:gradFill>
          <a:ln w="25400" cap="flat" cmpd="sng" algn="ctr">
            <a:noFill/>
            <a:prstDash val="solid"/>
          </a:ln>
          <a:effectLst>
            <a:outerShdw blurRad="330200" dist="317500" dir="5400000" algn="t" rotWithShape="0">
              <a:prstClr val="black">
                <a:alpha val="10000"/>
              </a:prstClr>
            </a:outerShdw>
          </a:effectLst>
        </p:spPr>
        <p:txBody>
          <a:bodyPr rtlCol="0" anchor="ctr"/>
          <a:lstStyle/>
          <a:p>
            <a:pPr marL="0" marR="0" lvl="0" indent="0" algn="ctr" defTabSz="1371600" rtl="0" eaLnBrk="0" fontAlgn="base" latinLnBrk="0" hangingPunct="0">
              <a:lnSpc>
                <a:spcPct val="100000"/>
              </a:lnSpc>
              <a:spcBef>
                <a:spcPct val="50000"/>
              </a:spcBef>
              <a:spcAft>
                <a:spcPct val="0"/>
              </a:spcAft>
              <a:buClrTx/>
              <a:buSzTx/>
              <a:buFont typeface="Arial"/>
              <a:buNone/>
              <a:tabLst/>
              <a:defRPr/>
            </a:pPr>
            <a:endParaRPr kumimoji="0" lang="en-US" sz="2026" b="0" i="0" u="none" strike="noStrike" kern="1200" cap="none" spc="0" normalizeH="0" baseline="0" noProof="0">
              <a:ln>
                <a:noFill/>
              </a:ln>
              <a:solidFill>
                <a:prstClr val="white"/>
              </a:solidFill>
              <a:effectLst/>
              <a:uLnTx/>
              <a:uFillTx/>
              <a:ea typeface="MS PGothic"/>
              <a:cs typeface="Arial" panose="020B0604020202020204" pitchFamily="34" charset="0"/>
              <a:sym typeface="Arial"/>
            </a:endParaRPr>
          </a:p>
        </p:txBody>
      </p:sp>
      <p:sp>
        <p:nvSpPr>
          <p:cNvPr id="77" name="Oval 86">
            <a:extLst>
              <a:ext uri="{FF2B5EF4-FFF2-40B4-BE49-F238E27FC236}">
                <a16:creationId xmlns:a16="http://schemas.microsoft.com/office/drawing/2014/main" id="{8DC394B4-64B8-B91B-B4A0-BBFE71A998AA}"/>
              </a:ext>
            </a:extLst>
          </p:cNvPr>
          <p:cNvSpPr/>
          <p:nvPr/>
        </p:nvSpPr>
        <p:spPr>
          <a:xfrm>
            <a:off x="3335237" y="3385204"/>
            <a:ext cx="3496876" cy="3496878"/>
          </a:xfrm>
          <a:prstGeom prst="ellipse">
            <a:avLst/>
          </a:prstGeom>
          <a:solidFill>
            <a:srgbClr val="6800FF">
              <a:alpha val="80000"/>
            </a:srgbClr>
          </a:solidFill>
          <a:ln w="3175"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1371600" rtl="0" eaLnBrk="0" fontAlgn="base" latinLnBrk="0" hangingPunct="0">
              <a:lnSpc>
                <a:spcPct val="100000"/>
              </a:lnSpc>
              <a:spcBef>
                <a:spcPct val="50000"/>
              </a:spcBef>
              <a:spcAft>
                <a:spcPct val="0"/>
              </a:spcAft>
              <a:buClrTx/>
              <a:buSzTx/>
              <a:buFont typeface="Arial"/>
              <a:buNone/>
              <a:tabLst/>
              <a:defRPr/>
            </a:pPr>
            <a:endParaRPr kumimoji="0" lang="en-US" sz="2026" b="0" i="0" u="none" strike="noStrike" kern="1200" cap="none" spc="0" normalizeH="0" baseline="0" noProof="0">
              <a:ln>
                <a:noFill/>
              </a:ln>
              <a:solidFill>
                <a:prstClr val="white"/>
              </a:solidFill>
              <a:effectLst/>
              <a:uLnTx/>
              <a:uFillTx/>
              <a:ea typeface="MS PGothic"/>
              <a:cs typeface="Arial" panose="020B0604020202020204" pitchFamily="34" charset="0"/>
              <a:sym typeface="Arial"/>
            </a:endParaRPr>
          </a:p>
        </p:txBody>
      </p:sp>
      <p:sp>
        <p:nvSpPr>
          <p:cNvPr id="78" name="TextBox 43">
            <a:extLst>
              <a:ext uri="{FF2B5EF4-FFF2-40B4-BE49-F238E27FC236}">
                <a16:creationId xmlns:a16="http://schemas.microsoft.com/office/drawing/2014/main" id="{24D7374E-AF67-E962-FFA8-750C33E78FFE}"/>
              </a:ext>
            </a:extLst>
          </p:cNvPr>
          <p:cNvSpPr txBox="1"/>
          <p:nvPr/>
        </p:nvSpPr>
        <p:spPr>
          <a:xfrm>
            <a:off x="2300394" y="3717382"/>
            <a:ext cx="1499664" cy="691408"/>
          </a:xfrm>
          <a:prstGeom prst="rect">
            <a:avLst/>
          </a:prstGeom>
          <a:noFill/>
        </p:spPr>
        <p:txBody>
          <a:bodyPr wrap="square" rtlCol="0" anchor="ctr" anchorCtr="0">
            <a:spAutoFit/>
          </a:bodyPr>
          <a:lstStyle/>
          <a:p>
            <a:pPr marL="0" marR="0" lvl="0" indent="0" algn="ctr" defTabSz="2741828" rtl="0" eaLnBrk="1" fontAlgn="auto" latinLnBrk="0" hangingPunct="1">
              <a:lnSpc>
                <a:spcPts val="1600"/>
              </a:lnSpc>
              <a:spcBef>
                <a:spcPts val="0"/>
              </a:spcBef>
              <a:spcAft>
                <a:spcPts val="0"/>
              </a:spcAft>
              <a:buClrTx/>
              <a:buSzTx/>
              <a:buFontTx/>
              <a:buNone/>
              <a:tabLst/>
              <a:defRPr/>
            </a:pPr>
            <a:r>
              <a:rPr kumimoji="0" lang="en-US" sz="1100" b="1" i="0" u="none" strike="noStrike" kern="0" cap="none" spc="0" normalizeH="0" baseline="0" noProof="0">
                <a:ln>
                  <a:noFill/>
                </a:ln>
                <a:solidFill>
                  <a:srgbClr val="6800FF">
                    <a:lumMod val="60000"/>
                    <a:lumOff val="40000"/>
                  </a:srgbClr>
                </a:solidFill>
                <a:effectLst/>
                <a:uLnTx/>
                <a:uFillTx/>
                <a:latin typeface="Montserrat" pitchFamily="2" charset="0"/>
                <a:ea typeface="League Spartan" charset="0"/>
                <a:cs typeface="Arial" panose="020B0604020202020204" pitchFamily="34" charset="0"/>
                <a:sym typeface="Arial"/>
              </a:rPr>
              <a:t>FOLLOWING THE INNOVATION CURVE</a:t>
            </a:r>
          </a:p>
        </p:txBody>
      </p:sp>
      <p:sp>
        <p:nvSpPr>
          <p:cNvPr id="79" name="Subtitle 2">
            <a:extLst>
              <a:ext uri="{FF2B5EF4-FFF2-40B4-BE49-F238E27FC236}">
                <a16:creationId xmlns:a16="http://schemas.microsoft.com/office/drawing/2014/main" id="{C9515FF0-098B-CD59-0DD6-32E487028CB9}"/>
              </a:ext>
            </a:extLst>
          </p:cNvPr>
          <p:cNvSpPr txBox="1">
            <a:spLocks/>
          </p:cNvSpPr>
          <p:nvPr/>
        </p:nvSpPr>
        <p:spPr>
          <a:xfrm>
            <a:off x="509996" y="1022535"/>
            <a:ext cx="4009312" cy="689191"/>
          </a:xfrm>
          <a:prstGeom prst="rect">
            <a:avLst/>
          </a:prstGeom>
        </p:spPr>
        <p:txBody>
          <a:bodyPr vert="horz" wrap="square" lIns="137124" tIns="68562" rIns="137124" bIns="68562"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630966" rtl="0" eaLnBrk="1" fontAlgn="auto" latinLnBrk="0" hangingPunct="1">
              <a:lnSpc>
                <a:spcPts val="2200"/>
              </a:lnSpc>
              <a:spcBef>
                <a:spcPts val="0"/>
              </a:spcBef>
              <a:spcAft>
                <a:spcPts val="0"/>
              </a:spcAft>
              <a:buClrTx/>
              <a:buSzTx/>
              <a:buFont typeface="Arial"/>
              <a:buNone/>
              <a:tabLst/>
              <a:defRPr/>
            </a:pPr>
            <a:r>
              <a:rPr kumimoji="0" lang="en-US" sz="1800" b="0" i="0" u="none" strike="noStrike" kern="1200" cap="none" spc="0" normalizeH="0" baseline="0" noProof="0">
                <a:ln>
                  <a:noFill/>
                </a:ln>
                <a:solidFill>
                  <a:srgbClr val="6800FF"/>
                </a:solidFill>
                <a:effectLst/>
                <a:uLnTx/>
                <a:uFillTx/>
                <a:latin typeface="Montserrat SemiBold" pitchFamily="2" charset="0"/>
                <a:ea typeface="Lato Light" panose="020F0502020204030203" pitchFamily="34" charset="0"/>
                <a:cs typeface="Arial" panose="020B0604020202020204" pitchFamily="34" charset="0"/>
                <a:sym typeface="Arial"/>
              </a:rPr>
              <a:t>Global technology company with roots in Brazil.</a:t>
            </a:r>
          </a:p>
        </p:txBody>
      </p:sp>
      <p:sp>
        <p:nvSpPr>
          <p:cNvPr id="80" name="Subtitle 2">
            <a:extLst>
              <a:ext uri="{FF2B5EF4-FFF2-40B4-BE49-F238E27FC236}">
                <a16:creationId xmlns:a16="http://schemas.microsoft.com/office/drawing/2014/main" id="{1E85A7A1-549E-19E7-AE8E-0837C81C9EFF}"/>
              </a:ext>
            </a:extLst>
          </p:cNvPr>
          <p:cNvSpPr txBox="1">
            <a:spLocks/>
          </p:cNvSpPr>
          <p:nvPr/>
        </p:nvSpPr>
        <p:spPr>
          <a:xfrm>
            <a:off x="6708431" y="8330724"/>
            <a:ext cx="3711662" cy="1641310"/>
          </a:xfrm>
          <a:prstGeom prst="rect">
            <a:avLst/>
          </a:prstGeom>
        </p:spPr>
        <p:txBody>
          <a:bodyPr vert="horz" wrap="square" lIns="137124" tIns="68562" rIns="137124" bIns="68562"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630966" rtl="0" eaLnBrk="1" fontAlgn="auto" latinLnBrk="0" hangingPunct="1">
              <a:lnSpc>
                <a:spcPts val="2400"/>
              </a:lnSpc>
              <a:spcBef>
                <a:spcPts val="0"/>
              </a:spcBef>
              <a:spcAft>
                <a:spcPts val="0"/>
              </a:spcAft>
              <a:buClrTx/>
              <a:buSzTx/>
              <a:buFont typeface="Arial"/>
              <a:buNone/>
              <a:tabLst/>
              <a:defRPr/>
            </a:pPr>
            <a:r>
              <a:rPr kumimoji="0" lang="en-US" sz="1400" b="0" i="0" u="none" strike="noStrike" kern="1200" cap="none" spc="0" normalizeH="0" baseline="0" noProof="0">
                <a:ln>
                  <a:noFill/>
                </a:ln>
                <a:solidFill>
                  <a:srgbClr val="212121">
                    <a:lumMod val="50000"/>
                    <a:lumOff val="50000"/>
                  </a:srgbClr>
                </a:solidFill>
                <a:effectLst/>
                <a:uLnTx/>
                <a:uFillTx/>
                <a:latin typeface="Montserrat" pitchFamily="2" charset="0"/>
                <a:ea typeface="Lato Light" panose="020F0502020204030203" pitchFamily="34" charset="0"/>
                <a:cs typeface="Arial" panose="020B0604020202020204" pitchFamily="34" charset="0"/>
                <a:sym typeface="Arial"/>
              </a:rPr>
              <a:t>Global Entrepreneur Network</a:t>
            </a:r>
          </a:p>
          <a:p>
            <a:pPr marL="0" marR="0" lvl="0" indent="0" algn="l" defTabSz="1630966" rtl="0" eaLnBrk="1" fontAlgn="auto" latinLnBrk="0" hangingPunct="1">
              <a:lnSpc>
                <a:spcPts val="2400"/>
              </a:lnSpc>
              <a:spcBef>
                <a:spcPts val="0"/>
              </a:spcBef>
              <a:spcAft>
                <a:spcPts val="0"/>
              </a:spcAft>
              <a:buClrTx/>
              <a:buSzTx/>
              <a:buFont typeface="Arial"/>
              <a:buNone/>
              <a:tabLst/>
              <a:defRPr/>
            </a:pPr>
            <a:r>
              <a:rPr kumimoji="0" lang="en-US" sz="1400" b="0" i="0" u="none" strike="noStrike" kern="1200" cap="none" spc="0" normalizeH="0" baseline="0" noProof="0">
                <a:ln>
                  <a:noFill/>
                </a:ln>
                <a:solidFill>
                  <a:srgbClr val="212121">
                    <a:lumMod val="50000"/>
                    <a:lumOff val="50000"/>
                  </a:srgbClr>
                </a:solidFill>
                <a:effectLst/>
                <a:uLnTx/>
                <a:uFillTx/>
                <a:latin typeface="Montserrat" pitchFamily="2" charset="0"/>
                <a:ea typeface="Lato Light" panose="020F0502020204030203" pitchFamily="34" charset="0"/>
                <a:cs typeface="Arial" panose="020B0604020202020204" pitchFamily="34" charset="0"/>
                <a:sym typeface="Arial"/>
              </a:rPr>
              <a:t>Global Investment Funds</a:t>
            </a:r>
          </a:p>
          <a:p>
            <a:pPr marL="0" marR="0" lvl="0" indent="0" algn="l" defTabSz="1630966" rtl="0" eaLnBrk="1" fontAlgn="auto" latinLnBrk="0" hangingPunct="1">
              <a:lnSpc>
                <a:spcPts val="2400"/>
              </a:lnSpc>
              <a:spcBef>
                <a:spcPts val="0"/>
              </a:spcBef>
              <a:spcAft>
                <a:spcPts val="0"/>
              </a:spcAft>
              <a:buClrTx/>
              <a:buSzTx/>
              <a:buFont typeface="Arial"/>
              <a:buNone/>
              <a:tabLst/>
              <a:defRPr/>
            </a:pPr>
            <a:r>
              <a:rPr kumimoji="0" lang="en-US" sz="1400" b="0" i="0" u="none" strike="noStrike" kern="1200" cap="none" spc="0" normalizeH="0" baseline="0" noProof="0">
                <a:ln>
                  <a:noFill/>
                </a:ln>
                <a:solidFill>
                  <a:srgbClr val="212121">
                    <a:lumMod val="50000"/>
                    <a:lumOff val="50000"/>
                  </a:srgbClr>
                </a:solidFill>
                <a:effectLst/>
                <a:uLnTx/>
                <a:uFillTx/>
                <a:latin typeface="Montserrat" pitchFamily="2" charset="0"/>
                <a:ea typeface="Lato Light" panose="020F0502020204030203" pitchFamily="34" charset="0"/>
                <a:cs typeface="Arial" panose="020B0604020202020204" pitchFamily="34" charset="0"/>
                <a:sym typeface="Arial"/>
              </a:rPr>
              <a:t>Worldwide Academic Institutions</a:t>
            </a:r>
          </a:p>
          <a:p>
            <a:pPr marL="0" marR="0" lvl="0" indent="0" algn="l" defTabSz="1630966" rtl="0" eaLnBrk="1" fontAlgn="auto" latinLnBrk="0" hangingPunct="1">
              <a:lnSpc>
                <a:spcPts val="2400"/>
              </a:lnSpc>
              <a:spcBef>
                <a:spcPts val="0"/>
              </a:spcBef>
              <a:spcAft>
                <a:spcPts val="0"/>
              </a:spcAft>
              <a:buClrTx/>
              <a:buSzTx/>
              <a:buFont typeface="Arial"/>
              <a:buNone/>
              <a:tabLst/>
              <a:defRPr/>
            </a:pPr>
            <a:r>
              <a:rPr kumimoji="0" lang="en-US" sz="1400" b="0" i="0" u="none" strike="noStrike" kern="1200" cap="none" spc="0" normalizeH="0" baseline="0" noProof="0">
                <a:ln>
                  <a:noFill/>
                </a:ln>
                <a:solidFill>
                  <a:srgbClr val="212121">
                    <a:lumMod val="50000"/>
                    <a:lumOff val="50000"/>
                  </a:srgbClr>
                </a:solidFill>
                <a:effectLst/>
                <a:uLnTx/>
                <a:uFillTx/>
                <a:latin typeface="Montserrat" pitchFamily="2" charset="0"/>
                <a:ea typeface="Lato Light" panose="020F0502020204030203" pitchFamily="34" charset="0"/>
                <a:cs typeface="Arial" panose="020B0604020202020204" pitchFamily="34" charset="0"/>
                <a:sym typeface="Arial"/>
              </a:rPr>
              <a:t>NYU STERN, UNC, MACKENZIE</a:t>
            </a:r>
          </a:p>
          <a:p>
            <a:pPr marL="0" marR="0" lvl="0" indent="0" algn="l" defTabSz="1630966" rtl="0" eaLnBrk="1" fontAlgn="auto" latinLnBrk="0" hangingPunct="1">
              <a:lnSpc>
                <a:spcPts val="2400"/>
              </a:lnSpc>
              <a:spcBef>
                <a:spcPts val="0"/>
              </a:spcBef>
              <a:spcAft>
                <a:spcPts val="0"/>
              </a:spcAft>
              <a:buClrTx/>
              <a:buSzTx/>
              <a:buFont typeface="Arial"/>
              <a:buNone/>
              <a:tabLst/>
              <a:defRPr/>
            </a:pPr>
            <a:r>
              <a:rPr kumimoji="0" lang="en-US" sz="1400" b="0" i="0" u="none" strike="noStrike" kern="1200" cap="none" spc="0" normalizeH="0" baseline="0" noProof="0">
                <a:ln>
                  <a:noFill/>
                </a:ln>
                <a:solidFill>
                  <a:srgbClr val="212121">
                    <a:lumMod val="50000"/>
                    <a:lumOff val="50000"/>
                  </a:srgbClr>
                </a:solidFill>
                <a:effectLst/>
                <a:uLnTx/>
                <a:uFillTx/>
                <a:latin typeface="Montserrat" pitchFamily="2" charset="0"/>
                <a:ea typeface="Lato Light" panose="020F0502020204030203" pitchFamily="34" charset="0"/>
                <a:cs typeface="Arial" panose="020B0604020202020204" pitchFamily="34" charset="0"/>
                <a:sym typeface="Arial"/>
              </a:rPr>
              <a:t>World Class Research</a:t>
            </a:r>
          </a:p>
        </p:txBody>
      </p:sp>
      <p:sp>
        <p:nvSpPr>
          <p:cNvPr id="85" name="TextBox 43">
            <a:extLst>
              <a:ext uri="{FF2B5EF4-FFF2-40B4-BE49-F238E27FC236}">
                <a16:creationId xmlns:a16="http://schemas.microsoft.com/office/drawing/2014/main" id="{123B7877-3F35-6E5C-29B6-10AA29D418B7}"/>
              </a:ext>
            </a:extLst>
          </p:cNvPr>
          <p:cNvSpPr txBox="1"/>
          <p:nvPr/>
        </p:nvSpPr>
        <p:spPr>
          <a:xfrm>
            <a:off x="6749765" y="4000347"/>
            <a:ext cx="1378398" cy="281039"/>
          </a:xfrm>
          <a:prstGeom prst="rect">
            <a:avLst/>
          </a:prstGeom>
          <a:noFill/>
        </p:spPr>
        <p:txBody>
          <a:bodyPr wrap="square" rtlCol="0" anchor="ctr" anchorCtr="0">
            <a:spAutoFit/>
          </a:bodyPr>
          <a:lstStyle/>
          <a:p>
            <a:pPr marL="0" marR="0" lvl="0" indent="0" algn="just" defTabSz="2741828" rtl="0" eaLnBrk="1" fontAlgn="auto" latinLnBrk="0" hangingPunct="1">
              <a:lnSpc>
                <a:spcPts val="1600"/>
              </a:lnSpc>
              <a:spcBef>
                <a:spcPts val="0"/>
              </a:spcBef>
              <a:spcAft>
                <a:spcPts val="0"/>
              </a:spcAft>
              <a:buClrTx/>
              <a:buSzTx/>
              <a:buFont typeface="Arial"/>
              <a:buNone/>
              <a:tabLst/>
              <a:defRPr/>
            </a:pPr>
            <a:r>
              <a:rPr kumimoji="0" lang="en-US" sz="1100" b="1" i="0" u="none" strike="noStrike" kern="0" cap="none" spc="0" normalizeH="0" baseline="0" noProof="0">
                <a:ln>
                  <a:noFill/>
                </a:ln>
                <a:solidFill>
                  <a:srgbClr val="6800FF">
                    <a:lumMod val="60000"/>
                    <a:lumOff val="40000"/>
                  </a:srgbClr>
                </a:solidFill>
                <a:effectLst/>
                <a:uLnTx/>
                <a:uFillTx/>
                <a:latin typeface="Montserrat" pitchFamily="2" charset="0"/>
                <a:ea typeface="League Spartan" charset="0"/>
                <a:cs typeface="Arial" panose="020B0604020202020204" pitchFamily="34" charset="0"/>
                <a:sym typeface="Arial"/>
              </a:rPr>
              <a:t>ESG</a:t>
            </a:r>
          </a:p>
        </p:txBody>
      </p:sp>
      <p:sp>
        <p:nvSpPr>
          <p:cNvPr id="86" name="TextBox 43">
            <a:extLst>
              <a:ext uri="{FF2B5EF4-FFF2-40B4-BE49-F238E27FC236}">
                <a16:creationId xmlns:a16="http://schemas.microsoft.com/office/drawing/2014/main" id="{8B1FAFCD-A9AE-9E6C-7FD3-3418938949C1}"/>
              </a:ext>
            </a:extLst>
          </p:cNvPr>
          <p:cNvSpPr txBox="1"/>
          <p:nvPr/>
        </p:nvSpPr>
        <p:spPr>
          <a:xfrm>
            <a:off x="6363775" y="7142698"/>
            <a:ext cx="1378398" cy="486480"/>
          </a:xfrm>
          <a:prstGeom prst="rect">
            <a:avLst/>
          </a:prstGeom>
          <a:noFill/>
        </p:spPr>
        <p:txBody>
          <a:bodyPr wrap="square" rtlCol="0" anchor="ctr" anchorCtr="0">
            <a:spAutoFit/>
          </a:bodyPr>
          <a:lstStyle/>
          <a:p>
            <a:pPr marL="0" marR="0" lvl="0" indent="0" algn="ctr" defTabSz="2741828" rtl="0" eaLnBrk="1" fontAlgn="auto" latinLnBrk="0" hangingPunct="1">
              <a:lnSpc>
                <a:spcPts val="1600"/>
              </a:lnSpc>
              <a:spcBef>
                <a:spcPts val="0"/>
              </a:spcBef>
              <a:spcAft>
                <a:spcPts val="0"/>
              </a:spcAft>
              <a:buClrTx/>
              <a:buSzTx/>
              <a:buFontTx/>
              <a:buNone/>
              <a:tabLst/>
              <a:defRPr/>
            </a:pPr>
            <a:r>
              <a:rPr kumimoji="0" lang="en-US" sz="1100" b="1" i="0" u="none" strike="noStrike" kern="0" cap="none" spc="0" normalizeH="0" baseline="0" noProof="0">
                <a:ln>
                  <a:noFill/>
                </a:ln>
                <a:solidFill>
                  <a:srgbClr val="6800FF">
                    <a:lumMod val="60000"/>
                    <a:lumOff val="40000"/>
                  </a:srgbClr>
                </a:solidFill>
                <a:effectLst/>
                <a:uLnTx/>
                <a:uFillTx/>
                <a:latin typeface="Montserrat" pitchFamily="2" charset="0"/>
                <a:ea typeface="League Spartan" charset="0"/>
                <a:cs typeface="Arial" panose="020B0604020202020204" pitchFamily="34" charset="0"/>
                <a:sym typeface="Arial"/>
              </a:rPr>
              <a:t>ACCESS TO THE WORLD</a:t>
            </a:r>
          </a:p>
        </p:txBody>
      </p:sp>
      <p:sp>
        <p:nvSpPr>
          <p:cNvPr id="87" name="TextBox 43">
            <a:extLst>
              <a:ext uri="{FF2B5EF4-FFF2-40B4-BE49-F238E27FC236}">
                <a16:creationId xmlns:a16="http://schemas.microsoft.com/office/drawing/2014/main" id="{C1873D2E-3A9E-9E64-7B68-F2F488552104}"/>
              </a:ext>
            </a:extLst>
          </p:cNvPr>
          <p:cNvSpPr txBox="1"/>
          <p:nvPr/>
        </p:nvSpPr>
        <p:spPr>
          <a:xfrm>
            <a:off x="2446953" y="7111897"/>
            <a:ext cx="1378398" cy="486480"/>
          </a:xfrm>
          <a:prstGeom prst="rect">
            <a:avLst/>
          </a:prstGeom>
          <a:noFill/>
        </p:spPr>
        <p:txBody>
          <a:bodyPr wrap="square" rtlCol="0" anchor="ctr" anchorCtr="0">
            <a:spAutoFit/>
          </a:bodyPr>
          <a:lstStyle/>
          <a:p>
            <a:pPr marL="0" marR="0" lvl="0" indent="0" algn="ctr" defTabSz="2741828" rtl="0" eaLnBrk="1" fontAlgn="auto" latinLnBrk="0" hangingPunct="1">
              <a:lnSpc>
                <a:spcPts val="1600"/>
              </a:lnSpc>
              <a:spcBef>
                <a:spcPts val="0"/>
              </a:spcBef>
              <a:spcAft>
                <a:spcPts val="0"/>
              </a:spcAft>
              <a:buClrTx/>
              <a:buSzTx/>
              <a:buFontTx/>
              <a:buNone/>
              <a:tabLst/>
              <a:defRPr/>
            </a:pPr>
            <a:r>
              <a:rPr kumimoji="0" lang="en-US" sz="1100" b="1" i="0" u="none" strike="noStrike" kern="0" cap="none" spc="0" normalizeH="0" baseline="0" noProof="0">
                <a:ln>
                  <a:noFill/>
                </a:ln>
                <a:solidFill>
                  <a:srgbClr val="6800FF">
                    <a:lumMod val="60000"/>
                    <a:lumOff val="40000"/>
                  </a:srgbClr>
                </a:solidFill>
                <a:effectLst/>
                <a:uLnTx/>
                <a:uFillTx/>
                <a:latin typeface="Montserrat" pitchFamily="2" charset="0"/>
                <a:ea typeface="League Spartan" charset="0"/>
                <a:cs typeface="Arial" panose="020B0604020202020204" pitchFamily="34" charset="0"/>
                <a:sym typeface="Arial"/>
              </a:rPr>
              <a:t>EXPERIENCE IN VERTICALS</a:t>
            </a:r>
          </a:p>
        </p:txBody>
      </p:sp>
      <p:pic>
        <p:nvPicPr>
          <p:cNvPr id="89" name="Picture 4" descr="Impact/ESG - GEF Capital Partners">
            <a:extLst>
              <a:ext uri="{FF2B5EF4-FFF2-40B4-BE49-F238E27FC236}">
                <a16:creationId xmlns:a16="http://schemas.microsoft.com/office/drawing/2014/main" id="{D45E1B98-7149-4FF9-8902-04E1E764595D}"/>
              </a:ext>
            </a:extLst>
          </p:cNvPr>
          <p:cNvPicPr>
            <a:picLocks noChangeAspect="1" noChangeArrowheads="1"/>
          </p:cNvPicPr>
          <p:nvPr/>
        </p:nvPicPr>
        <p:blipFill>
          <a:blip r:embed="rId2" cstate="screen">
            <a:clrChange>
              <a:clrFrom>
                <a:srgbClr val="FFFFFF"/>
              </a:clrFrom>
              <a:clrTo>
                <a:srgbClr val="FFFFFF">
                  <a:alpha val="0"/>
                </a:srgbClr>
              </a:clrTo>
            </a:clrChange>
            <a:duotone>
              <a:srgbClr val="7F7F7F">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6667051" y="3134831"/>
            <a:ext cx="719799" cy="719799"/>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6" descr="Expertise Icons - Download Free Vector Icons | Noun Project">
            <a:extLst>
              <a:ext uri="{FF2B5EF4-FFF2-40B4-BE49-F238E27FC236}">
                <a16:creationId xmlns:a16="http://schemas.microsoft.com/office/drawing/2014/main" id="{C33A1221-89C8-4F59-C35D-AE9C6DE76440}"/>
              </a:ext>
            </a:extLst>
          </p:cNvPr>
          <p:cNvPicPr>
            <a:picLocks noChangeAspect="1" noChangeArrowheads="1"/>
          </p:cNvPicPr>
          <p:nvPr/>
        </p:nvPicPr>
        <p:blipFill>
          <a:blip r:embed="rId3" cstate="screen">
            <a:duotone>
              <a:srgbClr val="AEB0B3">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2724668" y="6200062"/>
            <a:ext cx="844133" cy="844133"/>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8" descr="global Icon - Free Icons">
            <a:extLst>
              <a:ext uri="{FF2B5EF4-FFF2-40B4-BE49-F238E27FC236}">
                <a16:creationId xmlns:a16="http://schemas.microsoft.com/office/drawing/2014/main" id="{B8B9E2C0-096F-8B01-E93C-82EFA1375DAD}"/>
              </a:ext>
            </a:extLst>
          </p:cNvPr>
          <p:cNvPicPr>
            <a:picLocks noChangeAspect="1" noChangeArrowheads="1"/>
          </p:cNvPicPr>
          <p:nvPr/>
        </p:nvPicPr>
        <p:blipFill>
          <a:blip r:embed="rId4" cstate="screen">
            <a:clrChange>
              <a:clrFrom>
                <a:srgbClr val="FFFFFF"/>
              </a:clrFrom>
              <a:clrTo>
                <a:srgbClr val="FFFFFF">
                  <a:alpha val="0"/>
                </a:srgbClr>
              </a:clrTo>
            </a:clrChange>
            <a:duotone>
              <a:srgbClr val="7F7F7F">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6696284" y="6306474"/>
            <a:ext cx="783645" cy="783645"/>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10" descr="Walysson Gama (walyssongama) no Pinterest">
            <a:extLst>
              <a:ext uri="{FF2B5EF4-FFF2-40B4-BE49-F238E27FC236}">
                <a16:creationId xmlns:a16="http://schemas.microsoft.com/office/drawing/2014/main" id="{7B0028B8-A5FF-5AA2-786C-49A4BBEADC8D}"/>
              </a:ext>
            </a:extLst>
          </p:cNvPr>
          <p:cNvPicPr>
            <a:picLocks noChangeAspect="1" noChangeArrowheads="1"/>
          </p:cNvPicPr>
          <p:nvPr/>
        </p:nvPicPr>
        <p:blipFill>
          <a:blip r:embed="rId5" cstate="screen">
            <a:clrChange>
              <a:clrFrom>
                <a:srgbClr val="FFFFFF"/>
              </a:clrFrom>
              <a:clrTo>
                <a:srgbClr val="FFFFFF">
                  <a:alpha val="0"/>
                </a:srgbClr>
              </a:clrTo>
            </a:clrChange>
            <a:duotone>
              <a:srgbClr val="7F7F7F">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2714353" y="2879970"/>
            <a:ext cx="773414" cy="773414"/>
          </a:xfrm>
          <a:prstGeom prst="rect">
            <a:avLst/>
          </a:prstGeom>
          <a:noFill/>
          <a:extLst>
            <a:ext uri="{909E8E84-426E-40DD-AFC4-6F175D3DCCD1}">
              <a14:hiddenFill xmlns:a14="http://schemas.microsoft.com/office/drawing/2010/main">
                <a:solidFill>
                  <a:srgbClr val="FFFFFF"/>
                </a:solidFill>
              </a14:hiddenFill>
            </a:ext>
          </a:extLst>
        </p:spPr>
      </p:pic>
      <p:sp>
        <p:nvSpPr>
          <p:cNvPr id="93" name="Google Shape;294;g8cff37a39f_0_44">
            <a:extLst>
              <a:ext uri="{FF2B5EF4-FFF2-40B4-BE49-F238E27FC236}">
                <a16:creationId xmlns:a16="http://schemas.microsoft.com/office/drawing/2014/main" id="{CB5A3980-B59D-E4CC-F3CD-54EB406355C3}"/>
              </a:ext>
            </a:extLst>
          </p:cNvPr>
          <p:cNvSpPr txBox="1">
            <a:spLocks/>
          </p:cNvSpPr>
          <p:nvPr/>
        </p:nvSpPr>
        <p:spPr>
          <a:xfrm>
            <a:off x="384717" y="351559"/>
            <a:ext cx="4353666" cy="825080"/>
          </a:xfrm>
          <a:prstGeom prst="rect">
            <a:avLst/>
          </a:prstGeom>
          <a:noFill/>
          <a:ln>
            <a:noFill/>
          </a:ln>
        </p:spPr>
        <p:txBody>
          <a:bodyPr spcFirstLastPara="1" wrap="square" lIns="182802" tIns="182802" rIns="182802" bIns="182802"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1pPr>
            <a:lvl2pPr marR="0" lvl="1"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2pPr>
            <a:lvl3pPr marR="0" lvl="2"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3pPr>
            <a:lvl4pPr marR="0" lvl="3"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4pPr>
            <a:lvl5pPr marR="0" lvl="4"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5pPr>
            <a:lvl6pPr marR="0" lvl="5"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6pPr>
            <a:lvl7pPr marR="0" lvl="6"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7pPr>
            <a:lvl8pPr marR="0" lvl="7"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8pPr>
            <a:lvl9pPr marR="0" lvl="8"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9pPr>
          </a:lstStyle>
          <a:p>
            <a:pPr marL="0" marR="0" lvl="0" indent="0" algn="l" defTabSz="1371190" rtl="0" eaLnBrk="1" fontAlgn="auto" latinLnBrk="0" hangingPunct="1">
              <a:lnSpc>
                <a:spcPct val="100000"/>
              </a:lnSpc>
              <a:spcBef>
                <a:spcPts val="0"/>
              </a:spcBef>
              <a:spcAft>
                <a:spcPts val="0"/>
              </a:spcAft>
              <a:buClr>
                <a:srgbClr val="FFFFFF"/>
              </a:buClr>
              <a:buSzPts val="2000"/>
              <a:buFont typeface="Montserrat"/>
              <a:buNone/>
              <a:tabLst/>
              <a:defRPr/>
            </a:pPr>
            <a:r>
              <a:rPr kumimoji="0" lang="en-US" sz="3200" i="0" u="none" strike="noStrike" kern="0" cap="none" spc="0" normalizeH="0" baseline="0" noProof="0">
                <a:ln>
                  <a:noFill/>
                </a:ln>
                <a:solidFill>
                  <a:srgbClr val="212121"/>
                </a:solidFill>
                <a:effectLst/>
                <a:uLnTx/>
                <a:uFillTx/>
                <a:latin typeface="Montserrat" pitchFamily="2" charset="0"/>
                <a:cs typeface="Arial" panose="020B0604020202020204" pitchFamily="34" charset="0"/>
                <a:sym typeface="Montserrat"/>
              </a:rPr>
              <a:t>We are Qintess</a:t>
            </a:r>
          </a:p>
        </p:txBody>
      </p:sp>
      <p:sp>
        <p:nvSpPr>
          <p:cNvPr id="81" name="Subtitle 2">
            <a:extLst>
              <a:ext uri="{FF2B5EF4-FFF2-40B4-BE49-F238E27FC236}">
                <a16:creationId xmlns:a16="http://schemas.microsoft.com/office/drawing/2014/main" id="{ABA831F5-B48F-B278-2BE3-28A9B1B6681E}"/>
              </a:ext>
            </a:extLst>
          </p:cNvPr>
          <p:cNvSpPr txBox="1">
            <a:spLocks/>
          </p:cNvSpPr>
          <p:nvPr/>
        </p:nvSpPr>
        <p:spPr>
          <a:xfrm>
            <a:off x="4158349" y="5726938"/>
            <a:ext cx="1890206" cy="766327"/>
          </a:xfrm>
          <a:prstGeom prst="rect">
            <a:avLst/>
          </a:prstGeom>
        </p:spPr>
        <p:txBody>
          <a:bodyPr vert="horz" wrap="square" lIns="137124" tIns="68562" rIns="137124" bIns="68562"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1630966" rtl="0" eaLnBrk="1" fontAlgn="auto" latinLnBrk="0" hangingPunct="1">
              <a:lnSpc>
                <a:spcPct val="100000"/>
              </a:lnSpc>
              <a:spcBef>
                <a:spcPct val="20000"/>
              </a:spcBef>
              <a:spcAft>
                <a:spcPts val="0"/>
              </a:spcAft>
              <a:buClrTx/>
              <a:buSzTx/>
              <a:buFont typeface="Arial"/>
              <a:buNone/>
              <a:tabLst/>
              <a:defRPr/>
            </a:pPr>
            <a:r>
              <a:rPr kumimoji="0" lang="en-US" sz="1200" b="0" i="0" u="none" strike="noStrike" kern="1200" cap="none" spc="0" normalizeH="0" baseline="0" noProof="0">
                <a:ln>
                  <a:noFill/>
                </a:ln>
                <a:solidFill>
                  <a:srgbClr val="FFFFFF"/>
                </a:solidFill>
                <a:effectLst/>
                <a:uLnTx/>
                <a:uFillTx/>
                <a:latin typeface="Montserrat"/>
                <a:ea typeface="Lato Light" panose="020F0502020204030203" pitchFamily="34" charset="0"/>
                <a:cs typeface="Arial" panose="020B0604020202020204" pitchFamily="34" charset="0"/>
                <a:sym typeface="Arial"/>
              </a:rPr>
              <a:t>Growth Mindset</a:t>
            </a:r>
          </a:p>
          <a:p>
            <a:pPr marL="0" marR="0" lvl="0" indent="0" algn="ctr" defTabSz="1630966" rtl="0" eaLnBrk="1" fontAlgn="auto" latinLnBrk="0" hangingPunct="1">
              <a:lnSpc>
                <a:spcPct val="100000"/>
              </a:lnSpc>
              <a:spcBef>
                <a:spcPct val="20000"/>
              </a:spcBef>
              <a:spcAft>
                <a:spcPts val="0"/>
              </a:spcAft>
              <a:buClrTx/>
              <a:buSzTx/>
              <a:buFont typeface="Arial"/>
              <a:buNone/>
              <a:tabLst/>
              <a:defRPr/>
            </a:pPr>
            <a:r>
              <a:rPr kumimoji="0" lang="en-US" sz="1200" b="0" i="0" u="none" strike="noStrike" kern="1200" cap="none" spc="0" normalizeH="0" baseline="0" noProof="0">
                <a:ln>
                  <a:noFill/>
                </a:ln>
                <a:solidFill>
                  <a:srgbClr val="FFFFFF"/>
                </a:solidFill>
                <a:effectLst/>
                <a:uLnTx/>
                <a:uFillTx/>
                <a:latin typeface="Montserrat"/>
                <a:ea typeface="Lato Light" panose="020F0502020204030203" pitchFamily="34" charset="0"/>
                <a:cs typeface="Arial" panose="020B0604020202020204" pitchFamily="34" charset="0"/>
                <a:sym typeface="Arial"/>
              </a:rPr>
              <a:t>DNA of Innovation</a:t>
            </a:r>
          </a:p>
          <a:p>
            <a:pPr marL="0" marR="0" lvl="0" indent="0" algn="ctr" defTabSz="1630966" rtl="0" eaLnBrk="1" fontAlgn="auto" latinLnBrk="0" hangingPunct="1">
              <a:lnSpc>
                <a:spcPct val="100000"/>
              </a:lnSpc>
              <a:spcBef>
                <a:spcPct val="20000"/>
              </a:spcBef>
              <a:spcAft>
                <a:spcPts val="0"/>
              </a:spcAft>
              <a:buClrTx/>
              <a:buSzTx/>
              <a:buFont typeface="Arial"/>
              <a:buNone/>
              <a:tabLst/>
              <a:defRPr/>
            </a:pPr>
            <a:r>
              <a:rPr kumimoji="0" lang="en-US" sz="1200" b="0" i="0" u="none" strike="noStrike" kern="1200" cap="none" spc="0" normalizeH="0" baseline="0" noProof="0">
                <a:ln>
                  <a:noFill/>
                </a:ln>
                <a:solidFill>
                  <a:srgbClr val="FFFFFF"/>
                </a:solidFill>
                <a:effectLst/>
                <a:uLnTx/>
                <a:uFillTx/>
                <a:latin typeface="Montserrat"/>
                <a:ea typeface="Lato Light" panose="020F0502020204030203" pitchFamily="34" charset="0"/>
                <a:cs typeface="Arial" panose="020B0604020202020204" pitchFamily="34" charset="0"/>
                <a:sym typeface="Arial"/>
              </a:rPr>
              <a:t>Agile Work Way </a:t>
            </a:r>
          </a:p>
        </p:txBody>
      </p:sp>
      <p:sp>
        <p:nvSpPr>
          <p:cNvPr id="82" name="TextBox 105">
            <a:extLst>
              <a:ext uri="{FF2B5EF4-FFF2-40B4-BE49-F238E27FC236}">
                <a16:creationId xmlns:a16="http://schemas.microsoft.com/office/drawing/2014/main" id="{FCC3F3E9-3015-34F2-BCF2-F83666D3CB43}"/>
              </a:ext>
            </a:extLst>
          </p:cNvPr>
          <p:cNvSpPr txBox="1"/>
          <p:nvPr/>
        </p:nvSpPr>
        <p:spPr>
          <a:xfrm>
            <a:off x="3813676" y="5335033"/>
            <a:ext cx="2579552" cy="323165"/>
          </a:xfrm>
          <a:prstGeom prst="rect">
            <a:avLst/>
          </a:prstGeom>
          <a:noFill/>
        </p:spPr>
        <p:txBody>
          <a:bodyPr wrap="none" rtlCol="0" anchor="ctr" anchorCtr="0">
            <a:spAutoFit/>
          </a:bodyPr>
          <a:lstStyle/>
          <a:p>
            <a:pPr marL="0" marR="0" lvl="0" indent="0" algn="l" defTabSz="2741828" rtl="0" eaLnBrk="1" fontAlgn="auto" latinLnBrk="0" hangingPunct="1">
              <a:lnSpc>
                <a:spcPct val="100000"/>
              </a:lnSpc>
              <a:spcBef>
                <a:spcPts val="0"/>
              </a:spcBef>
              <a:spcAft>
                <a:spcPts val="0"/>
              </a:spcAft>
              <a:buClrTx/>
              <a:buSzTx/>
              <a:buFontTx/>
              <a:buNone/>
              <a:tabLst/>
              <a:defRPr/>
            </a:pPr>
            <a:r>
              <a:rPr kumimoji="0" lang="en-US" sz="1500" b="1" i="0" u="none" strike="noStrike" kern="0" cap="all" spc="0" normalizeH="0" baseline="0" noProof="0">
                <a:ln>
                  <a:noFill/>
                </a:ln>
                <a:solidFill>
                  <a:srgbClr val="303030">
                    <a:lumMod val="10000"/>
                    <a:lumOff val="90000"/>
                  </a:srgbClr>
                </a:solidFill>
                <a:effectLst/>
                <a:uLnTx/>
                <a:uFillTx/>
                <a:latin typeface="Montserrat Bold"/>
                <a:ea typeface="League Spartan" charset="0"/>
                <a:cs typeface="Arial" panose="020B0604020202020204" pitchFamily="34" charset="0"/>
                <a:sym typeface="Arial"/>
              </a:rPr>
              <a:t>DIFFERENTIATED TEAM</a:t>
            </a:r>
          </a:p>
        </p:txBody>
      </p:sp>
      <p:pic>
        <p:nvPicPr>
          <p:cNvPr id="88" name="Picture 2" descr="Team Idea Icons - Download Free Vector Icons | Noun Project">
            <a:extLst>
              <a:ext uri="{FF2B5EF4-FFF2-40B4-BE49-F238E27FC236}">
                <a16:creationId xmlns:a16="http://schemas.microsoft.com/office/drawing/2014/main" id="{6CDFB945-B02A-74E6-048C-6387DBDE5A19}"/>
              </a:ext>
            </a:extLst>
          </p:cNvPr>
          <p:cNvPicPr>
            <a:picLocks noChangeAspect="1" noChangeArrowheads="1"/>
          </p:cNvPicPr>
          <p:nvPr/>
        </p:nvPicPr>
        <p:blipFill>
          <a:blip r:embed="rId6" cstate="screen">
            <a:lum bright="70000" contrast="-70000"/>
            <a:extLst>
              <a:ext uri="{28A0092B-C50C-407E-A947-70E740481C1C}">
                <a14:useLocalDpi xmlns:a14="http://schemas.microsoft.com/office/drawing/2010/main"/>
              </a:ext>
            </a:extLst>
          </a:blip>
          <a:srcRect/>
          <a:stretch>
            <a:fillRect/>
          </a:stretch>
        </p:blipFill>
        <p:spPr bwMode="auto">
          <a:xfrm>
            <a:off x="4436930" y="3805249"/>
            <a:ext cx="1333044" cy="1333044"/>
          </a:xfrm>
          <a:prstGeom prst="rect">
            <a:avLst/>
          </a:prstGeom>
          <a:noFill/>
          <a:extLst>
            <a:ext uri="{909E8E84-426E-40DD-AFC4-6F175D3DCCD1}">
              <a14:hiddenFill xmlns:a14="http://schemas.microsoft.com/office/drawing/2010/main">
                <a:solidFill>
                  <a:srgbClr val="FFFFFF"/>
                </a:solidFill>
              </a14:hiddenFill>
            </a:ext>
          </a:extLst>
        </p:spPr>
      </p:pic>
      <p:cxnSp>
        <p:nvCxnSpPr>
          <p:cNvPr id="95" name="Conector reto 94">
            <a:extLst>
              <a:ext uri="{FF2B5EF4-FFF2-40B4-BE49-F238E27FC236}">
                <a16:creationId xmlns:a16="http://schemas.microsoft.com/office/drawing/2014/main" id="{BB8A215E-5F7A-986C-78B5-291C5255A059}"/>
              </a:ext>
            </a:extLst>
          </p:cNvPr>
          <p:cNvCxnSpPr>
            <a:cxnSpLocks/>
          </p:cNvCxnSpPr>
          <p:nvPr/>
        </p:nvCxnSpPr>
        <p:spPr>
          <a:xfrm>
            <a:off x="6648599" y="1589242"/>
            <a:ext cx="609178" cy="0"/>
          </a:xfrm>
          <a:prstGeom prst="line">
            <a:avLst/>
          </a:prstGeom>
          <a:ln w="38100">
            <a:solidFill>
              <a:srgbClr val="6800FF">
                <a:alpha val="69804"/>
              </a:srgbClr>
            </a:solidFill>
          </a:ln>
        </p:spPr>
        <p:style>
          <a:lnRef idx="1">
            <a:schemeClr val="accent1"/>
          </a:lnRef>
          <a:fillRef idx="0">
            <a:schemeClr val="accent1"/>
          </a:fillRef>
          <a:effectRef idx="0">
            <a:schemeClr val="accent1"/>
          </a:effectRef>
          <a:fontRef idx="minor">
            <a:schemeClr val="tx1"/>
          </a:fontRef>
        </p:style>
      </p:cxnSp>
      <p:cxnSp>
        <p:nvCxnSpPr>
          <p:cNvPr id="99" name="Conector reto 98">
            <a:extLst>
              <a:ext uri="{FF2B5EF4-FFF2-40B4-BE49-F238E27FC236}">
                <a16:creationId xmlns:a16="http://schemas.microsoft.com/office/drawing/2014/main" id="{CE7F559A-33E9-DFE5-9A18-F7B544CAB254}"/>
              </a:ext>
            </a:extLst>
          </p:cNvPr>
          <p:cNvCxnSpPr>
            <a:cxnSpLocks/>
          </p:cNvCxnSpPr>
          <p:nvPr/>
        </p:nvCxnSpPr>
        <p:spPr>
          <a:xfrm>
            <a:off x="6806723" y="8330724"/>
            <a:ext cx="609178" cy="0"/>
          </a:xfrm>
          <a:prstGeom prst="line">
            <a:avLst/>
          </a:prstGeom>
          <a:ln w="38100">
            <a:solidFill>
              <a:srgbClr val="6800FF">
                <a:alpha val="69804"/>
              </a:srgbClr>
            </a:solidFill>
          </a:ln>
        </p:spPr>
        <p:style>
          <a:lnRef idx="1">
            <a:schemeClr val="accent1"/>
          </a:lnRef>
          <a:fillRef idx="0">
            <a:schemeClr val="accent1"/>
          </a:fillRef>
          <a:effectRef idx="0">
            <a:schemeClr val="accent1"/>
          </a:effectRef>
          <a:fontRef idx="minor">
            <a:schemeClr val="tx1"/>
          </a:fontRef>
        </p:style>
      </p:cxnSp>
      <p:cxnSp>
        <p:nvCxnSpPr>
          <p:cNvPr id="100" name="Conector reto 99">
            <a:extLst>
              <a:ext uri="{FF2B5EF4-FFF2-40B4-BE49-F238E27FC236}">
                <a16:creationId xmlns:a16="http://schemas.microsoft.com/office/drawing/2014/main" id="{23F23195-146A-BE59-9FB7-66D3110C6788}"/>
              </a:ext>
            </a:extLst>
          </p:cNvPr>
          <p:cNvCxnSpPr>
            <a:cxnSpLocks/>
          </p:cNvCxnSpPr>
          <p:nvPr/>
        </p:nvCxnSpPr>
        <p:spPr>
          <a:xfrm>
            <a:off x="335955" y="2308956"/>
            <a:ext cx="609178" cy="0"/>
          </a:xfrm>
          <a:prstGeom prst="line">
            <a:avLst/>
          </a:prstGeom>
          <a:ln w="38100">
            <a:solidFill>
              <a:srgbClr val="6800FF">
                <a:alpha val="69804"/>
              </a:srgbClr>
            </a:solidFill>
          </a:ln>
        </p:spPr>
        <p:style>
          <a:lnRef idx="1">
            <a:schemeClr val="accent1"/>
          </a:lnRef>
          <a:fillRef idx="0">
            <a:schemeClr val="accent1"/>
          </a:fillRef>
          <a:effectRef idx="0">
            <a:schemeClr val="accent1"/>
          </a:effectRef>
          <a:fontRef idx="minor">
            <a:schemeClr val="tx1"/>
          </a:fontRef>
        </p:style>
      </p:cxnSp>
      <p:cxnSp>
        <p:nvCxnSpPr>
          <p:cNvPr id="101" name="Conector reto 100">
            <a:extLst>
              <a:ext uri="{FF2B5EF4-FFF2-40B4-BE49-F238E27FC236}">
                <a16:creationId xmlns:a16="http://schemas.microsoft.com/office/drawing/2014/main" id="{9ED299AD-233C-729D-9F83-3AFD1DBA128C}"/>
              </a:ext>
            </a:extLst>
          </p:cNvPr>
          <p:cNvCxnSpPr>
            <a:cxnSpLocks/>
          </p:cNvCxnSpPr>
          <p:nvPr/>
        </p:nvCxnSpPr>
        <p:spPr>
          <a:xfrm>
            <a:off x="564489" y="8092962"/>
            <a:ext cx="609178" cy="0"/>
          </a:xfrm>
          <a:prstGeom prst="line">
            <a:avLst/>
          </a:prstGeom>
          <a:ln w="38100">
            <a:solidFill>
              <a:srgbClr val="6800FF">
                <a:alpha val="69804"/>
              </a:srgbClr>
            </a:solidFill>
          </a:ln>
        </p:spPr>
        <p:style>
          <a:lnRef idx="1">
            <a:schemeClr val="accent1"/>
          </a:lnRef>
          <a:fillRef idx="0">
            <a:schemeClr val="accent1"/>
          </a:fillRef>
          <a:effectRef idx="0">
            <a:schemeClr val="accent1"/>
          </a:effectRef>
          <a:fontRef idx="minor">
            <a:schemeClr val="tx1"/>
          </a:fontRef>
        </p:style>
      </p:cxnSp>
      <p:sp>
        <p:nvSpPr>
          <p:cNvPr id="2" name="Freeform 61">
            <a:extLst>
              <a:ext uri="{FF2B5EF4-FFF2-40B4-BE49-F238E27FC236}">
                <a16:creationId xmlns:a16="http://schemas.microsoft.com/office/drawing/2014/main" id="{4E3BDD19-9DF8-2DA0-7A98-5B2A500B8B03}"/>
              </a:ext>
            </a:extLst>
          </p:cNvPr>
          <p:cNvSpPr>
            <a:spLocks noChangeArrowheads="1"/>
          </p:cNvSpPr>
          <p:nvPr/>
        </p:nvSpPr>
        <p:spPr bwMode="auto">
          <a:xfrm rot="3916918">
            <a:off x="2020227" y="5906499"/>
            <a:ext cx="17596932" cy="2985919"/>
          </a:xfrm>
          <a:custGeom>
            <a:avLst/>
            <a:gdLst>
              <a:gd name="connsiteX0" fmla="*/ 8010930 w 8023328"/>
              <a:gd name="connsiteY0" fmla="*/ 2354267 h 2380521"/>
              <a:gd name="connsiteX1" fmla="*/ 8023328 w 8023328"/>
              <a:gd name="connsiteY1" fmla="*/ 2366665 h 2380521"/>
              <a:gd name="connsiteX2" fmla="*/ 8010930 w 8023328"/>
              <a:gd name="connsiteY2" fmla="*/ 2380521 h 2380521"/>
              <a:gd name="connsiteX3" fmla="*/ 7997074 w 8023328"/>
              <a:gd name="connsiteY3" fmla="*/ 2366665 h 2380521"/>
              <a:gd name="connsiteX4" fmla="*/ 8010930 w 8023328"/>
              <a:gd name="connsiteY4" fmla="*/ 2354267 h 2380521"/>
              <a:gd name="connsiteX5" fmla="*/ 7940099 w 8023328"/>
              <a:gd name="connsiteY5" fmla="*/ 2354267 h 2380521"/>
              <a:gd name="connsiteX6" fmla="*/ 7952497 w 8023328"/>
              <a:gd name="connsiteY6" fmla="*/ 2366665 h 2380521"/>
              <a:gd name="connsiteX7" fmla="*/ 7940099 w 8023328"/>
              <a:gd name="connsiteY7" fmla="*/ 2380521 h 2380521"/>
              <a:gd name="connsiteX8" fmla="*/ 7926243 w 8023328"/>
              <a:gd name="connsiteY8" fmla="*/ 2366665 h 2380521"/>
              <a:gd name="connsiteX9" fmla="*/ 7940099 w 8023328"/>
              <a:gd name="connsiteY9" fmla="*/ 2354267 h 2380521"/>
              <a:gd name="connsiteX10" fmla="*/ 7869269 w 8023328"/>
              <a:gd name="connsiteY10" fmla="*/ 2354267 h 2380521"/>
              <a:gd name="connsiteX11" fmla="*/ 7881667 w 8023328"/>
              <a:gd name="connsiteY11" fmla="*/ 2366665 h 2380521"/>
              <a:gd name="connsiteX12" fmla="*/ 7869269 w 8023328"/>
              <a:gd name="connsiteY12" fmla="*/ 2380521 h 2380521"/>
              <a:gd name="connsiteX13" fmla="*/ 7855413 w 8023328"/>
              <a:gd name="connsiteY13" fmla="*/ 2366665 h 2380521"/>
              <a:gd name="connsiteX14" fmla="*/ 7869269 w 8023328"/>
              <a:gd name="connsiteY14" fmla="*/ 2354267 h 2380521"/>
              <a:gd name="connsiteX15" fmla="*/ 7796980 w 8023328"/>
              <a:gd name="connsiteY15" fmla="*/ 2354267 h 2380521"/>
              <a:gd name="connsiteX16" fmla="*/ 7810836 w 8023328"/>
              <a:gd name="connsiteY16" fmla="*/ 2366665 h 2380521"/>
              <a:gd name="connsiteX17" fmla="*/ 7796980 w 8023328"/>
              <a:gd name="connsiteY17" fmla="*/ 2380521 h 2380521"/>
              <a:gd name="connsiteX18" fmla="*/ 7784582 w 8023328"/>
              <a:gd name="connsiteY18" fmla="*/ 2366665 h 2380521"/>
              <a:gd name="connsiteX19" fmla="*/ 7796980 w 8023328"/>
              <a:gd name="connsiteY19" fmla="*/ 2354267 h 2380521"/>
              <a:gd name="connsiteX20" fmla="*/ 8010930 w 8023328"/>
              <a:gd name="connsiteY20" fmla="*/ 2283438 h 2380521"/>
              <a:gd name="connsiteX21" fmla="*/ 8023328 w 8023328"/>
              <a:gd name="connsiteY21" fmla="*/ 2295835 h 2380521"/>
              <a:gd name="connsiteX22" fmla="*/ 8010930 w 8023328"/>
              <a:gd name="connsiteY22" fmla="*/ 2309691 h 2380521"/>
              <a:gd name="connsiteX23" fmla="*/ 7997074 w 8023328"/>
              <a:gd name="connsiteY23" fmla="*/ 2295835 h 2380521"/>
              <a:gd name="connsiteX24" fmla="*/ 8010930 w 8023328"/>
              <a:gd name="connsiteY24" fmla="*/ 2283438 h 2380521"/>
              <a:gd name="connsiteX25" fmla="*/ 7940099 w 8023328"/>
              <a:gd name="connsiteY25" fmla="*/ 2283438 h 2380521"/>
              <a:gd name="connsiteX26" fmla="*/ 7952497 w 8023328"/>
              <a:gd name="connsiteY26" fmla="*/ 2295835 h 2380521"/>
              <a:gd name="connsiteX27" fmla="*/ 7940099 w 8023328"/>
              <a:gd name="connsiteY27" fmla="*/ 2309691 h 2380521"/>
              <a:gd name="connsiteX28" fmla="*/ 7926243 w 8023328"/>
              <a:gd name="connsiteY28" fmla="*/ 2295835 h 2380521"/>
              <a:gd name="connsiteX29" fmla="*/ 7940099 w 8023328"/>
              <a:gd name="connsiteY29" fmla="*/ 2283438 h 2380521"/>
              <a:gd name="connsiteX30" fmla="*/ 7869269 w 8023328"/>
              <a:gd name="connsiteY30" fmla="*/ 2283438 h 2380521"/>
              <a:gd name="connsiteX31" fmla="*/ 7881667 w 8023328"/>
              <a:gd name="connsiteY31" fmla="*/ 2295835 h 2380521"/>
              <a:gd name="connsiteX32" fmla="*/ 7869269 w 8023328"/>
              <a:gd name="connsiteY32" fmla="*/ 2309691 h 2380521"/>
              <a:gd name="connsiteX33" fmla="*/ 7855413 w 8023328"/>
              <a:gd name="connsiteY33" fmla="*/ 2295835 h 2380521"/>
              <a:gd name="connsiteX34" fmla="*/ 7869269 w 8023328"/>
              <a:gd name="connsiteY34" fmla="*/ 2283438 h 2380521"/>
              <a:gd name="connsiteX35" fmla="*/ 7796980 w 8023328"/>
              <a:gd name="connsiteY35" fmla="*/ 2283438 h 2380521"/>
              <a:gd name="connsiteX36" fmla="*/ 7810836 w 8023328"/>
              <a:gd name="connsiteY36" fmla="*/ 2295835 h 2380521"/>
              <a:gd name="connsiteX37" fmla="*/ 7796980 w 8023328"/>
              <a:gd name="connsiteY37" fmla="*/ 2309691 h 2380521"/>
              <a:gd name="connsiteX38" fmla="*/ 7784582 w 8023328"/>
              <a:gd name="connsiteY38" fmla="*/ 2295835 h 2380521"/>
              <a:gd name="connsiteX39" fmla="*/ 7796980 w 8023328"/>
              <a:gd name="connsiteY39" fmla="*/ 2283438 h 2380521"/>
              <a:gd name="connsiteX40" fmla="*/ 7726151 w 8023328"/>
              <a:gd name="connsiteY40" fmla="*/ 2283438 h 2380521"/>
              <a:gd name="connsiteX41" fmla="*/ 7740007 w 8023328"/>
              <a:gd name="connsiteY41" fmla="*/ 2295835 h 2380521"/>
              <a:gd name="connsiteX42" fmla="*/ 7726151 w 8023328"/>
              <a:gd name="connsiteY42" fmla="*/ 2309691 h 2380521"/>
              <a:gd name="connsiteX43" fmla="*/ 7713753 w 8023328"/>
              <a:gd name="connsiteY43" fmla="*/ 2295835 h 2380521"/>
              <a:gd name="connsiteX44" fmla="*/ 7726151 w 8023328"/>
              <a:gd name="connsiteY44" fmla="*/ 2283438 h 2380521"/>
              <a:gd name="connsiteX45" fmla="*/ 7940099 w 8023328"/>
              <a:gd name="connsiteY45" fmla="*/ 2209234 h 2380521"/>
              <a:gd name="connsiteX46" fmla="*/ 7952497 w 8023328"/>
              <a:gd name="connsiteY46" fmla="*/ 2224022 h 2380521"/>
              <a:gd name="connsiteX47" fmla="*/ 7940099 w 8023328"/>
              <a:gd name="connsiteY47" fmla="*/ 2238810 h 2380521"/>
              <a:gd name="connsiteX48" fmla="*/ 7926243 w 8023328"/>
              <a:gd name="connsiteY48" fmla="*/ 2224022 h 2380521"/>
              <a:gd name="connsiteX49" fmla="*/ 7940099 w 8023328"/>
              <a:gd name="connsiteY49" fmla="*/ 2209234 h 2380521"/>
              <a:gd name="connsiteX50" fmla="*/ 7867811 w 8023328"/>
              <a:gd name="connsiteY50" fmla="*/ 2209234 h 2380521"/>
              <a:gd name="connsiteX51" fmla="*/ 7881667 w 8023328"/>
              <a:gd name="connsiteY51" fmla="*/ 2224022 h 2380521"/>
              <a:gd name="connsiteX52" fmla="*/ 7867811 w 8023328"/>
              <a:gd name="connsiteY52" fmla="*/ 2238810 h 2380521"/>
              <a:gd name="connsiteX53" fmla="*/ 7855413 w 8023328"/>
              <a:gd name="connsiteY53" fmla="*/ 2224022 h 2380521"/>
              <a:gd name="connsiteX54" fmla="*/ 7867811 w 8023328"/>
              <a:gd name="connsiteY54" fmla="*/ 2209234 h 2380521"/>
              <a:gd name="connsiteX55" fmla="*/ 7796980 w 8023328"/>
              <a:gd name="connsiteY55" fmla="*/ 2209234 h 2380521"/>
              <a:gd name="connsiteX56" fmla="*/ 7810836 w 8023328"/>
              <a:gd name="connsiteY56" fmla="*/ 2224022 h 2380521"/>
              <a:gd name="connsiteX57" fmla="*/ 7796980 w 8023328"/>
              <a:gd name="connsiteY57" fmla="*/ 2238810 h 2380521"/>
              <a:gd name="connsiteX58" fmla="*/ 7784582 w 8023328"/>
              <a:gd name="connsiteY58" fmla="*/ 2224022 h 2380521"/>
              <a:gd name="connsiteX59" fmla="*/ 7796980 w 8023328"/>
              <a:gd name="connsiteY59" fmla="*/ 2209234 h 2380521"/>
              <a:gd name="connsiteX60" fmla="*/ 7726151 w 8023328"/>
              <a:gd name="connsiteY60" fmla="*/ 2209234 h 2380521"/>
              <a:gd name="connsiteX61" fmla="*/ 7740007 w 8023328"/>
              <a:gd name="connsiteY61" fmla="*/ 2224022 h 2380521"/>
              <a:gd name="connsiteX62" fmla="*/ 7726151 w 8023328"/>
              <a:gd name="connsiteY62" fmla="*/ 2238810 h 2380521"/>
              <a:gd name="connsiteX63" fmla="*/ 7713753 w 8023328"/>
              <a:gd name="connsiteY63" fmla="*/ 2224022 h 2380521"/>
              <a:gd name="connsiteX64" fmla="*/ 7726151 w 8023328"/>
              <a:gd name="connsiteY64" fmla="*/ 2209234 h 2380521"/>
              <a:gd name="connsiteX65" fmla="*/ 7940099 w 8023328"/>
              <a:gd name="connsiteY65" fmla="*/ 2138403 h 2380521"/>
              <a:gd name="connsiteX66" fmla="*/ 7952497 w 8023328"/>
              <a:gd name="connsiteY66" fmla="*/ 2153192 h 2380521"/>
              <a:gd name="connsiteX67" fmla="*/ 7940099 w 8023328"/>
              <a:gd name="connsiteY67" fmla="*/ 2167981 h 2380521"/>
              <a:gd name="connsiteX68" fmla="*/ 7926243 w 8023328"/>
              <a:gd name="connsiteY68" fmla="*/ 2153192 h 2380521"/>
              <a:gd name="connsiteX69" fmla="*/ 7940099 w 8023328"/>
              <a:gd name="connsiteY69" fmla="*/ 2138403 h 2380521"/>
              <a:gd name="connsiteX70" fmla="*/ 7867811 w 8023328"/>
              <a:gd name="connsiteY70" fmla="*/ 2138403 h 2380521"/>
              <a:gd name="connsiteX71" fmla="*/ 7881667 w 8023328"/>
              <a:gd name="connsiteY71" fmla="*/ 2153192 h 2380521"/>
              <a:gd name="connsiteX72" fmla="*/ 7867811 w 8023328"/>
              <a:gd name="connsiteY72" fmla="*/ 2167981 h 2380521"/>
              <a:gd name="connsiteX73" fmla="*/ 7855413 w 8023328"/>
              <a:gd name="connsiteY73" fmla="*/ 2153192 h 2380521"/>
              <a:gd name="connsiteX74" fmla="*/ 7867811 w 8023328"/>
              <a:gd name="connsiteY74" fmla="*/ 2138403 h 2380521"/>
              <a:gd name="connsiteX75" fmla="*/ 7796980 w 8023328"/>
              <a:gd name="connsiteY75" fmla="*/ 2138403 h 2380521"/>
              <a:gd name="connsiteX76" fmla="*/ 7810836 w 8023328"/>
              <a:gd name="connsiteY76" fmla="*/ 2153192 h 2380521"/>
              <a:gd name="connsiteX77" fmla="*/ 7796980 w 8023328"/>
              <a:gd name="connsiteY77" fmla="*/ 2167981 h 2380521"/>
              <a:gd name="connsiteX78" fmla="*/ 7784582 w 8023328"/>
              <a:gd name="connsiteY78" fmla="*/ 2153192 h 2380521"/>
              <a:gd name="connsiteX79" fmla="*/ 7796980 w 8023328"/>
              <a:gd name="connsiteY79" fmla="*/ 2138403 h 2380521"/>
              <a:gd name="connsiteX80" fmla="*/ 7726151 w 8023328"/>
              <a:gd name="connsiteY80" fmla="*/ 2138403 h 2380521"/>
              <a:gd name="connsiteX81" fmla="*/ 7740007 w 8023328"/>
              <a:gd name="connsiteY81" fmla="*/ 2153192 h 2380521"/>
              <a:gd name="connsiteX82" fmla="*/ 7726151 w 8023328"/>
              <a:gd name="connsiteY82" fmla="*/ 2167981 h 2380521"/>
              <a:gd name="connsiteX83" fmla="*/ 7713753 w 8023328"/>
              <a:gd name="connsiteY83" fmla="*/ 2153192 h 2380521"/>
              <a:gd name="connsiteX84" fmla="*/ 7726151 w 8023328"/>
              <a:gd name="connsiteY84" fmla="*/ 2138403 h 2380521"/>
              <a:gd name="connsiteX85" fmla="*/ 7654337 w 8023328"/>
              <a:gd name="connsiteY85" fmla="*/ 2138403 h 2380521"/>
              <a:gd name="connsiteX86" fmla="*/ 7669126 w 8023328"/>
              <a:gd name="connsiteY86" fmla="*/ 2153192 h 2380521"/>
              <a:gd name="connsiteX87" fmla="*/ 7654337 w 8023328"/>
              <a:gd name="connsiteY87" fmla="*/ 2167981 h 2380521"/>
              <a:gd name="connsiteX88" fmla="*/ 7639549 w 8023328"/>
              <a:gd name="connsiteY88" fmla="*/ 2153192 h 2380521"/>
              <a:gd name="connsiteX89" fmla="*/ 7654337 w 8023328"/>
              <a:gd name="connsiteY89" fmla="*/ 2138403 h 2380521"/>
              <a:gd name="connsiteX90" fmla="*/ 7867811 w 8023328"/>
              <a:gd name="connsiteY90" fmla="*/ 2067574 h 2380521"/>
              <a:gd name="connsiteX91" fmla="*/ 7881667 w 8023328"/>
              <a:gd name="connsiteY91" fmla="*/ 2082362 h 2380521"/>
              <a:gd name="connsiteX92" fmla="*/ 7867811 w 8023328"/>
              <a:gd name="connsiteY92" fmla="*/ 2097150 h 2380521"/>
              <a:gd name="connsiteX93" fmla="*/ 7855413 w 8023328"/>
              <a:gd name="connsiteY93" fmla="*/ 2082362 h 2380521"/>
              <a:gd name="connsiteX94" fmla="*/ 7867811 w 8023328"/>
              <a:gd name="connsiteY94" fmla="*/ 2067574 h 2380521"/>
              <a:gd name="connsiteX95" fmla="*/ 7796980 w 8023328"/>
              <a:gd name="connsiteY95" fmla="*/ 2067574 h 2380521"/>
              <a:gd name="connsiteX96" fmla="*/ 7810836 w 8023328"/>
              <a:gd name="connsiteY96" fmla="*/ 2082362 h 2380521"/>
              <a:gd name="connsiteX97" fmla="*/ 7796980 w 8023328"/>
              <a:gd name="connsiteY97" fmla="*/ 2097150 h 2380521"/>
              <a:gd name="connsiteX98" fmla="*/ 7784582 w 8023328"/>
              <a:gd name="connsiteY98" fmla="*/ 2082362 h 2380521"/>
              <a:gd name="connsiteX99" fmla="*/ 7796980 w 8023328"/>
              <a:gd name="connsiteY99" fmla="*/ 2067574 h 2380521"/>
              <a:gd name="connsiteX100" fmla="*/ 7726151 w 8023328"/>
              <a:gd name="connsiteY100" fmla="*/ 2067574 h 2380521"/>
              <a:gd name="connsiteX101" fmla="*/ 7740007 w 8023328"/>
              <a:gd name="connsiteY101" fmla="*/ 2082362 h 2380521"/>
              <a:gd name="connsiteX102" fmla="*/ 7726151 w 8023328"/>
              <a:gd name="connsiteY102" fmla="*/ 2097150 h 2380521"/>
              <a:gd name="connsiteX103" fmla="*/ 7713753 w 8023328"/>
              <a:gd name="connsiteY103" fmla="*/ 2082362 h 2380521"/>
              <a:gd name="connsiteX104" fmla="*/ 7726151 w 8023328"/>
              <a:gd name="connsiteY104" fmla="*/ 2067574 h 2380521"/>
              <a:gd name="connsiteX105" fmla="*/ 7654337 w 8023328"/>
              <a:gd name="connsiteY105" fmla="*/ 2067574 h 2380521"/>
              <a:gd name="connsiteX106" fmla="*/ 7669126 w 8023328"/>
              <a:gd name="connsiteY106" fmla="*/ 2082362 h 2380521"/>
              <a:gd name="connsiteX107" fmla="*/ 7654337 w 8023328"/>
              <a:gd name="connsiteY107" fmla="*/ 2097150 h 2380521"/>
              <a:gd name="connsiteX108" fmla="*/ 7639549 w 8023328"/>
              <a:gd name="connsiteY108" fmla="*/ 2082362 h 2380521"/>
              <a:gd name="connsiteX109" fmla="*/ 7654337 w 8023328"/>
              <a:gd name="connsiteY109" fmla="*/ 2067574 h 2380521"/>
              <a:gd name="connsiteX110" fmla="*/ 7583507 w 8023328"/>
              <a:gd name="connsiteY110" fmla="*/ 2067574 h 2380521"/>
              <a:gd name="connsiteX111" fmla="*/ 7598297 w 8023328"/>
              <a:gd name="connsiteY111" fmla="*/ 2082362 h 2380521"/>
              <a:gd name="connsiteX112" fmla="*/ 7583507 w 8023328"/>
              <a:gd name="connsiteY112" fmla="*/ 2097150 h 2380521"/>
              <a:gd name="connsiteX113" fmla="*/ 7568718 w 8023328"/>
              <a:gd name="connsiteY113" fmla="*/ 2082362 h 2380521"/>
              <a:gd name="connsiteX114" fmla="*/ 7583507 w 8023328"/>
              <a:gd name="connsiteY114" fmla="*/ 2067574 h 2380521"/>
              <a:gd name="connsiteX115" fmla="*/ 7867811 w 8023328"/>
              <a:gd name="connsiteY115" fmla="*/ 1996742 h 2380521"/>
              <a:gd name="connsiteX116" fmla="*/ 7881667 w 8023328"/>
              <a:gd name="connsiteY116" fmla="*/ 2010598 h 2380521"/>
              <a:gd name="connsiteX117" fmla="*/ 7867811 w 8023328"/>
              <a:gd name="connsiteY117" fmla="*/ 2022995 h 2380521"/>
              <a:gd name="connsiteX118" fmla="*/ 7855413 w 8023328"/>
              <a:gd name="connsiteY118" fmla="*/ 2010598 h 2380521"/>
              <a:gd name="connsiteX119" fmla="*/ 7867811 w 8023328"/>
              <a:gd name="connsiteY119" fmla="*/ 1996742 h 2380521"/>
              <a:gd name="connsiteX120" fmla="*/ 7796980 w 8023328"/>
              <a:gd name="connsiteY120" fmla="*/ 1996742 h 2380521"/>
              <a:gd name="connsiteX121" fmla="*/ 7810836 w 8023328"/>
              <a:gd name="connsiteY121" fmla="*/ 2010598 h 2380521"/>
              <a:gd name="connsiteX122" fmla="*/ 7796980 w 8023328"/>
              <a:gd name="connsiteY122" fmla="*/ 2022995 h 2380521"/>
              <a:gd name="connsiteX123" fmla="*/ 7784582 w 8023328"/>
              <a:gd name="connsiteY123" fmla="*/ 2010598 h 2380521"/>
              <a:gd name="connsiteX124" fmla="*/ 7796980 w 8023328"/>
              <a:gd name="connsiteY124" fmla="*/ 1996742 h 2380521"/>
              <a:gd name="connsiteX125" fmla="*/ 7726151 w 8023328"/>
              <a:gd name="connsiteY125" fmla="*/ 1996742 h 2380521"/>
              <a:gd name="connsiteX126" fmla="*/ 7740007 w 8023328"/>
              <a:gd name="connsiteY126" fmla="*/ 2010598 h 2380521"/>
              <a:gd name="connsiteX127" fmla="*/ 7726151 w 8023328"/>
              <a:gd name="connsiteY127" fmla="*/ 2022995 h 2380521"/>
              <a:gd name="connsiteX128" fmla="*/ 7713753 w 8023328"/>
              <a:gd name="connsiteY128" fmla="*/ 2010598 h 2380521"/>
              <a:gd name="connsiteX129" fmla="*/ 7726151 w 8023328"/>
              <a:gd name="connsiteY129" fmla="*/ 1996742 h 2380521"/>
              <a:gd name="connsiteX130" fmla="*/ 7654337 w 8023328"/>
              <a:gd name="connsiteY130" fmla="*/ 1996742 h 2380521"/>
              <a:gd name="connsiteX131" fmla="*/ 7669126 w 8023328"/>
              <a:gd name="connsiteY131" fmla="*/ 2010598 h 2380521"/>
              <a:gd name="connsiteX132" fmla="*/ 7654337 w 8023328"/>
              <a:gd name="connsiteY132" fmla="*/ 2022995 h 2380521"/>
              <a:gd name="connsiteX133" fmla="*/ 7639549 w 8023328"/>
              <a:gd name="connsiteY133" fmla="*/ 2010598 h 2380521"/>
              <a:gd name="connsiteX134" fmla="*/ 7654337 w 8023328"/>
              <a:gd name="connsiteY134" fmla="*/ 1996742 h 2380521"/>
              <a:gd name="connsiteX135" fmla="*/ 7583507 w 8023328"/>
              <a:gd name="connsiteY135" fmla="*/ 1996742 h 2380521"/>
              <a:gd name="connsiteX136" fmla="*/ 7598297 w 8023328"/>
              <a:gd name="connsiteY136" fmla="*/ 2010598 h 2380521"/>
              <a:gd name="connsiteX137" fmla="*/ 7583507 w 8023328"/>
              <a:gd name="connsiteY137" fmla="*/ 2022995 h 2380521"/>
              <a:gd name="connsiteX138" fmla="*/ 7568718 w 8023328"/>
              <a:gd name="connsiteY138" fmla="*/ 2010598 h 2380521"/>
              <a:gd name="connsiteX139" fmla="*/ 7583507 w 8023328"/>
              <a:gd name="connsiteY139" fmla="*/ 1996742 h 2380521"/>
              <a:gd name="connsiteX140" fmla="*/ 7512677 w 8023328"/>
              <a:gd name="connsiteY140" fmla="*/ 1996742 h 2380521"/>
              <a:gd name="connsiteX141" fmla="*/ 7527466 w 8023328"/>
              <a:gd name="connsiteY141" fmla="*/ 2010598 h 2380521"/>
              <a:gd name="connsiteX142" fmla="*/ 7512677 w 8023328"/>
              <a:gd name="connsiteY142" fmla="*/ 2022995 h 2380521"/>
              <a:gd name="connsiteX143" fmla="*/ 7497889 w 8023328"/>
              <a:gd name="connsiteY143" fmla="*/ 2010598 h 2380521"/>
              <a:gd name="connsiteX144" fmla="*/ 7512677 w 8023328"/>
              <a:gd name="connsiteY144" fmla="*/ 1996742 h 2380521"/>
              <a:gd name="connsiteX145" fmla="*/ 7796980 w 8023328"/>
              <a:gd name="connsiteY145" fmla="*/ 1925913 h 2380521"/>
              <a:gd name="connsiteX146" fmla="*/ 7810836 w 8023328"/>
              <a:gd name="connsiteY146" fmla="*/ 1939769 h 2380521"/>
              <a:gd name="connsiteX147" fmla="*/ 7796980 w 8023328"/>
              <a:gd name="connsiteY147" fmla="*/ 1952166 h 2380521"/>
              <a:gd name="connsiteX148" fmla="*/ 7784582 w 8023328"/>
              <a:gd name="connsiteY148" fmla="*/ 1939769 h 2380521"/>
              <a:gd name="connsiteX149" fmla="*/ 7796980 w 8023328"/>
              <a:gd name="connsiteY149" fmla="*/ 1925913 h 2380521"/>
              <a:gd name="connsiteX150" fmla="*/ 7726151 w 8023328"/>
              <a:gd name="connsiteY150" fmla="*/ 1925913 h 2380521"/>
              <a:gd name="connsiteX151" fmla="*/ 7740007 w 8023328"/>
              <a:gd name="connsiteY151" fmla="*/ 1939769 h 2380521"/>
              <a:gd name="connsiteX152" fmla="*/ 7726151 w 8023328"/>
              <a:gd name="connsiteY152" fmla="*/ 1952166 h 2380521"/>
              <a:gd name="connsiteX153" fmla="*/ 7713753 w 8023328"/>
              <a:gd name="connsiteY153" fmla="*/ 1939769 h 2380521"/>
              <a:gd name="connsiteX154" fmla="*/ 7726151 w 8023328"/>
              <a:gd name="connsiteY154" fmla="*/ 1925913 h 2380521"/>
              <a:gd name="connsiteX155" fmla="*/ 7654337 w 8023328"/>
              <a:gd name="connsiteY155" fmla="*/ 1925913 h 2380521"/>
              <a:gd name="connsiteX156" fmla="*/ 7669126 w 8023328"/>
              <a:gd name="connsiteY156" fmla="*/ 1939769 h 2380521"/>
              <a:gd name="connsiteX157" fmla="*/ 7654337 w 8023328"/>
              <a:gd name="connsiteY157" fmla="*/ 1952166 h 2380521"/>
              <a:gd name="connsiteX158" fmla="*/ 7639549 w 8023328"/>
              <a:gd name="connsiteY158" fmla="*/ 1939769 h 2380521"/>
              <a:gd name="connsiteX159" fmla="*/ 7654337 w 8023328"/>
              <a:gd name="connsiteY159" fmla="*/ 1925913 h 2380521"/>
              <a:gd name="connsiteX160" fmla="*/ 7583507 w 8023328"/>
              <a:gd name="connsiteY160" fmla="*/ 1925913 h 2380521"/>
              <a:gd name="connsiteX161" fmla="*/ 7598297 w 8023328"/>
              <a:gd name="connsiteY161" fmla="*/ 1939769 h 2380521"/>
              <a:gd name="connsiteX162" fmla="*/ 7583507 w 8023328"/>
              <a:gd name="connsiteY162" fmla="*/ 1952166 h 2380521"/>
              <a:gd name="connsiteX163" fmla="*/ 7568718 w 8023328"/>
              <a:gd name="connsiteY163" fmla="*/ 1939769 h 2380521"/>
              <a:gd name="connsiteX164" fmla="*/ 7583507 w 8023328"/>
              <a:gd name="connsiteY164" fmla="*/ 1925913 h 2380521"/>
              <a:gd name="connsiteX165" fmla="*/ 7512677 w 8023328"/>
              <a:gd name="connsiteY165" fmla="*/ 1925913 h 2380521"/>
              <a:gd name="connsiteX166" fmla="*/ 7527466 w 8023328"/>
              <a:gd name="connsiteY166" fmla="*/ 1939769 h 2380521"/>
              <a:gd name="connsiteX167" fmla="*/ 7512677 w 8023328"/>
              <a:gd name="connsiteY167" fmla="*/ 1952166 h 2380521"/>
              <a:gd name="connsiteX168" fmla="*/ 7497889 w 8023328"/>
              <a:gd name="connsiteY168" fmla="*/ 1939769 h 2380521"/>
              <a:gd name="connsiteX169" fmla="*/ 7512677 w 8023328"/>
              <a:gd name="connsiteY169" fmla="*/ 1925913 h 2380521"/>
              <a:gd name="connsiteX170" fmla="*/ 7440913 w 8023328"/>
              <a:gd name="connsiteY170" fmla="*/ 1925913 h 2380521"/>
              <a:gd name="connsiteX171" fmla="*/ 7453310 w 8023328"/>
              <a:gd name="connsiteY171" fmla="*/ 1939769 h 2380521"/>
              <a:gd name="connsiteX172" fmla="*/ 7440913 w 8023328"/>
              <a:gd name="connsiteY172" fmla="*/ 1952166 h 2380521"/>
              <a:gd name="connsiteX173" fmla="*/ 7427057 w 8023328"/>
              <a:gd name="connsiteY173" fmla="*/ 1939769 h 2380521"/>
              <a:gd name="connsiteX174" fmla="*/ 7440913 w 8023328"/>
              <a:gd name="connsiteY174" fmla="*/ 1925913 h 2380521"/>
              <a:gd name="connsiteX175" fmla="*/ 7726151 w 8023328"/>
              <a:gd name="connsiteY175" fmla="*/ 1855081 h 2380521"/>
              <a:gd name="connsiteX176" fmla="*/ 7740007 w 8023328"/>
              <a:gd name="connsiteY176" fmla="*/ 1868937 h 2380521"/>
              <a:gd name="connsiteX177" fmla="*/ 7726151 w 8023328"/>
              <a:gd name="connsiteY177" fmla="*/ 1881334 h 2380521"/>
              <a:gd name="connsiteX178" fmla="*/ 7713753 w 8023328"/>
              <a:gd name="connsiteY178" fmla="*/ 1868937 h 2380521"/>
              <a:gd name="connsiteX179" fmla="*/ 7726151 w 8023328"/>
              <a:gd name="connsiteY179" fmla="*/ 1855081 h 2380521"/>
              <a:gd name="connsiteX180" fmla="*/ 7654337 w 8023328"/>
              <a:gd name="connsiteY180" fmla="*/ 1855081 h 2380521"/>
              <a:gd name="connsiteX181" fmla="*/ 7669126 w 8023328"/>
              <a:gd name="connsiteY181" fmla="*/ 1868937 h 2380521"/>
              <a:gd name="connsiteX182" fmla="*/ 7654337 w 8023328"/>
              <a:gd name="connsiteY182" fmla="*/ 1881334 h 2380521"/>
              <a:gd name="connsiteX183" fmla="*/ 7639549 w 8023328"/>
              <a:gd name="connsiteY183" fmla="*/ 1868937 h 2380521"/>
              <a:gd name="connsiteX184" fmla="*/ 7654337 w 8023328"/>
              <a:gd name="connsiteY184" fmla="*/ 1855081 h 2380521"/>
              <a:gd name="connsiteX185" fmla="*/ 7583507 w 8023328"/>
              <a:gd name="connsiteY185" fmla="*/ 1855081 h 2380521"/>
              <a:gd name="connsiteX186" fmla="*/ 7598297 w 8023328"/>
              <a:gd name="connsiteY186" fmla="*/ 1868937 h 2380521"/>
              <a:gd name="connsiteX187" fmla="*/ 7583507 w 8023328"/>
              <a:gd name="connsiteY187" fmla="*/ 1881334 h 2380521"/>
              <a:gd name="connsiteX188" fmla="*/ 7568718 w 8023328"/>
              <a:gd name="connsiteY188" fmla="*/ 1868937 h 2380521"/>
              <a:gd name="connsiteX189" fmla="*/ 7583507 w 8023328"/>
              <a:gd name="connsiteY189" fmla="*/ 1855081 h 2380521"/>
              <a:gd name="connsiteX190" fmla="*/ 7512677 w 8023328"/>
              <a:gd name="connsiteY190" fmla="*/ 1855081 h 2380521"/>
              <a:gd name="connsiteX191" fmla="*/ 7527466 w 8023328"/>
              <a:gd name="connsiteY191" fmla="*/ 1868937 h 2380521"/>
              <a:gd name="connsiteX192" fmla="*/ 7512677 w 8023328"/>
              <a:gd name="connsiteY192" fmla="*/ 1881334 h 2380521"/>
              <a:gd name="connsiteX193" fmla="*/ 7497889 w 8023328"/>
              <a:gd name="connsiteY193" fmla="*/ 1868937 h 2380521"/>
              <a:gd name="connsiteX194" fmla="*/ 7512677 w 8023328"/>
              <a:gd name="connsiteY194" fmla="*/ 1855081 h 2380521"/>
              <a:gd name="connsiteX195" fmla="*/ 7440913 w 8023328"/>
              <a:gd name="connsiteY195" fmla="*/ 1855081 h 2380521"/>
              <a:gd name="connsiteX196" fmla="*/ 7453310 w 8023328"/>
              <a:gd name="connsiteY196" fmla="*/ 1868937 h 2380521"/>
              <a:gd name="connsiteX197" fmla="*/ 7440913 w 8023328"/>
              <a:gd name="connsiteY197" fmla="*/ 1881334 h 2380521"/>
              <a:gd name="connsiteX198" fmla="*/ 7427057 w 8023328"/>
              <a:gd name="connsiteY198" fmla="*/ 1868937 h 2380521"/>
              <a:gd name="connsiteX199" fmla="*/ 7440913 w 8023328"/>
              <a:gd name="connsiteY199" fmla="*/ 1855081 h 2380521"/>
              <a:gd name="connsiteX200" fmla="*/ 7654337 w 8023328"/>
              <a:gd name="connsiteY200" fmla="*/ 1780878 h 2380521"/>
              <a:gd name="connsiteX201" fmla="*/ 7669126 w 8023328"/>
              <a:gd name="connsiteY201" fmla="*/ 1793275 h 2380521"/>
              <a:gd name="connsiteX202" fmla="*/ 7654337 w 8023328"/>
              <a:gd name="connsiteY202" fmla="*/ 1807131 h 2380521"/>
              <a:gd name="connsiteX203" fmla="*/ 7639549 w 8023328"/>
              <a:gd name="connsiteY203" fmla="*/ 1793275 h 2380521"/>
              <a:gd name="connsiteX204" fmla="*/ 7654337 w 8023328"/>
              <a:gd name="connsiteY204" fmla="*/ 1780878 h 2380521"/>
              <a:gd name="connsiteX205" fmla="*/ 7583507 w 8023328"/>
              <a:gd name="connsiteY205" fmla="*/ 1780878 h 2380521"/>
              <a:gd name="connsiteX206" fmla="*/ 7598297 w 8023328"/>
              <a:gd name="connsiteY206" fmla="*/ 1793275 h 2380521"/>
              <a:gd name="connsiteX207" fmla="*/ 7583507 w 8023328"/>
              <a:gd name="connsiteY207" fmla="*/ 1807131 h 2380521"/>
              <a:gd name="connsiteX208" fmla="*/ 7568718 w 8023328"/>
              <a:gd name="connsiteY208" fmla="*/ 1793275 h 2380521"/>
              <a:gd name="connsiteX209" fmla="*/ 7583507 w 8023328"/>
              <a:gd name="connsiteY209" fmla="*/ 1780878 h 2380521"/>
              <a:gd name="connsiteX210" fmla="*/ 7511745 w 8023328"/>
              <a:gd name="connsiteY210" fmla="*/ 1780878 h 2380521"/>
              <a:gd name="connsiteX211" fmla="*/ 7524143 w 8023328"/>
              <a:gd name="connsiteY211" fmla="*/ 1793275 h 2380521"/>
              <a:gd name="connsiteX212" fmla="*/ 7511745 w 8023328"/>
              <a:gd name="connsiteY212" fmla="*/ 1807131 h 2380521"/>
              <a:gd name="connsiteX213" fmla="*/ 7497889 w 8023328"/>
              <a:gd name="connsiteY213" fmla="*/ 1793275 h 2380521"/>
              <a:gd name="connsiteX214" fmla="*/ 7511745 w 8023328"/>
              <a:gd name="connsiteY214" fmla="*/ 1780878 h 2380521"/>
              <a:gd name="connsiteX215" fmla="*/ 7440913 w 8023328"/>
              <a:gd name="connsiteY215" fmla="*/ 1780878 h 2380521"/>
              <a:gd name="connsiteX216" fmla="*/ 7453310 w 8023328"/>
              <a:gd name="connsiteY216" fmla="*/ 1793275 h 2380521"/>
              <a:gd name="connsiteX217" fmla="*/ 7440913 w 8023328"/>
              <a:gd name="connsiteY217" fmla="*/ 1807131 h 2380521"/>
              <a:gd name="connsiteX218" fmla="*/ 7427057 w 8023328"/>
              <a:gd name="connsiteY218" fmla="*/ 1793275 h 2380521"/>
              <a:gd name="connsiteX219" fmla="*/ 7440913 w 8023328"/>
              <a:gd name="connsiteY219" fmla="*/ 1780878 h 2380521"/>
              <a:gd name="connsiteX220" fmla="*/ 7370084 w 8023328"/>
              <a:gd name="connsiteY220" fmla="*/ 1780878 h 2380521"/>
              <a:gd name="connsiteX221" fmla="*/ 7382481 w 8023328"/>
              <a:gd name="connsiteY221" fmla="*/ 1793275 h 2380521"/>
              <a:gd name="connsiteX222" fmla="*/ 7370084 w 8023328"/>
              <a:gd name="connsiteY222" fmla="*/ 1807131 h 2380521"/>
              <a:gd name="connsiteX223" fmla="*/ 7356228 w 8023328"/>
              <a:gd name="connsiteY223" fmla="*/ 1793275 h 2380521"/>
              <a:gd name="connsiteX224" fmla="*/ 7370084 w 8023328"/>
              <a:gd name="connsiteY224" fmla="*/ 1780878 h 2380521"/>
              <a:gd name="connsiteX225" fmla="*/ 7294422 w 8023328"/>
              <a:gd name="connsiteY225" fmla="*/ 1780878 h 2380521"/>
              <a:gd name="connsiteX226" fmla="*/ 7308278 w 8023328"/>
              <a:gd name="connsiteY226" fmla="*/ 1793275 h 2380521"/>
              <a:gd name="connsiteX227" fmla="*/ 7294422 w 8023328"/>
              <a:gd name="connsiteY227" fmla="*/ 1807131 h 2380521"/>
              <a:gd name="connsiteX228" fmla="*/ 7282025 w 8023328"/>
              <a:gd name="connsiteY228" fmla="*/ 1793275 h 2380521"/>
              <a:gd name="connsiteX229" fmla="*/ 7294422 w 8023328"/>
              <a:gd name="connsiteY229" fmla="*/ 1780878 h 2380521"/>
              <a:gd name="connsiteX230" fmla="*/ 7654337 w 8023328"/>
              <a:gd name="connsiteY230" fmla="*/ 1710049 h 2380521"/>
              <a:gd name="connsiteX231" fmla="*/ 7669126 w 8023328"/>
              <a:gd name="connsiteY231" fmla="*/ 1722446 h 2380521"/>
              <a:gd name="connsiteX232" fmla="*/ 7654337 w 8023328"/>
              <a:gd name="connsiteY232" fmla="*/ 1736302 h 2380521"/>
              <a:gd name="connsiteX233" fmla="*/ 7639549 w 8023328"/>
              <a:gd name="connsiteY233" fmla="*/ 1722446 h 2380521"/>
              <a:gd name="connsiteX234" fmla="*/ 7654337 w 8023328"/>
              <a:gd name="connsiteY234" fmla="*/ 1710049 h 2380521"/>
              <a:gd name="connsiteX235" fmla="*/ 7583507 w 8023328"/>
              <a:gd name="connsiteY235" fmla="*/ 1710049 h 2380521"/>
              <a:gd name="connsiteX236" fmla="*/ 7598297 w 8023328"/>
              <a:gd name="connsiteY236" fmla="*/ 1722446 h 2380521"/>
              <a:gd name="connsiteX237" fmla="*/ 7583507 w 8023328"/>
              <a:gd name="connsiteY237" fmla="*/ 1736302 h 2380521"/>
              <a:gd name="connsiteX238" fmla="*/ 7568718 w 8023328"/>
              <a:gd name="connsiteY238" fmla="*/ 1722446 h 2380521"/>
              <a:gd name="connsiteX239" fmla="*/ 7583507 w 8023328"/>
              <a:gd name="connsiteY239" fmla="*/ 1710049 h 2380521"/>
              <a:gd name="connsiteX240" fmla="*/ 7511745 w 8023328"/>
              <a:gd name="connsiteY240" fmla="*/ 1710049 h 2380521"/>
              <a:gd name="connsiteX241" fmla="*/ 7524143 w 8023328"/>
              <a:gd name="connsiteY241" fmla="*/ 1722446 h 2380521"/>
              <a:gd name="connsiteX242" fmla="*/ 7511745 w 8023328"/>
              <a:gd name="connsiteY242" fmla="*/ 1736302 h 2380521"/>
              <a:gd name="connsiteX243" fmla="*/ 7497889 w 8023328"/>
              <a:gd name="connsiteY243" fmla="*/ 1722446 h 2380521"/>
              <a:gd name="connsiteX244" fmla="*/ 7511745 w 8023328"/>
              <a:gd name="connsiteY244" fmla="*/ 1710049 h 2380521"/>
              <a:gd name="connsiteX245" fmla="*/ 7440913 w 8023328"/>
              <a:gd name="connsiteY245" fmla="*/ 1710049 h 2380521"/>
              <a:gd name="connsiteX246" fmla="*/ 7453310 w 8023328"/>
              <a:gd name="connsiteY246" fmla="*/ 1722446 h 2380521"/>
              <a:gd name="connsiteX247" fmla="*/ 7440913 w 8023328"/>
              <a:gd name="connsiteY247" fmla="*/ 1736302 h 2380521"/>
              <a:gd name="connsiteX248" fmla="*/ 7427057 w 8023328"/>
              <a:gd name="connsiteY248" fmla="*/ 1722446 h 2380521"/>
              <a:gd name="connsiteX249" fmla="*/ 7440913 w 8023328"/>
              <a:gd name="connsiteY249" fmla="*/ 1710049 h 2380521"/>
              <a:gd name="connsiteX250" fmla="*/ 7370084 w 8023328"/>
              <a:gd name="connsiteY250" fmla="*/ 1710049 h 2380521"/>
              <a:gd name="connsiteX251" fmla="*/ 7382481 w 8023328"/>
              <a:gd name="connsiteY251" fmla="*/ 1722446 h 2380521"/>
              <a:gd name="connsiteX252" fmla="*/ 7370084 w 8023328"/>
              <a:gd name="connsiteY252" fmla="*/ 1736302 h 2380521"/>
              <a:gd name="connsiteX253" fmla="*/ 7356228 w 8023328"/>
              <a:gd name="connsiteY253" fmla="*/ 1722446 h 2380521"/>
              <a:gd name="connsiteX254" fmla="*/ 7370084 w 8023328"/>
              <a:gd name="connsiteY254" fmla="*/ 1710049 h 2380521"/>
              <a:gd name="connsiteX255" fmla="*/ 7294422 w 8023328"/>
              <a:gd name="connsiteY255" fmla="*/ 1710049 h 2380521"/>
              <a:gd name="connsiteX256" fmla="*/ 7308278 w 8023328"/>
              <a:gd name="connsiteY256" fmla="*/ 1722446 h 2380521"/>
              <a:gd name="connsiteX257" fmla="*/ 7294422 w 8023328"/>
              <a:gd name="connsiteY257" fmla="*/ 1736302 h 2380521"/>
              <a:gd name="connsiteX258" fmla="*/ 7282025 w 8023328"/>
              <a:gd name="connsiteY258" fmla="*/ 1722446 h 2380521"/>
              <a:gd name="connsiteX259" fmla="*/ 7294422 w 8023328"/>
              <a:gd name="connsiteY259" fmla="*/ 1710049 h 2380521"/>
              <a:gd name="connsiteX260" fmla="*/ 7223591 w 8023328"/>
              <a:gd name="connsiteY260" fmla="*/ 1710049 h 2380521"/>
              <a:gd name="connsiteX261" fmla="*/ 7237447 w 8023328"/>
              <a:gd name="connsiteY261" fmla="*/ 1722446 h 2380521"/>
              <a:gd name="connsiteX262" fmla="*/ 7223591 w 8023328"/>
              <a:gd name="connsiteY262" fmla="*/ 1736302 h 2380521"/>
              <a:gd name="connsiteX263" fmla="*/ 7211194 w 8023328"/>
              <a:gd name="connsiteY263" fmla="*/ 1722446 h 2380521"/>
              <a:gd name="connsiteX264" fmla="*/ 7223591 w 8023328"/>
              <a:gd name="connsiteY264" fmla="*/ 1710049 h 2380521"/>
              <a:gd name="connsiteX265" fmla="*/ 7583507 w 8023328"/>
              <a:gd name="connsiteY265" fmla="*/ 1639217 h 2380521"/>
              <a:gd name="connsiteX266" fmla="*/ 7598297 w 8023328"/>
              <a:gd name="connsiteY266" fmla="*/ 1651614 h 2380521"/>
              <a:gd name="connsiteX267" fmla="*/ 7583507 w 8023328"/>
              <a:gd name="connsiteY267" fmla="*/ 1665470 h 2380521"/>
              <a:gd name="connsiteX268" fmla="*/ 7568718 w 8023328"/>
              <a:gd name="connsiteY268" fmla="*/ 1651614 h 2380521"/>
              <a:gd name="connsiteX269" fmla="*/ 7583507 w 8023328"/>
              <a:gd name="connsiteY269" fmla="*/ 1639217 h 2380521"/>
              <a:gd name="connsiteX270" fmla="*/ 7511745 w 8023328"/>
              <a:gd name="connsiteY270" fmla="*/ 1639217 h 2380521"/>
              <a:gd name="connsiteX271" fmla="*/ 7524143 w 8023328"/>
              <a:gd name="connsiteY271" fmla="*/ 1651614 h 2380521"/>
              <a:gd name="connsiteX272" fmla="*/ 7511745 w 8023328"/>
              <a:gd name="connsiteY272" fmla="*/ 1665470 h 2380521"/>
              <a:gd name="connsiteX273" fmla="*/ 7497889 w 8023328"/>
              <a:gd name="connsiteY273" fmla="*/ 1651614 h 2380521"/>
              <a:gd name="connsiteX274" fmla="*/ 7511745 w 8023328"/>
              <a:gd name="connsiteY274" fmla="*/ 1639217 h 2380521"/>
              <a:gd name="connsiteX275" fmla="*/ 7440913 w 8023328"/>
              <a:gd name="connsiteY275" fmla="*/ 1639217 h 2380521"/>
              <a:gd name="connsiteX276" fmla="*/ 7453310 w 8023328"/>
              <a:gd name="connsiteY276" fmla="*/ 1651614 h 2380521"/>
              <a:gd name="connsiteX277" fmla="*/ 7440913 w 8023328"/>
              <a:gd name="connsiteY277" fmla="*/ 1665470 h 2380521"/>
              <a:gd name="connsiteX278" fmla="*/ 7427057 w 8023328"/>
              <a:gd name="connsiteY278" fmla="*/ 1651614 h 2380521"/>
              <a:gd name="connsiteX279" fmla="*/ 7440913 w 8023328"/>
              <a:gd name="connsiteY279" fmla="*/ 1639217 h 2380521"/>
              <a:gd name="connsiteX280" fmla="*/ 7370084 w 8023328"/>
              <a:gd name="connsiteY280" fmla="*/ 1639217 h 2380521"/>
              <a:gd name="connsiteX281" fmla="*/ 7382481 w 8023328"/>
              <a:gd name="connsiteY281" fmla="*/ 1651614 h 2380521"/>
              <a:gd name="connsiteX282" fmla="*/ 7370084 w 8023328"/>
              <a:gd name="connsiteY282" fmla="*/ 1665470 h 2380521"/>
              <a:gd name="connsiteX283" fmla="*/ 7356228 w 8023328"/>
              <a:gd name="connsiteY283" fmla="*/ 1651614 h 2380521"/>
              <a:gd name="connsiteX284" fmla="*/ 7370084 w 8023328"/>
              <a:gd name="connsiteY284" fmla="*/ 1639217 h 2380521"/>
              <a:gd name="connsiteX285" fmla="*/ 7294422 w 8023328"/>
              <a:gd name="connsiteY285" fmla="*/ 1639217 h 2380521"/>
              <a:gd name="connsiteX286" fmla="*/ 7308278 w 8023328"/>
              <a:gd name="connsiteY286" fmla="*/ 1651614 h 2380521"/>
              <a:gd name="connsiteX287" fmla="*/ 7294422 w 8023328"/>
              <a:gd name="connsiteY287" fmla="*/ 1665470 h 2380521"/>
              <a:gd name="connsiteX288" fmla="*/ 7282025 w 8023328"/>
              <a:gd name="connsiteY288" fmla="*/ 1651614 h 2380521"/>
              <a:gd name="connsiteX289" fmla="*/ 7294422 w 8023328"/>
              <a:gd name="connsiteY289" fmla="*/ 1639217 h 2380521"/>
              <a:gd name="connsiteX290" fmla="*/ 7223591 w 8023328"/>
              <a:gd name="connsiteY290" fmla="*/ 1639217 h 2380521"/>
              <a:gd name="connsiteX291" fmla="*/ 7237447 w 8023328"/>
              <a:gd name="connsiteY291" fmla="*/ 1651614 h 2380521"/>
              <a:gd name="connsiteX292" fmla="*/ 7223591 w 8023328"/>
              <a:gd name="connsiteY292" fmla="*/ 1665470 h 2380521"/>
              <a:gd name="connsiteX293" fmla="*/ 7211194 w 8023328"/>
              <a:gd name="connsiteY293" fmla="*/ 1651614 h 2380521"/>
              <a:gd name="connsiteX294" fmla="*/ 7223591 w 8023328"/>
              <a:gd name="connsiteY294" fmla="*/ 1639217 h 2380521"/>
              <a:gd name="connsiteX295" fmla="*/ 7152761 w 8023328"/>
              <a:gd name="connsiteY295" fmla="*/ 1639217 h 2380521"/>
              <a:gd name="connsiteX296" fmla="*/ 7166617 w 8023328"/>
              <a:gd name="connsiteY296" fmla="*/ 1651614 h 2380521"/>
              <a:gd name="connsiteX297" fmla="*/ 7152761 w 8023328"/>
              <a:gd name="connsiteY297" fmla="*/ 1665470 h 2380521"/>
              <a:gd name="connsiteX298" fmla="*/ 7140364 w 8023328"/>
              <a:gd name="connsiteY298" fmla="*/ 1651614 h 2380521"/>
              <a:gd name="connsiteX299" fmla="*/ 7152761 w 8023328"/>
              <a:gd name="connsiteY299" fmla="*/ 1639217 h 2380521"/>
              <a:gd name="connsiteX300" fmla="*/ 7511745 w 8023328"/>
              <a:gd name="connsiteY300" fmla="*/ 1568388 h 2380521"/>
              <a:gd name="connsiteX301" fmla="*/ 7524143 w 8023328"/>
              <a:gd name="connsiteY301" fmla="*/ 1583176 h 2380521"/>
              <a:gd name="connsiteX302" fmla="*/ 7511745 w 8023328"/>
              <a:gd name="connsiteY302" fmla="*/ 1597964 h 2380521"/>
              <a:gd name="connsiteX303" fmla="*/ 7497889 w 8023328"/>
              <a:gd name="connsiteY303" fmla="*/ 1583176 h 2380521"/>
              <a:gd name="connsiteX304" fmla="*/ 7511745 w 8023328"/>
              <a:gd name="connsiteY304" fmla="*/ 1568388 h 2380521"/>
              <a:gd name="connsiteX305" fmla="*/ 7440913 w 8023328"/>
              <a:gd name="connsiteY305" fmla="*/ 1568388 h 2380521"/>
              <a:gd name="connsiteX306" fmla="*/ 7453310 w 8023328"/>
              <a:gd name="connsiteY306" fmla="*/ 1583176 h 2380521"/>
              <a:gd name="connsiteX307" fmla="*/ 7440913 w 8023328"/>
              <a:gd name="connsiteY307" fmla="*/ 1597964 h 2380521"/>
              <a:gd name="connsiteX308" fmla="*/ 7427057 w 8023328"/>
              <a:gd name="connsiteY308" fmla="*/ 1583176 h 2380521"/>
              <a:gd name="connsiteX309" fmla="*/ 7440913 w 8023328"/>
              <a:gd name="connsiteY309" fmla="*/ 1568388 h 2380521"/>
              <a:gd name="connsiteX310" fmla="*/ 7370084 w 8023328"/>
              <a:gd name="connsiteY310" fmla="*/ 1568388 h 2380521"/>
              <a:gd name="connsiteX311" fmla="*/ 7382481 w 8023328"/>
              <a:gd name="connsiteY311" fmla="*/ 1583176 h 2380521"/>
              <a:gd name="connsiteX312" fmla="*/ 7370084 w 8023328"/>
              <a:gd name="connsiteY312" fmla="*/ 1597964 h 2380521"/>
              <a:gd name="connsiteX313" fmla="*/ 7356228 w 8023328"/>
              <a:gd name="connsiteY313" fmla="*/ 1583176 h 2380521"/>
              <a:gd name="connsiteX314" fmla="*/ 7370084 w 8023328"/>
              <a:gd name="connsiteY314" fmla="*/ 1568388 h 2380521"/>
              <a:gd name="connsiteX315" fmla="*/ 7294422 w 8023328"/>
              <a:gd name="connsiteY315" fmla="*/ 1568388 h 2380521"/>
              <a:gd name="connsiteX316" fmla="*/ 7308278 w 8023328"/>
              <a:gd name="connsiteY316" fmla="*/ 1583176 h 2380521"/>
              <a:gd name="connsiteX317" fmla="*/ 7294422 w 8023328"/>
              <a:gd name="connsiteY317" fmla="*/ 1597964 h 2380521"/>
              <a:gd name="connsiteX318" fmla="*/ 7282025 w 8023328"/>
              <a:gd name="connsiteY318" fmla="*/ 1583176 h 2380521"/>
              <a:gd name="connsiteX319" fmla="*/ 7294422 w 8023328"/>
              <a:gd name="connsiteY319" fmla="*/ 1568388 h 2380521"/>
              <a:gd name="connsiteX320" fmla="*/ 7223591 w 8023328"/>
              <a:gd name="connsiteY320" fmla="*/ 1568388 h 2380521"/>
              <a:gd name="connsiteX321" fmla="*/ 7237447 w 8023328"/>
              <a:gd name="connsiteY321" fmla="*/ 1583176 h 2380521"/>
              <a:gd name="connsiteX322" fmla="*/ 7223591 w 8023328"/>
              <a:gd name="connsiteY322" fmla="*/ 1597964 h 2380521"/>
              <a:gd name="connsiteX323" fmla="*/ 7211194 w 8023328"/>
              <a:gd name="connsiteY323" fmla="*/ 1583176 h 2380521"/>
              <a:gd name="connsiteX324" fmla="*/ 7223591 w 8023328"/>
              <a:gd name="connsiteY324" fmla="*/ 1568388 h 2380521"/>
              <a:gd name="connsiteX325" fmla="*/ 7152761 w 8023328"/>
              <a:gd name="connsiteY325" fmla="*/ 1568388 h 2380521"/>
              <a:gd name="connsiteX326" fmla="*/ 7166617 w 8023328"/>
              <a:gd name="connsiteY326" fmla="*/ 1580785 h 2380521"/>
              <a:gd name="connsiteX327" fmla="*/ 7152761 w 8023328"/>
              <a:gd name="connsiteY327" fmla="*/ 1594641 h 2380521"/>
              <a:gd name="connsiteX328" fmla="*/ 7140364 w 8023328"/>
              <a:gd name="connsiteY328" fmla="*/ 1580785 h 2380521"/>
              <a:gd name="connsiteX329" fmla="*/ 7152761 w 8023328"/>
              <a:gd name="connsiteY329" fmla="*/ 1568388 h 2380521"/>
              <a:gd name="connsiteX330" fmla="*/ 7084322 w 8023328"/>
              <a:gd name="connsiteY330" fmla="*/ 1568388 h 2380521"/>
              <a:gd name="connsiteX331" fmla="*/ 7099111 w 8023328"/>
              <a:gd name="connsiteY331" fmla="*/ 1580785 h 2380521"/>
              <a:gd name="connsiteX332" fmla="*/ 7084322 w 8023328"/>
              <a:gd name="connsiteY332" fmla="*/ 1594641 h 2380521"/>
              <a:gd name="connsiteX333" fmla="*/ 7069533 w 8023328"/>
              <a:gd name="connsiteY333" fmla="*/ 1580785 h 2380521"/>
              <a:gd name="connsiteX334" fmla="*/ 7084322 w 8023328"/>
              <a:gd name="connsiteY334" fmla="*/ 1568388 h 2380521"/>
              <a:gd name="connsiteX335" fmla="*/ 7440913 w 8023328"/>
              <a:gd name="connsiteY335" fmla="*/ 1494185 h 2380521"/>
              <a:gd name="connsiteX336" fmla="*/ 7453310 w 8023328"/>
              <a:gd name="connsiteY336" fmla="*/ 1508973 h 2380521"/>
              <a:gd name="connsiteX337" fmla="*/ 7440913 w 8023328"/>
              <a:gd name="connsiteY337" fmla="*/ 1523761 h 2380521"/>
              <a:gd name="connsiteX338" fmla="*/ 7427057 w 8023328"/>
              <a:gd name="connsiteY338" fmla="*/ 1508973 h 2380521"/>
              <a:gd name="connsiteX339" fmla="*/ 7440913 w 8023328"/>
              <a:gd name="connsiteY339" fmla="*/ 1494185 h 2380521"/>
              <a:gd name="connsiteX340" fmla="*/ 7370084 w 8023328"/>
              <a:gd name="connsiteY340" fmla="*/ 1494185 h 2380521"/>
              <a:gd name="connsiteX341" fmla="*/ 7382481 w 8023328"/>
              <a:gd name="connsiteY341" fmla="*/ 1508973 h 2380521"/>
              <a:gd name="connsiteX342" fmla="*/ 7370084 w 8023328"/>
              <a:gd name="connsiteY342" fmla="*/ 1523761 h 2380521"/>
              <a:gd name="connsiteX343" fmla="*/ 7356228 w 8023328"/>
              <a:gd name="connsiteY343" fmla="*/ 1508973 h 2380521"/>
              <a:gd name="connsiteX344" fmla="*/ 7370084 w 8023328"/>
              <a:gd name="connsiteY344" fmla="*/ 1494185 h 2380521"/>
              <a:gd name="connsiteX345" fmla="*/ 7294422 w 8023328"/>
              <a:gd name="connsiteY345" fmla="*/ 1494185 h 2380521"/>
              <a:gd name="connsiteX346" fmla="*/ 7308278 w 8023328"/>
              <a:gd name="connsiteY346" fmla="*/ 1508973 h 2380521"/>
              <a:gd name="connsiteX347" fmla="*/ 7294422 w 8023328"/>
              <a:gd name="connsiteY347" fmla="*/ 1523761 h 2380521"/>
              <a:gd name="connsiteX348" fmla="*/ 7282025 w 8023328"/>
              <a:gd name="connsiteY348" fmla="*/ 1508973 h 2380521"/>
              <a:gd name="connsiteX349" fmla="*/ 7294422 w 8023328"/>
              <a:gd name="connsiteY349" fmla="*/ 1494185 h 2380521"/>
              <a:gd name="connsiteX350" fmla="*/ 7223591 w 8023328"/>
              <a:gd name="connsiteY350" fmla="*/ 1494185 h 2380521"/>
              <a:gd name="connsiteX351" fmla="*/ 7237447 w 8023328"/>
              <a:gd name="connsiteY351" fmla="*/ 1508973 h 2380521"/>
              <a:gd name="connsiteX352" fmla="*/ 7223591 w 8023328"/>
              <a:gd name="connsiteY352" fmla="*/ 1523761 h 2380521"/>
              <a:gd name="connsiteX353" fmla="*/ 7211194 w 8023328"/>
              <a:gd name="connsiteY353" fmla="*/ 1508973 h 2380521"/>
              <a:gd name="connsiteX354" fmla="*/ 7223591 w 8023328"/>
              <a:gd name="connsiteY354" fmla="*/ 1494185 h 2380521"/>
              <a:gd name="connsiteX355" fmla="*/ 7152761 w 8023328"/>
              <a:gd name="connsiteY355" fmla="*/ 1494185 h 2380521"/>
              <a:gd name="connsiteX356" fmla="*/ 7166617 w 8023328"/>
              <a:gd name="connsiteY356" fmla="*/ 1508973 h 2380521"/>
              <a:gd name="connsiteX357" fmla="*/ 7152761 w 8023328"/>
              <a:gd name="connsiteY357" fmla="*/ 1523761 h 2380521"/>
              <a:gd name="connsiteX358" fmla="*/ 7140364 w 8023328"/>
              <a:gd name="connsiteY358" fmla="*/ 1508973 h 2380521"/>
              <a:gd name="connsiteX359" fmla="*/ 7152761 w 8023328"/>
              <a:gd name="connsiteY359" fmla="*/ 1494185 h 2380521"/>
              <a:gd name="connsiteX360" fmla="*/ 7084322 w 8023328"/>
              <a:gd name="connsiteY360" fmla="*/ 1494185 h 2380521"/>
              <a:gd name="connsiteX361" fmla="*/ 7099111 w 8023328"/>
              <a:gd name="connsiteY361" fmla="*/ 1508973 h 2380521"/>
              <a:gd name="connsiteX362" fmla="*/ 7084322 w 8023328"/>
              <a:gd name="connsiteY362" fmla="*/ 1523761 h 2380521"/>
              <a:gd name="connsiteX363" fmla="*/ 7069533 w 8023328"/>
              <a:gd name="connsiteY363" fmla="*/ 1508973 h 2380521"/>
              <a:gd name="connsiteX364" fmla="*/ 7084322 w 8023328"/>
              <a:gd name="connsiteY364" fmla="*/ 1494185 h 2380521"/>
              <a:gd name="connsiteX365" fmla="*/ 7013492 w 8023328"/>
              <a:gd name="connsiteY365" fmla="*/ 1494185 h 2380521"/>
              <a:gd name="connsiteX366" fmla="*/ 7028280 w 8023328"/>
              <a:gd name="connsiteY366" fmla="*/ 1508973 h 2380521"/>
              <a:gd name="connsiteX367" fmla="*/ 7013492 w 8023328"/>
              <a:gd name="connsiteY367" fmla="*/ 1523761 h 2380521"/>
              <a:gd name="connsiteX368" fmla="*/ 6998704 w 8023328"/>
              <a:gd name="connsiteY368" fmla="*/ 1508973 h 2380521"/>
              <a:gd name="connsiteX369" fmla="*/ 7013492 w 8023328"/>
              <a:gd name="connsiteY369" fmla="*/ 1494185 h 2380521"/>
              <a:gd name="connsiteX370" fmla="*/ 6939085 w 8023328"/>
              <a:gd name="connsiteY370" fmla="*/ 1494185 h 2380521"/>
              <a:gd name="connsiteX371" fmla="*/ 6950753 w 8023328"/>
              <a:gd name="connsiteY371" fmla="*/ 1508973 h 2380521"/>
              <a:gd name="connsiteX372" fmla="*/ 6939085 w 8023328"/>
              <a:gd name="connsiteY372" fmla="*/ 1523761 h 2380521"/>
              <a:gd name="connsiteX373" fmla="*/ 6924500 w 8023328"/>
              <a:gd name="connsiteY373" fmla="*/ 1508973 h 2380521"/>
              <a:gd name="connsiteX374" fmla="*/ 6939085 w 8023328"/>
              <a:gd name="connsiteY374" fmla="*/ 1494185 h 2380521"/>
              <a:gd name="connsiteX375" fmla="*/ 83229 w 8023328"/>
              <a:gd name="connsiteY375" fmla="*/ 1426727 h 2380521"/>
              <a:gd name="connsiteX376" fmla="*/ 97085 w 8023328"/>
              <a:gd name="connsiteY376" fmla="*/ 1439124 h 2380521"/>
              <a:gd name="connsiteX377" fmla="*/ 83229 w 8023328"/>
              <a:gd name="connsiteY377" fmla="*/ 1452980 h 2380521"/>
              <a:gd name="connsiteX378" fmla="*/ 70831 w 8023328"/>
              <a:gd name="connsiteY378" fmla="*/ 1439124 h 2380521"/>
              <a:gd name="connsiteX379" fmla="*/ 83229 w 8023328"/>
              <a:gd name="connsiteY379" fmla="*/ 1426727 h 2380521"/>
              <a:gd name="connsiteX380" fmla="*/ 11993 w 8023328"/>
              <a:gd name="connsiteY380" fmla="*/ 1426727 h 2380521"/>
              <a:gd name="connsiteX381" fmla="*/ 26234 w 8023328"/>
              <a:gd name="connsiteY381" fmla="*/ 1439124 h 2380521"/>
              <a:gd name="connsiteX382" fmla="*/ 11993 w 8023328"/>
              <a:gd name="connsiteY382" fmla="*/ 1452980 h 2380521"/>
              <a:gd name="connsiteX383" fmla="*/ 0 w 8023328"/>
              <a:gd name="connsiteY383" fmla="*/ 1439124 h 2380521"/>
              <a:gd name="connsiteX384" fmla="*/ 11993 w 8023328"/>
              <a:gd name="connsiteY384" fmla="*/ 1426727 h 2380521"/>
              <a:gd name="connsiteX385" fmla="*/ 7370084 w 8023328"/>
              <a:gd name="connsiteY385" fmla="*/ 1423353 h 2380521"/>
              <a:gd name="connsiteX386" fmla="*/ 7382481 w 8023328"/>
              <a:gd name="connsiteY386" fmla="*/ 1438142 h 2380521"/>
              <a:gd name="connsiteX387" fmla="*/ 7370084 w 8023328"/>
              <a:gd name="connsiteY387" fmla="*/ 1452931 h 2380521"/>
              <a:gd name="connsiteX388" fmla="*/ 7356228 w 8023328"/>
              <a:gd name="connsiteY388" fmla="*/ 1438142 h 2380521"/>
              <a:gd name="connsiteX389" fmla="*/ 7370084 w 8023328"/>
              <a:gd name="connsiteY389" fmla="*/ 1423353 h 2380521"/>
              <a:gd name="connsiteX390" fmla="*/ 7294422 w 8023328"/>
              <a:gd name="connsiteY390" fmla="*/ 1423353 h 2380521"/>
              <a:gd name="connsiteX391" fmla="*/ 7308278 w 8023328"/>
              <a:gd name="connsiteY391" fmla="*/ 1438142 h 2380521"/>
              <a:gd name="connsiteX392" fmla="*/ 7294422 w 8023328"/>
              <a:gd name="connsiteY392" fmla="*/ 1452931 h 2380521"/>
              <a:gd name="connsiteX393" fmla="*/ 7282025 w 8023328"/>
              <a:gd name="connsiteY393" fmla="*/ 1438142 h 2380521"/>
              <a:gd name="connsiteX394" fmla="*/ 7294422 w 8023328"/>
              <a:gd name="connsiteY394" fmla="*/ 1423353 h 2380521"/>
              <a:gd name="connsiteX395" fmla="*/ 7223591 w 8023328"/>
              <a:gd name="connsiteY395" fmla="*/ 1423353 h 2380521"/>
              <a:gd name="connsiteX396" fmla="*/ 7237447 w 8023328"/>
              <a:gd name="connsiteY396" fmla="*/ 1438142 h 2380521"/>
              <a:gd name="connsiteX397" fmla="*/ 7223591 w 8023328"/>
              <a:gd name="connsiteY397" fmla="*/ 1452931 h 2380521"/>
              <a:gd name="connsiteX398" fmla="*/ 7211194 w 8023328"/>
              <a:gd name="connsiteY398" fmla="*/ 1438142 h 2380521"/>
              <a:gd name="connsiteX399" fmla="*/ 7223591 w 8023328"/>
              <a:gd name="connsiteY399" fmla="*/ 1423353 h 2380521"/>
              <a:gd name="connsiteX400" fmla="*/ 7155152 w 8023328"/>
              <a:gd name="connsiteY400" fmla="*/ 1423353 h 2380521"/>
              <a:gd name="connsiteX401" fmla="*/ 7169940 w 8023328"/>
              <a:gd name="connsiteY401" fmla="*/ 1438142 h 2380521"/>
              <a:gd name="connsiteX402" fmla="*/ 7155152 w 8023328"/>
              <a:gd name="connsiteY402" fmla="*/ 1452931 h 2380521"/>
              <a:gd name="connsiteX403" fmla="*/ 7141920 w 8023328"/>
              <a:gd name="connsiteY403" fmla="*/ 1438142 h 2380521"/>
              <a:gd name="connsiteX404" fmla="*/ 7155152 w 8023328"/>
              <a:gd name="connsiteY404" fmla="*/ 1423353 h 2380521"/>
              <a:gd name="connsiteX405" fmla="*/ 7084322 w 8023328"/>
              <a:gd name="connsiteY405" fmla="*/ 1423353 h 2380521"/>
              <a:gd name="connsiteX406" fmla="*/ 7099111 w 8023328"/>
              <a:gd name="connsiteY406" fmla="*/ 1438142 h 2380521"/>
              <a:gd name="connsiteX407" fmla="*/ 7084322 w 8023328"/>
              <a:gd name="connsiteY407" fmla="*/ 1452931 h 2380521"/>
              <a:gd name="connsiteX408" fmla="*/ 7069533 w 8023328"/>
              <a:gd name="connsiteY408" fmla="*/ 1438142 h 2380521"/>
              <a:gd name="connsiteX409" fmla="*/ 7084322 w 8023328"/>
              <a:gd name="connsiteY409" fmla="*/ 1423353 h 2380521"/>
              <a:gd name="connsiteX410" fmla="*/ 7013492 w 8023328"/>
              <a:gd name="connsiteY410" fmla="*/ 1423353 h 2380521"/>
              <a:gd name="connsiteX411" fmla="*/ 7028280 w 8023328"/>
              <a:gd name="connsiteY411" fmla="*/ 1438142 h 2380521"/>
              <a:gd name="connsiteX412" fmla="*/ 7013492 w 8023328"/>
              <a:gd name="connsiteY412" fmla="*/ 1452931 h 2380521"/>
              <a:gd name="connsiteX413" fmla="*/ 6998704 w 8023328"/>
              <a:gd name="connsiteY413" fmla="*/ 1438142 h 2380521"/>
              <a:gd name="connsiteX414" fmla="*/ 7013492 w 8023328"/>
              <a:gd name="connsiteY414" fmla="*/ 1423353 h 2380521"/>
              <a:gd name="connsiteX415" fmla="*/ 6939085 w 8023328"/>
              <a:gd name="connsiteY415" fmla="*/ 1423353 h 2380521"/>
              <a:gd name="connsiteX416" fmla="*/ 6950753 w 8023328"/>
              <a:gd name="connsiteY416" fmla="*/ 1438142 h 2380521"/>
              <a:gd name="connsiteX417" fmla="*/ 6939085 w 8023328"/>
              <a:gd name="connsiteY417" fmla="*/ 1452931 h 2380521"/>
              <a:gd name="connsiteX418" fmla="*/ 6924500 w 8023328"/>
              <a:gd name="connsiteY418" fmla="*/ 1438142 h 2380521"/>
              <a:gd name="connsiteX419" fmla="*/ 6939085 w 8023328"/>
              <a:gd name="connsiteY419" fmla="*/ 1423353 h 2380521"/>
              <a:gd name="connsiteX420" fmla="*/ 6867525 w 8023328"/>
              <a:gd name="connsiteY420" fmla="*/ 1423353 h 2380521"/>
              <a:gd name="connsiteX421" fmla="*/ 6879922 w 8023328"/>
              <a:gd name="connsiteY421" fmla="*/ 1438142 h 2380521"/>
              <a:gd name="connsiteX422" fmla="*/ 6867525 w 8023328"/>
              <a:gd name="connsiteY422" fmla="*/ 1452931 h 2380521"/>
              <a:gd name="connsiteX423" fmla="*/ 6853669 w 8023328"/>
              <a:gd name="connsiteY423" fmla="*/ 1438142 h 2380521"/>
              <a:gd name="connsiteX424" fmla="*/ 6867525 w 8023328"/>
              <a:gd name="connsiteY424" fmla="*/ 1423353 h 2380521"/>
              <a:gd name="connsiteX425" fmla="*/ 6796696 w 8023328"/>
              <a:gd name="connsiteY425" fmla="*/ 1423353 h 2380521"/>
              <a:gd name="connsiteX426" fmla="*/ 6809093 w 8023328"/>
              <a:gd name="connsiteY426" fmla="*/ 1438142 h 2380521"/>
              <a:gd name="connsiteX427" fmla="*/ 6796696 w 8023328"/>
              <a:gd name="connsiteY427" fmla="*/ 1452931 h 2380521"/>
              <a:gd name="connsiteX428" fmla="*/ 6782840 w 8023328"/>
              <a:gd name="connsiteY428" fmla="*/ 1438142 h 2380521"/>
              <a:gd name="connsiteX429" fmla="*/ 6796696 w 8023328"/>
              <a:gd name="connsiteY429" fmla="*/ 1423353 h 2380521"/>
              <a:gd name="connsiteX430" fmla="*/ 155518 w 8023328"/>
              <a:gd name="connsiteY430" fmla="*/ 1355896 h 2380521"/>
              <a:gd name="connsiteX431" fmla="*/ 167916 w 8023328"/>
              <a:gd name="connsiteY431" fmla="*/ 1368293 h 2380521"/>
              <a:gd name="connsiteX432" fmla="*/ 155518 w 8023328"/>
              <a:gd name="connsiteY432" fmla="*/ 1382149 h 2380521"/>
              <a:gd name="connsiteX433" fmla="*/ 141662 w 8023328"/>
              <a:gd name="connsiteY433" fmla="*/ 1368293 h 2380521"/>
              <a:gd name="connsiteX434" fmla="*/ 155518 w 8023328"/>
              <a:gd name="connsiteY434" fmla="*/ 1355896 h 2380521"/>
              <a:gd name="connsiteX435" fmla="*/ 83230 w 8023328"/>
              <a:gd name="connsiteY435" fmla="*/ 1355896 h 2380521"/>
              <a:gd name="connsiteX436" fmla="*/ 97086 w 8023328"/>
              <a:gd name="connsiteY436" fmla="*/ 1368293 h 2380521"/>
              <a:gd name="connsiteX437" fmla="*/ 83230 w 8023328"/>
              <a:gd name="connsiteY437" fmla="*/ 1382149 h 2380521"/>
              <a:gd name="connsiteX438" fmla="*/ 70832 w 8023328"/>
              <a:gd name="connsiteY438" fmla="*/ 1368293 h 2380521"/>
              <a:gd name="connsiteX439" fmla="*/ 83230 w 8023328"/>
              <a:gd name="connsiteY439" fmla="*/ 1355896 h 2380521"/>
              <a:gd name="connsiteX440" fmla="*/ 11994 w 8023328"/>
              <a:gd name="connsiteY440" fmla="*/ 1355896 h 2380521"/>
              <a:gd name="connsiteX441" fmla="*/ 26235 w 8023328"/>
              <a:gd name="connsiteY441" fmla="*/ 1368293 h 2380521"/>
              <a:gd name="connsiteX442" fmla="*/ 11994 w 8023328"/>
              <a:gd name="connsiteY442" fmla="*/ 1382149 h 2380521"/>
              <a:gd name="connsiteX443" fmla="*/ 2 w 8023328"/>
              <a:gd name="connsiteY443" fmla="*/ 1368293 h 2380521"/>
              <a:gd name="connsiteX444" fmla="*/ 11994 w 8023328"/>
              <a:gd name="connsiteY444" fmla="*/ 1355896 h 2380521"/>
              <a:gd name="connsiteX445" fmla="*/ 7294422 w 8023328"/>
              <a:gd name="connsiteY445" fmla="*/ 1352524 h 2380521"/>
              <a:gd name="connsiteX446" fmla="*/ 7308278 w 8023328"/>
              <a:gd name="connsiteY446" fmla="*/ 1367109 h 2380521"/>
              <a:gd name="connsiteX447" fmla="*/ 7294422 w 8023328"/>
              <a:gd name="connsiteY447" fmla="*/ 1378777 h 2380521"/>
              <a:gd name="connsiteX448" fmla="*/ 7282025 w 8023328"/>
              <a:gd name="connsiteY448" fmla="*/ 1367109 h 2380521"/>
              <a:gd name="connsiteX449" fmla="*/ 7294422 w 8023328"/>
              <a:gd name="connsiteY449" fmla="*/ 1352524 h 2380521"/>
              <a:gd name="connsiteX450" fmla="*/ 7223591 w 8023328"/>
              <a:gd name="connsiteY450" fmla="*/ 1352524 h 2380521"/>
              <a:gd name="connsiteX451" fmla="*/ 7237447 w 8023328"/>
              <a:gd name="connsiteY451" fmla="*/ 1367109 h 2380521"/>
              <a:gd name="connsiteX452" fmla="*/ 7223591 w 8023328"/>
              <a:gd name="connsiteY452" fmla="*/ 1378777 h 2380521"/>
              <a:gd name="connsiteX453" fmla="*/ 7211194 w 8023328"/>
              <a:gd name="connsiteY453" fmla="*/ 1367109 h 2380521"/>
              <a:gd name="connsiteX454" fmla="*/ 7223591 w 8023328"/>
              <a:gd name="connsiteY454" fmla="*/ 1352524 h 2380521"/>
              <a:gd name="connsiteX455" fmla="*/ 7155152 w 8023328"/>
              <a:gd name="connsiteY455" fmla="*/ 1352524 h 2380521"/>
              <a:gd name="connsiteX456" fmla="*/ 7169940 w 8023328"/>
              <a:gd name="connsiteY456" fmla="*/ 1367109 h 2380521"/>
              <a:gd name="connsiteX457" fmla="*/ 7155152 w 8023328"/>
              <a:gd name="connsiteY457" fmla="*/ 1378777 h 2380521"/>
              <a:gd name="connsiteX458" fmla="*/ 7140364 w 8023328"/>
              <a:gd name="connsiteY458" fmla="*/ 1367109 h 2380521"/>
              <a:gd name="connsiteX459" fmla="*/ 7155152 w 8023328"/>
              <a:gd name="connsiteY459" fmla="*/ 1352524 h 2380521"/>
              <a:gd name="connsiteX460" fmla="*/ 7084322 w 8023328"/>
              <a:gd name="connsiteY460" fmla="*/ 1352524 h 2380521"/>
              <a:gd name="connsiteX461" fmla="*/ 7099111 w 8023328"/>
              <a:gd name="connsiteY461" fmla="*/ 1367109 h 2380521"/>
              <a:gd name="connsiteX462" fmla="*/ 7084322 w 8023328"/>
              <a:gd name="connsiteY462" fmla="*/ 1378777 h 2380521"/>
              <a:gd name="connsiteX463" fmla="*/ 7069533 w 8023328"/>
              <a:gd name="connsiteY463" fmla="*/ 1367109 h 2380521"/>
              <a:gd name="connsiteX464" fmla="*/ 7084322 w 8023328"/>
              <a:gd name="connsiteY464" fmla="*/ 1352524 h 2380521"/>
              <a:gd name="connsiteX465" fmla="*/ 7013492 w 8023328"/>
              <a:gd name="connsiteY465" fmla="*/ 1352524 h 2380521"/>
              <a:gd name="connsiteX466" fmla="*/ 7028280 w 8023328"/>
              <a:gd name="connsiteY466" fmla="*/ 1367109 h 2380521"/>
              <a:gd name="connsiteX467" fmla="*/ 7013492 w 8023328"/>
              <a:gd name="connsiteY467" fmla="*/ 1378777 h 2380521"/>
              <a:gd name="connsiteX468" fmla="*/ 6998704 w 8023328"/>
              <a:gd name="connsiteY468" fmla="*/ 1367109 h 2380521"/>
              <a:gd name="connsiteX469" fmla="*/ 7013492 w 8023328"/>
              <a:gd name="connsiteY469" fmla="*/ 1352524 h 2380521"/>
              <a:gd name="connsiteX470" fmla="*/ 6939085 w 8023328"/>
              <a:gd name="connsiteY470" fmla="*/ 1352524 h 2380521"/>
              <a:gd name="connsiteX471" fmla="*/ 6950753 w 8023328"/>
              <a:gd name="connsiteY471" fmla="*/ 1367701 h 2380521"/>
              <a:gd name="connsiteX472" fmla="*/ 6939085 w 8023328"/>
              <a:gd name="connsiteY472" fmla="*/ 1382120 h 2380521"/>
              <a:gd name="connsiteX473" fmla="*/ 6924500 w 8023328"/>
              <a:gd name="connsiteY473" fmla="*/ 1367701 h 2380521"/>
              <a:gd name="connsiteX474" fmla="*/ 6939085 w 8023328"/>
              <a:gd name="connsiteY474" fmla="*/ 1352524 h 2380521"/>
              <a:gd name="connsiteX475" fmla="*/ 6867525 w 8023328"/>
              <a:gd name="connsiteY475" fmla="*/ 1352524 h 2380521"/>
              <a:gd name="connsiteX476" fmla="*/ 6879922 w 8023328"/>
              <a:gd name="connsiteY476" fmla="*/ 1367701 h 2380521"/>
              <a:gd name="connsiteX477" fmla="*/ 6867525 w 8023328"/>
              <a:gd name="connsiteY477" fmla="*/ 1382120 h 2380521"/>
              <a:gd name="connsiteX478" fmla="*/ 6853669 w 8023328"/>
              <a:gd name="connsiteY478" fmla="*/ 1367701 h 2380521"/>
              <a:gd name="connsiteX479" fmla="*/ 6867525 w 8023328"/>
              <a:gd name="connsiteY479" fmla="*/ 1352524 h 2380521"/>
              <a:gd name="connsiteX480" fmla="*/ 6796696 w 8023328"/>
              <a:gd name="connsiteY480" fmla="*/ 1352524 h 2380521"/>
              <a:gd name="connsiteX481" fmla="*/ 6809093 w 8023328"/>
              <a:gd name="connsiteY481" fmla="*/ 1367701 h 2380521"/>
              <a:gd name="connsiteX482" fmla="*/ 6796696 w 8023328"/>
              <a:gd name="connsiteY482" fmla="*/ 1382120 h 2380521"/>
              <a:gd name="connsiteX483" fmla="*/ 6782840 w 8023328"/>
              <a:gd name="connsiteY483" fmla="*/ 1367701 h 2380521"/>
              <a:gd name="connsiteX484" fmla="*/ 6796696 w 8023328"/>
              <a:gd name="connsiteY484" fmla="*/ 1352524 h 2380521"/>
              <a:gd name="connsiteX485" fmla="*/ 6724405 w 8023328"/>
              <a:gd name="connsiteY485" fmla="*/ 1352524 h 2380521"/>
              <a:gd name="connsiteX486" fmla="*/ 6738261 w 8023328"/>
              <a:gd name="connsiteY486" fmla="*/ 1367701 h 2380521"/>
              <a:gd name="connsiteX487" fmla="*/ 6724405 w 8023328"/>
              <a:gd name="connsiteY487" fmla="*/ 1382120 h 2380521"/>
              <a:gd name="connsiteX488" fmla="*/ 6712008 w 8023328"/>
              <a:gd name="connsiteY488" fmla="*/ 1367701 h 2380521"/>
              <a:gd name="connsiteX489" fmla="*/ 6724405 w 8023328"/>
              <a:gd name="connsiteY489" fmla="*/ 1352524 h 2380521"/>
              <a:gd name="connsiteX490" fmla="*/ 6653576 w 8023328"/>
              <a:gd name="connsiteY490" fmla="*/ 1352524 h 2380521"/>
              <a:gd name="connsiteX491" fmla="*/ 6667432 w 8023328"/>
              <a:gd name="connsiteY491" fmla="*/ 1367701 h 2380521"/>
              <a:gd name="connsiteX492" fmla="*/ 6653576 w 8023328"/>
              <a:gd name="connsiteY492" fmla="*/ 1382120 h 2380521"/>
              <a:gd name="connsiteX493" fmla="*/ 6641179 w 8023328"/>
              <a:gd name="connsiteY493" fmla="*/ 1367701 h 2380521"/>
              <a:gd name="connsiteX494" fmla="*/ 6653576 w 8023328"/>
              <a:gd name="connsiteY494" fmla="*/ 1352524 h 2380521"/>
              <a:gd name="connsiteX495" fmla="*/ 7223591 w 8023328"/>
              <a:gd name="connsiteY495" fmla="*/ 1281693 h 2380521"/>
              <a:gd name="connsiteX496" fmla="*/ 7237447 w 8023328"/>
              <a:gd name="connsiteY496" fmla="*/ 1295549 h 2380521"/>
              <a:gd name="connsiteX497" fmla="*/ 7223591 w 8023328"/>
              <a:gd name="connsiteY497" fmla="*/ 1307946 h 2380521"/>
              <a:gd name="connsiteX498" fmla="*/ 7211194 w 8023328"/>
              <a:gd name="connsiteY498" fmla="*/ 1295549 h 2380521"/>
              <a:gd name="connsiteX499" fmla="*/ 7223591 w 8023328"/>
              <a:gd name="connsiteY499" fmla="*/ 1281693 h 2380521"/>
              <a:gd name="connsiteX500" fmla="*/ 7155152 w 8023328"/>
              <a:gd name="connsiteY500" fmla="*/ 1281693 h 2380521"/>
              <a:gd name="connsiteX501" fmla="*/ 7169940 w 8023328"/>
              <a:gd name="connsiteY501" fmla="*/ 1295549 h 2380521"/>
              <a:gd name="connsiteX502" fmla="*/ 7155152 w 8023328"/>
              <a:gd name="connsiteY502" fmla="*/ 1307946 h 2380521"/>
              <a:gd name="connsiteX503" fmla="*/ 7140364 w 8023328"/>
              <a:gd name="connsiteY503" fmla="*/ 1295549 h 2380521"/>
              <a:gd name="connsiteX504" fmla="*/ 7155152 w 8023328"/>
              <a:gd name="connsiteY504" fmla="*/ 1281693 h 2380521"/>
              <a:gd name="connsiteX505" fmla="*/ 7084322 w 8023328"/>
              <a:gd name="connsiteY505" fmla="*/ 1281693 h 2380521"/>
              <a:gd name="connsiteX506" fmla="*/ 7099111 w 8023328"/>
              <a:gd name="connsiteY506" fmla="*/ 1295549 h 2380521"/>
              <a:gd name="connsiteX507" fmla="*/ 7084322 w 8023328"/>
              <a:gd name="connsiteY507" fmla="*/ 1307946 h 2380521"/>
              <a:gd name="connsiteX508" fmla="*/ 7069533 w 8023328"/>
              <a:gd name="connsiteY508" fmla="*/ 1295549 h 2380521"/>
              <a:gd name="connsiteX509" fmla="*/ 7084322 w 8023328"/>
              <a:gd name="connsiteY509" fmla="*/ 1281693 h 2380521"/>
              <a:gd name="connsiteX510" fmla="*/ 7013492 w 8023328"/>
              <a:gd name="connsiteY510" fmla="*/ 1281693 h 2380521"/>
              <a:gd name="connsiteX511" fmla="*/ 7028280 w 8023328"/>
              <a:gd name="connsiteY511" fmla="*/ 1295549 h 2380521"/>
              <a:gd name="connsiteX512" fmla="*/ 7013492 w 8023328"/>
              <a:gd name="connsiteY512" fmla="*/ 1307946 h 2380521"/>
              <a:gd name="connsiteX513" fmla="*/ 6998704 w 8023328"/>
              <a:gd name="connsiteY513" fmla="*/ 1295549 h 2380521"/>
              <a:gd name="connsiteX514" fmla="*/ 7013492 w 8023328"/>
              <a:gd name="connsiteY514" fmla="*/ 1281693 h 2380521"/>
              <a:gd name="connsiteX515" fmla="*/ 6939085 w 8023328"/>
              <a:gd name="connsiteY515" fmla="*/ 1281693 h 2380521"/>
              <a:gd name="connsiteX516" fmla="*/ 6950753 w 8023328"/>
              <a:gd name="connsiteY516" fmla="*/ 1295549 h 2380521"/>
              <a:gd name="connsiteX517" fmla="*/ 6939085 w 8023328"/>
              <a:gd name="connsiteY517" fmla="*/ 1307946 h 2380521"/>
              <a:gd name="connsiteX518" fmla="*/ 6924500 w 8023328"/>
              <a:gd name="connsiteY518" fmla="*/ 1295549 h 2380521"/>
              <a:gd name="connsiteX519" fmla="*/ 6939085 w 8023328"/>
              <a:gd name="connsiteY519" fmla="*/ 1281693 h 2380521"/>
              <a:gd name="connsiteX520" fmla="*/ 6867525 w 8023328"/>
              <a:gd name="connsiteY520" fmla="*/ 1281693 h 2380521"/>
              <a:gd name="connsiteX521" fmla="*/ 6879922 w 8023328"/>
              <a:gd name="connsiteY521" fmla="*/ 1295549 h 2380521"/>
              <a:gd name="connsiteX522" fmla="*/ 6867525 w 8023328"/>
              <a:gd name="connsiteY522" fmla="*/ 1307946 h 2380521"/>
              <a:gd name="connsiteX523" fmla="*/ 6853669 w 8023328"/>
              <a:gd name="connsiteY523" fmla="*/ 1295549 h 2380521"/>
              <a:gd name="connsiteX524" fmla="*/ 6867525 w 8023328"/>
              <a:gd name="connsiteY524" fmla="*/ 1281693 h 2380521"/>
              <a:gd name="connsiteX525" fmla="*/ 6796696 w 8023328"/>
              <a:gd name="connsiteY525" fmla="*/ 1281693 h 2380521"/>
              <a:gd name="connsiteX526" fmla="*/ 6809093 w 8023328"/>
              <a:gd name="connsiteY526" fmla="*/ 1295549 h 2380521"/>
              <a:gd name="connsiteX527" fmla="*/ 6796696 w 8023328"/>
              <a:gd name="connsiteY527" fmla="*/ 1307946 h 2380521"/>
              <a:gd name="connsiteX528" fmla="*/ 6782840 w 8023328"/>
              <a:gd name="connsiteY528" fmla="*/ 1295549 h 2380521"/>
              <a:gd name="connsiteX529" fmla="*/ 6796696 w 8023328"/>
              <a:gd name="connsiteY529" fmla="*/ 1281693 h 2380521"/>
              <a:gd name="connsiteX530" fmla="*/ 6724405 w 8023328"/>
              <a:gd name="connsiteY530" fmla="*/ 1281693 h 2380521"/>
              <a:gd name="connsiteX531" fmla="*/ 6738261 w 8023328"/>
              <a:gd name="connsiteY531" fmla="*/ 1295549 h 2380521"/>
              <a:gd name="connsiteX532" fmla="*/ 6724405 w 8023328"/>
              <a:gd name="connsiteY532" fmla="*/ 1307946 h 2380521"/>
              <a:gd name="connsiteX533" fmla="*/ 6712008 w 8023328"/>
              <a:gd name="connsiteY533" fmla="*/ 1295549 h 2380521"/>
              <a:gd name="connsiteX534" fmla="*/ 6724405 w 8023328"/>
              <a:gd name="connsiteY534" fmla="*/ 1281693 h 2380521"/>
              <a:gd name="connsiteX535" fmla="*/ 6653576 w 8023328"/>
              <a:gd name="connsiteY535" fmla="*/ 1281693 h 2380521"/>
              <a:gd name="connsiteX536" fmla="*/ 6667432 w 8023328"/>
              <a:gd name="connsiteY536" fmla="*/ 1295549 h 2380521"/>
              <a:gd name="connsiteX537" fmla="*/ 6653576 w 8023328"/>
              <a:gd name="connsiteY537" fmla="*/ 1307946 h 2380521"/>
              <a:gd name="connsiteX538" fmla="*/ 6641179 w 8023328"/>
              <a:gd name="connsiteY538" fmla="*/ 1295549 h 2380521"/>
              <a:gd name="connsiteX539" fmla="*/ 6653576 w 8023328"/>
              <a:gd name="connsiteY539" fmla="*/ 1281693 h 2380521"/>
              <a:gd name="connsiteX540" fmla="*/ 6582745 w 8023328"/>
              <a:gd name="connsiteY540" fmla="*/ 1281693 h 2380521"/>
              <a:gd name="connsiteX541" fmla="*/ 6596601 w 8023328"/>
              <a:gd name="connsiteY541" fmla="*/ 1295549 h 2380521"/>
              <a:gd name="connsiteX542" fmla="*/ 6582745 w 8023328"/>
              <a:gd name="connsiteY542" fmla="*/ 1307946 h 2380521"/>
              <a:gd name="connsiteX543" fmla="*/ 6570348 w 8023328"/>
              <a:gd name="connsiteY543" fmla="*/ 1295549 h 2380521"/>
              <a:gd name="connsiteX544" fmla="*/ 6582745 w 8023328"/>
              <a:gd name="connsiteY544" fmla="*/ 1281693 h 2380521"/>
              <a:gd name="connsiteX545" fmla="*/ 6510933 w 8023328"/>
              <a:gd name="connsiteY545" fmla="*/ 1281693 h 2380521"/>
              <a:gd name="connsiteX546" fmla="*/ 6525722 w 8023328"/>
              <a:gd name="connsiteY546" fmla="*/ 1295549 h 2380521"/>
              <a:gd name="connsiteX547" fmla="*/ 6510933 w 8023328"/>
              <a:gd name="connsiteY547" fmla="*/ 1307946 h 2380521"/>
              <a:gd name="connsiteX548" fmla="*/ 6496144 w 8023328"/>
              <a:gd name="connsiteY548" fmla="*/ 1295549 h 2380521"/>
              <a:gd name="connsiteX549" fmla="*/ 6510933 w 8023328"/>
              <a:gd name="connsiteY549" fmla="*/ 1281693 h 2380521"/>
              <a:gd name="connsiteX550" fmla="*/ 6440492 w 8023328"/>
              <a:gd name="connsiteY550" fmla="*/ 1281693 h 2380521"/>
              <a:gd name="connsiteX551" fmla="*/ 6454911 w 8023328"/>
              <a:gd name="connsiteY551" fmla="*/ 1295549 h 2380521"/>
              <a:gd name="connsiteX552" fmla="*/ 6440492 w 8023328"/>
              <a:gd name="connsiteY552" fmla="*/ 1307946 h 2380521"/>
              <a:gd name="connsiteX553" fmla="*/ 6425315 w 8023328"/>
              <a:gd name="connsiteY553" fmla="*/ 1295549 h 2380521"/>
              <a:gd name="connsiteX554" fmla="*/ 6440492 w 8023328"/>
              <a:gd name="connsiteY554" fmla="*/ 1281693 h 2380521"/>
              <a:gd name="connsiteX555" fmla="*/ 6369273 w 8023328"/>
              <a:gd name="connsiteY555" fmla="*/ 1281693 h 2380521"/>
              <a:gd name="connsiteX556" fmla="*/ 6384062 w 8023328"/>
              <a:gd name="connsiteY556" fmla="*/ 1296482 h 2380521"/>
              <a:gd name="connsiteX557" fmla="*/ 6369273 w 8023328"/>
              <a:gd name="connsiteY557" fmla="*/ 1311271 h 2380521"/>
              <a:gd name="connsiteX558" fmla="*/ 6354484 w 8023328"/>
              <a:gd name="connsiteY558" fmla="*/ 1296482 h 2380521"/>
              <a:gd name="connsiteX559" fmla="*/ 6369273 w 8023328"/>
              <a:gd name="connsiteY559" fmla="*/ 1281693 h 2380521"/>
              <a:gd name="connsiteX560" fmla="*/ 5799257 w 8023328"/>
              <a:gd name="connsiteY560" fmla="*/ 1281693 h 2380521"/>
              <a:gd name="connsiteX561" fmla="*/ 5814045 w 8023328"/>
              <a:gd name="connsiteY561" fmla="*/ 1296482 h 2380521"/>
              <a:gd name="connsiteX562" fmla="*/ 5799257 w 8023328"/>
              <a:gd name="connsiteY562" fmla="*/ 1311271 h 2380521"/>
              <a:gd name="connsiteX563" fmla="*/ 5784469 w 8023328"/>
              <a:gd name="connsiteY563" fmla="*/ 1296482 h 2380521"/>
              <a:gd name="connsiteX564" fmla="*/ 5799257 w 8023328"/>
              <a:gd name="connsiteY564" fmla="*/ 1281693 h 2380521"/>
              <a:gd name="connsiteX565" fmla="*/ 5724122 w 8023328"/>
              <a:gd name="connsiteY565" fmla="*/ 1281693 h 2380521"/>
              <a:gd name="connsiteX566" fmla="*/ 5736519 w 8023328"/>
              <a:gd name="connsiteY566" fmla="*/ 1296482 h 2380521"/>
              <a:gd name="connsiteX567" fmla="*/ 5724122 w 8023328"/>
              <a:gd name="connsiteY567" fmla="*/ 1311271 h 2380521"/>
              <a:gd name="connsiteX568" fmla="*/ 5710266 w 8023328"/>
              <a:gd name="connsiteY568" fmla="*/ 1296482 h 2380521"/>
              <a:gd name="connsiteX569" fmla="*/ 5724122 w 8023328"/>
              <a:gd name="connsiteY569" fmla="*/ 1281693 h 2380521"/>
              <a:gd name="connsiteX570" fmla="*/ 5653291 w 8023328"/>
              <a:gd name="connsiteY570" fmla="*/ 1281693 h 2380521"/>
              <a:gd name="connsiteX571" fmla="*/ 5665688 w 8023328"/>
              <a:gd name="connsiteY571" fmla="*/ 1296482 h 2380521"/>
              <a:gd name="connsiteX572" fmla="*/ 5653291 w 8023328"/>
              <a:gd name="connsiteY572" fmla="*/ 1311271 h 2380521"/>
              <a:gd name="connsiteX573" fmla="*/ 5639435 w 8023328"/>
              <a:gd name="connsiteY573" fmla="*/ 1296482 h 2380521"/>
              <a:gd name="connsiteX574" fmla="*/ 5653291 w 8023328"/>
              <a:gd name="connsiteY574" fmla="*/ 1281693 h 2380521"/>
              <a:gd name="connsiteX575" fmla="*/ 5582461 w 8023328"/>
              <a:gd name="connsiteY575" fmla="*/ 1281693 h 2380521"/>
              <a:gd name="connsiteX576" fmla="*/ 5594858 w 8023328"/>
              <a:gd name="connsiteY576" fmla="*/ 1296482 h 2380521"/>
              <a:gd name="connsiteX577" fmla="*/ 5582461 w 8023328"/>
              <a:gd name="connsiteY577" fmla="*/ 1311271 h 2380521"/>
              <a:gd name="connsiteX578" fmla="*/ 5568605 w 8023328"/>
              <a:gd name="connsiteY578" fmla="*/ 1296482 h 2380521"/>
              <a:gd name="connsiteX579" fmla="*/ 5582461 w 8023328"/>
              <a:gd name="connsiteY579" fmla="*/ 1281693 h 2380521"/>
              <a:gd name="connsiteX580" fmla="*/ 5510171 w 8023328"/>
              <a:gd name="connsiteY580" fmla="*/ 1281693 h 2380521"/>
              <a:gd name="connsiteX581" fmla="*/ 5524027 w 8023328"/>
              <a:gd name="connsiteY581" fmla="*/ 1296482 h 2380521"/>
              <a:gd name="connsiteX582" fmla="*/ 5510171 w 8023328"/>
              <a:gd name="connsiteY582" fmla="*/ 1311271 h 2380521"/>
              <a:gd name="connsiteX583" fmla="*/ 5497774 w 8023328"/>
              <a:gd name="connsiteY583" fmla="*/ 1296482 h 2380521"/>
              <a:gd name="connsiteX584" fmla="*/ 5510171 w 8023328"/>
              <a:gd name="connsiteY584" fmla="*/ 1281693 h 2380521"/>
              <a:gd name="connsiteX585" fmla="*/ 5438937 w 8023328"/>
              <a:gd name="connsiteY585" fmla="*/ 1281693 h 2380521"/>
              <a:gd name="connsiteX586" fmla="*/ 5453178 w 8023328"/>
              <a:gd name="connsiteY586" fmla="*/ 1296482 h 2380521"/>
              <a:gd name="connsiteX587" fmla="*/ 5438937 w 8023328"/>
              <a:gd name="connsiteY587" fmla="*/ 1311271 h 2380521"/>
              <a:gd name="connsiteX588" fmla="*/ 5426945 w 8023328"/>
              <a:gd name="connsiteY588" fmla="*/ 1296482 h 2380521"/>
              <a:gd name="connsiteX589" fmla="*/ 5438937 w 8023328"/>
              <a:gd name="connsiteY589" fmla="*/ 1281693 h 2380521"/>
              <a:gd name="connsiteX590" fmla="*/ 5368510 w 8023328"/>
              <a:gd name="connsiteY590" fmla="*/ 1281693 h 2380521"/>
              <a:gd name="connsiteX591" fmla="*/ 5382366 w 8023328"/>
              <a:gd name="connsiteY591" fmla="*/ 1296482 h 2380521"/>
              <a:gd name="connsiteX592" fmla="*/ 5368510 w 8023328"/>
              <a:gd name="connsiteY592" fmla="*/ 1311271 h 2380521"/>
              <a:gd name="connsiteX593" fmla="*/ 5356113 w 8023328"/>
              <a:gd name="connsiteY593" fmla="*/ 1296482 h 2380521"/>
              <a:gd name="connsiteX594" fmla="*/ 5368510 w 8023328"/>
              <a:gd name="connsiteY594" fmla="*/ 1281693 h 2380521"/>
              <a:gd name="connsiteX595" fmla="*/ 5296699 w 8023328"/>
              <a:gd name="connsiteY595" fmla="*/ 1281693 h 2380521"/>
              <a:gd name="connsiteX596" fmla="*/ 5311488 w 8023328"/>
              <a:gd name="connsiteY596" fmla="*/ 1296482 h 2380521"/>
              <a:gd name="connsiteX597" fmla="*/ 5296699 w 8023328"/>
              <a:gd name="connsiteY597" fmla="*/ 1311271 h 2380521"/>
              <a:gd name="connsiteX598" fmla="*/ 5281910 w 8023328"/>
              <a:gd name="connsiteY598" fmla="*/ 1296482 h 2380521"/>
              <a:gd name="connsiteX599" fmla="*/ 5296699 w 8023328"/>
              <a:gd name="connsiteY599" fmla="*/ 1281693 h 2380521"/>
              <a:gd name="connsiteX600" fmla="*/ 5225869 w 8023328"/>
              <a:gd name="connsiteY600" fmla="*/ 1281693 h 2380521"/>
              <a:gd name="connsiteX601" fmla="*/ 5240657 w 8023328"/>
              <a:gd name="connsiteY601" fmla="*/ 1296482 h 2380521"/>
              <a:gd name="connsiteX602" fmla="*/ 5225869 w 8023328"/>
              <a:gd name="connsiteY602" fmla="*/ 1311271 h 2380521"/>
              <a:gd name="connsiteX603" fmla="*/ 5211081 w 8023328"/>
              <a:gd name="connsiteY603" fmla="*/ 1296482 h 2380521"/>
              <a:gd name="connsiteX604" fmla="*/ 5225869 w 8023328"/>
              <a:gd name="connsiteY604" fmla="*/ 1281693 h 2380521"/>
              <a:gd name="connsiteX605" fmla="*/ 5154105 w 8023328"/>
              <a:gd name="connsiteY605" fmla="*/ 1281693 h 2380521"/>
              <a:gd name="connsiteX606" fmla="*/ 5166502 w 8023328"/>
              <a:gd name="connsiteY606" fmla="*/ 1296482 h 2380521"/>
              <a:gd name="connsiteX607" fmla="*/ 5154105 w 8023328"/>
              <a:gd name="connsiteY607" fmla="*/ 1311271 h 2380521"/>
              <a:gd name="connsiteX608" fmla="*/ 5140249 w 8023328"/>
              <a:gd name="connsiteY608" fmla="*/ 1296482 h 2380521"/>
              <a:gd name="connsiteX609" fmla="*/ 5154105 w 8023328"/>
              <a:gd name="connsiteY609" fmla="*/ 1281693 h 2380521"/>
              <a:gd name="connsiteX610" fmla="*/ 5083276 w 8023328"/>
              <a:gd name="connsiteY610" fmla="*/ 1281693 h 2380521"/>
              <a:gd name="connsiteX611" fmla="*/ 5095673 w 8023328"/>
              <a:gd name="connsiteY611" fmla="*/ 1296482 h 2380521"/>
              <a:gd name="connsiteX612" fmla="*/ 5083276 w 8023328"/>
              <a:gd name="connsiteY612" fmla="*/ 1311271 h 2380521"/>
              <a:gd name="connsiteX613" fmla="*/ 5069420 w 8023328"/>
              <a:gd name="connsiteY613" fmla="*/ 1296482 h 2380521"/>
              <a:gd name="connsiteX614" fmla="*/ 5083276 w 8023328"/>
              <a:gd name="connsiteY614" fmla="*/ 1281693 h 2380521"/>
              <a:gd name="connsiteX615" fmla="*/ 5012445 w 8023328"/>
              <a:gd name="connsiteY615" fmla="*/ 1281693 h 2380521"/>
              <a:gd name="connsiteX616" fmla="*/ 5024842 w 8023328"/>
              <a:gd name="connsiteY616" fmla="*/ 1296482 h 2380521"/>
              <a:gd name="connsiteX617" fmla="*/ 5012445 w 8023328"/>
              <a:gd name="connsiteY617" fmla="*/ 1311271 h 2380521"/>
              <a:gd name="connsiteX618" fmla="*/ 4998589 w 8023328"/>
              <a:gd name="connsiteY618" fmla="*/ 1296482 h 2380521"/>
              <a:gd name="connsiteX619" fmla="*/ 5012445 w 8023328"/>
              <a:gd name="connsiteY619" fmla="*/ 1281693 h 2380521"/>
              <a:gd name="connsiteX620" fmla="*/ 4940157 w 8023328"/>
              <a:gd name="connsiteY620" fmla="*/ 1281693 h 2380521"/>
              <a:gd name="connsiteX621" fmla="*/ 4954013 w 8023328"/>
              <a:gd name="connsiteY621" fmla="*/ 1296482 h 2380521"/>
              <a:gd name="connsiteX622" fmla="*/ 4940157 w 8023328"/>
              <a:gd name="connsiteY622" fmla="*/ 1311271 h 2380521"/>
              <a:gd name="connsiteX623" fmla="*/ 4927760 w 8023328"/>
              <a:gd name="connsiteY623" fmla="*/ 1296482 h 2380521"/>
              <a:gd name="connsiteX624" fmla="*/ 4940157 w 8023328"/>
              <a:gd name="connsiteY624" fmla="*/ 1281693 h 2380521"/>
              <a:gd name="connsiteX625" fmla="*/ 4865953 w 8023328"/>
              <a:gd name="connsiteY625" fmla="*/ 1281693 h 2380521"/>
              <a:gd name="connsiteX626" fmla="*/ 4879809 w 8023328"/>
              <a:gd name="connsiteY626" fmla="*/ 1296482 h 2380521"/>
              <a:gd name="connsiteX627" fmla="*/ 4865953 w 8023328"/>
              <a:gd name="connsiteY627" fmla="*/ 1311271 h 2380521"/>
              <a:gd name="connsiteX628" fmla="*/ 4853556 w 8023328"/>
              <a:gd name="connsiteY628" fmla="*/ 1296482 h 2380521"/>
              <a:gd name="connsiteX629" fmla="*/ 4865953 w 8023328"/>
              <a:gd name="connsiteY629" fmla="*/ 1281693 h 2380521"/>
              <a:gd name="connsiteX630" fmla="*/ 4795122 w 8023328"/>
              <a:gd name="connsiteY630" fmla="*/ 1281693 h 2380521"/>
              <a:gd name="connsiteX631" fmla="*/ 4808978 w 8023328"/>
              <a:gd name="connsiteY631" fmla="*/ 1296482 h 2380521"/>
              <a:gd name="connsiteX632" fmla="*/ 4795122 w 8023328"/>
              <a:gd name="connsiteY632" fmla="*/ 1311271 h 2380521"/>
              <a:gd name="connsiteX633" fmla="*/ 4782725 w 8023328"/>
              <a:gd name="connsiteY633" fmla="*/ 1296482 h 2380521"/>
              <a:gd name="connsiteX634" fmla="*/ 4795122 w 8023328"/>
              <a:gd name="connsiteY634" fmla="*/ 1281693 h 2380521"/>
              <a:gd name="connsiteX635" fmla="*/ 4726684 w 8023328"/>
              <a:gd name="connsiteY635" fmla="*/ 1281693 h 2380521"/>
              <a:gd name="connsiteX636" fmla="*/ 4741472 w 8023328"/>
              <a:gd name="connsiteY636" fmla="*/ 1296482 h 2380521"/>
              <a:gd name="connsiteX637" fmla="*/ 4726684 w 8023328"/>
              <a:gd name="connsiteY637" fmla="*/ 1311271 h 2380521"/>
              <a:gd name="connsiteX638" fmla="*/ 4711896 w 8023328"/>
              <a:gd name="connsiteY638" fmla="*/ 1296482 h 2380521"/>
              <a:gd name="connsiteX639" fmla="*/ 4726684 w 8023328"/>
              <a:gd name="connsiteY639" fmla="*/ 1281693 h 2380521"/>
              <a:gd name="connsiteX640" fmla="*/ 4655853 w 8023328"/>
              <a:gd name="connsiteY640" fmla="*/ 1281693 h 2380521"/>
              <a:gd name="connsiteX641" fmla="*/ 4670642 w 8023328"/>
              <a:gd name="connsiteY641" fmla="*/ 1294090 h 2380521"/>
              <a:gd name="connsiteX642" fmla="*/ 4655853 w 8023328"/>
              <a:gd name="connsiteY642" fmla="*/ 1307946 h 2380521"/>
              <a:gd name="connsiteX643" fmla="*/ 4641064 w 8023328"/>
              <a:gd name="connsiteY643" fmla="*/ 1294090 h 2380521"/>
              <a:gd name="connsiteX644" fmla="*/ 4655853 w 8023328"/>
              <a:gd name="connsiteY644" fmla="*/ 1281693 h 2380521"/>
              <a:gd name="connsiteX645" fmla="*/ 4585023 w 8023328"/>
              <a:gd name="connsiteY645" fmla="*/ 1281693 h 2380521"/>
              <a:gd name="connsiteX646" fmla="*/ 4599811 w 8023328"/>
              <a:gd name="connsiteY646" fmla="*/ 1294090 h 2380521"/>
              <a:gd name="connsiteX647" fmla="*/ 4585023 w 8023328"/>
              <a:gd name="connsiteY647" fmla="*/ 1307946 h 2380521"/>
              <a:gd name="connsiteX648" fmla="*/ 4570235 w 8023328"/>
              <a:gd name="connsiteY648" fmla="*/ 1294090 h 2380521"/>
              <a:gd name="connsiteX649" fmla="*/ 4585023 w 8023328"/>
              <a:gd name="connsiteY649" fmla="*/ 1281693 h 2380521"/>
              <a:gd name="connsiteX650" fmla="*/ 226355 w 8023328"/>
              <a:gd name="connsiteY650" fmla="*/ 1281693 h 2380521"/>
              <a:gd name="connsiteX651" fmla="*/ 238753 w 8023328"/>
              <a:gd name="connsiteY651" fmla="*/ 1296871 h 2380521"/>
              <a:gd name="connsiteX652" fmla="*/ 226355 w 8023328"/>
              <a:gd name="connsiteY652" fmla="*/ 1311291 h 2380521"/>
              <a:gd name="connsiteX653" fmla="*/ 212499 w 8023328"/>
              <a:gd name="connsiteY653" fmla="*/ 1296871 h 2380521"/>
              <a:gd name="connsiteX654" fmla="*/ 226355 w 8023328"/>
              <a:gd name="connsiteY654" fmla="*/ 1281693 h 2380521"/>
              <a:gd name="connsiteX655" fmla="*/ 155522 w 8023328"/>
              <a:gd name="connsiteY655" fmla="*/ 1281693 h 2380521"/>
              <a:gd name="connsiteX656" fmla="*/ 167919 w 8023328"/>
              <a:gd name="connsiteY656" fmla="*/ 1296871 h 2380521"/>
              <a:gd name="connsiteX657" fmla="*/ 155522 w 8023328"/>
              <a:gd name="connsiteY657" fmla="*/ 1311291 h 2380521"/>
              <a:gd name="connsiteX658" fmla="*/ 141666 w 8023328"/>
              <a:gd name="connsiteY658" fmla="*/ 1296871 h 2380521"/>
              <a:gd name="connsiteX659" fmla="*/ 155522 w 8023328"/>
              <a:gd name="connsiteY659" fmla="*/ 1281693 h 2380521"/>
              <a:gd name="connsiteX660" fmla="*/ 83234 w 8023328"/>
              <a:gd name="connsiteY660" fmla="*/ 1281693 h 2380521"/>
              <a:gd name="connsiteX661" fmla="*/ 97090 w 8023328"/>
              <a:gd name="connsiteY661" fmla="*/ 1296871 h 2380521"/>
              <a:gd name="connsiteX662" fmla="*/ 83234 w 8023328"/>
              <a:gd name="connsiteY662" fmla="*/ 1311291 h 2380521"/>
              <a:gd name="connsiteX663" fmla="*/ 70836 w 8023328"/>
              <a:gd name="connsiteY663" fmla="*/ 1296871 h 2380521"/>
              <a:gd name="connsiteX664" fmla="*/ 83234 w 8023328"/>
              <a:gd name="connsiteY664" fmla="*/ 1281693 h 2380521"/>
              <a:gd name="connsiteX665" fmla="*/ 11998 w 8023328"/>
              <a:gd name="connsiteY665" fmla="*/ 1281693 h 2380521"/>
              <a:gd name="connsiteX666" fmla="*/ 26239 w 8023328"/>
              <a:gd name="connsiteY666" fmla="*/ 1296871 h 2380521"/>
              <a:gd name="connsiteX667" fmla="*/ 11998 w 8023328"/>
              <a:gd name="connsiteY667" fmla="*/ 1311291 h 2380521"/>
              <a:gd name="connsiteX668" fmla="*/ 5 w 8023328"/>
              <a:gd name="connsiteY668" fmla="*/ 1296871 h 2380521"/>
              <a:gd name="connsiteX669" fmla="*/ 11998 w 8023328"/>
              <a:gd name="connsiteY669" fmla="*/ 1281693 h 2380521"/>
              <a:gd name="connsiteX670" fmla="*/ 7084322 w 8023328"/>
              <a:gd name="connsiteY670" fmla="*/ 1210863 h 2380521"/>
              <a:gd name="connsiteX671" fmla="*/ 7099111 w 8023328"/>
              <a:gd name="connsiteY671" fmla="*/ 1224719 h 2380521"/>
              <a:gd name="connsiteX672" fmla="*/ 7084322 w 8023328"/>
              <a:gd name="connsiteY672" fmla="*/ 1237116 h 2380521"/>
              <a:gd name="connsiteX673" fmla="*/ 7069533 w 8023328"/>
              <a:gd name="connsiteY673" fmla="*/ 1224719 h 2380521"/>
              <a:gd name="connsiteX674" fmla="*/ 7084322 w 8023328"/>
              <a:gd name="connsiteY674" fmla="*/ 1210863 h 2380521"/>
              <a:gd name="connsiteX675" fmla="*/ 7013492 w 8023328"/>
              <a:gd name="connsiteY675" fmla="*/ 1210863 h 2380521"/>
              <a:gd name="connsiteX676" fmla="*/ 7028280 w 8023328"/>
              <a:gd name="connsiteY676" fmla="*/ 1224719 h 2380521"/>
              <a:gd name="connsiteX677" fmla="*/ 7013492 w 8023328"/>
              <a:gd name="connsiteY677" fmla="*/ 1237116 h 2380521"/>
              <a:gd name="connsiteX678" fmla="*/ 6998704 w 8023328"/>
              <a:gd name="connsiteY678" fmla="*/ 1224719 h 2380521"/>
              <a:gd name="connsiteX679" fmla="*/ 7013492 w 8023328"/>
              <a:gd name="connsiteY679" fmla="*/ 1210863 h 2380521"/>
              <a:gd name="connsiteX680" fmla="*/ 6939085 w 8023328"/>
              <a:gd name="connsiteY680" fmla="*/ 1210863 h 2380521"/>
              <a:gd name="connsiteX681" fmla="*/ 6950753 w 8023328"/>
              <a:gd name="connsiteY681" fmla="*/ 1224719 h 2380521"/>
              <a:gd name="connsiteX682" fmla="*/ 6939085 w 8023328"/>
              <a:gd name="connsiteY682" fmla="*/ 1237116 h 2380521"/>
              <a:gd name="connsiteX683" fmla="*/ 6924500 w 8023328"/>
              <a:gd name="connsiteY683" fmla="*/ 1224719 h 2380521"/>
              <a:gd name="connsiteX684" fmla="*/ 6939085 w 8023328"/>
              <a:gd name="connsiteY684" fmla="*/ 1210863 h 2380521"/>
              <a:gd name="connsiteX685" fmla="*/ 6867525 w 8023328"/>
              <a:gd name="connsiteY685" fmla="*/ 1210863 h 2380521"/>
              <a:gd name="connsiteX686" fmla="*/ 6879922 w 8023328"/>
              <a:gd name="connsiteY686" fmla="*/ 1224719 h 2380521"/>
              <a:gd name="connsiteX687" fmla="*/ 6867525 w 8023328"/>
              <a:gd name="connsiteY687" fmla="*/ 1237116 h 2380521"/>
              <a:gd name="connsiteX688" fmla="*/ 6853669 w 8023328"/>
              <a:gd name="connsiteY688" fmla="*/ 1224719 h 2380521"/>
              <a:gd name="connsiteX689" fmla="*/ 6867525 w 8023328"/>
              <a:gd name="connsiteY689" fmla="*/ 1210863 h 2380521"/>
              <a:gd name="connsiteX690" fmla="*/ 6796696 w 8023328"/>
              <a:gd name="connsiteY690" fmla="*/ 1210863 h 2380521"/>
              <a:gd name="connsiteX691" fmla="*/ 6809093 w 8023328"/>
              <a:gd name="connsiteY691" fmla="*/ 1224719 h 2380521"/>
              <a:gd name="connsiteX692" fmla="*/ 6796696 w 8023328"/>
              <a:gd name="connsiteY692" fmla="*/ 1237116 h 2380521"/>
              <a:gd name="connsiteX693" fmla="*/ 6782840 w 8023328"/>
              <a:gd name="connsiteY693" fmla="*/ 1224719 h 2380521"/>
              <a:gd name="connsiteX694" fmla="*/ 6796696 w 8023328"/>
              <a:gd name="connsiteY694" fmla="*/ 1210863 h 2380521"/>
              <a:gd name="connsiteX695" fmla="*/ 6724405 w 8023328"/>
              <a:gd name="connsiteY695" fmla="*/ 1210863 h 2380521"/>
              <a:gd name="connsiteX696" fmla="*/ 6738261 w 8023328"/>
              <a:gd name="connsiteY696" fmla="*/ 1224719 h 2380521"/>
              <a:gd name="connsiteX697" fmla="*/ 6724405 w 8023328"/>
              <a:gd name="connsiteY697" fmla="*/ 1237116 h 2380521"/>
              <a:gd name="connsiteX698" fmla="*/ 6712008 w 8023328"/>
              <a:gd name="connsiteY698" fmla="*/ 1224719 h 2380521"/>
              <a:gd name="connsiteX699" fmla="*/ 6724405 w 8023328"/>
              <a:gd name="connsiteY699" fmla="*/ 1210863 h 2380521"/>
              <a:gd name="connsiteX700" fmla="*/ 6653576 w 8023328"/>
              <a:gd name="connsiteY700" fmla="*/ 1210863 h 2380521"/>
              <a:gd name="connsiteX701" fmla="*/ 6667432 w 8023328"/>
              <a:gd name="connsiteY701" fmla="*/ 1224719 h 2380521"/>
              <a:gd name="connsiteX702" fmla="*/ 6653576 w 8023328"/>
              <a:gd name="connsiteY702" fmla="*/ 1237116 h 2380521"/>
              <a:gd name="connsiteX703" fmla="*/ 6641179 w 8023328"/>
              <a:gd name="connsiteY703" fmla="*/ 1224719 h 2380521"/>
              <a:gd name="connsiteX704" fmla="*/ 6653576 w 8023328"/>
              <a:gd name="connsiteY704" fmla="*/ 1210863 h 2380521"/>
              <a:gd name="connsiteX705" fmla="*/ 6582745 w 8023328"/>
              <a:gd name="connsiteY705" fmla="*/ 1210863 h 2380521"/>
              <a:gd name="connsiteX706" fmla="*/ 6596601 w 8023328"/>
              <a:gd name="connsiteY706" fmla="*/ 1224719 h 2380521"/>
              <a:gd name="connsiteX707" fmla="*/ 6582745 w 8023328"/>
              <a:gd name="connsiteY707" fmla="*/ 1237116 h 2380521"/>
              <a:gd name="connsiteX708" fmla="*/ 6570348 w 8023328"/>
              <a:gd name="connsiteY708" fmla="*/ 1224719 h 2380521"/>
              <a:gd name="connsiteX709" fmla="*/ 6582745 w 8023328"/>
              <a:gd name="connsiteY709" fmla="*/ 1210863 h 2380521"/>
              <a:gd name="connsiteX710" fmla="*/ 6510933 w 8023328"/>
              <a:gd name="connsiteY710" fmla="*/ 1210863 h 2380521"/>
              <a:gd name="connsiteX711" fmla="*/ 6525722 w 8023328"/>
              <a:gd name="connsiteY711" fmla="*/ 1224719 h 2380521"/>
              <a:gd name="connsiteX712" fmla="*/ 6510933 w 8023328"/>
              <a:gd name="connsiteY712" fmla="*/ 1237116 h 2380521"/>
              <a:gd name="connsiteX713" fmla="*/ 6496144 w 8023328"/>
              <a:gd name="connsiteY713" fmla="*/ 1224719 h 2380521"/>
              <a:gd name="connsiteX714" fmla="*/ 6510933 w 8023328"/>
              <a:gd name="connsiteY714" fmla="*/ 1210863 h 2380521"/>
              <a:gd name="connsiteX715" fmla="*/ 6440492 w 8023328"/>
              <a:gd name="connsiteY715" fmla="*/ 1210863 h 2380521"/>
              <a:gd name="connsiteX716" fmla="*/ 6454911 w 8023328"/>
              <a:gd name="connsiteY716" fmla="*/ 1224719 h 2380521"/>
              <a:gd name="connsiteX717" fmla="*/ 6440492 w 8023328"/>
              <a:gd name="connsiteY717" fmla="*/ 1237116 h 2380521"/>
              <a:gd name="connsiteX718" fmla="*/ 6425315 w 8023328"/>
              <a:gd name="connsiteY718" fmla="*/ 1224719 h 2380521"/>
              <a:gd name="connsiteX719" fmla="*/ 6440492 w 8023328"/>
              <a:gd name="connsiteY719" fmla="*/ 1210863 h 2380521"/>
              <a:gd name="connsiteX720" fmla="*/ 6368340 w 8023328"/>
              <a:gd name="connsiteY720" fmla="*/ 1210863 h 2380521"/>
              <a:gd name="connsiteX721" fmla="*/ 6380737 w 8023328"/>
              <a:gd name="connsiteY721" fmla="*/ 1224719 h 2380521"/>
              <a:gd name="connsiteX722" fmla="*/ 6368340 w 8023328"/>
              <a:gd name="connsiteY722" fmla="*/ 1237116 h 2380521"/>
              <a:gd name="connsiteX723" fmla="*/ 6354484 w 8023328"/>
              <a:gd name="connsiteY723" fmla="*/ 1224719 h 2380521"/>
              <a:gd name="connsiteX724" fmla="*/ 6368340 w 8023328"/>
              <a:gd name="connsiteY724" fmla="*/ 1210863 h 2380521"/>
              <a:gd name="connsiteX725" fmla="*/ 6297511 w 8023328"/>
              <a:gd name="connsiteY725" fmla="*/ 1210863 h 2380521"/>
              <a:gd name="connsiteX726" fmla="*/ 6309908 w 8023328"/>
              <a:gd name="connsiteY726" fmla="*/ 1224719 h 2380521"/>
              <a:gd name="connsiteX727" fmla="*/ 6297511 w 8023328"/>
              <a:gd name="connsiteY727" fmla="*/ 1237116 h 2380521"/>
              <a:gd name="connsiteX728" fmla="*/ 6283655 w 8023328"/>
              <a:gd name="connsiteY728" fmla="*/ 1224719 h 2380521"/>
              <a:gd name="connsiteX729" fmla="*/ 6297511 w 8023328"/>
              <a:gd name="connsiteY729" fmla="*/ 1210863 h 2380521"/>
              <a:gd name="connsiteX730" fmla="*/ 6226679 w 8023328"/>
              <a:gd name="connsiteY730" fmla="*/ 1210863 h 2380521"/>
              <a:gd name="connsiteX731" fmla="*/ 6239076 w 8023328"/>
              <a:gd name="connsiteY731" fmla="*/ 1224719 h 2380521"/>
              <a:gd name="connsiteX732" fmla="*/ 6226679 w 8023328"/>
              <a:gd name="connsiteY732" fmla="*/ 1237116 h 2380521"/>
              <a:gd name="connsiteX733" fmla="*/ 6212823 w 8023328"/>
              <a:gd name="connsiteY733" fmla="*/ 1224719 h 2380521"/>
              <a:gd name="connsiteX734" fmla="*/ 6226679 w 8023328"/>
              <a:gd name="connsiteY734" fmla="*/ 1210863 h 2380521"/>
              <a:gd name="connsiteX735" fmla="*/ 6154391 w 8023328"/>
              <a:gd name="connsiteY735" fmla="*/ 1210863 h 2380521"/>
              <a:gd name="connsiteX736" fmla="*/ 6168247 w 8023328"/>
              <a:gd name="connsiteY736" fmla="*/ 1224719 h 2380521"/>
              <a:gd name="connsiteX737" fmla="*/ 6154391 w 8023328"/>
              <a:gd name="connsiteY737" fmla="*/ 1237116 h 2380521"/>
              <a:gd name="connsiteX738" fmla="*/ 6141994 w 8023328"/>
              <a:gd name="connsiteY738" fmla="*/ 1224719 h 2380521"/>
              <a:gd name="connsiteX739" fmla="*/ 6154391 w 8023328"/>
              <a:gd name="connsiteY739" fmla="*/ 1210863 h 2380521"/>
              <a:gd name="connsiteX740" fmla="*/ 6083559 w 8023328"/>
              <a:gd name="connsiteY740" fmla="*/ 1210863 h 2380521"/>
              <a:gd name="connsiteX741" fmla="*/ 6097415 w 8023328"/>
              <a:gd name="connsiteY741" fmla="*/ 1224719 h 2380521"/>
              <a:gd name="connsiteX742" fmla="*/ 6083559 w 8023328"/>
              <a:gd name="connsiteY742" fmla="*/ 1237116 h 2380521"/>
              <a:gd name="connsiteX743" fmla="*/ 6071162 w 8023328"/>
              <a:gd name="connsiteY743" fmla="*/ 1224719 h 2380521"/>
              <a:gd name="connsiteX744" fmla="*/ 6083559 w 8023328"/>
              <a:gd name="connsiteY744" fmla="*/ 1210863 h 2380521"/>
              <a:gd name="connsiteX745" fmla="*/ 6009356 w 8023328"/>
              <a:gd name="connsiteY745" fmla="*/ 1210863 h 2380521"/>
              <a:gd name="connsiteX746" fmla="*/ 6023212 w 8023328"/>
              <a:gd name="connsiteY746" fmla="*/ 1224719 h 2380521"/>
              <a:gd name="connsiteX747" fmla="*/ 6009356 w 8023328"/>
              <a:gd name="connsiteY747" fmla="*/ 1237116 h 2380521"/>
              <a:gd name="connsiteX748" fmla="*/ 5996959 w 8023328"/>
              <a:gd name="connsiteY748" fmla="*/ 1224719 h 2380521"/>
              <a:gd name="connsiteX749" fmla="*/ 6009356 w 8023328"/>
              <a:gd name="connsiteY749" fmla="*/ 1210863 h 2380521"/>
              <a:gd name="connsiteX750" fmla="*/ 5940548 w 8023328"/>
              <a:gd name="connsiteY750" fmla="*/ 1210863 h 2380521"/>
              <a:gd name="connsiteX751" fmla="*/ 5955726 w 8023328"/>
              <a:gd name="connsiteY751" fmla="*/ 1224719 h 2380521"/>
              <a:gd name="connsiteX752" fmla="*/ 5940548 w 8023328"/>
              <a:gd name="connsiteY752" fmla="*/ 1237116 h 2380521"/>
              <a:gd name="connsiteX753" fmla="*/ 5926130 w 8023328"/>
              <a:gd name="connsiteY753" fmla="*/ 1224719 h 2380521"/>
              <a:gd name="connsiteX754" fmla="*/ 5940548 w 8023328"/>
              <a:gd name="connsiteY754" fmla="*/ 1210863 h 2380521"/>
              <a:gd name="connsiteX755" fmla="*/ 5870088 w 8023328"/>
              <a:gd name="connsiteY755" fmla="*/ 1210863 h 2380521"/>
              <a:gd name="connsiteX756" fmla="*/ 5884877 w 8023328"/>
              <a:gd name="connsiteY756" fmla="*/ 1224719 h 2380521"/>
              <a:gd name="connsiteX757" fmla="*/ 5870088 w 8023328"/>
              <a:gd name="connsiteY757" fmla="*/ 1237116 h 2380521"/>
              <a:gd name="connsiteX758" fmla="*/ 5855299 w 8023328"/>
              <a:gd name="connsiteY758" fmla="*/ 1224719 h 2380521"/>
              <a:gd name="connsiteX759" fmla="*/ 5870088 w 8023328"/>
              <a:gd name="connsiteY759" fmla="*/ 1210863 h 2380521"/>
              <a:gd name="connsiteX760" fmla="*/ 5799257 w 8023328"/>
              <a:gd name="connsiteY760" fmla="*/ 1210863 h 2380521"/>
              <a:gd name="connsiteX761" fmla="*/ 5814045 w 8023328"/>
              <a:gd name="connsiteY761" fmla="*/ 1224719 h 2380521"/>
              <a:gd name="connsiteX762" fmla="*/ 5799257 w 8023328"/>
              <a:gd name="connsiteY762" fmla="*/ 1237116 h 2380521"/>
              <a:gd name="connsiteX763" fmla="*/ 5784469 w 8023328"/>
              <a:gd name="connsiteY763" fmla="*/ 1224719 h 2380521"/>
              <a:gd name="connsiteX764" fmla="*/ 5799257 w 8023328"/>
              <a:gd name="connsiteY764" fmla="*/ 1210863 h 2380521"/>
              <a:gd name="connsiteX765" fmla="*/ 5724122 w 8023328"/>
              <a:gd name="connsiteY765" fmla="*/ 1210863 h 2380521"/>
              <a:gd name="connsiteX766" fmla="*/ 5736519 w 8023328"/>
              <a:gd name="connsiteY766" fmla="*/ 1225651 h 2380521"/>
              <a:gd name="connsiteX767" fmla="*/ 5724122 w 8023328"/>
              <a:gd name="connsiteY767" fmla="*/ 1240439 h 2380521"/>
              <a:gd name="connsiteX768" fmla="*/ 5710266 w 8023328"/>
              <a:gd name="connsiteY768" fmla="*/ 1225651 h 2380521"/>
              <a:gd name="connsiteX769" fmla="*/ 5724122 w 8023328"/>
              <a:gd name="connsiteY769" fmla="*/ 1210863 h 2380521"/>
              <a:gd name="connsiteX770" fmla="*/ 5653291 w 8023328"/>
              <a:gd name="connsiteY770" fmla="*/ 1210863 h 2380521"/>
              <a:gd name="connsiteX771" fmla="*/ 5665688 w 8023328"/>
              <a:gd name="connsiteY771" fmla="*/ 1225651 h 2380521"/>
              <a:gd name="connsiteX772" fmla="*/ 5653291 w 8023328"/>
              <a:gd name="connsiteY772" fmla="*/ 1240439 h 2380521"/>
              <a:gd name="connsiteX773" fmla="*/ 5639435 w 8023328"/>
              <a:gd name="connsiteY773" fmla="*/ 1225651 h 2380521"/>
              <a:gd name="connsiteX774" fmla="*/ 5653291 w 8023328"/>
              <a:gd name="connsiteY774" fmla="*/ 1210863 h 2380521"/>
              <a:gd name="connsiteX775" fmla="*/ 5582461 w 8023328"/>
              <a:gd name="connsiteY775" fmla="*/ 1210863 h 2380521"/>
              <a:gd name="connsiteX776" fmla="*/ 5594858 w 8023328"/>
              <a:gd name="connsiteY776" fmla="*/ 1225651 h 2380521"/>
              <a:gd name="connsiteX777" fmla="*/ 5582461 w 8023328"/>
              <a:gd name="connsiteY777" fmla="*/ 1240439 h 2380521"/>
              <a:gd name="connsiteX778" fmla="*/ 5568605 w 8023328"/>
              <a:gd name="connsiteY778" fmla="*/ 1225651 h 2380521"/>
              <a:gd name="connsiteX779" fmla="*/ 5582461 w 8023328"/>
              <a:gd name="connsiteY779" fmla="*/ 1210863 h 2380521"/>
              <a:gd name="connsiteX780" fmla="*/ 5510171 w 8023328"/>
              <a:gd name="connsiteY780" fmla="*/ 1210863 h 2380521"/>
              <a:gd name="connsiteX781" fmla="*/ 5524027 w 8023328"/>
              <a:gd name="connsiteY781" fmla="*/ 1225651 h 2380521"/>
              <a:gd name="connsiteX782" fmla="*/ 5510171 w 8023328"/>
              <a:gd name="connsiteY782" fmla="*/ 1240439 h 2380521"/>
              <a:gd name="connsiteX783" fmla="*/ 5497774 w 8023328"/>
              <a:gd name="connsiteY783" fmla="*/ 1225651 h 2380521"/>
              <a:gd name="connsiteX784" fmla="*/ 5510171 w 8023328"/>
              <a:gd name="connsiteY784" fmla="*/ 1210863 h 2380521"/>
              <a:gd name="connsiteX785" fmla="*/ 5438937 w 8023328"/>
              <a:gd name="connsiteY785" fmla="*/ 1210863 h 2380521"/>
              <a:gd name="connsiteX786" fmla="*/ 5453178 w 8023328"/>
              <a:gd name="connsiteY786" fmla="*/ 1225651 h 2380521"/>
              <a:gd name="connsiteX787" fmla="*/ 5438937 w 8023328"/>
              <a:gd name="connsiteY787" fmla="*/ 1240439 h 2380521"/>
              <a:gd name="connsiteX788" fmla="*/ 5426945 w 8023328"/>
              <a:gd name="connsiteY788" fmla="*/ 1225651 h 2380521"/>
              <a:gd name="connsiteX789" fmla="*/ 5438937 w 8023328"/>
              <a:gd name="connsiteY789" fmla="*/ 1210863 h 2380521"/>
              <a:gd name="connsiteX790" fmla="*/ 5367530 w 8023328"/>
              <a:gd name="connsiteY790" fmla="*/ 1210863 h 2380521"/>
              <a:gd name="connsiteX791" fmla="*/ 5382318 w 8023328"/>
              <a:gd name="connsiteY791" fmla="*/ 1225651 h 2380521"/>
              <a:gd name="connsiteX792" fmla="*/ 5367530 w 8023328"/>
              <a:gd name="connsiteY792" fmla="*/ 1240439 h 2380521"/>
              <a:gd name="connsiteX793" fmla="*/ 5352742 w 8023328"/>
              <a:gd name="connsiteY793" fmla="*/ 1225651 h 2380521"/>
              <a:gd name="connsiteX794" fmla="*/ 5367530 w 8023328"/>
              <a:gd name="connsiteY794" fmla="*/ 1210863 h 2380521"/>
              <a:gd name="connsiteX795" fmla="*/ 5296699 w 8023328"/>
              <a:gd name="connsiteY795" fmla="*/ 1210863 h 2380521"/>
              <a:gd name="connsiteX796" fmla="*/ 5311488 w 8023328"/>
              <a:gd name="connsiteY796" fmla="*/ 1225651 h 2380521"/>
              <a:gd name="connsiteX797" fmla="*/ 5296699 w 8023328"/>
              <a:gd name="connsiteY797" fmla="*/ 1240439 h 2380521"/>
              <a:gd name="connsiteX798" fmla="*/ 5281910 w 8023328"/>
              <a:gd name="connsiteY798" fmla="*/ 1225651 h 2380521"/>
              <a:gd name="connsiteX799" fmla="*/ 5296699 w 8023328"/>
              <a:gd name="connsiteY799" fmla="*/ 1210863 h 2380521"/>
              <a:gd name="connsiteX800" fmla="*/ 5225869 w 8023328"/>
              <a:gd name="connsiteY800" fmla="*/ 1210863 h 2380521"/>
              <a:gd name="connsiteX801" fmla="*/ 5240657 w 8023328"/>
              <a:gd name="connsiteY801" fmla="*/ 1225651 h 2380521"/>
              <a:gd name="connsiteX802" fmla="*/ 5225869 w 8023328"/>
              <a:gd name="connsiteY802" fmla="*/ 1240439 h 2380521"/>
              <a:gd name="connsiteX803" fmla="*/ 5211081 w 8023328"/>
              <a:gd name="connsiteY803" fmla="*/ 1225651 h 2380521"/>
              <a:gd name="connsiteX804" fmla="*/ 5225869 w 8023328"/>
              <a:gd name="connsiteY804" fmla="*/ 1210863 h 2380521"/>
              <a:gd name="connsiteX805" fmla="*/ 5154105 w 8023328"/>
              <a:gd name="connsiteY805" fmla="*/ 1210863 h 2380521"/>
              <a:gd name="connsiteX806" fmla="*/ 5166502 w 8023328"/>
              <a:gd name="connsiteY806" fmla="*/ 1225651 h 2380521"/>
              <a:gd name="connsiteX807" fmla="*/ 5154105 w 8023328"/>
              <a:gd name="connsiteY807" fmla="*/ 1240439 h 2380521"/>
              <a:gd name="connsiteX808" fmla="*/ 5140249 w 8023328"/>
              <a:gd name="connsiteY808" fmla="*/ 1225651 h 2380521"/>
              <a:gd name="connsiteX809" fmla="*/ 5154105 w 8023328"/>
              <a:gd name="connsiteY809" fmla="*/ 1210863 h 2380521"/>
              <a:gd name="connsiteX810" fmla="*/ 5083276 w 8023328"/>
              <a:gd name="connsiteY810" fmla="*/ 1210863 h 2380521"/>
              <a:gd name="connsiteX811" fmla="*/ 5095673 w 8023328"/>
              <a:gd name="connsiteY811" fmla="*/ 1225651 h 2380521"/>
              <a:gd name="connsiteX812" fmla="*/ 5083276 w 8023328"/>
              <a:gd name="connsiteY812" fmla="*/ 1240439 h 2380521"/>
              <a:gd name="connsiteX813" fmla="*/ 5069420 w 8023328"/>
              <a:gd name="connsiteY813" fmla="*/ 1225651 h 2380521"/>
              <a:gd name="connsiteX814" fmla="*/ 5083276 w 8023328"/>
              <a:gd name="connsiteY814" fmla="*/ 1210863 h 2380521"/>
              <a:gd name="connsiteX815" fmla="*/ 5012445 w 8023328"/>
              <a:gd name="connsiteY815" fmla="*/ 1210863 h 2380521"/>
              <a:gd name="connsiteX816" fmla="*/ 5024842 w 8023328"/>
              <a:gd name="connsiteY816" fmla="*/ 1225651 h 2380521"/>
              <a:gd name="connsiteX817" fmla="*/ 5012445 w 8023328"/>
              <a:gd name="connsiteY817" fmla="*/ 1240439 h 2380521"/>
              <a:gd name="connsiteX818" fmla="*/ 4998589 w 8023328"/>
              <a:gd name="connsiteY818" fmla="*/ 1225651 h 2380521"/>
              <a:gd name="connsiteX819" fmla="*/ 5012445 w 8023328"/>
              <a:gd name="connsiteY819" fmla="*/ 1210863 h 2380521"/>
              <a:gd name="connsiteX820" fmla="*/ 4940157 w 8023328"/>
              <a:gd name="connsiteY820" fmla="*/ 1210863 h 2380521"/>
              <a:gd name="connsiteX821" fmla="*/ 4954013 w 8023328"/>
              <a:gd name="connsiteY821" fmla="*/ 1225651 h 2380521"/>
              <a:gd name="connsiteX822" fmla="*/ 4940157 w 8023328"/>
              <a:gd name="connsiteY822" fmla="*/ 1240439 h 2380521"/>
              <a:gd name="connsiteX823" fmla="*/ 4927760 w 8023328"/>
              <a:gd name="connsiteY823" fmla="*/ 1225651 h 2380521"/>
              <a:gd name="connsiteX824" fmla="*/ 4940157 w 8023328"/>
              <a:gd name="connsiteY824" fmla="*/ 1210863 h 2380521"/>
              <a:gd name="connsiteX825" fmla="*/ 4865953 w 8023328"/>
              <a:gd name="connsiteY825" fmla="*/ 1210863 h 2380521"/>
              <a:gd name="connsiteX826" fmla="*/ 4879809 w 8023328"/>
              <a:gd name="connsiteY826" fmla="*/ 1225651 h 2380521"/>
              <a:gd name="connsiteX827" fmla="*/ 4865953 w 8023328"/>
              <a:gd name="connsiteY827" fmla="*/ 1240439 h 2380521"/>
              <a:gd name="connsiteX828" fmla="*/ 4853556 w 8023328"/>
              <a:gd name="connsiteY828" fmla="*/ 1225651 h 2380521"/>
              <a:gd name="connsiteX829" fmla="*/ 4865953 w 8023328"/>
              <a:gd name="connsiteY829" fmla="*/ 1210863 h 2380521"/>
              <a:gd name="connsiteX830" fmla="*/ 4795122 w 8023328"/>
              <a:gd name="connsiteY830" fmla="*/ 1210863 h 2380521"/>
              <a:gd name="connsiteX831" fmla="*/ 4808978 w 8023328"/>
              <a:gd name="connsiteY831" fmla="*/ 1225651 h 2380521"/>
              <a:gd name="connsiteX832" fmla="*/ 4795122 w 8023328"/>
              <a:gd name="connsiteY832" fmla="*/ 1240439 h 2380521"/>
              <a:gd name="connsiteX833" fmla="*/ 4782725 w 8023328"/>
              <a:gd name="connsiteY833" fmla="*/ 1225651 h 2380521"/>
              <a:gd name="connsiteX834" fmla="*/ 4795122 w 8023328"/>
              <a:gd name="connsiteY834" fmla="*/ 1210863 h 2380521"/>
              <a:gd name="connsiteX835" fmla="*/ 4726684 w 8023328"/>
              <a:gd name="connsiteY835" fmla="*/ 1210863 h 2380521"/>
              <a:gd name="connsiteX836" fmla="*/ 4741472 w 8023328"/>
              <a:gd name="connsiteY836" fmla="*/ 1225651 h 2380521"/>
              <a:gd name="connsiteX837" fmla="*/ 4726684 w 8023328"/>
              <a:gd name="connsiteY837" fmla="*/ 1240439 h 2380521"/>
              <a:gd name="connsiteX838" fmla="*/ 4711896 w 8023328"/>
              <a:gd name="connsiteY838" fmla="*/ 1225651 h 2380521"/>
              <a:gd name="connsiteX839" fmla="*/ 4726684 w 8023328"/>
              <a:gd name="connsiteY839" fmla="*/ 1210863 h 2380521"/>
              <a:gd name="connsiteX840" fmla="*/ 4655853 w 8023328"/>
              <a:gd name="connsiteY840" fmla="*/ 1210863 h 2380521"/>
              <a:gd name="connsiteX841" fmla="*/ 4670642 w 8023328"/>
              <a:gd name="connsiteY841" fmla="*/ 1225651 h 2380521"/>
              <a:gd name="connsiteX842" fmla="*/ 4655853 w 8023328"/>
              <a:gd name="connsiteY842" fmla="*/ 1240439 h 2380521"/>
              <a:gd name="connsiteX843" fmla="*/ 4641064 w 8023328"/>
              <a:gd name="connsiteY843" fmla="*/ 1225651 h 2380521"/>
              <a:gd name="connsiteX844" fmla="*/ 4655853 w 8023328"/>
              <a:gd name="connsiteY844" fmla="*/ 1210863 h 2380521"/>
              <a:gd name="connsiteX845" fmla="*/ 4585023 w 8023328"/>
              <a:gd name="connsiteY845" fmla="*/ 1210863 h 2380521"/>
              <a:gd name="connsiteX846" fmla="*/ 4599811 w 8023328"/>
              <a:gd name="connsiteY846" fmla="*/ 1225651 h 2380521"/>
              <a:gd name="connsiteX847" fmla="*/ 4585023 w 8023328"/>
              <a:gd name="connsiteY847" fmla="*/ 1240439 h 2380521"/>
              <a:gd name="connsiteX848" fmla="*/ 4570235 w 8023328"/>
              <a:gd name="connsiteY848" fmla="*/ 1225651 h 2380521"/>
              <a:gd name="connsiteX849" fmla="*/ 4585023 w 8023328"/>
              <a:gd name="connsiteY849" fmla="*/ 1210863 h 2380521"/>
              <a:gd name="connsiteX850" fmla="*/ 4513260 w 8023328"/>
              <a:gd name="connsiteY850" fmla="*/ 1210863 h 2380521"/>
              <a:gd name="connsiteX851" fmla="*/ 4525657 w 8023328"/>
              <a:gd name="connsiteY851" fmla="*/ 1225651 h 2380521"/>
              <a:gd name="connsiteX852" fmla="*/ 4513260 w 8023328"/>
              <a:gd name="connsiteY852" fmla="*/ 1240439 h 2380521"/>
              <a:gd name="connsiteX853" fmla="*/ 4499404 w 8023328"/>
              <a:gd name="connsiteY853" fmla="*/ 1225651 h 2380521"/>
              <a:gd name="connsiteX854" fmla="*/ 4513260 w 8023328"/>
              <a:gd name="connsiteY854" fmla="*/ 1210863 h 2380521"/>
              <a:gd name="connsiteX855" fmla="*/ 4439056 w 8023328"/>
              <a:gd name="connsiteY855" fmla="*/ 1210863 h 2380521"/>
              <a:gd name="connsiteX856" fmla="*/ 4451453 w 8023328"/>
              <a:gd name="connsiteY856" fmla="*/ 1225651 h 2380521"/>
              <a:gd name="connsiteX857" fmla="*/ 4439056 w 8023328"/>
              <a:gd name="connsiteY857" fmla="*/ 1240439 h 2380521"/>
              <a:gd name="connsiteX858" fmla="*/ 4425200 w 8023328"/>
              <a:gd name="connsiteY858" fmla="*/ 1225651 h 2380521"/>
              <a:gd name="connsiteX859" fmla="*/ 4439056 w 8023328"/>
              <a:gd name="connsiteY859" fmla="*/ 1210863 h 2380521"/>
              <a:gd name="connsiteX860" fmla="*/ 4366768 w 8023328"/>
              <a:gd name="connsiteY860" fmla="*/ 1210863 h 2380521"/>
              <a:gd name="connsiteX861" fmla="*/ 4380624 w 8023328"/>
              <a:gd name="connsiteY861" fmla="*/ 1225651 h 2380521"/>
              <a:gd name="connsiteX862" fmla="*/ 4366768 w 8023328"/>
              <a:gd name="connsiteY862" fmla="*/ 1240439 h 2380521"/>
              <a:gd name="connsiteX863" fmla="*/ 4354371 w 8023328"/>
              <a:gd name="connsiteY863" fmla="*/ 1225651 h 2380521"/>
              <a:gd name="connsiteX864" fmla="*/ 4366768 w 8023328"/>
              <a:gd name="connsiteY864" fmla="*/ 1210863 h 2380521"/>
              <a:gd name="connsiteX865" fmla="*/ 4295937 w 8023328"/>
              <a:gd name="connsiteY865" fmla="*/ 1210863 h 2380521"/>
              <a:gd name="connsiteX866" fmla="*/ 4309793 w 8023328"/>
              <a:gd name="connsiteY866" fmla="*/ 1225651 h 2380521"/>
              <a:gd name="connsiteX867" fmla="*/ 4295937 w 8023328"/>
              <a:gd name="connsiteY867" fmla="*/ 1240439 h 2380521"/>
              <a:gd name="connsiteX868" fmla="*/ 4283540 w 8023328"/>
              <a:gd name="connsiteY868" fmla="*/ 1225651 h 2380521"/>
              <a:gd name="connsiteX869" fmla="*/ 4295937 w 8023328"/>
              <a:gd name="connsiteY869" fmla="*/ 1210863 h 2380521"/>
              <a:gd name="connsiteX870" fmla="*/ 368953 w 8023328"/>
              <a:gd name="connsiteY870" fmla="*/ 1210863 h 2380521"/>
              <a:gd name="connsiteX871" fmla="*/ 383742 w 8023328"/>
              <a:gd name="connsiteY871" fmla="*/ 1225651 h 2380521"/>
              <a:gd name="connsiteX872" fmla="*/ 368953 w 8023328"/>
              <a:gd name="connsiteY872" fmla="*/ 1240439 h 2380521"/>
              <a:gd name="connsiteX873" fmla="*/ 354165 w 8023328"/>
              <a:gd name="connsiteY873" fmla="*/ 1225651 h 2380521"/>
              <a:gd name="connsiteX874" fmla="*/ 368953 w 8023328"/>
              <a:gd name="connsiteY874" fmla="*/ 1210863 h 2380521"/>
              <a:gd name="connsiteX875" fmla="*/ 297189 w 8023328"/>
              <a:gd name="connsiteY875" fmla="*/ 1210863 h 2380521"/>
              <a:gd name="connsiteX876" fmla="*/ 309586 w 8023328"/>
              <a:gd name="connsiteY876" fmla="*/ 1225651 h 2380521"/>
              <a:gd name="connsiteX877" fmla="*/ 297189 w 8023328"/>
              <a:gd name="connsiteY877" fmla="*/ 1240439 h 2380521"/>
              <a:gd name="connsiteX878" fmla="*/ 283334 w 8023328"/>
              <a:gd name="connsiteY878" fmla="*/ 1225651 h 2380521"/>
              <a:gd name="connsiteX879" fmla="*/ 297189 w 8023328"/>
              <a:gd name="connsiteY879" fmla="*/ 1210863 h 2380521"/>
              <a:gd name="connsiteX880" fmla="*/ 226361 w 8023328"/>
              <a:gd name="connsiteY880" fmla="*/ 1210863 h 2380521"/>
              <a:gd name="connsiteX881" fmla="*/ 238759 w 8023328"/>
              <a:gd name="connsiteY881" fmla="*/ 1225651 h 2380521"/>
              <a:gd name="connsiteX882" fmla="*/ 226361 w 8023328"/>
              <a:gd name="connsiteY882" fmla="*/ 1240439 h 2380521"/>
              <a:gd name="connsiteX883" fmla="*/ 212504 w 8023328"/>
              <a:gd name="connsiteY883" fmla="*/ 1225651 h 2380521"/>
              <a:gd name="connsiteX884" fmla="*/ 226361 w 8023328"/>
              <a:gd name="connsiteY884" fmla="*/ 1210863 h 2380521"/>
              <a:gd name="connsiteX885" fmla="*/ 155527 w 8023328"/>
              <a:gd name="connsiteY885" fmla="*/ 1210863 h 2380521"/>
              <a:gd name="connsiteX886" fmla="*/ 167924 w 8023328"/>
              <a:gd name="connsiteY886" fmla="*/ 1225651 h 2380521"/>
              <a:gd name="connsiteX887" fmla="*/ 155527 w 8023328"/>
              <a:gd name="connsiteY887" fmla="*/ 1240439 h 2380521"/>
              <a:gd name="connsiteX888" fmla="*/ 141671 w 8023328"/>
              <a:gd name="connsiteY888" fmla="*/ 1225651 h 2380521"/>
              <a:gd name="connsiteX889" fmla="*/ 155527 w 8023328"/>
              <a:gd name="connsiteY889" fmla="*/ 1210863 h 2380521"/>
              <a:gd name="connsiteX890" fmla="*/ 83239 w 8023328"/>
              <a:gd name="connsiteY890" fmla="*/ 1210863 h 2380521"/>
              <a:gd name="connsiteX891" fmla="*/ 97095 w 8023328"/>
              <a:gd name="connsiteY891" fmla="*/ 1225651 h 2380521"/>
              <a:gd name="connsiteX892" fmla="*/ 83239 w 8023328"/>
              <a:gd name="connsiteY892" fmla="*/ 1240439 h 2380521"/>
              <a:gd name="connsiteX893" fmla="*/ 70841 w 8023328"/>
              <a:gd name="connsiteY893" fmla="*/ 1225651 h 2380521"/>
              <a:gd name="connsiteX894" fmla="*/ 83239 w 8023328"/>
              <a:gd name="connsiteY894" fmla="*/ 1210863 h 2380521"/>
              <a:gd name="connsiteX895" fmla="*/ 12003 w 8023328"/>
              <a:gd name="connsiteY895" fmla="*/ 1210863 h 2380521"/>
              <a:gd name="connsiteX896" fmla="*/ 26244 w 8023328"/>
              <a:gd name="connsiteY896" fmla="*/ 1225651 h 2380521"/>
              <a:gd name="connsiteX897" fmla="*/ 12003 w 8023328"/>
              <a:gd name="connsiteY897" fmla="*/ 1240439 h 2380521"/>
              <a:gd name="connsiteX898" fmla="*/ 10 w 8023328"/>
              <a:gd name="connsiteY898" fmla="*/ 1225651 h 2380521"/>
              <a:gd name="connsiteX899" fmla="*/ 12003 w 8023328"/>
              <a:gd name="connsiteY899" fmla="*/ 1210863 h 2380521"/>
              <a:gd name="connsiteX900" fmla="*/ 7013492 w 8023328"/>
              <a:gd name="connsiteY900" fmla="*/ 1140032 h 2380521"/>
              <a:gd name="connsiteX901" fmla="*/ 7028280 w 8023328"/>
              <a:gd name="connsiteY901" fmla="*/ 1152429 h 2380521"/>
              <a:gd name="connsiteX902" fmla="*/ 7013492 w 8023328"/>
              <a:gd name="connsiteY902" fmla="*/ 1166286 h 2380521"/>
              <a:gd name="connsiteX903" fmla="*/ 6998704 w 8023328"/>
              <a:gd name="connsiteY903" fmla="*/ 1152429 h 2380521"/>
              <a:gd name="connsiteX904" fmla="*/ 7013492 w 8023328"/>
              <a:gd name="connsiteY904" fmla="*/ 1140032 h 2380521"/>
              <a:gd name="connsiteX905" fmla="*/ 6939085 w 8023328"/>
              <a:gd name="connsiteY905" fmla="*/ 1140032 h 2380521"/>
              <a:gd name="connsiteX906" fmla="*/ 6950753 w 8023328"/>
              <a:gd name="connsiteY906" fmla="*/ 1152429 h 2380521"/>
              <a:gd name="connsiteX907" fmla="*/ 6939085 w 8023328"/>
              <a:gd name="connsiteY907" fmla="*/ 1166286 h 2380521"/>
              <a:gd name="connsiteX908" fmla="*/ 6924500 w 8023328"/>
              <a:gd name="connsiteY908" fmla="*/ 1152429 h 2380521"/>
              <a:gd name="connsiteX909" fmla="*/ 6939085 w 8023328"/>
              <a:gd name="connsiteY909" fmla="*/ 1140032 h 2380521"/>
              <a:gd name="connsiteX910" fmla="*/ 6867525 w 8023328"/>
              <a:gd name="connsiteY910" fmla="*/ 1140032 h 2380521"/>
              <a:gd name="connsiteX911" fmla="*/ 6879922 w 8023328"/>
              <a:gd name="connsiteY911" fmla="*/ 1153888 h 2380521"/>
              <a:gd name="connsiteX912" fmla="*/ 6867525 w 8023328"/>
              <a:gd name="connsiteY912" fmla="*/ 1166286 h 2380521"/>
              <a:gd name="connsiteX913" fmla="*/ 6853669 w 8023328"/>
              <a:gd name="connsiteY913" fmla="*/ 1153888 h 2380521"/>
              <a:gd name="connsiteX914" fmla="*/ 6867525 w 8023328"/>
              <a:gd name="connsiteY914" fmla="*/ 1140032 h 2380521"/>
              <a:gd name="connsiteX915" fmla="*/ 6796696 w 8023328"/>
              <a:gd name="connsiteY915" fmla="*/ 1140032 h 2380521"/>
              <a:gd name="connsiteX916" fmla="*/ 6809093 w 8023328"/>
              <a:gd name="connsiteY916" fmla="*/ 1153888 h 2380521"/>
              <a:gd name="connsiteX917" fmla="*/ 6796696 w 8023328"/>
              <a:gd name="connsiteY917" fmla="*/ 1166286 h 2380521"/>
              <a:gd name="connsiteX918" fmla="*/ 6782840 w 8023328"/>
              <a:gd name="connsiteY918" fmla="*/ 1153888 h 2380521"/>
              <a:gd name="connsiteX919" fmla="*/ 6796696 w 8023328"/>
              <a:gd name="connsiteY919" fmla="*/ 1140032 h 2380521"/>
              <a:gd name="connsiteX920" fmla="*/ 6724405 w 8023328"/>
              <a:gd name="connsiteY920" fmla="*/ 1140032 h 2380521"/>
              <a:gd name="connsiteX921" fmla="*/ 6738261 w 8023328"/>
              <a:gd name="connsiteY921" fmla="*/ 1153888 h 2380521"/>
              <a:gd name="connsiteX922" fmla="*/ 6724405 w 8023328"/>
              <a:gd name="connsiteY922" fmla="*/ 1166286 h 2380521"/>
              <a:gd name="connsiteX923" fmla="*/ 6712008 w 8023328"/>
              <a:gd name="connsiteY923" fmla="*/ 1153888 h 2380521"/>
              <a:gd name="connsiteX924" fmla="*/ 6724405 w 8023328"/>
              <a:gd name="connsiteY924" fmla="*/ 1140032 h 2380521"/>
              <a:gd name="connsiteX925" fmla="*/ 6653576 w 8023328"/>
              <a:gd name="connsiteY925" fmla="*/ 1140032 h 2380521"/>
              <a:gd name="connsiteX926" fmla="*/ 6667432 w 8023328"/>
              <a:gd name="connsiteY926" fmla="*/ 1153888 h 2380521"/>
              <a:gd name="connsiteX927" fmla="*/ 6653576 w 8023328"/>
              <a:gd name="connsiteY927" fmla="*/ 1166286 h 2380521"/>
              <a:gd name="connsiteX928" fmla="*/ 6641179 w 8023328"/>
              <a:gd name="connsiteY928" fmla="*/ 1153888 h 2380521"/>
              <a:gd name="connsiteX929" fmla="*/ 6653576 w 8023328"/>
              <a:gd name="connsiteY929" fmla="*/ 1140032 h 2380521"/>
              <a:gd name="connsiteX930" fmla="*/ 6581764 w 8023328"/>
              <a:gd name="connsiteY930" fmla="*/ 1140032 h 2380521"/>
              <a:gd name="connsiteX931" fmla="*/ 6596552 w 8023328"/>
              <a:gd name="connsiteY931" fmla="*/ 1153888 h 2380521"/>
              <a:gd name="connsiteX932" fmla="*/ 6581764 w 8023328"/>
              <a:gd name="connsiteY932" fmla="*/ 1166286 h 2380521"/>
              <a:gd name="connsiteX933" fmla="*/ 6566976 w 8023328"/>
              <a:gd name="connsiteY933" fmla="*/ 1153888 h 2380521"/>
              <a:gd name="connsiteX934" fmla="*/ 6581764 w 8023328"/>
              <a:gd name="connsiteY934" fmla="*/ 1140032 h 2380521"/>
              <a:gd name="connsiteX935" fmla="*/ 6510933 w 8023328"/>
              <a:gd name="connsiteY935" fmla="*/ 1140032 h 2380521"/>
              <a:gd name="connsiteX936" fmla="*/ 6525722 w 8023328"/>
              <a:gd name="connsiteY936" fmla="*/ 1153888 h 2380521"/>
              <a:gd name="connsiteX937" fmla="*/ 6510933 w 8023328"/>
              <a:gd name="connsiteY937" fmla="*/ 1166286 h 2380521"/>
              <a:gd name="connsiteX938" fmla="*/ 6496144 w 8023328"/>
              <a:gd name="connsiteY938" fmla="*/ 1153888 h 2380521"/>
              <a:gd name="connsiteX939" fmla="*/ 6510933 w 8023328"/>
              <a:gd name="connsiteY939" fmla="*/ 1140032 h 2380521"/>
              <a:gd name="connsiteX940" fmla="*/ 6440492 w 8023328"/>
              <a:gd name="connsiteY940" fmla="*/ 1140032 h 2380521"/>
              <a:gd name="connsiteX941" fmla="*/ 6454911 w 8023328"/>
              <a:gd name="connsiteY941" fmla="*/ 1153888 h 2380521"/>
              <a:gd name="connsiteX942" fmla="*/ 6440492 w 8023328"/>
              <a:gd name="connsiteY942" fmla="*/ 1166286 h 2380521"/>
              <a:gd name="connsiteX943" fmla="*/ 6425315 w 8023328"/>
              <a:gd name="connsiteY943" fmla="*/ 1153888 h 2380521"/>
              <a:gd name="connsiteX944" fmla="*/ 6440492 w 8023328"/>
              <a:gd name="connsiteY944" fmla="*/ 1140032 h 2380521"/>
              <a:gd name="connsiteX945" fmla="*/ 6368340 w 8023328"/>
              <a:gd name="connsiteY945" fmla="*/ 1140032 h 2380521"/>
              <a:gd name="connsiteX946" fmla="*/ 6380737 w 8023328"/>
              <a:gd name="connsiteY946" fmla="*/ 1153888 h 2380521"/>
              <a:gd name="connsiteX947" fmla="*/ 6368340 w 8023328"/>
              <a:gd name="connsiteY947" fmla="*/ 1166286 h 2380521"/>
              <a:gd name="connsiteX948" fmla="*/ 6354484 w 8023328"/>
              <a:gd name="connsiteY948" fmla="*/ 1153888 h 2380521"/>
              <a:gd name="connsiteX949" fmla="*/ 6368340 w 8023328"/>
              <a:gd name="connsiteY949" fmla="*/ 1140032 h 2380521"/>
              <a:gd name="connsiteX950" fmla="*/ 6297511 w 8023328"/>
              <a:gd name="connsiteY950" fmla="*/ 1140032 h 2380521"/>
              <a:gd name="connsiteX951" fmla="*/ 6309908 w 8023328"/>
              <a:gd name="connsiteY951" fmla="*/ 1153888 h 2380521"/>
              <a:gd name="connsiteX952" fmla="*/ 6297511 w 8023328"/>
              <a:gd name="connsiteY952" fmla="*/ 1166286 h 2380521"/>
              <a:gd name="connsiteX953" fmla="*/ 6283655 w 8023328"/>
              <a:gd name="connsiteY953" fmla="*/ 1153888 h 2380521"/>
              <a:gd name="connsiteX954" fmla="*/ 6297511 w 8023328"/>
              <a:gd name="connsiteY954" fmla="*/ 1140032 h 2380521"/>
              <a:gd name="connsiteX955" fmla="*/ 6226679 w 8023328"/>
              <a:gd name="connsiteY955" fmla="*/ 1140032 h 2380521"/>
              <a:gd name="connsiteX956" fmla="*/ 6239076 w 8023328"/>
              <a:gd name="connsiteY956" fmla="*/ 1153888 h 2380521"/>
              <a:gd name="connsiteX957" fmla="*/ 6226679 w 8023328"/>
              <a:gd name="connsiteY957" fmla="*/ 1166286 h 2380521"/>
              <a:gd name="connsiteX958" fmla="*/ 6212823 w 8023328"/>
              <a:gd name="connsiteY958" fmla="*/ 1153888 h 2380521"/>
              <a:gd name="connsiteX959" fmla="*/ 6226679 w 8023328"/>
              <a:gd name="connsiteY959" fmla="*/ 1140032 h 2380521"/>
              <a:gd name="connsiteX960" fmla="*/ 6154391 w 8023328"/>
              <a:gd name="connsiteY960" fmla="*/ 1140032 h 2380521"/>
              <a:gd name="connsiteX961" fmla="*/ 6168247 w 8023328"/>
              <a:gd name="connsiteY961" fmla="*/ 1153888 h 2380521"/>
              <a:gd name="connsiteX962" fmla="*/ 6154391 w 8023328"/>
              <a:gd name="connsiteY962" fmla="*/ 1166286 h 2380521"/>
              <a:gd name="connsiteX963" fmla="*/ 6141994 w 8023328"/>
              <a:gd name="connsiteY963" fmla="*/ 1153888 h 2380521"/>
              <a:gd name="connsiteX964" fmla="*/ 6154391 w 8023328"/>
              <a:gd name="connsiteY964" fmla="*/ 1140032 h 2380521"/>
              <a:gd name="connsiteX965" fmla="*/ 6083559 w 8023328"/>
              <a:gd name="connsiteY965" fmla="*/ 1140032 h 2380521"/>
              <a:gd name="connsiteX966" fmla="*/ 6097415 w 8023328"/>
              <a:gd name="connsiteY966" fmla="*/ 1153888 h 2380521"/>
              <a:gd name="connsiteX967" fmla="*/ 6083559 w 8023328"/>
              <a:gd name="connsiteY967" fmla="*/ 1166286 h 2380521"/>
              <a:gd name="connsiteX968" fmla="*/ 6071162 w 8023328"/>
              <a:gd name="connsiteY968" fmla="*/ 1153888 h 2380521"/>
              <a:gd name="connsiteX969" fmla="*/ 6083559 w 8023328"/>
              <a:gd name="connsiteY969" fmla="*/ 1140032 h 2380521"/>
              <a:gd name="connsiteX970" fmla="*/ 6009356 w 8023328"/>
              <a:gd name="connsiteY970" fmla="*/ 1140032 h 2380521"/>
              <a:gd name="connsiteX971" fmla="*/ 6023212 w 8023328"/>
              <a:gd name="connsiteY971" fmla="*/ 1153888 h 2380521"/>
              <a:gd name="connsiteX972" fmla="*/ 6009356 w 8023328"/>
              <a:gd name="connsiteY972" fmla="*/ 1166286 h 2380521"/>
              <a:gd name="connsiteX973" fmla="*/ 5996959 w 8023328"/>
              <a:gd name="connsiteY973" fmla="*/ 1153888 h 2380521"/>
              <a:gd name="connsiteX974" fmla="*/ 6009356 w 8023328"/>
              <a:gd name="connsiteY974" fmla="*/ 1140032 h 2380521"/>
              <a:gd name="connsiteX975" fmla="*/ 5940548 w 8023328"/>
              <a:gd name="connsiteY975" fmla="*/ 1140032 h 2380521"/>
              <a:gd name="connsiteX976" fmla="*/ 5955726 w 8023328"/>
              <a:gd name="connsiteY976" fmla="*/ 1153888 h 2380521"/>
              <a:gd name="connsiteX977" fmla="*/ 5940548 w 8023328"/>
              <a:gd name="connsiteY977" fmla="*/ 1166286 h 2380521"/>
              <a:gd name="connsiteX978" fmla="*/ 5926130 w 8023328"/>
              <a:gd name="connsiteY978" fmla="*/ 1153888 h 2380521"/>
              <a:gd name="connsiteX979" fmla="*/ 5940548 w 8023328"/>
              <a:gd name="connsiteY979" fmla="*/ 1140032 h 2380521"/>
              <a:gd name="connsiteX980" fmla="*/ 5870088 w 8023328"/>
              <a:gd name="connsiteY980" fmla="*/ 1140032 h 2380521"/>
              <a:gd name="connsiteX981" fmla="*/ 5884877 w 8023328"/>
              <a:gd name="connsiteY981" fmla="*/ 1153888 h 2380521"/>
              <a:gd name="connsiteX982" fmla="*/ 5870088 w 8023328"/>
              <a:gd name="connsiteY982" fmla="*/ 1166286 h 2380521"/>
              <a:gd name="connsiteX983" fmla="*/ 5855299 w 8023328"/>
              <a:gd name="connsiteY983" fmla="*/ 1153888 h 2380521"/>
              <a:gd name="connsiteX984" fmla="*/ 5870088 w 8023328"/>
              <a:gd name="connsiteY984" fmla="*/ 1140032 h 2380521"/>
              <a:gd name="connsiteX985" fmla="*/ 5799257 w 8023328"/>
              <a:gd name="connsiteY985" fmla="*/ 1140032 h 2380521"/>
              <a:gd name="connsiteX986" fmla="*/ 5814045 w 8023328"/>
              <a:gd name="connsiteY986" fmla="*/ 1153888 h 2380521"/>
              <a:gd name="connsiteX987" fmla="*/ 5799257 w 8023328"/>
              <a:gd name="connsiteY987" fmla="*/ 1166286 h 2380521"/>
              <a:gd name="connsiteX988" fmla="*/ 5784469 w 8023328"/>
              <a:gd name="connsiteY988" fmla="*/ 1153888 h 2380521"/>
              <a:gd name="connsiteX989" fmla="*/ 5799257 w 8023328"/>
              <a:gd name="connsiteY989" fmla="*/ 1140032 h 2380521"/>
              <a:gd name="connsiteX990" fmla="*/ 5724122 w 8023328"/>
              <a:gd name="connsiteY990" fmla="*/ 1140032 h 2380521"/>
              <a:gd name="connsiteX991" fmla="*/ 5736519 w 8023328"/>
              <a:gd name="connsiteY991" fmla="*/ 1153888 h 2380521"/>
              <a:gd name="connsiteX992" fmla="*/ 5724122 w 8023328"/>
              <a:gd name="connsiteY992" fmla="*/ 1166286 h 2380521"/>
              <a:gd name="connsiteX993" fmla="*/ 5710266 w 8023328"/>
              <a:gd name="connsiteY993" fmla="*/ 1153888 h 2380521"/>
              <a:gd name="connsiteX994" fmla="*/ 5724122 w 8023328"/>
              <a:gd name="connsiteY994" fmla="*/ 1140032 h 2380521"/>
              <a:gd name="connsiteX995" fmla="*/ 5653291 w 8023328"/>
              <a:gd name="connsiteY995" fmla="*/ 1140032 h 2380521"/>
              <a:gd name="connsiteX996" fmla="*/ 5665688 w 8023328"/>
              <a:gd name="connsiteY996" fmla="*/ 1153888 h 2380521"/>
              <a:gd name="connsiteX997" fmla="*/ 5653291 w 8023328"/>
              <a:gd name="connsiteY997" fmla="*/ 1166286 h 2380521"/>
              <a:gd name="connsiteX998" fmla="*/ 5639435 w 8023328"/>
              <a:gd name="connsiteY998" fmla="*/ 1153888 h 2380521"/>
              <a:gd name="connsiteX999" fmla="*/ 5653291 w 8023328"/>
              <a:gd name="connsiteY999" fmla="*/ 1140032 h 2380521"/>
              <a:gd name="connsiteX1000" fmla="*/ 5581002 w 8023328"/>
              <a:gd name="connsiteY1000" fmla="*/ 1140032 h 2380521"/>
              <a:gd name="connsiteX1001" fmla="*/ 5594858 w 8023328"/>
              <a:gd name="connsiteY1001" fmla="*/ 1153888 h 2380521"/>
              <a:gd name="connsiteX1002" fmla="*/ 5581002 w 8023328"/>
              <a:gd name="connsiteY1002" fmla="*/ 1166286 h 2380521"/>
              <a:gd name="connsiteX1003" fmla="*/ 5568605 w 8023328"/>
              <a:gd name="connsiteY1003" fmla="*/ 1153888 h 2380521"/>
              <a:gd name="connsiteX1004" fmla="*/ 5581002 w 8023328"/>
              <a:gd name="connsiteY1004" fmla="*/ 1140032 h 2380521"/>
              <a:gd name="connsiteX1005" fmla="*/ 5510171 w 8023328"/>
              <a:gd name="connsiteY1005" fmla="*/ 1140032 h 2380521"/>
              <a:gd name="connsiteX1006" fmla="*/ 5524027 w 8023328"/>
              <a:gd name="connsiteY1006" fmla="*/ 1153888 h 2380521"/>
              <a:gd name="connsiteX1007" fmla="*/ 5510171 w 8023328"/>
              <a:gd name="connsiteY1007" fmla="*/ 1166286 h 2380521"/>
              <a:gd name="connsiteX1008" fmla="*/ 5497774 w 8023328"/>
              <a:gd name="connsiteY1008" fmla="*/ 1153888 h 2380521"/>
              <a:gd name="connsiteX1009" fmla="*/ 5510171 w 8023328"/>
              <a:gd name="connsiteY1009" fmla="*/ 1140032 h 2380521"/>
              <a:gd name="connsiteX1010" fmla="*/ 5438937 w 8023328"/>
              <a:gd name="connsiteY1010" fmla="*/ 1140032 h 2380521"/>
              <a:gd name="connsiteX1011" fmla="*/ 5453178 w 8023328"/>
              <a:gd name="connsiteY1011" fmla="*/ 1153888 h 2380521"/>
              <a:gd name="connsiteX1012" fmla="*/ 5438937 w 8023328"/>
              <a:gd name="connsiteY1012" fmla="*/ 1166286 h 2380521"/>
              <a:gd name="connsiteX1013" fmla="*/ 5426945 w 8023328"/>
              <a:gd name="connsiteY1013" fmla="*/ 1153888 h 2380521"/>
              <a:gd name="connsiteX1014" fmla="*/ 5438937 w 8023328"/>
              <a:gd name="connsiteY1014" fmla="*/ 1140032 h 2380521"/>
              <a:gd name="connsiteX1015" fmla="*/ 5367530 w 8023328"/>
              <a:gd name="connsiteY1015" fmla="*/ 1140032 h 2380521"/>
              <a:gd name="connsiteX1016" fmla="*/ 5382318 w 8023328"/>
              <a:gd name="connsiteY1016" fmla="*/ 1153888 h 2380521"/>
              <a:gd name="connsiteX1017" fmla="*/ 5367530 w 8023328"/>
              <a:gd name="connsiteY1017" fmla="*/ 1166286 h 2380521"/>
              <a:gd name="connsiteX1018" fmla="*/ 5352742 w 8023328"/>
              <a:gd name="connsiteY1018" fmla="*/ 1153888 h 2380521"/>
              <a:gd name="connsiteX1019" fmla="*/ 5367530 w 8023328"/>
              <a:gd name="connsiteY1019" fmla="*/ 1140032 h 2380521"/>
              <a:gd name="connsiteX1020" fmla="*/ 5296699 w 8023328"/>
              <a:gd name="connsiteY1020" fmla="*/ 1140032 h 2380521"/>
              <a:gd name="connsiteX1021" fmla="*/ 5311488 w 8023328"/>
              <a:gd name="connsiteY1021" fmla="*/ 1153888 h 2380521"/>
              <a:gd name="connsiteX1022" fmla="*/ 5296699 w 8023328"/>
              <a:gd name="connsiteY1022" fmla="*/ 1166286 h 2380521"/>
              <a:gd name="connsiteX1023" fmla="*/ 5281910 w 8023328"/>
              <a:gd name="connsiteY1023" fmla="*/ 1153888 h 2380521"/>
              <a:gd name="connsiteX1024" fmla="*/ 5296699 w 8023328"/>
              <a:gd name="connsiteY1024" fmla="*/ 1140032 h 2380521"/>
              <a:gd name="connsiteX1025" fmla="*/ 5225869 w 8023328"/>
              <a:gd name="connsiteY1025" fmla="*/ 1140032 h 2380521"/>
              <a:gd name="connsiteX1026" fmla="*/ 5240657 w 8023328"/>
              <a:gd name="connsiteY1026" fmla="*/ 1153888 h 2380521"/>
              <a:gd name="connsiteX1027" fmla="*/ 5225869 w 8023328"/>
              <a:gd name="connsiteY1027" fmla="*/ 1166286 h 2380521"/>
              <a:gd name="connsiteX1028" fmla="*/ 5211081 w 8023328"/>
              <a:gd name="connsiteY1028" fmla="*/ 1153888 h 2380521"/>
              <a:gd name="connsiteX1029" fmla="*/ 5225869 w 8023328"/>
              <a:gd name="connsiteY1029" fmla="*/ 1140032 h 2380521"/>
              <a:gd name="connsiteX1030" fmla="*/ 5154105 w 8023328"/>
              <a:gd name="connsiteY1030" fmla="*/ 1140032 h 2380521"/>
              <a:gd name="connsiteX1031" fmla="*/ 5166502 w 8023328"/>
              <a:gd name="connsiteY1031" fmla="*/ 1154821 h 2380521"/>
              <a:gd name="connsiteX1032" fmla="*/ 5154105 w 8023328"/>
              <a:gd name="connsiteY1032" fmla="*/ 1169610 h 2380521"/>
              <a:gd name="connsiteX1033" fmla="*/ 5140249 w 8023328"/>
              <a:gd name="connsiteY1033" fmla="*/ 1154821 h 2380521"/>
              <a:gd name="connsiteX1034" fmla="*/ 5154105 w 8023328"/>
              <a:gd name="connsiteY1034" fmla="*/ 1140032 h 2380521"/>
              <a:gd name="connsiteX1035" fmla="*/ 5083276 w 8023328"/>
              <a:gd name="connsiteY1035" fmla="*/ 1140032 h 2380521"/>
              <a:gd name="connsiteX1036" fmla="*/ 5095673 w 8023328"/>
              <a:gd name="connsiteY1036" fmla="*/ 1154821 h 2380521"/>
              <a:gd name="connsiteX1037" fmla="*/ 5083276 w 8023328"/>
              <a:gd name="connsiteY1037" fmla="*/ 1169610 h 2380521"/>
              <a:gd name="connsiteX1038" fmla="*/ 5069420 w 8023328"/>
              <a:gd name="connsiteY1038" fmla="*/ 1154821 h 2380521"/>
              <a:gd name="connsiteX1039" fmla="*/ 5083276 w 8023328"/>
              <a:gd name="connsiteY1039" fmla="*/ 1140032 h 2380521"/>
              <a:gd name="connsiteX1040" fmla="*/ 5012445 w 8023328"/>
              <a:gd name="connsiteY1040" fmla="*/ 1140032 h 2380521"/>
              <a:gd name="connsiteX1041" fmla="*/ 5024842 w 8023328"/>
              <a:gd name="connsiteY1041" fmla="*/ 1154821 h 2380521"/>
              <a:gd name="connsiteX1042" fmla="*/ 5012445 w 8023328"/>
              <a:gd name="connsiteY1042" fmla="*/ 1169610 h 2380521"/>
              <a:gd name="connsiteX1043" fmla="*/ 4998589 w 8023328"/>
              <a:gd name="connsiteY1043" fmla="*/ 1154821 h 2380521"/>
              <a:gd name="connsiteX1044" fmla="*/ 5012445 w 8023328"/>
              <a:gd name="connsiteY1044" fmla="*/ 1140032 h 2380521"/>
              <a:gd name="connsiteX1045" fmla="*/ 4940157 w 8023328"/>
              <a:gd name="connsiteY1045" fmla="*/ 1140032 h 2380521"/>
              <a:gd name="connsiteX1046" fmla="*/ 4954013 w 8023328"/>
              <a:gd name="connsiteY1046" fmla="*/ 1154821 h 2380521"/>
              <a:gd name="connsiteX1047" fmla="*/ 4940157 w 8023328"/>
              <a:gd name="connsiteY1047" fmla="*/ 1169610 h 2380521"/>
              <a:gd name="connsiteX1048" fmla="*/ 4927760 w 8023328"/>
              <a:gd name="connsiteY1048" fmla="*/ 1154821 h 2380521"/>
              <a:gd name="connsiteX1049" fmla="*/ 4940157 w 8023328"/>
              <a:gd name="connsiteY1049" fmla="*/ 1140032 h 2380521"/>
              <a:gd name="connsiteX1050" fmla="*/ 4865953 w 8023328"/>
              <a:gd name="connsiteY1050" fmla="*/ 1140032 h 2380521"/>
              <a:gd name="connsiteX1051" fmla="*/ 4879809 w 8023328"/>
              <a:gd name="connsiteY1051" fmla="*/ 1154821 h 2380521"/>
              <a:gd name="connsiteX1052" fmla="*/ 4865953 w 8023328"/>
              <a:gd name="connsiteY1052" fmla="*/ 1169610 h 2380521"/>
              <a:gd name="connsiteX1053" fmla="*/ 4853556 w 8023328"/>
              <a:gd name="connsiteY1053" fmla="*/ 1154821 h 2380521"/>
              <a:gd name="connsiteX1054" fmla="*/ 4865953 w 8023328"/>
              <a:gd name="connsiteY1054" fmla="*/ 1140032 h 2380521"/>
              <a:gd name="connsiteX1055" fmla="*/ 4795122 w 8023328"/>
              <a:gd name="connsiteY1055" fmla="*/ 1140032 h 2380521"/>
              <a:gd name="connsiteX1056" fmla="*/ 4808978 w 8023328"/>
              <a:gd name="connsiteY1056" fmla="*/ 1154821 h 2380521"/>
              <a:gd name="connsiteX1057" fmla="*/ 4795122 w 8023328"/>
              <a:gd name="connsiteY1057" fmla="*/ 1169610 h 2380521"/>
              <a:gd name="connsiteX1058" fmla="*/ 4782725 w 8023328"/>
              <a:gd name="connsiteY1058" fmla="*/ 1154821 h 2380521"/>
              <a:gd name="connsiteX1059" fmla="*/ 4795122 w 8023328"/>
              <a:gd name="connsiteY1059" fmla="*/ 1140032 h 2380521"/>
              <a:gd name="connsiteX1060" fmla="*/ 4726684 w 8023328"/>
              <a:gd name="connsiteY1060" fmla="*/ 1140032 h 2380521"/>
              <a:gd name="connsiteX1061" fmla="*/ 4741472 w 8023328"/>
              <a:gd name="connsiteY1061" fmla="*/ 1154821 h 2380521"/>
              <a:gd name="connsiteX1062" fmla="*/ 4726684 w 8023328"/>
              <a:gd name="connsiteY1062" fmla="*/ 1169610 h 2380521"/>
              <a:gd name="connsiteX1063" fmla="*/ 4711896 w 8023328"/>
              <a:gd name="connsiteY1063" fmla="*/ 1154821 h 2380521"/>
              <a:gd name="connsiteX1064" fmla="*/ 4726684 w 8023328"/>
              <a:gd name="connsiteY1064" fmla="*/ 1140032 h 2380521"/>
              <a:gd name="connsiteX1065" fmla="*/ 4655853 w 8023328"/>
              <a:gd name="connsiteY1065" fmla="*/ 1140032 h 2380521"/>
              <a:gd name="connsiteX1066" fmla="*/ 4670642 w 8023328"/>
              <a:gd name="connsiteY1066" fmla="*/ 1154821 h 2380521"/>
              <a:gd name="connsiteX1067" fmla="*/ 4655853 w 8023328"/>
              <a:gd name="connsiteY1067" fmla="*/ 1169610 h 2380521"/>
              <a:gd name="connsiteX1068" fmla="*/ 4641064 w 8023328"/>
              <a:gd name="connsiteY1068" fmla="*/ 1154821 h 2380521"/>
              <a:gd name="connsiteX1069" fmla="*/ 4655853 w 8023328"/>
              <a:gd name="connsiteY1069" fmla="*/ 1140032 h 2380521"/>
              <a:gd name="connsiteX1070" fmla="*/ 4585023 w 8023328"/>
              <a:gd name="connsiteY1070" fmla="*/ 1140032 h 2380521"/>
              <a:gd name="connsiteX1071" fmla="*/ 4599811 w 8023328"/>
              <a:gd name="connsiteY1071" fmla="*/ 1154821 h 2380521"/>
              <a:gd name="connsiteX1072" fmla="*/ 4585023 w 8023328"/>
              <a:gd name="connsiteY1072" fmla="*/ 1169610 h 2380521"/>
              <a:gd name="connsiteX1073" fmla="*/ 4570235 w 8023328"/>
              <a:gd name="connsiteY1073" fmla="*/ 1154821 h 2380521"/>
              <a:gd name="connsiteX1074" fmla="*/ 4585023 w 8023328"/>
              <a:gd name="connsiteY1074" fmla="*/ 1140032 h 2380521"/>
              <a:gd name="connsiteX1075" fmla="*/ 4513260 w 8023328"/>
              <a:gd name="connsiteY1075" fmla="*/ 1140032 h 2380521"/>
              <a:gd name="connsiteX1076" fmla="*/ 4525657 w 8023328"/>
              <a:gd name="connsiteY1076" fmla="*/ 1154821 h 2380521"/>
              <a:gd name="connsiteX1077" fmla="*/ 4513260 w 8023328"/>
              <a:gd name="connsiteY1077" fmla="*/ 1169610 h 2380521"/>
              <a:gd name="connsiteX1078" fmla="*/ 4499404 w 8023328"/>
              <a:gd name="connsiteY1078" fmla="*/ 1154821 h 2380521"/>
              <a:gd name="connsiteX1079" fmla="*/ 4513260 w 8023328"/>
              <a:gd name="connsiteY1079" fmla="*/ 1140032 h 2380521"/>
              <a:gd name="connsiteX1080" fmla="*/ 4439056 w 8023328"/>
              <a:gd name="connsiteY1080" fmla="*/ 1140032 h 2380521"/>
              <a:gd name="connsiteX1081" fmla="*/ 4451453 w 8023328"/>
              <a:gd name="connsiteY1081" fmla="*/ 1154821 h 2380521"/>
              <a:gd name="connsiteX1082" fmla="*/ 4439056 w 8023328"/>
              <a:gd name="connsiteY1082" fmla="*/ 1169610 h 2380521"/>
              <a:gd name="connsiteX1083" fmla="*/ 4425200 w 8023328"/>
              <a:gd name="connsiteY1083" fmla="*/ 1154821 h 2380521"/>
              <a:gd name="connsiteX1084" fmla="*/ 4439056 w 8023328"/>
              <a:gd name="connsiteY1084" fmla="*/ 1140032 h 2380521"/>
              <a:gd name="connsiteX1085" fmla="*/ 4366768 w 8023328"/>
              <a:gd name="connsiteY1085" fmla="*/ 1140032 h 2380521"/>
              <a:gd name="connsiteX1086" fmla="*/ 4380624 w 8023328"/>
              <a:gd name="connsiteY1086" fmla="*/ 1154821 h 2380521"/>
              <a:gd name="connsiteX1087" fmla="*/ 4366768 w 8023328"/>
              <a:gd name="connsiteY1087" fmla="*/ 1169610 h 2380521"/>
              <a:gd name="connsiteX1088" fmla="*/ 4354371 w 8023328"/>
              <a:gd name="connsiteY1088" fmla="*/ 1154821 h 2380521"/>
              <a:gd name="connsiteX1089" fmla="*/ 4366768 w 8023328"/>
              <a:gd name="connsiteY1089" fmla="*/ 1140032 h 2380521"/>
              <a:gd name="connsiteX1090" fmla="*/ 4295937 w 8023328"/>
              <a:gd name="connsiteY1090" fmla="*/ 1140032 h 2380521"/>
              <a:gd name="connsiteX1091" fmla="*/ 4309793 w 8023328"/>
              <a:gd name="connsiteY1091" fmla="*/ 1154821 h 2380521"/>
              <a:gd name="connsiteX1092" fmla="*/ 4295937 w 8023328"/>
              <a:gd name="connsiteY1092" fmla="*/ 1169610 h 2380521"/>
              <a:gd name="connsiteX1093" fmla="*/ 4283540 w 8023328"/>
              <a:gd name="connsiteY1093" fmla="*/ 1154821 h 2380521"/>
              <a:gd name="connsiteX1094" fmla="*/ 4295937 w 8023328"/>
              <a:gd name="connsiteY1094" fmla="*/ 1140032 h 2380521"/>
              <a:gd name="connsiteX1095" fmla="*/ 4225107 w 8023328"/>
              <a:gd name="connsiteY1095" fmla="*/ 1140032 h 2380521"/>
              <a:gd name="connsiteX1096" fmla="*/ 4238963 w 8023328"/>
              <a:gd name="connsiteY1096" fmla="*/ 1154821 h 2380521"/>
              <a:gd name="connsiteX1097" fmla="*/ 4225107 w 8023328"/>
              <a:gd name="connsiteY1097" fmla="*/ 1169610 h 2380521"/>
              <a:gd name="connsiteX1098" fmla="*/ 4212710 w 8023328"/>
              <a:gd name="connsiteY1098" fmla="*/ 1154821 h 2380521"/>
              <a:gd name="connsiteX1099" fmla="*/ 4225107 w 8023328"/>
              <a:gd name="connsiteY1099" fmla="*/ 1140032 h 2380521"/>
              <a:gd name="connsiteX1100" fmla="*/ 4153295 w 8023328"/>
              <a:gd name="connsiteY1100" fmla="*/ 1140032 h 2380521"/>
              <a:gd name="connsiteX1101" fmla="*/ 4168083 w 8023328"/>
              <a:gd name="connsiteY1101" fmla="*/ 1154821 h 2380521"/>
              <a:gd name="connsiteX1102" fmla="*/ 4153295 w 8023328"/>
              <a:gd name="connsiteY1102" fmla="*/ 1169610 h 2380521"/>
              <a:gd name="connsiteX1103" fmla="*/ 4138507 w 8023328"/>
              <a:gd name="connsiteY1103" fmla="*/ 1154821 h 2380521"/>
              <a:gd name="connsiteX1104" fmla="*/ 4153295 w 8023328"/>
              <a:gd name="connsiteY1104" fmla="*/ 1140032 h 2380521"/>
              <a:gd name="connsiteX1105" fmla="*/ 4082465 w 8023328"/>
              <a:gd name="connsiteY1105" fmla="*/ 1140032 h 2380521"/>
              <a:gd name="connsiteX1106" fmla="*/ 4097254 w 8023328"/>
              <a:gd name="connsiteY1106" fmla="*/ 1154821 h 2380521"/>
              <a:gd name="connsiteX1107" fmla="*/ 4082465 w 8023328"/>
              <a:gd name="connsiteY1107" fmla="*/ 1169610 h 2380521"/>
              <a:gd name="connsiteX1108" fmla="*/ 4067676 w 8023328"/>
              <a:gd name="connsiteY1108" fmla="*/ 1154821 h 2380521"/>
              <a:gd name="connsiteX1109" fmla="*/ 4082465 w 8023328"/>
              <a:gd name="connsiteY1109" fmla="*/ 1140032 h 2380521"/>
              <a:gd name="connsiteX1110" fmla="*/ 439789 w 8023328"/>
              <a:gd name="connsiteY1110" fmla="*/ 1140032 h 2380521"/>
              <a:gd name="connsiteX1111" fmla="*/ 454579 w 8023328"/>
              <a:gd name="connsiteY1111" fmla="*/ 1153888 h 2380521"/>
              <a:gd name="connsiteX1112" fmla="*/ 439789 w 8023328"/>
              <a:gd name="connsiteY1112" fmla="*/ 1166286 h 2380521"/>
              <a:gd name="connsiteX1113" fmla="*/ 425001 w 8023328"/>
              <a:gd name="connsiteY1113" fmla="*/ 1153888 h 2380521"/>
              <a:gd name="connsiteX1114" fmla="*/ 439789 w 8023328"/>
              <a:gd name="connsiteY1114" fmla="*/ 1140032 h 2380521"/>
              <a:gd name="connsiteX1115" fmla="*/ 368960 w 8023328"/>
              <a:gd name="connsiteY1115" fmla="*/ 1140032 h 2380521"/>
              <a:gd name="connsiteX1116" fmla="*/ 383747 w 8023328"/>
              <a:gd name="connsiteY1116" fmla="*/ 1153888 h 2380521"/>
              <a:gd name="connsiteX1117" fmla="*/ 368960 w 8023328"/>
              <a:gd name="connsiteY1117" fmla="*/ 1166286 h 2380521"/>
              <a:gd name="connsiteX1118" fmla="*/ 354172 w 8023328"/>
              <a:gd name="connsiteY1118" fmla="*/ 1153888 h 2380521"/>
              <a:gd name="connsiteX1119" fmla="*/ 368960 w 8023328"/>
              <a:gd name="connsiteY1119" fmla="*/ 1140032 h 2380521"/>
              <a:gd name="connsiteX1120" fmla="*/ 297194 w 8023328"/>
              <a:gd name="connsiteY1120" fmla="*/ 1140032 h 2380521"/>
              <a:gd name="connsiteX1121" fmla="*/ 309592 w 8023328"/>
              <a:gd name="connsiteY1121" fmla="*/ 1153888 h 2380521"/>
              <a:gd name="connsiteX1122" fmla="*/ 297194 w 8023328"/>
              <a:gd name="connsiteY1122" fmla="*/ 1166286 h 2380521"/>
              <a:gd name="connsiteX1123" fmla="*/ 283339 w 8023328"/>
              <a:gd name="connsiteY1123" fmla="*/ 1153888 h 2380521"/>
              <a:gd name="connsiteX1124" fmla="*/ 297194 w 8023328"/>
              <a:gd name="connsiteY1124" fmla="*/ 1140032 h 2380521"/>
              <a:gd name="connsiteX1125" fmla="*/ 226366 w 8023328"/>
              <a:gd name="connsiteY1125" fmla="*/ 1140032 h 2380521"/>
              <a:gd name="connsiteX1126" fmla="*/ 238764 w 8023328"/>
              <a:gd name="connsiteY1126" fmla="*/ 1153888 h 2380521"/>
              <a:gd name="connsiteX1127" fmla="*/ 226366 w 8023328"/>
              <a:gd name="connsiteY1127" fmla="*/ 1166286 h 2380521"/>
              <a:gd name="connsiteX1128" fmla="*/ 212510 w 8023328"/>
              <a:gd name="connsiteY1128" fmla="*/ 1153888 h 2380521"/>
              <a:gd name="connsiteX1129" fmla="*/ 226366 w 8023328"/>
              <a:gd name="connsiteY1129" fmla="*/ 1140032 h 2380521"/>
              <a:gd name="connsiteX1130" fmla="*/ 155532 w 8023328"/>
              <a:gd name="connsiteY1130" fmla="*/ 1140032 h 2380521"/>
              <a:gd name="connsiteX1131" fmla="*/ 167930 w 8023328"/>
              <a:gd name="connsiteY1131" fmla="*/ 1153888 h 2380521"/>
              <a:gd name="connsiteX1132" fmla="*/ 155532 w 8023328"/>
              <a:gd name="connsiteY1132" fmla="*/ 1166286 h 2380521"/>
              <a:gd name="connsiteX1133" fmla="*/ 141676 w 8023328"/>
              <a:gd name="connsiteY1133" fmla="*/ 1153888 h 2380521"/>
              <a:gd name="connsiteX1134" fmla="*/ 155532 w 8023328"/>
              <a:gd name="connsiteY1134" fmla="*/ 1140032 h 2380521"/>
              <a:gd name="connsiteX1135" fmla="*/ 83244 w 8023328"/>
              <a:gd name="connsiteY1135" fmla="*/ 1140032 h 2380521"/>
              <a:gd name="connsiteX1136" fmla="*/ 97100 w 8023328"/>
              <a:gd name="connsiteY1136" fmla="*/ 1153888 h 2380521"/>
              <a:gd name="connsiteX1137" fmla="*/ 83244 w 8023328"/>
              <a:gd name="connsiteY1137" fmla="*/ 1166286 h 2380521"/>
              <a:gd name="connsiteX1138" fmla="*/ 70846 w 8023328"/>
              <a:gd name="connsiteY1138" fmla="*/ 1153888 h 2380521"/>
              <a:gd name="connsiteX1139" fmla="*/ 83244 w 8023328"/>
              <a:gd name="connsiteY1139" fmla="*/ 1140032 h 2380521"/>
              <a:gd name="connsiteX1140" fmla="*/ 12008 w 8023328"/>
              <a:gd name="connsiteY1140" fmla="*/ 1140032 h 2380521"/>
              <a:gd name="connsiteX1141" fmla="*/ 26249 w 8023328"/>
              <a:gd name="connsiteY1141" fmla="*/ 1153888 h 2380521"/>
              <a:gd name="connsiteX1142" fmla="*/ 12008 w 8023328"/>
              <a:gd name="connsiteY1142" fmla="*/ 1166286 h 2380521"/>
              <a:gd name="connsiteX1143" fmla="*/ 16 w 8023328"/>
              <a:gd name="connsiteY1143" fmla="*/ 1153888 h 2380521"/>
              <a:gd name="connsiteX1144" fmla="*/ 12008 w 8023328"/>
              <a:gd name="connsiteY1144" fmla="*/ 1140032 h 2380521"/>
              <a:gd name="connsiteX1145" fmla="*/ 6867525 w 8023328"/>
              <a:gd name="connsiteY1145" fmla="*/ 1069203 h 2380521"/>
              <a:gd name="connsiteX1146" fmla="*/ 6879922 w 8023328"/>
              <a:gd name="connsiteY1146" fmla="*/ 1081600 h 2380521"/>
              <a:gd name="connsiteX1147" fmla="*/ 6867525 w 8023328"/>
              <a:gd name="connsiteY1147" fmla="*/ 1095457 h 2380521"/>
              <a:gd name="connsiteX1148" fmla="*/ 6853669 w 8023328"/>
              <a:gd name="connsiteY1148" fmla="*/ 1081600 h 2380521"/>
              <a:gd name="connsiteX1149" fmla="*/ 6867525 w 8023328"/>
              <a:gd name="connsiteY1149" fmla="*/ 1069203 h 2380521"/>
              <a:gd name="connsiteX1150" fmla="*/ 6795237 w 8023328"/>
              <a:gd name="connsiteY1150" fmla="*/ 1069203 h 2380521"/>
              <a:gd name="connsiteX1151" fmla="*/ 6809093 w 8023328"/>
              <a:gd name="connsiteY1151" fmla="*/ 1081600 h 2380521"/>
              <a:gd name="connsiteX1152" fmla="*/ 6796696 w 8023328"/>
              <a:gd name="connsiteY1152" fmla="*/ 1095457 h 2380521"/>
              <a:gd name="connsiteX1153" fmla="*/ 6782840 w 8023328"/>
              <a:gd name="connsiteY1153" fmla="*/ 1081600 h 2380521"/>
              <a:gd name="connsiteX1154" fmla="*/ 6795237 w 8023328"/>
              <a:gd name="connsiteY1154" fmla="*/ 1069203 h 2380521"/>
              <a:gd name="connsiteX1155" fmla="*/ 6724405 w 8023328"/>
              <a:gd name="connsiteY1155" fmla="*/ 1069203 h 2380521"/>
              <a:gd name="connsiteX1156" fmla="*/ 6738261 w 8023328"/>
              <a:gd name="connsiteY1156" fmla="*/ 1081600 h 2380521"/>
              <a:gd name="connsiteX1157" fmla="*/ 6724405 w 8023328"/>
              <a:gd name="connsiteY1157" fmla="*/ 1095457 h 2380521"/>
              <a:gd name="connsiteX1158" fmla="*/ 6712008 w 8023328"/>
              <a:gd name="connsiteY1158" fmla="*/ 1081600 h 2380521"/>
              <a:gd name="connsiteX1159" fmla="*/ 6724405 w 8023328"/>
              <a:gd name="connsiteY1159" fmla="*/ 1069203 h 2380521"/>
              <a:gd name="connsiteX1160" fmla="*/ 6653576 w 8023328"/>
              <a:gd name="connsiteY1160" fmla="*/ 1069203 h 2380521"/>
              <a:gd name="connsiteX1161" fmla="*/ 6667432 w 8023328"/>
              <a:gd name="connsiteY1161" fmla="*/ 1081600 h 2380521"/>
              <a:gd name="connsiteX1162" fmla="*/ 6653576 w 8023328"/>
              <a:gd name="connsiteY1162" fmla="*/ 1095457 h 2380521"/>
              <a:gd name="connsiteX1163" fmla="*/ 6641179 w 8023328"/>
              <a:gd name="connsiteY1163" fmla="*/ 1081600 h 2380521"/>
              <a:gd name="connsiteX1164" fmla="*/ 6653576 w 8023328"/>
              <a:gd name="connsiteY1164" fmla="*/ 1069203 h 2380521"/>
              <a:gd name="connsiteX1165" fmla="*/ 6581764 w 8023328"/>
              <a:gd name="connsiteY1165" fmla="*/ 1069203 h 2380521"/>
              <a:gd name="connsiteX1166" fmla="*/ 6596552 w 8023328"/>
              <a:gd name="connsiteY1166" fmla="*/ 1081600 h 2380521"/>
              <a:gd name="connsiteX1167" fmla="*/ 6581764 w 8023328"/>
              <a:gd name="connsiteY1167" fmla="*/ 1095457 h 2380521"/>
              <a:gd name="connsiteX1168" fmla="*/ 6566976 w 8023328"/>
              <a:gd name="connsiteY1168" fmla="*/ 1081600 h 2380521"/>
              <a:gd name="connsiteX1169" fmla="*/ 6581764 w 8023328"/>
              <a:gd name="connsiteY1169" fmla="*/ 1069203 h 2380521"/>
              <a:gd name="connsiteX1170" fmla="*/ 6510933 w 8023328"/>
              <a:gd name="connsiteY1170" fmla="*/ 1069203 h 2380521"/>
              <a:gd name="connsiteX1171" fmla="*/ 6525722 w 8023328"/>
              <a:gd name="connsiteY1171" fmla="*/ 1081600 h 2380521"/>
              <a:gd name="connsiteX1172" fmla="*/ 6510933 w 8023328"/>
              <a:gd name="connsiteY1172" fmla="*/ 1095457 h 2380521"/>
              <a:gd name="connsiteX1173" fmla="*/ 6496144 w 8023328"/>
              <a:gd name="connsiteY1173" fmla="*/ 1081600 h 2380521"/>
              <a:gd name="connsiteX1174" fmla="*/ 6510933 w 8023328"/>
              <a:gd name="connsiteY1174" fmla="*/ 1069203 h 2380521"/>
              <a:gd name="connsiteX1175" fmla="*/ 6440492 w 8023328"/>
              <a:gd name="connsiteY1175" fmla="*/ 1069203 h 2380521"/>
              <a:gd name="connsiteX1176" fmla="*/ 6454911 w 8023328"/>
              <a:gd name="connsiteY1176" fmla="*/ 1081600 h 2380521"/>
              <a:gd name="connsiteX1177" fmla="*/ 6440492 w 8023328"/>
              <a:gd name="connsiteY1177" fmla="*/ 1095457 h 2380521"/>
              <a:gd name="connsiteX1178" fmla="*/ 6425315 w 8023328"/>
              <a:gd name="connsiteY1178" fmla="*/ 1081600 h 2380521"/>
              <a:gd name="connsiteX1179" fmla="*/ 6440492 w 8023328"/>
              <a:gd name="connsiteY1179" fmla="*/ 1069203 h 2380521"/>
              <a:gd name="connsiteX1180" fmla="*/ 6368340 w 8023328"/>
              <a:gd name="connsiteY1180" fmla="*/ 1069203 h 2380521"/>
              <a:gd name="connsiteX1181" fmla="*/ 6380737 w 8023328"/>
              <a:gd name="connsiteY1181" fmla="*/ 1081600 h 2380521"/>
              <a:gd name="connsiteX1182" fmla="*/ 6368340 w 8023328"/>
              <a:gd name="connsiteY1182" fmla="*/ 1095457 h 2380521"/>
              <a:gd name="connsiteX1183" fmla="*/ 6354484 w 8023328"/>
              <a:gd name="connsiteY1183" fmla="*/ 1081600 h 2380521"/>
              <a:gd name="connsiteX1184" fmla="*/ 6368340 w 8023328"/>
              <a:gd name="connsiteY1184" fmla="*/ 1069203 h 2380521"/>
              <a:gd name="connsiteX1185" fmla="*/ 6297511 w 8023328"/>
              <a:gd name="connsiteY1185" fmla="*/ 1069203 h 2380521"/>
              <a:gd name="connsiteX1186" fmla="*/ 6309908 w 8023328"/>
              <a:gd name="connsiteY1186" fmla="*/ 1081600 h 2380521"/>
              <a:gd name="connsiteX1187" fmla="*/ 6297511 w 8023328"/>
              <a:gd name="connsiteY1187" fmla="*/ 1095457 h 2380521"/>
              <a:gd name="connsiteX1188" fmla="*/ 6283655 w 8023328"/>
              <a:gd name="connsiteY1188" fmla="*/ 1081600 h 2380521"/>
              <a:gd name="connsiteX1189" fmla="*/ 6297511 w 8023328"/>
              <a:gd name="connsiteY1189" fmla="*/ 1069203 h 2380521"/>
              <a:gd name="connsiteX1190" fmla="*/ 6226679 w 8023328"/>
              <a:gd name="connsiteY1190" fmla="*/ 1069203 h 2380521"/>
              <a:gd name="connsiteX1191" fmla="*/ 6239076 w 8023328"/>
              <a:gd name="connsiteY1191" fmla="*/ 1081600 h 2380521"/>
              <a:gd name="connsiteX1192" fmla="*/ 6226679 w 8023328"/>
              <a:gd name="connsiteY1192" fmla="*/ 1095457 h 2380521"/>
              <a:gd name="connsiteX1193" fmla="*/ 6212823 w 8023328"/>
              <a:gd name="connsiteY1193" fmla="*/ 1083059 h 2380521"/>
              <a:gd name="connsiteX1194" fmla="*/ 6226679 w 8023328"/>
              <a:gd name="connsiteY1194" fmla="*/ 1069203 h 2380521"/>
              <a:gd name="connsiteX1195" fmla="*/ 6154391 w 8023328"/>
              <a:gd name="connsiteY1195" fmla="*/ 1069203 h 2380521"/>
              <a:gd name="connsiteX1196" fmla="*/ 6168247 w 8023328"/>
              <a:gd name="connsiteY1196" fmla="*/ 1083059 h 2380521"/>
              <a:gd name="connsiteX1197" fmla="*/ 6154391 w 8023328"/>
              <a:gd name="connsiteY1197" fmla="*/ 1095457 h 2380521"/>
              <a:gd name="connsiteX1198" fmla="*/ 6141994 w 8023328"/>
              <a:gd name="connsiteY1198" fmla="*/ 1083059 h 2380521"/>
              <a:gd name="connsiteX1199" fmla="*/ 6154391 w 8023328"/>
              <a:gd name="connsiteY1199" fmla="*/ 1069203 h 2380521"/>
              <a:gd name="connsiteX1200" fmla="*/ 6083559 w 8023328"/>
              <a:gd name="connsiteY1200" fmla="*/ 1069203 h 2380521"/>
              <a:gd name="connsiteX1201" fmla="*/ 6097415 w 8023328"/>
              <a:gd name="connsiteY1201" fmla="*/ 1083059 h 2380521"/>
              <a:gd name="connsiteX1202" fmla="*/ 6083559 w 8023328"/>
              <a:gd name="connsiteY1202" fmla="*/ 1095457 h 2380521"/>
              <a:gd name="connsiteX1203" fmla="*/ 6071162 w 8023328"/>
              <a:gd name="connsiteY1203" fmla="*/ 1083059 h 2380521"/>
              <a:gd name="connsiteX1204" fmla="*/ 6083559 w 8023328"/>
              <a:gd name="connsiteY1204" fmla="*/ 1069203 h 2380521"/>
              <a:gd name="connsiteX1205" fmla="*/ 6009356 w 8023328"/>
              <a:gd name="connsiteY1205" fmla="*/ 1069203 h 2380521"/>
              <a:gd name="connsiteX1206" fmla="*/ 6023212 w 8023328"/>
              <a:gd name="connsiteY1206" fmla="*/ 1083059 h 2380521"/>
              <a:gd name="connsiteX1207" fmla="*/ 6009356 w 8023328"/>
              <a:gd name="connsiteY1207" fmla="*/ 1095457 h 2380521"/>
              <a:gd name="connsiteX1208" fmla="*/ 5996959 w 8023328"/>
              <a:gd name="connsiteY1208" fmla="*/ 1083059 h 2380521"/>
              <a:gd name="connsiteX1209" fmla="*/ 6009356 w 8023328"/>
              <a:gd name="connsiteY1209" fmla="*/ 1069203 h 2380521"/>
              <a:gd name="connsiteX1210" fmla="*/ 5940548 w 8023328"/>
              <a:gd name="connsiteY1210" fmla="*/ 1069203 h 2380521"/>
              <a:gd name="connsiteX1211" fmla="*/ 5955726 w 8023328"/>
              <a:gd name="connsiteY1211" fmla="*/ 1083059 h 2380521"/>
              <a:gd name="connsiteX1212" fmla="*/ 5940548 w 8023328"/>
              <a:gd name="connsiteY1212" fmla="*/ 1095457 h 2380521"/>
              <a:gd name="connsiteX1213" fmla="*/ 5926130 w 8023328"/>
              <a:gd name="connsiteY1213" fmla="*/ 1083059 h 2380521"/>
              <a:gd name="connsiteX1214" fmla="*/ 5940548 w 8023328"/>
              <a:gd name="connsiteY1214" fmla="*/ 1069203 h 2380521"/>
              <a:gd name="connsiteX1215" fmla="*/ 5870088 w 8023328"/>
              <a:gd name="connsiteY1215" fmla="*/ 1069203 h 2380521"/>
              <a:gd name="connsiteX1216" fmla="*/ 5884877 w 8023328"/>
              <a:gd name="connsiteY1216" fmla="*/ 1083059 h 2380521"/>
              <a:gd name="connsiteX1217" fmla="*/ 5870088 w 8023328"/>
              <a:gd name="connsiteY1217" fmla="*/ 1095457 h 2380521"/>
              <a:gd name="connsiteX1218" fmla="*/ 5855299 w 8023328"/>
              <a:gd name="connsiteY1218" fmla="*/ 1083059 h 2380521"/>
              <a:gd name="connsiteX1219" fmla="*/ 5870088 w 8023328"/>
              <a:gd name="connsiteY1219" fmla="*/ 1069203 h 2380521"/>
              <a:gd name="connsiteX1220" fmla="*/ 5799257 w 8023328"/>
              <a:gd name="connsiteY1220" fmla="*/ 1069203 h 2380521"/>
              <a:gd name="connsiteX1221" fmla="*/ 5814045 w 8023328"/>
              <a:gd name="connsiteY1221" fmla="*/ 1083059 h 2380521"/>
              <a:gd name="connsiteX1222" fmla="*/ 5799257 w 8023328"/>
              <a:gd name="connsiteY1222" fmla="*/ 1095457 h 2380521"/>
              <a:gd name="connsiteX1223" fmla="*/ 5784469 w 8023328"/>
              <a:gd name="connsiteY1223" fmla="*/ 1083059 h 2380521"/>
              <a:gd name="connsiteX1224" fmla="*/ 5799257 w 8023328"/>
              <a:gd name="connsiteY1224" fmla="*/ 1069203 h 2380521"/>
              <a:gd name="connsiteX1225" fmla="*/ 5724122 w 8023328"/>
              <a:gd name="connsiteY1225" fmla="*/ 1069203 h 2380521"/>
              <a:gd name="connsiteX1226" fmla="*/ 5736519 w 8023328"/>
              <a:gd name="connsiteY1226" fmla="*/ 1083059 h 2380521"/>
              <a:gd name="connsiteX1227" fmla="*/ 5724122 w 8023328"/>
              <a:gd name="connsiteY1227" fmla="*/ 1095457 h 2380521"/>
              <a:gd name="connsiteX1228" fmla="*/ 5710266 w 8023328"/>
              <a:gd name="connsiteY1228" fmla="*/ 1083059 h 2380521"/>
              <a:gd name="connsiteX1229" fmla="*/ 5724122 w 8023328"/>
              <a:gd name="connsiteY1229" fmla="*/ 1069203 h 2380521"/>
              <a:gd name="connsiteX1230" fmla="*/ 5653291 w 8023328"/>
              <a:gd name="connsiteY1230" fmla="*/ 1069203 h 2380521"/>
              <a:gd name="connsiteX1231" fmla="*/ 5665688 w 8023328"/>
              <a:gd name="connsiteY1231" fmla="*/ 1083059 h 2380521"/>
              <a:gd name="connsiteX1232" fmla="*/ 5653291 w 8023328"/>
              <a:gd name="connsiteY1232" fmla="*/ 1095457 h 2380521"/>
              <a:gd name="connsiteX1233" fmla="*/ 5639435 w 8023328"/>
              <a:gd name="connsiteY1233" fmla="*/ 1083059 h 2380521"/>
              <a:gd name="connsiteX1234" fmla="*/ 5653291 w 8023328"/>
              <a:gd name="connsiteY1234" fmla="*/ 1069203 h 2380521"/>
              <a:gd name="connsiteX1235" fmla="*/ 5581002 w 8023328"/>
              <a:gd name="connsiteY1235" fmla="*/ 1069203 h 2380521"/>
              <a:gd name="connsiteX1236" fmla="*/ 5594858 w 8023328"/>
              <a:gd name="connsiteY1236" fmla="*/ 1083059 h 2380521"/>
              <a:gd name="connsiteX1237" fmla="*/ 5581002 w 8023328"/>
              <a:gd name="connsiteY1237" fmla="*/ 1095457 h 2380521"/>
              <a:gd name="connsiteX1238" fmla="*/ 5568605 w 8023328"/>
              <a:gd name="connsiteY1238" fmla="*/ 1083059 h 2380521"/>
              <a:gd name="connsiteX1239" fmla="*/ 5581002 w 8023328"/>
              <a:gd name="connsiteY1239" fmla="*/ 1069203 h 2380521"/>
              <a:gd name="connsiteX1240" fmla="*/ 5510171 w 8023328"/>
              <a:gd name="connsiteY1240" fmla="*/ 1069203 h 2380521"/>
              <a:gd name="connsiteX1241" fmla="*/ 5524027 w 8023328"/>
              <a:gd name="connsiteY1241" fmla="*/ 1083059 h 2380521"/>
              <a:gd name="connsiteX1242" fmla="*/ 5510171 w 8023328"/>
              <a:gd name="connsiteY1242" fmla="*/ 1095457 h 2380521"/>
              <a:gd name="connsiteX1243" fmla="*/ 5497774 w 8023328"/>
              <a:gd name="connsiteY1243" fmla="*/ 1083059 h 2380521"/>
              <a:gd name="connsiteX1244" fmla="*/ 5510171 w 8023328"/>
              <a:gd name="connsiteY1244" fmla="*/ 1069203 h 2380521"/>
              <a:gd name="connsiteX1245" fmla="*/ 5438937 w 8023328"/>
              <a:gd name="connsiteY1245" fmla="*/ 1069203 h 2380521"/>
              <a:gd name="connsiteX1246" fmla="*/ 5453178 w 8023328"/>
              <a:gd name="connsiteY1246" fmla="*/ 1083059 h 2380521"/>
              <a:gd name="connsiteX1247" fmla="*/ 5438937 w 8023328"/>
              <a:gd name="connsiteY1247" fmla="*/ 1095457 h 2380521"/>
              <a:gd name="connsiteX1248" fmla="*/ 5426945 w 8023328"/>
              <a:gd name="connsiteY1248" fmla="*/ 1083059 h 2380521"/>
              <a:gd name="connsiteX1249" fmla="*/ 5438937 w 8023328"/>
              <a:gd name="connsiteY1249" fmla="*/ 1069203 h 2380521"/>
              <a:gd name="connsiteX1250" fmla="*/ 5367530 w 8023328"/>
              <a:gd name="connsiteY1250" fmla="*/ 1069203 h 2380521"/>
              <a:gd name="connsiteX1251" fmla="*/ 5382318 w 8023328"/>
              <a:gd name="connsiteY1251" fmla="*/ 1083059 h 2380521"/>
              <a:gd name="connsiteX1252" fmla="*/ 5367530 w 8023328"/>
              <a:gd name="connsiteY1252" fmla="*/ 1095457 h 2380521"/>
              <a:gd name="connsiteX1253" fmla="*/ 5352742 w 8023328"/>
              <a:gd name="connsiteY1253" fmla="*/ 1083059 h 2380521"/>
              <a:gd name="connsiteX1254" fmla="*/ 5367530 w 8023328"/>
              <a:gd name="connsiteY1254" fmla="*/ 1069203 h 2380521"/>
              <a:gd name="connsiteX1255" fmla="*/ 5296699 w 8023328"/>
              <a:gd name="connsiteY1255" fmla="*/ 1069203 h 2380521"/>
              <a:gd name="connsiteX1256" fmla="*/ 5311488 w 8023328"/>
              <a:gd name="connsiteY1256" fmla="*/ 1083059 h 2380521"/>
              <a:gd name="connsiteX1257" fmla="*/ 5296699 w 8023328"/>
              <a:gd name="connsiteY1257" fmla="*/ 1095457 h 2380521"/>
              <a:gd name="connsiteX1258" fmla="*/ 5281910 w 8023328"/>
              <a:gd name="connsiteY1258" fmla="*/ 1083059 h 2380521"/>
              <a:gd name="connsiteX1259" fmla="*/ 5296699 w 8023328"/>
              <a:gd name="connsiteY1259" fmla="*/ 1069203 h 2380521"/>
              <a:gd name="connsiteX1260" fmla="*/ 5225869 w 8023328"/>
              <a:gd name="connsiteY1260" fmla="*/ 1069203 h 2380521"/>
              <a:gd name="connsiteX1261" fmla="*/ 5240657 w 8023328"/>
              <a:gd name="connsiteY1261" fmla="*/ 1083059 h 2380521"/>
              <a:gd name="connsiteX1262" fmla="*/ 5225869 w 8023328"/>
              <a:gd name="connsiteY1262" fmla="*/ 1095457 h 2380521"/>
              <a:gd name="connsiteX1263" fmla="*/ 5211081 w 8023328"/>
              <a:gd name="connsiteY1263" fmla="*/ 1083059 h 2380521"/>
              <a:gd name="connsiteX1264" fmla="*/ 5225869 w 8023328"/>
              <a:gd name="connsiteY1264" fmla="*/ 1069203 h 2380521"/>
              <a:gd name="connsiteX1265" fmla="*/ 5154105 w 8023328"/>
              <a:gd name="connsiteY1265" fmla="*/ 1069203 h 2380521"/>
              <a:gd name="connsiteX1266" fmla="*/ 5166502 w 8023328"/>
              <a:gd name="connsiteY1266" fmla="*/ 1083059 h 2380521"/>
              <a:gd name="connsiteX1267" fmla="*/ 5154105 w 8023328"/>
              <a:gd name="connsiteY1267" fmla="*/ 1095457 h 2380521"/>
              <a:gd name="connsiteX1268" fmla="*/ 5140249 w 8023328"/>
              <a:gd name="connsiteY1268" fmla="*/ 1083059 h 2380521"/>
              <a:gd name="connsiteX1269" fmla="*/ 5154105 w 8023328"/>
              <a:gd name="connsiteY1269" fmla="*/ 1069203 h 2380521"/>
              <a:gd name="connsiteX1270" fmla="*/ 5083276 w 8023328"/>
              <a:gd name="connsiteY1270" fmla="*/ 1069203 h 2380521"/>
              <a:gd name="connsiteX1271" fmla="*/ 5095673 w 8023328"/>
              <a:gd name="connsiteY1271" fmla="*/ 1083059 h 2380521"/>
              <a:gd name="connsiteX1272" fmla="*/ 5083276 w 8023328"/>
              <a:gd name="connsiteY1272" fmla="*/ 1095457 h 2380521"/>
              <a:gd name="connsiteX1273" fmla="*/ 5069420 w 8023328"/>
              <a:gd name="connsiteY1273" fmla="*/ 1083059 h 2380521"/>
              <a:gd name="connsiteX1274" fmla="*/ 5083276 w 8023328"/>
              <a:gd name="connsiteY1274" fmla="*/ 1069203 h 2380521"/>
              <a:gd name="connsiteX1275" fmla="*/ 5012445 w 8023328"/>
              <a:gd name="connsiteY1275" fmla="*/ 1069203 h 2380521"/>
              <a:gd name="connsiteX1276" fmla="*/ 5024842 w 8023328"/>
              <a:gd name="connsiteY1276" fmla="*/ 1083059 h 2380521"/>
              <a:gd name="connsiteX1277" fmla="*/ 5012445 w 8023328"/>
              <a:gd name="connsiteY1277" fmla="*/ 1095457 h 2380521"/>
              <a:gd name="connsiteX1278" fmla="*/ 4998589 w 8023328"/>
              <a:gd name="connsiteY1278" fmla="*/ 1083059 h 2380521"/>
              <a:gd name="connsiteX1279" fmla="*/ 5012445 w 8023328"/>
              <a:gd name="connsiteY1279" fmla="*/ 1069203 h 2380521"/>
              <a:gd name="connsiteX1280" fmla="*/ 4940157 w 8023328"/>
              <a:gd name="connsiteY1280" fmla="*/ 1069203 h 2380521"/>
              <a:gd name="connsiteX1281" fmla="*/ 4954013 w 8023328"/>
              <a:gd name="connsiteY1281" fmla="*/ 1083059 h 2380521"/>
              <a:gd name="connsiteX1282" fmla="*/ 4940157 w 8023328"/>
              <a:gd name="connsiteY1282" fmla="*/ 1095457 h 2380521"/>
              <a:gd name="connsiteX1283" fmla="*/ 4927760 w 8023328"/>
              <a:gd name="connsiteY1283" fmla="*/ 1083059 h 2380521"/>
              <a:gd name="connsiteX1284" fmla="*/ 4940157 w 8023328"/>
              <a:gd name="connsiteY1284" fmla="*/ 1069203 h 2380521"/>
              <a:gd name="connsiteX1285" fmla="*/ 4865953 w 8023328"/>
              <a:gd name="connsiteY1285" fmla="*/ 1069203 h 2380521"/>
              <a:gd name="connsiteX1286" fmla="*/ 4879809 w 8023328"/>
              <a:gd name="connsiteY1286" fmla="*/ 1083059 h 2380521"/>
              <a:gd name="connsiteX1287" fmla="*/ 4865953 w 8023328"/>
              <a:gd name="connsiteY1287" fmla="*/ 1095457 h 2380521"/>
              <a:gd name="connsiteX1288" fmla="*/ 4853556 w 8023328"/>
              <a:gd name="connsiteY1288" fmla="*/ 1083059 h 2380521"/>
              <a:gd name="connsiteX1289" fmla="*/ 4865953 w 8023328"/>
              <a:gd name="connsiteY1289" fmla="*/ 1069203 h 2380521"/>
              <a:gd name="connsiteX1290" fmla="*/ 4795122 w 8023328"/>
              <a:gd name="connsiteY1290" fmla="*/ 1069203 h 2380521"/>
              <a:gd name="connsiteX1291" fmla="*/ 4808978 w 8023328"/>
              <a:gd name="connsiteY1291" fmla="*/ 1083059 h 2380521"/>
              <a:gd name="connsiteX1292" fmla="*/ 4795122 w 8023328"/>
              <a:gd name="connsiteY1292" fmla="*/ 1095457 h 2380521"/>
              <a:gd name="connsiteX1293" fmla="*/ 4782725 w 8023328"/>
              <a:gd name="connsiteY1293" fmla="*/ 1083059 h 2380521"/>
              <a:gd name="connsiteX1294" fmla="*/ 4795122 w 8023328"/>
              <a:gd name="connsiteY1294" fmla="*/ 1069203 h 2380521"/>
              <a:gd name="connsiteX1295" fmla="*/ 4726684 w 8023328"/>
              <a:gd name="connsiteY1295" fmla="*/ 1069203 h 2380521"/>
              <a:gd name="connsiteX1296" fmla="*/ 4741472 w 8023328"/>
              <a:gd name="connsiteY1296" fmla="*/ 1083059 h 2380521"/>
              <a:gd name="connsiteX1297" fmla="*/ 4726684 w 8023328"/>
              <a:gd name="connsiteY1297" fmla="*/ 1095457 h 2380521"/>
              <a:gd name="connsiteX1298" fmla="*/ 4711896 w 8023328"/>
              <a:gd name="connsiteY1298" fmla="*/ 1083059 h 2380521"/>
              <a:gd name="connsiteX1299" fmla="*/ 4726684 w 8023328"/>
              <a:gd name="connsiteY1299" fmla="*/ 1069203 h 2380521"/>
              <a:gd name="connsiteX1300" fmla="*/ 4655853 w 8023328"/>
              <a:gd name="connsiteY1300" fmla="*/ 1069203 h 2380521"/>
              <a:gd name="connsiteX1301" fmla="*/ 4670642 w 8023328"/>
              <a:gd name="connsiteY1301" fmla="*/ 1083059 h 2380521"/>
              <a:gd name="connsiteX1302" fmla="*/ 4655853 w 8023328"/>
              <a:gd name="connsiteY1302" fmla="*/ 1095457 h 2380521"/>
              <a:gd name="connsiteX1303" fmla="*/ 4641064 w 8023328"/>
              <a:gd name="connsiteY1303" fmla="*/ 1083059 h 2380521"/>
              <a:gd name="connsiteX1304" fmla="*/ 4655853 w 8023328"/>
              <a:gd name="connsiteY1304" fmla="*/ 1069203 h 2380521"/>
              <a:gd name="connsiteX1305" fmla="*/ 4585023 w 8023328"/>
              <a:gd name="connsiteY1305" fmla="*/ 1069203 h 2380521"/>
              <a:gd name="connsiteX1306" fmla="*/ 4599811 w 8023328"/>
              <a:gd name="connsiteY1306" fmla="*/ 1083059 h 2380521"/>
              <a:gd name="connsiteX1307" fmla="*/ 4585023 w 8023328"/>
              <a:gd name="connsiteY1307" fmla="*/ 1095457 h 2380521"/>
              <a:gd name="connsiteX1308" fmla="*/ 4570235 w 8023328"/>
              <a:gd name="connsiteY1308" fmla="*/ 1083059 h 2380521"/>
              <a:gd name="connsiteX1309" fmla="*/ 4585023 w 8023328"/>
              <a:gd name="connsiteY1309" fmla="*/ 1069203 h 2380521"/>
              <a:gd name="connsiteX1310" fmla="*/ 4513260 w 8023328"/>
              <a:gd name="connsiteY1310" fmla="*/ 1069203 h 2380521"/>
              <a:gd name="connsiteX1311" fmla="*/ 4525657 w 8023328"/>
              <a:gd name="connsiteY1311" fmla="*/ 1083991 h 2380521"/>
              <a:gd name="connsiteX1312" fmla="*/ 4513260 w 8023328"/>
              <a:gd name="connsiteY1312" fmla="*/ 1098780 h 2380521"/>
              <a:gd name="connsiteX1313" fmla="*/ 4499404 w 8023328"/>
              <a:gd name="connsiteY1313" fmla="*/ 1083991 h 2380521"/>
              <a:gd name="connsiteX1314" fmla="*/ 4513260 w 8023328"/>
              <a:gd name="connsiteY1314" fmla="*/ 1069203 h 2380521"/>
              <a:gd name="connsiteX1315" fmla="*/ 4439056 w 8023328"/>
              <a:gd name="connsiteY1315" fmla="*/ 1069203 h 2380521"/>
              <a:gd name="connsiteX1316" fmla="*/ 4451453 w 8023328"/>
              <a:gd name="connsiteY1316" fmla="*/ 1083991 h 2380521"/>
              <a:gd name="connsiteX1317" fmla="*/ 4439056 w 8023328"/>
              <a:gd name="connsiteY1317" fmla="*/ 1098780 h 2380521"/>
              <a:gd name="connsiteX1318" fmla="*/ 4425200 w 8023328"/>
              <a:gd name="connsiteY1318" fmla="*/ 1083991 h 2380521"/>
              <a:gd name="connsiteX1319" fmla="*/ 4439056 w 8023328"/>
              <a:gd name="connsiteY1319" fmla="*/ 1069203 h 2380521"/>
              <a:gd name="connsiteX1320" fmla="*/ 4366768 w 8023328"/>
              <a:gd name="connsiteY1320" fmla="*/ 1069203 h 2380521"/>
              <a:gd name="connsiteX1321" fmla="*/ 4380624 w 8023328"/>
              <a:gd name="connsiteY1321" fmla="*/ 1083991 h 2380521"/>
              <a:gd name="connsiteX1322" fmla="*/ 4366768 w 8023328"/>
              <a:gd name="connsiteY1322" fmla="*/ 1098780 h 2380521"/>
              <a:gd name="connsiteX1323" fmla="*/ 4354371 w 8023328"/>
              <a:gd name="connsiteY1323" fmla="*/ 1083991 h 2380521"/>
              <a:gd name="connsiteX1324" fmla="*/ 4366768 w 8023328"/>
              <a:gd name="connsiteY1324" fmla="*/ 1069203 h 2380521"/>
              <a:gd name="connsiteX1325" fmla="*/ 4295937 w 8023328"/>
              <a:gd name="connsiteY1325" fmla="*/ 1069203 h 2380521"/>
              <a:gd name="connsiteX1326" fmla="*/ 4309793 w 8023328"/>
              <a:gd name="connsiteY1326" fmla="*/ 1083991 h 2380521"/>
              <a:gd name="connsiteX1327" fmla="*/ 4295937 w 8023328"/>
              <a:gd name="connsiteY1327" fmla="*/ 1098780 h 2380521"/>
              <a:gd name="connsiteX1328" fmla="*/ 4283540 w 8023328"/>
              <a:gd name="connsiteY1328" fmla="*/ 1083991 h 2380521"/>
              <a:gd name="connsiteX1329" fmla="*/ 4295937 w 8023328"/>
              <a:gd name="connsiteY1329" fmla="*/ 1069203 h 2380521"/>
              <a:gd name="connsiteX1330" fmla="*/ 4225107 w 8023328"/>
              <a:gd name="connsiteY1330" fmla="*/ 1069203 h 2380521"/>
              <a:gd name="connsiteX1331" fmla="*/ 4238963 w 8023328"/>
              <a:gd name="connsiteY1331" fmla="*/ 1083991 h 2380521"/>
              <a:gd name="connsiteX1332" fmla="*/ 4225107 w 8023328"/>
              <a:gd name="connsiteY1332" fmla="*/ 1098780 h 2380521"/>
              <a:gd name="connsiteX1333" fmla="*/ 4212710 w 8023328"/>
              <a:gd name="connsiteY1333" fmla="*/ 1083991 h 2380521"/>
              <a:gd name="connsiteX1334" fmla="*/ 4225107 w 8023328"/>
              <a:gd name="connsiteY1334" fmla="*/ 1069203 h 2380521"/>
              <a:gd name="connsiteX1335" fmla="*/ 4153295 w 8023328"/>
              <a:gd name="connsiteY1335" fmla="*/ 1069203 h 2380521"/>
              <a:gd name="connsiteX1336" fmla="*/ 4168083 w 8023328"/>
              <a:gd name="connsiteY1336" fmla="*/ 1083991 h 2380521"/>
              <a:gd name="connsiteX1337" fmla="*/ 4153295 w 8023328"/>
              <a:gd name="connsiteY1337" fmla="*/ 1098780 h 2380521"/>
              <a:gd name="connsiteX1338" fmla="*/ 4138507 w 8023328"/>
              <a:gd name="connsiteY1338" fmla="*/ 1083991 h 2380521"/>
              <a:gd name="connsiteX1339" fmla="*/ 4153295 w 8023328"/>
              <a:gd name="connsiteY1339" fmla="*/ 1069203 h 2380521"/>
              <a:gd name="connsiteX1340" fmla="*/ 4082465 w 8023328"/>
              <a:gd name="connsiteY1340" fmla="*/ 1069203 h 2380521"/>
              <a:gd name="connsiteX1341" fmla="*/ 4097254 w 8023328"/>
              <a:gd name="connsiteY1341" fmla="*/ 1083991 h 2380521"/>
              <a:gd name="connsiteX1342" fmla="*/ 4082465 w 8023328"/>
              <a:gd name="connsiteY1342" fmla="*/ 1098780 h 2380521"/>
              <a:gd name="connsiteX1343" fmla="*/ 4067676 w 8023328"/>
              <a:gd name="connsiteY1343" fmla="*/ 1083991 h 2380521"/>
              <a:gd name="connsiteX1344" fmla="*/ 4082465 w 8023328"/>
              <a:gd name="connsiteY1344" fmla="*/ 1069203 h 2380521"/>
              <a:gd name="connsiteX1345" fmla="*/ 4011635 w 8023328"/>
              <a:gd name="connsiteY1345" fmla="*/ 1069203 h 2380521"/>
              <a:gd name="connsiteX1346" fmla="*/ 4026423 w 8023328"/>
              <a:gd name="connsiteY1346" fmla="*/ 1083991 h 2380521"/>
              <a:gd name="connsiteX1347" fmla="*/ 4011635 w 8023328"/>
              <a:gd name="connsiteY1347" fmla="*/ 1098780 h 2380521"/>
              <a:gd name="connsiteX1348" fmla="*/ 3996847 w 8023328"/>
              <a:gd name="connsiteY1348" fmla="*/ 1083991 h 2380521"/>
              <a:gd name="connsiteX1349" fmla="*/ 4011635 w 8023328"/>
              <a:gd name="connsiteY1349" fmla="*/ 1069203 h 2380521"/>
              <a:gd name="connsiteX1350" fmla="*/ 3939871 w 8023328"/>
              <a:gd name="connsiteY1350" fmla="*/ 1069203 h 2380521"/>
              <a:gd name="connsiteX1351" fmla="*/ 3952268 w 8023328"/>
              <a:gd name="connsiteY1351" fmla="*/ 1083991 h 2380521"/>
              <a:gd name="connsiteX1352" fmla="*/ 3939871 w 8023328"/>
              <a:gd name="connsiteY1352" fmla="*/ 1098780 h 2380521"/>
              <a:gd name="connsiteX1353" fmla="*/ 3926015 w 8023328"/>
              <a:gd name="connsiteY1353" fmla="*/ 1083991 h 2380521"/>
              <a:gd name="connsiteX1354" fmla="*/ 3939871 w 8023328"/>
              <a:gd name="connsiteY1354" fmla="*/ 1069203 h 2380521"/>
              <a:gd name="connsiteX1355" fmla="*/ 582439 w 8023328"/>
              <a:gd name="connsiteY1355" fmla="*/ 1069203 h 2380521"/>
              <a:gd name="connsiteX1356" fmla="*/ 596295 w 8023328"/>
              <a:gd name="connsiteY1356" fmla="*/ 1083059 h 2380521"/>
              <a:gd name="connsiteX1357" fmla="*/ 582439 w 8023328"/>
              <a:gd name="connsiteY1357" fmla="*/ 1095457 h 2380521"/>
              <a:gd name="connsiteX1358" fmla="*/ 570041 w 8023328"/>
              <a:gd name="connsiteY1358" fmla="*/ 1083059 h 2380521"/>
              <a:gd name="connsiteX1359" fmla="*/ 582439 w 8023328"/>
              <a:gd name="connsiteY1359" fmla="*/ 1069203 h 2380521"/>
              <a:gd name="connsiteX1360" fmla="*/ 513628 w 8023328"/>
              <a:gd name="connsiteY1360" fmla="*/ 1069203 h 2380521"/>
              <a:gd name="connsiteX1361" fmla="*/ 528807 w 8023328"/>
              <a:gd name="connsiteY1361" fmla="*/ 1083059 h 2380521"/>
              <a:gd name="connsiteX1362" fmla="*/ 513628 w 8023328"/>
              <a:gd name="connsiteY1362" fmla="*/ 1095457 h 2380521"/>
              <a:gd name="connsiteX1363" fmla="*/ 499209 w 8023328"/>
              <a:gd name="connsiteY1363" fmla="*/ 1083059 h 2380521"/>
              <a:gd name="connsiteX1364" fmla="*/ 513628 w 8023328"/>
              <a:gd name="connsiteY1364" fmla="*/ 1069203 h 2380521"/>
              <a:gd name="connsiteX1365" fmla="*/ 439795 w 8023328"/>
              <a:gd name="connsiteY1365" fmla="*/ 1069203 h 2380521"/>
              <a:gd name="connsiteX1366" fmla="*/ 454585 w 8023328"/>
              <a:gd name="connsiteY1366" fmla="*/ 1083059 h 2380521"/>
              <a:gd name="connsiteX1367" fmla="*/ 439795 w 8023328"/>
              <a:gd name="connsiteY1367" fmla="*/ 1095457 h 2380521"/>
              <a:gd name="connsiteX1368" fmla="*/ 425007 w 8023328"/>
              <a:gd name="connsiteY1368" fmla="*/ 1083059 h 2380521"/>
              <a:gd name="connsiteX1369" fmla="*/ 439795 w 8023328"/>
              <a:gd name="connsiteY1369" fmla="*/ 1069203 h 2380521"/>
              <a:gd name="connsiteX1370" fmla="*/ 368965 w 8023328"/>
              <a:gd name="connsiteY1370" fmla="*/ 1069203 h 2380521"/>
              <a:gd name="connsiteX1371" fmla="*/ 383754 w 8023328"/>
              <a:gd name="connsiteY1371" fmla="*/ 1083059 h 2380521"/>
              <a:gd name="connsiteX1372" fmla="*/ 368965 w 8023328"/>
              <a:gd name="connsiteY1372" fmla="*/ 1095457 h 2380521"/>
              <a:gd name="connsiteX1373" fmla="*/ 354177 w 8023328"/>
              <a:gd name="connsiteY1373" fmla="*/ 1083059 h 2380521"/>
              <a:gd name="connsiteX1374" fmla="*/ 368965 w 8023328"/>
              <a:gd name="connsiteY1374" fmla="*/ 1069203 h 2380521"/>
              <a:gd name="connsiteX1375" fmla="*/ 297201 w 8023328"/>
              <a:gd name="connsiteY1375" fmla="*/ 1069203 h 2380521"/>
              <a:gd name="connsiteX1376" fmla="*/ 309599 w 8023328"/>
              <a:gd name="connsiteY1376" fmla="*/ 1083059 h 2380521"/>
              <a:gd name="connsiteX1377" fmla="*/ 297201 w 8023328"/>
              <a:gd name="connsiteY1377" fmla="*/ 1095457 h 2380521"/>
              <a:gd name="connsiteX1378" fmla="*/ 283346 w 8023328"/>
              <a:gd name="connsiteY1378" fmla="*/ 1083059 h 2380521"/>
              <a:gd name="connsiteX1379" fmla="*/ 297201 w 8023328"/>
              <a:gd name="connsiteY1379" fmla="*/ 1069203 h 2380521"/>
              <a:gd name="connsiteX1380" fmla="*/ 226372 w 8023328"/>
              <a:gd name="connsiteY1380" fmla="*/ 1069203 h 2380521"/>
              <a:gd name="connsiteX1381" fmla="*/ 238771 w 8023328"/>
              <a:gd name="connsiteY1381" fmla="*/ 1083059 h 2380521"/>
              <a:gd name="connsiteX1382" fmla="*/ 226372 w 8023328"/>
              <a:gd name="connsiteY1382" fmla="*/ 1095457 h 2380521"/>
              <a:gd name="connsiteX1383" fmla="*/ 212516 w 8023328"/>
              <a:gd name="connsiteY1383" fmla="*/ 1083059 h 2380521"/>
              <a:gd name="connsiteX1384" fmla="*/ 226372 w 8023328"/>
              <a:gd name="connsiteY1384" fmla="*/ 1069203 h 2380521"/>
              <a:gd name="connsiteX1385" fmla="*/ 154079 w 8023328"/>
              <a:gd name="connsiteY1385" fmla="*/ 1069203 h 2380521"/>
              <a:gd name="connsiteX1386" fmla="*/ 167935 w 8023328"/>
              <a:gd name="connsiteY1386" fmla="*/ 1083059 h 2380521"/>
              <a:gd name="connsiteX1387" fmla="*/ 154079 w 8023328"/>
              <a:gd name="connsiteY1387" fmla="*/ 1095457 h 2380521"/>
              <a:gd name="connsiteX1388" fmla="*/ 141682 w 8023328"/>
              <a:gd name="connsiteY1388" fmla="*/ 1083059 h 2380521"/>
              <a:gd name="connsiteX1389" fmla="*/ 154079 w 8023328"/>
              <a:gd name="connsiteY1389" fmla="*/ 1069203 h 2380521"/>
              <a:gd name="connsiteX1390" fmla="*/ 83249 w 8023328"/>
              <a:gd name="connsiteY1390" fmla="*/ 1069203 h 2380521"/>
              <a:gd name="connsiteX1391" fmla="*/ 97105 w 8023328"/>
              <a:gd name="connsiteY1391" fmla="*/ 1083059 h 2380521"/>
              <a:gd name="connsiteX1392" fmla="*/ 83249 w 8023328"/>
              <a:gd name="connsiteY1392" fmla="*/ 1095457 h 2380521"/>
              <a:gd name="connsiteX1393" fmla="*/ 70852 w 8023328"/>
              <a:gd name="connsiteY1393" fmla="*/ 1083059 h 2380521"/>
              <a:gd name="connsiteX1394" fmla="*/ 83249 w 8023328"/>
              <a:gd name="connsiteY1394" fmla="*/ 1069203 h 2380521"/>
              <a:gd name="connsiteX1395" fmla="*/ 12014 w 8023328"/>
              <a:gd name="connsiteY1395" fmla="*/ 1069203 h 2380521"/>
              <a:gd name="connsiteX1396" fmla="*/ 26255 w 8023328"/>
              <a:gd name="connsiteY1396" fmla="*/ 1083059 h 2380521"/>
              <a:gd name="connsiteX1397" fmla="*/ 12014 w 8023328"/>
              <a:gd name="connsiteY1397" fmla="*/ 1095457 h 2380521"/>
              <a:gd name="connsiteX1398" fmla="*/ 21 w 8023328"/>
              <a:gd name="connsiteY1398" fmla="*/ 1083059 h 2380521"/>
              <a:gd name="connsiteX1399" fmla="*/ 12014 w 8023328"/>
              <a:gd name="connsiteY1399" fmla="*/ 1069203 h 2380521"/>
              <a:gd name="connsiteX1400" fmla="*/ 6724405 w 8023328"/>
              <a:gd name="connsiteY1400" fmla="*/ 998371 h 2380521"/>
              <a:gd name="connsiteX1401" fmla="*/ 6738261 w 8023328"/>
              <a:gd name="connsiteY1401" fmla="*/ 1010768 h 2380521"/>
              <a:gd name="connsiteX1402" fmla="*/ 6724405 w 8023328"/>
              <a:gd name="connsiteY1402" fmla="*/ 1024625 h 2380521"/>
              <a:gd name="connsiteX1403" fmla="*/ 6712008 w 8023328"/>
              <a:gd name="connsiteY1403" fmla="*/ 1010768 h 2380521"/>
              <a:gd name="connsiteX1404" fmla="*/ 6724405 w 8023328"/>
              <a:gd name="connsiteY1404" fmla="*/ 998371 h 2380521"/>
              <a:gd name="connsiteX1405" fmla="*/ 6653576 w 8023328"/>
              <a:gd name="connsiteY1405" fmla="*/ 998371 h 2380521"/>
              <a:gd name="connsiteX1406" fmla="*/ 6667432 w 8023328"/>
              <a:gd name="connsiteY1406" fmla="*/ 1010768 h 2380521"/>
              <a:gd name="connsiteX1407" fmla="*/ 6653576 w 8023328"/>
              <a:gd name="connsiteY1407" fmla="*/ 1024625 h 2380521"/>
              <a:gd name="connsiteX1408" fmla="*/ 6641179 w 8023328"/>
              <a:gd name="connsiteY1408" fmla="*/ 1010768 h 2380521"/>
              <a:gd name="connsiteX1409" fmla="*/ 6653576 w 8023328"/>
              <a:gd name="connsiteY1409" fmla="*/ 998371 h 2380521"/>
              <a:gd name="connsiteX1410" fmla="*/ 6581764 w 8023328"/>
              <a:gd name="connsiteY1410" fmla="*/ 998371 h 2380521"/>
              <a:gd name="connsiteX1411" fmla="*/ 6596552 w 8023328"/>
              <a:gd name="connsiteY1411" fmla="*/ 1010768 h 2380521"/>
              <a:gd name="connsiteX1412" fmla="*/ 6581764 w 8023328"/>
              <a:gd name="connsiteY1412" fmla="*/ 1024625 h 2380521"/>
              <a:gd name="connsiteX1413" fmla="*/ 6566976 w 8023328"/>
              <a:gd name="connsiteY1413" fmla="*/ 1010768 h 2380521"/>
              <a:gd name="connsiteX1414" fmla="*/ 6581764 w 8023328"/>
              <a:gd name="connsiteY1414" fmla="*/ 998371 h 2380521"/>
              <a:gd name="connsiteX1415" fmla="*/ 6510933 w 8023328"/>
              <a:gd name="connsiteY1415" fmla="*/ 998371 h 2380521"/>
              <a:gd name="connsiteX1416" fmla="*/ 6525722 w 8023328"/>
              <a:gd name="connsiteY1416" fmla="*/ 1010768 h 2380521"/>
              <a:gd name="connsiteX1417" fmla="*/ 6510933 w 8023328"/>
              <a:gd name="connsiteY1417" fmla="*/ 1024625 h 2380521"/>
              <a:gd name="connsiteX1418" fmla="*/ 6496144 w 8023328"/>
              <a:gd name="connsiteY1418" fmla="*/ 1010768 h 2380521"/>
              <a:gd name="connsiteX1419" fmla="*/ 6510933 w 8023328"/>
              <a:gd name="connsiteY1419" fmla="*/ 998371 h 2380521"/>
              <a:gd name="connsiteX1420" fmla="*/ 6440492 w 8023328"/>
              <a:gd name="connsiteY1420" fmla="*/ 998371 h 2380521"/>
              <a:gd name="connsiteX1421" fmla="*/ 6454911 w 8023328"/>
              <a:gd name="connsiteY1421" fmla="*/ 1010768 h 2380521"/>
              <a:gd name="connsiteX1422" fmla="*/ 6440492 w 8023328"/>
              <a:gd name="connsiteY1422" fmla="*/ 1024625 h 2380521"/>
              <a:gd name="connsiteX1423" fmla="*/ 6425315 w 8023328"/>
              <a:gd name="connsiteY1423" fmla="*/ 1010768 h 2380521"/>
              <a:gd name="connsiteX1424" fmla="*/ 6440492 w 8023328"/>
              <a:gd name="connsiteY1424" fmla="*/ 998371 h 2380521"/>
              <a:gd name="connsiteX1425" fmla="*/ 6368340 w 8023328"/>
              <a:gd name="connsiteY1425" fmla="*/ 998371 h 2380521"/>
              <a:gd name="connsiteX1426" fmla="*/ 6380737 w 8023328"/>
              <a:gd name="connsiteY1426" fmla="*/ 1010768 h 2380521"/>
              <a:gd name="connsiteX1427" fmla="*/ 6368340 w 8023328"/>
              <a:gd name="connsiteY1427" fmla="*/ 1024625 h 2380521"/>
              <a:gd name="connsiteX1428" fmla="*/ 6354484 w 8023328"/>
              <a:gd name="connsiteY1428" fmla="*/ 1010768 h 2380521"/>
              <a:gd name="connsiteX1429" fmla="*/ 6368340 w 8023328"/>
              <a:gd name="connsiteY1429" fmla="*/ 998371 h 2380521"/>
              <a:gd name="connsiteX1430" fmla="*/ 6297511 w 8023328"/>
              <a:gd name="connsiteY1430" fmla="*/ 998371 h 2380521"/>
              <a:gd name="connsiteX1431" fmla="*/ 6309908 w 8023328"/>
              <a:gd name="connsiteY1431" fmla="*/ 1010768 h 2380521"/>
              <a:gd name="connsiteX1432" fmla="*/ 6297511 w 8023328"/>
              <a:gd name="connsiteY1432" fmla="*/ 1024625 h 2380521"/>
              <a:gd name="connsiteX1433" fmla="*/ 6283655 w 8023328"/>
              <a:gd name="connsiteY1433" fmla="*/ 1010768 h 2380521"/>
              <a:gd name="connsiteX1434" fmla="*/ 6297511 w 8023328"/>
              <a:gd name="connsiteY1434" fmla="*/ 998371 h 2380521"/>
              <a:gd name="connsiteX1435" fmla="*/ 6226679 w 8023328"/>
              <a:gd name="connsiteY1435" fmla="*/ 998371 h 2380521"/>
              <a:gd name="connsiteX1436" fmla="*/ 6239076 w 8023328"/>
              <a:gd name="connsiteY1436" fmla="*/ 1010768 h 2380521"/>
              <a:gd name="connsiteX1437" fmla="*/ 6226679 w 8023328"/>
              <a:gd name="connsiteY1437" fmla="*/ 1024625 h 2380521"/>
              <a:gd name="connsiteX1438" fmla="*/ 6212823 w 8023328"/>
              <a:gd name="connsiteY1438" fmla="*/ 1010768 h 2380521"/>
              <a:gd name="connsiteX1439" fmla="*/ 6226679 w 8023328"/>
              <a:gd name="connsiteY1439" fmla="*/ 998371 h 2380521"/>
              <a:gd name="connsiteX1440" fmla="*/ 6154391 w 8023328"/>
              <a:gd name="connsiteY1440" fmla="*/ 998371 h 2380521"/>
              <a:gd name="connsiteX1441" fmla="*/ 6168247 w 8023328"/>
              <a:gd name="connsiteY1441" fmla="*/ 1010768 h 2380521"/>
              <a:gd name="connsiteX1442" fmla="*/ 6154391 w 8023328"/>
              <a:gd name="connsiteY1442" fmla="*/ 1024625 h 2380521"/>
              <a:gd name="connsiteX1443" fmla="*/ 6141994 w 8023328"/>
              <a:gd name="connsiteY1443" fmla="*/ 1010768 h 2380521"/>
              <a:gd name="connsiteX1444" fmla="*/ 6154391 w 8023328"/>
              <a:gd name="connsiteY1444" fmla="*/ 998371 h 2380521"/>
              <a:gd name="connsiteX1445" fmla="*/ 6083559 w 8023328"/>
              <a:gd name="connsiteY1445" fmla="*/ 998371 h 2380521"/>
              <a:gd name="connsiteX1446" fmla="*/ 6097415 w 8023328"/>
              <a:gd name="connsiteY1446" fmla="*/ 1010768 h 2380521"/>
              <a:gd name="connsiteX1447" fmla="*/ 6083559 w 8023328"/>
              <a:gd name="connsiteY1447" fmla="*/ 1024625 h 2380521"/>
              <a:gd name="connsiteX1448" fmla="*/ 6071162 w 8023328"/>
              <a:gd name="connsiteY1448" fmla="*/ 1010768 h 2380521"/>
              <a:gd name="connsiteX1449" fmla="*/ 6083559 w 8023328"/>
              <a:gd name="connsiteY1449" fmla="*/ 998371 h 2380521"/>
              <a:gd name="connsiteX1450" fmla="*/ 6009356 w 8023328"/>
              <a:gd name="connsiteY1450" fmla="*/ 998371 h 2380521"/>
              <a:gd name="connsiteX1451" fmla="*/ 6023212 w 8023328"/>
              <a:gd name="connsiteY1451" fmla="*/ 1010768 h 2380521"/>
              <a:gd name="connsiteX1452" fmla="*/ 6009356 w 8023328"/>
              <a:gd name="connsiteY1452" fmla="*/ 1024625 h 2380521"/>
              <a:gd name="connsiteX1453" fmla="*/ 5996959 w 8023328"/>
              <a:gd name="connsiteY1453" fmla="*/ 1010768 h 2380521"/>
              <a:gd name="connsiteX1454" fmla="*/ 6009356 w 8023328"/>
              <a:gd name="connsiteY1454" fmla="*/ 998371 h 2380521"/>
              <a:gd name="connsiteX1455" fmla="*/ 5940548 w 8023328"/>
              <a:gd name="connsiteY1455" fmla="*/ 998371 h 2380521"/>
              <a:gd name="connsiteX1456" fmla="*/ 5955726 w 8023328"/>
              <a:gd name="connsiteY1456" fmla="*/ 1010768 h 2380521"/>
              <a:gd name="connsiteX1457" fmla="*/ 5940548 w 8023328"/>
              <a:gd name="connsiteY1457" fmla="*/ 1024625 h 2380521"/>
              <a:gd name="connsiteX1458" fmla="*/ 5926130 w 8023328"/>
              <a:gd name="connsiteY1458" fmla="*/ 1010768 h 2380521"/>
              <a:gd name="connsiteX1459" fmla="*/ 5940548 w 8023328"/>
              <a:gd name="connsiteY1459" fmla="*/ 998371 h 2380521"/>
              <a:gd name="connsiteX1460" fmla="*/ 5870088 w 8023328"/>
              <a:gd name="connsiteY1460" fmla="*/ 998371 h 2380521"/>
              <a:gd name="connsiteX1461" fmla="*/ 5884877 w 8023328"/>
              <a:gd name="connsiteY1461" fmla="*/ 1010768 h 2380521"/>
              <a:gd name="connsiteX1462" fmla="*/ 5870088 w 8023328"/>
              <a:gd name="connsiteY1462" fmla="*/ 1024625 h 2380521"/>
              <a:gd name="connsiteX1463" fmla="*/ 5855299 w 8023328"/>
              <a:gd name="connsiteY1463" fmla="*/ 1010768 h 2380521"/>
              <a:gd name="connsiteX1464" fmla="*/ 5870088 w 8023328"/>
              <a:gd name="connsiteY1464" fmla="*/ 998371 h 2380521"/>
              <a:gd name="connsiteX1465" fmla="*/ 5799257 w 8023328"/>
              <a:gd name="connsiteY1465" fmla="*/ 998371 h 2380521"/>
              <a:gd name="connsiteX1466" fmla="*/ 5814045 w 8023328"/>
              <a:gd name="connsiteY1466" fmla="*/ 1010768 h 2380521"/>
              <a:gd name="connsiteX1467" fmla="*/ 5799257 w 8023328"/>
              <a:gd name="connsiteY1467" fmla="*/ 1024625 h 2380521"/>
              <a:gd name="connsiteX1468" fmla="*/ 5784469 w 8023328"/>
              <a:gd name="connsiteY1468" fmla="*/ 1010768 h 2380521"/>
              <a:gd name="connsiteX1469" fmla="*/ 5799257 w 8023328"/>
              <a:gd name="connsiteY1469" fmla="*/ 998371 h 2380521"/>
              <a:gd name="connsiteX1470" fmla="*/ 5724122 w 8023328"/>
              <a:gd name="connsiteY1470" fmla="*/ 998371 h 2380521"/>
              <a:gd name="connsiteX1471" fmla="*/ 5736519 w 8023328"/>
              <a:gd name="connsiteY1471" fmla="*/ 1010768 h 2380521"/>
              <a:gd name="connsiteX1472" fmla="*/ 5724122 w 8023328"/>
              <a:gd name="connsiteY1472" fmla="*/ 1024625 h 2380521"/>
              <a:gd name="connsiteX1473" fmla="*/ 5710266 w 8023328"/>
              <a:gd name="connsiteY1473" fmla="*/ 1010768 h 2380521"/>
              <a:gd name="connsiteX1474" fmla="*/ 5724122 w 8023328"/>
              <a:gd name="connsiteY1474" fmla="*/ 998371 h 2380521"/>
              <a:gd name="connsiteX1475" fmla="*/ 5653291 w 8023328"/>
              <a:gd name="connsiteY1475" fmla="*/ 998371 h 2380521"/>
              <a:gd name="connsiteX1476" fmla="*/ 5665688 w 8023328"/>
              <a:gd name="connsiteY1476" fmla="*/ 1012227 h 2380521"/>
              <a:gd name="connsiteX1477" fmla="*/ 5653291 w 8023328"/>
              <a:gd name="connsiteY1477" fmla="*/ 1024625 h 2380521"/>
              <a:gd name="connsiteX1478" fmla="*/ 5639435 w 8023328"/>
              <a:gd name="connsiteY1478" fmla="*/ 1012227 h 2380521"/>
              <a:gd name="connsiteX1479" fmla="*/ 5653291 w 8023328"/>
              <a:gd name="connsiteY1479" fmla="*/ 998371 h 2380521"/>
              <a:gd name="connsiteX1480" fmla="*/ 5581002 w 8023328"/>
              <a:gd name="connsiteY1480" fmla="*/ 998371 h 2380521"/>
              <a:gd name="connsiteX1481" fmla="*/ 5594858 w 8023328"/>
              <a:gd name="connsiteY1481" fmla="*/ 1012227 h 2380521"/>
              <a:gd name="connsiteX1482" fmla="*/ 5581002 w 8023328"/>
              <a:gd name="connsiteY1482" fmla="*/ 1024625 h 2380521"/>
              <a:gd name="connsiteX1483" fmla="*/ 5568605 w 8023328"/>
              <a:gd name="connsiteY1483" fmla="*/ 1012227 h 2380521"/>
              <a:gd name="connsiteX1484" fmla="*/ 5581002 w 8023328"/>
              <a:gd name="connsiteY1484" fmla="*/ 998371 h 2380521"/>
              <a:gd name="connsiteX1485" fmla="*/ 5510171 w 8023328"/>
              <a:gd name="connsiteY1485" fmla="*/ 998371 h 2380521"/>
              <a:gd name="connsiteX1486" fmla="*/ 5524027 w 8023328"/>
              <a:gd name="connsiteY1486" fmla="*/ 1012227 h 2380521"/>
              <a:gd name="connsiteX1487" fmla="*/ 5510171 w 8023328"/>
              <a:gd name="connsiteY1487" fmla="*/ 1024625 h 2380521"/>
              <a:gd name="connsiteX1488" fmla="*/ 5497774 w 8023328"/>
              <a:gd name="connsiteY1488" fmla="*/ 1012227 h 2380521"/>
              <a:gd name="connsiteX1489" fmla="*/ 5510171 w 8023328"/>
              <a:gd name="connsiteY1489" fmla="*/ 998371 h 2380521"/>
              <a:gd name="connsiteX1490" fmla="*/ 5438937 w 8023328"/>
              <a:gd name="connsiteY1490" fmla="*/ 998371 h 2380521"/>
              <a:gd name="connsiteX1491" fmla="*/ 5453178 w 8023328"/>
              <a:gd name="connsiteY1491" fmla="*/ 1012227 h 2380521"/>
              <a:gd name="connsiteX1492" fmla="*/ 5438937 w 8023328"/>
              <a:gd name="connsiteY1492" fmla="*/ 1024625 h 2380521"/>
              <a:gd name="connsiteX1493" fmla="*/ 5426945 w 8023328"/>
              <a:gd name="connsiteY1493" fmla="*/ 1012227 h 2380521"/>
              <a:gd name="connsiteX1494" fmla="*/ 5438937 w 8023328"/>
              <a:gd name="connsiteY1494" fmla="*/ 998371 h 2380521"/>
              <a:gd name="connsiteX1495" fmla="*/ 5367530 w 8023328"/>
              <a:gd name="connsiteY1495" fmla="*/ 998371 h 2380521"/>
              <a:gd name="connsiteX1496" fmla="*/ 5382318 w 8023328"/>
              <a:gd name="connsiteY1496" fmla="*/ 1012227 h 2380521"/>
              <a:gd name="connsiteX1497" fmla="*/ 5367530 w 8023328"/>
              <a:gd name="connsiteY1497" fmla="*/ 1024625 h 2380521"/>
              <a:gd name="connsiteX1498" fmla="*/ 5352742 w 8023328"/>
              <a:gd name="connsiteY1498" fmla="*/ 1012227 h 2380521"/>
              <a:gd name="connsiteX1499" fmla="*/ 5367530 w 8023328"/>
              <a:gd name="connsiteY1499" fmla="*/ 998371 h 2380521"/>
              <a:gd name="connsiteX1500" fmla="*/ 5296699 w 8023328"/>
              <a:gd name="connsiteY1500" fmla="*/ 998371 h 2380521"/>
              <a:gd name="connsiteX1501" fmla="*/ 5311488 w 8023328"/>
              <a:gd name="connsiteY1501" fmla="*/ 1012227 h 2380521"/>
              <a:gd name="connsiteX1502" fmla="*/ 5296699 w 8023328"/>
              <a:gd name="connsiteY1502" fmla="*/ 1024625 h 2380521"/>
              <a:gd name="connsiteX1503" fmla="*/ 5281910 w 8023328"/>
              <a:gd name="connsiteY1503" fmla="*/ 1012227 h 2380521"/>
              <a:gd name="connsiteX1504" fmla="*/ 5296699 w 8023328"/>
              <a:gd name="connsiteY1504" fmla="*/ 998371 h 2380521"/>
              <a:gd name="connsiteX1505" fmla="*/ 5225869 w 8023328"/>
              <a:gd name="connsiteY1505" fmla="*/ 998371 h 2380521"/>
              <a:gd name="connsiteX1506" fmla="*/ 5240657 w 8023328"/>
              <a:gd name="connsiteY1506" fmla="*/ 1012227 h 2380521"/>
              <a:gd name="connsiteX1507" fmla="*/ 5225869 w 8023328"/>
              <a:gd name="connsiteY1507" fmla="*/ 1024625 h 2380521"/>
              <a:gd name="connsiteX1508" fmla="*/ 5211081 w 8023328"/>
              <a:gd name="connsiteY1508" fmla="*/ 1012227 h 2380521"/>
              <a:gd name="connsiteX1509" fmla="*/ 5225869 w 8023328"/>
              <a:gd name="connsiteY1509" fmla="*/ 998371 h 2380521"/>
              <a:gd name="connsiteX1510" fmla="*/ 5154105 w 8023328"/>
              <a:gd name="connsiteY1510" fmla="*/ 998371 h 2380521"/>
              <a:gd name="connsiteX1511" fmla="*/ 5166502 w 8023328"/>
              <a:gd name="connsiteY1511" fmla="*/ 1012227 h 2380521"/>
              <a:gd name="connsiteX1512" fmla="*/ 5154105 w 8023328"/>
              <a:gd name="connsiteY1512" fmla="*/ 1024625 h 2380521"/>
              <a:gd name="connsiteX1513" fmla="*/ 5140249 w 8023328"/>
              <a:gd name="connsiteY1513" fmla="*/ 1012227 h 2380521"/>
              <a:gd name="connsiteX1514" fmla="*/ 5154105 w 8023328"/>
              <a:gd name="connsiteY1514" fmla="*/ 998371 h 2380521"/>
              <a:gd name="connsiteX1515" fmla="*/ 5083276 w 8023328"/>
              <a:gd name="connsiteY1515" fmla="*/ 998371 h 2380521"/>
              <a:gd name="connsiteX1516" fmla="*/ 5095673 w 8023328"/>
              <a:gd name="connsiteY1516" fmla="*/ 1012227 h 2380521"/>
              <a:gd name="connsiteX1517" fmla="*/ 5083276 w 8023328"/>
              <a:gd name="connsiteY1517" fmla="*/ 1024625 h 2380521"/>
              <a:gd name="connsiteX1518" fmla="*/ 5069420 w 8023328"/>
              <a:gd name="connsiteY1518" fmla="*/ 1012227 h 2380521"/>
              <a:gd name="connsiteX1519" fmla="*/ 5083276 w 8023328"/>
              <a:gd name="connsiteY1519" fmla="*/ 998371 h 2380521"/>
              <a:gd name="connsiteX1520" fmla="*/ 5012445 w 8023328"/>
              <a:gd name="connsiteY1520" fmla="*/ 998371 h 2380521"/>
              <a:gd name="connsiteX1521" fmla="*/ 5024842 w 8023328"/>
              <a:gd name="connsiteY1521" fmla="*/ 1012227 h 2380521"/>
              <a:gd name="connsiteX1522" fmla="*/ 5012445 w 8023328"/>
              <a:gd name="connsiteY1522" fmla="*/ 1024625 h 2380521"/>
              <a:gd name="connsiteX1523" fmla="*/ 4998589 w 8023328"/>
              <a:gd name="connsiteY1523" fmla="*/ 1012227 h 2380521"/>
              <a:gd name="connsiteX1524" fmla="*/ 5012445 w 8023328"/>
              <a:gd name="connsiteY1524" fmla="*/ 998371 h 2380521"/>
              <a:gd name="connsiteX1525" fmla="*/ 4940157 w 8023328"/>
              <a:gd name="connsiteY1525" fmla="*/ 998371 h 2380521"/>
              <a:gd name="connsiteX1526" fmla="*/ 4954013 w 8023328"/>
              <a:gd name="connsiteY1526" fmla="*/ 1012227 h 2380521"/>
              <a:gd name="connsiteX1527" fmla="*/ 4940157 w 8023328"/>
              <a:gd name="connsiteY1527" fmla="*/ 1024625 h 2380521"/>
              <a:gd name="connsiteX1528" fmla="*/ 4927760 w 8023328"/>
              <a:gd name="connsiteY1528" fmla="*/ 1012227 h 2380521"/>
              <a:gd name="connsiteX1529" fmla="*/ 4940157 w 8023328"/>
              <a:gd name="connsiteY1529" fmla="*/ 998371 h 2380521"/>
              <a:gd name="connsiteX1530" fmla="*/ 4865953 w 8023328"/>
              <a:gd name="connsiteY1530" fmla="*/ 998371 h 2380521"/>
              <a:gd name="connsiteX1531" fmla="*/ 4879809 w 8023328"/>
              <a:gd name="connsiteY1531" fmla="*/ 1012227 h 2380521"/>
              <a:gd name="connsiteX1532" fmla="*/ 4865953 w 8023328"/>
              <a:gd name="connsiteY1532" fmla="*/ 1024625 h 2380521"/>
              <a:gd name="connsiteX1533" fmla="*/ 4853556 w 8023328"/>
              <a:gd name="connsiteY1533" fmla="*/ 1012227 h 2380521"/>
              <a:gd name="connsiteX1534" fmla="*/ 4865953 w 8023328"/>
              <a:gd name="connsiteY1534" fmla="*/ 998371 h 2380521"/>
              <a:gd name="connsiteX1535" fmla="*/ 4797514 w 8023328"/>
              <a:gd name="connsiteY1535" fmla="*/ 998371 h 2380521"/>
              <a:gd name="connsiteX1536" fmla="*/ 4812303 w 8023328"/>
              <a:gd name="connsiteY1536" fmla="*/ 1012227 h 2380521"/>
              <a:gd name="connsiteX1537" fmla="*/ 4797514 w 8023328"/>
              <a:gd name="connsiteY1537" fmla="*/ 1024625 h 2380521"/>
              <a:gd name="connsiteX1538" fmla="*/ 4782725 w 8023328"/>
              <a:gd name="connsiteY1538" fmla="*/ 1012227 h 2380521"/>
              <a:gd name="connsiteX1539" fmla="*/ 4797514 w 8023328"/>
              <a:gd name="connsiteY1539" fmla="*/ 998371 h 2380521"/>
              <a:gd name="connsiteX1540" fmla="*/ 4726684 w 8023328"/>
              <a:gd name="connsiteY1540" fmla="*/ 998371 h 2380521"/>
              <a:gd name="connsiteX1541" fmla="*/ 4741472 w 8023328"/>
              <a:gd name="connsiteY1541" fmla="*/ 1012227 h 2380521"/>
              <a:gd name="connsiteX1542" fmla="*/ 4726684 w 8023328"/>
              <a:gd name="connsiteY1542" fmla="*/ 1024625 h 2380521"/>
              <a:gd name="connsiteX1543" fmla="*/ 4711896 w 8023328"/>
              <a:gd name="connsiteY1543" fmla="*/ 1012227 h 2380521"/>
              <a:gd name="connsiteX1544" fmla="*/ 4726684 w 8023328"/>
              <a:gd name="connsiteY1544" fmla="*/ 998371 h 2380521"/>
              <a:gd name="connsiteX1545" fmla="*/ 4655853 w 8023328"/>
              <a:gd name="connsiteY1545" fmla="*/ 998371 h 2380521"/>
              <a:gd name="connsiteX1546" fmla="*/ 4670642 w 8023328"/>
              <a:gd name="connsiteY1546" fmla="*/ 1012227 h 2380521"/>
              <a:gd name="connsiteX1547" fmla="*/ 4655853 w 8023328"/>
              <a:gd name="connsiteY1547" fmla="*/ 1024625 h 2380521"/>
              <a:gd name="connsiteX1548" fmla="*/ 4641064 w 8023328"/>
              <a:gd name="connsiteY1548" fmla="*/ 1012227 h 2380521"/>
              <a:gd name="connsiteX1549" fmla="*/ 4655853 w 8023328"/>
              <a:gd name="connsiteY1549" fmla="*/ 998371 h 2380521"/>
              <a:gd name="connsiteX1550" fmla="*/ 4584091 w 8023328"/>
              <a:gd name="connsiteY1550" fmla="*/ 998371 h 2380521"/>
              <a:gd name="connsiteX1551" fmla="*/ 4596488 w 8023328"/>
              <a:gd name="connsiteY1551" fmla="*/ 1012227 h 2380521"/>
              <a:gd name="connsiteX1552" fmla="*/ 4584091 w 8023328"/>
              <a:gd name="connsiteY1552" fmla="*/ 1024625 h 2380521"/>
              <a:gd name="connsiteX1553" fmla="*/ 4570235 w 8023328"/>
              <a:gd name="connsiteY1553" fmla="*/ 1012227 h 2380521"/>
              <a:gd name="connsiteX1554" fmla="*/ 4584091 w 8023328"/>
              <a:gd name="connsiteY1554" fmla="*/ 998371 h 2380521"/>
              <a:gd name="connsiteX1555" fmla="*/ 4513260 w 8023328"/>
              <a:gd name="connsiteY1555" fmla="*/ 998371 h 2380521"/>
              <a:gd name="connsiteX1556" fmla="*/ 4525657 w 8023328"/>
              <a:gd name="connsiteY1556" fmla="*/ 1012227 h 2380521"/>
              <a:gd name="connsiteX1557" fmla="*/ 4513260 w 8023328"/>
              <a:gd name="connsiteY1557" fmla="*/ 1024625 h 2380521"/>
              <a:gd name="connsiteX1558" fmla="*/ 4499404 w 8023328"/>
              <a:gd name="connsiteY1558" fmla="*/ 1012227 h 2380521"/>
              <a:gd name="connsiteX1559" fmla="*/ 4513260 w 8023328"/>
              <a:gd name="connsiteY1559" fmla="*/ 998371 h 2380521"/>
              <a:gd name="connsiteX1560" fmla="*/ 4439056 w 8023328"/>
              <a:gd name="connsiteY1560" fmla="*/ 998371 h 2380521"/>
              <a:gd name="connsiteX1561" fmla="*/ 4451453 w 8023328"/>
              <a:gd name="connsiteY1561" fmla="*/ 1012227 h 2380521"/>
              <a:gd name="connsiteX1562" fmla="*/ 4439056 w 8023328"/>
              <a:gd name="connsiteY1562" fmla="*/ 1024625 h 2380521"/>
              <a:gd name="connsiteX1563" fmla="*/ 4425200 w 8023328"/>
              <a:gd name="connsiteY1563" fmla="*/ 1012227 h 2380521"/>
              <a:gd name="connsiteX1564" fmla="*/ 4439056 w 8023328"/>
              <a:gd name="connsiteY1564" fmla="*/ 998371 h 2380521"/>
              <a:gd name="connsiteX1565" fmla="*/ 4366768 w 8023328"/>
              <a:gd name="connsiteY1565" fmla="*/ 998371 h 2380521"/>
              <a:gd name="connsiteX1566" fmla="*/ 4380624 w 8023328"/>
              <a:gd name="connsiteY1566" fmla="*/ 1012227 h 2380521"/>
              <a:gd name="connsiteX1567" fmla="*/ 4366768 w 8023328"/>
              <a:gd name="connsiteY1567" fmla="*/ 1024625 h 2380521"/>
              <a:gd name="connsiteX1568" fmla="*/ 4354371 w 8023328"/>
              <a:gd name="connsiteY1568" fmla="*/ 1012227 h 2380521"/>
              <a:gd name="connsiteX1569" fmla="*/ 4366768 w 8023328"/>
              <a:gd name="connsiteY1569" fmla="*/ 998371 h 2380521"/>
              <a:gd name="connsiteX1570" fmla="*/ 4295937 w 8023328"/>
              <a:gd name="connsiteY1570" fmla="*/ 998371 h 2380521"/>
              <a:gd name="connsiteX1571" fmla="*/ 4309793 w 8023328"/>
              <a:gd name="connsiteY1571" fmla="*/ 1012227 h 2380521"/>
              <a:gd name="connsiteX1572" fmla="*/ 4295937 w 8023328"/>
              <a:gd name="connsiteY1572" fmla="*/ 1024625 h 2380521"/>
              <a:gd name="connsiteX1573" fmla="*/ 4283540 w 8023328"/>
              <a:gd name="connsiteY1573" fmla="*/ 1012227 h 2380521"/>
              <a:gd name="connsiteX1574" fmla="*/ 4295937 w 8023328"/>
              <a:gd name="connsiteY1574" fmla="*/ 998371 h 2380521"/>
              <a:gd name="connsiteX1575" fmla="*/ 4225107 w 8023328"/>
              <a:gd name="connsiteY1575" fmla="*/ 998371 h 2380521"/>
              <a:gd name="connsiteX1576" fmla="*/ 4238963 w 8023328"/>
              <a:gd name="connsiteY1576" fmla="*/ 1012227 h 2380521"/>
              <a:gd name="connsiteX1577" fmla="*/ 4225107 w 8023328"/>
              <a:gd name="connsiteY1577" fmla="*/ 1024625 h 2380521"/>
              <a:gd name="connsiteX1578" fmla="*/ 4212710 w 8023328"/>
              <a:gd name="connsiteY1578" fmla="*/ 1012227 h 2380521"/>
              <a:gd name="connsiteX1579" fmla="*/ 4225107 w 8023328"/>
              <a:gd name="connsiteY1579" fmla="*/ 998371 h 2380521"/>
              <a:gd name="connsiteX1580" fmla="*/ 4153295 w 8023328"/>
              <a:gd name="connsiteY1580" fmla="*/ 998371 h 2380521"/>
              <a:gd name="connsiteX1581" fmla="*/ 4168083 w 8023328"/>
              <a:gd name="connsiteY1581" fmla="*/ 1012227 h 2380521"/>
              <a:gd name="connsiteX1582" fmla="*/ 4153295 w 8023328"/>
              <a:gd name="connsiteY1582" fmla="*/ 1024625 h 2380521"/>
              <a:gd name="connsiteX1583" fmla="*/ 4138507 w 8023328"/>
              <a:gd name="connsiteY1583" fmla="*/ 1012227 h 2380521"/>
              <a:gd name="connsiteX1584" fmla="*/ 4153295 w 8023328"/>
              <a:gd name="connsiteY1584" fmla="*/ 998371 h 2380521"/>
              <a:gd name="connsiteX1585" fmla="*/ 4082465 w 8023328"/>
              <a:gd name="connsiteY1585" fmla="*/ 998371 h 2380521"/>
              <a:gd name="connsiteX1586" fmla="*/ 4097254 w 8023328"/>
              <a:gd name="connsiteY1586" fmla="*/ 1012227 h 2380521"/>
              <a:gd name="connsiteX1587" fmla="*/ 4082465 w 8023328"/>
              <a:gd name="connsiteY1587" fmla="*/ 1024625 h 2380521"/>
              <a:gd name="connsiteX1588" fmla="*/ 4067676 w 8023328"/>
              <a:gd name="connsiteY1588" fmla="*/ 1012227 h 2380521"/>
              <a:gd name="connsiteX1589" fmla="*/ 4082465 w 8023328"/>
              <a:gd name="connsiteY1589" fmla="*/ 998371 h 2380521"/>
              <a:gd name="connsiteX1590" fmla="*/ 4011635 w 8023328"/>
              <a:gd name="connsiteY1590" fmla="*/ 998371 h 2380521"/>
              <a:gd name="connsiteX1591" fmla="*/ 4026423 w 8023328"/>
              <a:gd name="connsiteY1591" fmla="*/ 1012227 h 2380521"/>
              <a:gd name="connsiteX1592" fmla="*/ 4011635 w 8023328"/>
              <a:gd name="connsiteY1592" fmla="*/ 1024625 h 2380521"/>
              <a:gd name="connsiteX1593" fmla="*/ 3996847 w 8023328"/>
              <a:gd name="connsiteY1593" fmla="*/ 1012227 h 2380521"/>
              <a:gd name="connsiteX1594" fmla="*/ 4011635 w 8023328"/>
              <a:gd name="connsiteY1594" fmla="*/ 998371 h 2380521"/>
              <a:gd name="connsiteX1595" fmla="*/ 3939871 w 8023328"/>
              <a:gd name="connsiteY1595" fmla="*/ 998371 h 2380521"/>
              <a:gd name="connsiteX1596" fmla="*/ 3952268 w 8023328"/>
              <a:gd name="connsiteY1596" fmla="*/ 1012227 h 2380521"/>
              <a:gd name="connsiteX1597" fmla="*/ 3939871 w 8023328"/>
              <a:gd name="connsiteY1597" fmla="*/ 1024625 h 2380521"/>
              <a:gd name="connsiteX1598" fmla="*/ 3926015 w 8023328"/>
              <a:gd name="connsiteY1598" fmla="*/ 1012227 h 2380521"/>
              <a:gd name="connsiteX1599" fmla="*/ 3939871 w 8023328"/>
              <a:gd name="connsiteY1599" fmla="*/ 998371 h 2380521"/>
              <a:gd name="connsiteX1600" fmla="*/ 3869042 w 8023328"/>
              <a:gd name="connsiteY1600" fmla="*/ 998371 h 2380521"/>
              <a:gd name="connsiteX1601" fmla="*/ 3881439 w 8023328"/>
              <a:gd name="connsiteY1601" fmla="*/ 1013160 h 2380521"/>
              <a:gd name="connsiteX1602" fmla="*/ 3869042 w 8023328"/>
              <a:gd name="connsiteY1602" fmla="*/ 1027949 h 2380521"/>
              <a:gd name="connsiteX1603" fmla="*/ 3855186 w 8023328"/>
              <a:gd name="connsiteY1603" fmla="*/ 1013160 h 2380521"/>
              <a:gd name="connsiteX1604" fmla="*/ 3869042 w 8023328"/>
              <a:gd name="connsiteY1604" fmla="*/ 998371 h 2380521"/>
              <a:gd name="connsiteX1605" fmla="*/ 3798211 w 8023328"/>
              <a:gd name="connsiteY1605" fmla="*/ 998371 h 2380521"/>
              <a:gd name="connsiteX1606" fmla="*/ 3810608 w 8023328"/>
              <a:gd name="connsiteY1606" fmla="*/ 1013160 h 2380521"/>
              <a:gd name="connsiteX1607" fmla="*/ 3798211 w 8023328"/>
              <a:gd name="connsiteY1607" fmla="*/ 1027949 h 2380521"/>
              <a:gd name="connsiteX1608" fmla="*/ 3784355 w 8023328"/>
              <a:gd name="connsiteY1608" fmla="*/ 1013160 h 2380521"/>
              <a:gd name="connsiteX1609" fmla="*/ 3798211 w 8023328"/>
              <a:gd name="connsiteY1609" fmla="*/ 998371 h 2380521"/>
              <a:gd name="connsiteX1610" fmla="*/ 3725922 w 8023328"/>
              <a:gd name="connsiteY1610" fmla="*/ 998371 h 2380521"/>
              <a:gd name="connsiteX1611" fmla="*/ 3739778 w 8023328"/>
              <a:gd name="connsiteY1611" fmla="*/ 1013160 h 2380521"/>
              <a:gd name="connsiteX1612" fmla="*/ 3725922 w 8023328"/>
              <a:gd name="connsiteY1612" fmla="*/ 1027949 h 2380521"/>
              <a:gd name="connsiteX1613" fmla="*/ 3713525 w 8023328"/>
              <a:gd name="connsiteY1613" fmla="*/ 1013160 h 2380521"/>
              <a:gd name="connsiteX1614" fmla="*/ 3725922 w 8023328"/>
              <a:gd name="connsiteY1614" fmla="*/ 998371 h 2380521"/>
              <a:gd name="connsiteX1615" fmla="*/ 724105 w 8023328"/>
              <a:gd name="connsiteY1615" fmla="*/ 998371 h 2380521"/>
              <a:gd name="connsiteX1616" fmla="*/ 737962 w 8023328"/>
              <a:gd name="connsiteY1616" fmla="*/ 1010768 h 2380521"/>
              <a:gd name="connsiteX1617" fmla="*/ 724105 w 8023328"/>
              <a:gd name="connsiteY1617" fmla="*/ 1024625 h 2380521"/>
              <a:gd name="connsiteX1618" fmla="*/ 711707 w 8023328"/>
              <a:gd name="connsiteY1618" fmla="*/ 1010768 h 2380521"/>
              <a:gd name="connsiteX1619" fmla="*/ 724105 w 8023328"/>
              <a:gd name="connsiteY1619" fmla="*/ 998371 h 2380521"/>
              <a:gd name="connsiteX1620" fmla="*/ 653274 w 8023328"/>
              <a:gd name="connsiteY1620" fmla="*/ 998371 h 2380521"/>
              <a:gd name="connsiteX1621" fmla="*/ 667129 w 8023328"/>
              <a:gd name="connsiteY1621" fmla="*/ 1010768 h 2380521"/>
              <a:gd name="connsiteX1622" fmla="*/ 653274 w 8023328"/>
              <a:gd name="connsiteY1622" fmla="*/ 1024625 h 2380521"/>
              <a:gd name="connsiteX1623" fmla="*/ 640877 w 8023328"/>
              <a:gd name="connsiteY1623" fmla="*/ 1010768 h 2380521"/>
              <a:gd name="connsiteX1624" fmla="*/ 653274 w 8023328"/>
              <a:gd name="connsiteY1624" fmla="*/ 998371 h 2380521"/>
              <a:gd name="connsiteX1625" fmla="*/ 582446 w 8023328"/>
              <a:gd name="connsiteY1625" fmla="*/ 998371 h 2380521"/>
              <a:gd name="connsiteX1626" fmla="*/ 596301 w 8023328"/>
              <a:gd name="connsiteY1626" fmla="*/ 1010768 h 2380521"/>
              <a:gd name="connsiteX1627" fmla="*/ 582446 w 8023328"/>
              <a:gd name="connsiteY1627" fmla="*/ 1024625 h 2380521"/>
              <a:gd name="connsiteX1628" fmla="*/ 570047 w 8023328"/>
              <a:gd name="connsiteY1628" fmla="*/ 1010768 h 2380521"/>
              <a:gd name="connsiteX1629" fmla="*/ 582446 w 8023328"/>
              <a:gd name="connsiteY1629" fmla="*/ 998371 h 2380521"/>
              <a:gd name="connsiteX1630" fmla="*/ 513636 w 8023328"/>
              <a:gd name="connsiteY1630" fmla="*/ 998371 h 2380521"/>
              <a:gd name="connsiteX1631" fmla="*/ 528813 w 8023328"/>
              <a:gd name="connsiteY1631" fmla="*/ 1010768 h 2380521"/>
              <a:gd name="connsiteX1632" fmla="*/ 513636 w 8023328"/>
              <a:gd name="connsiteY1632" fmla="*/ 1024625 h 2380521"/>
              <a:gd name="connsiteX1633" fmla="*/ 499216 w 8023328"/>
              <a:gd name="connsiteY1633" fmla="*/ 1010768 h 2380521"/>
              <a:gd name="connsiteX1634" fmla="*/ 513636 w 8023328"/>
              <a:gd name="connsiteY1634" fmla="*/ 998371 h 2380521"/>
              <a:gd name="connsiteX1635" fmla="*/ 439802 w 8023328"/>
              <a:gd name="connsiteY1635" fmla="*/ 998371 h 2380521"/>
              <a:gd name="connsiteX1636" fmla="*/ 454592 w 8023328"/>
              <a:gd name="connsiteY1636" fmla="*/ 1010768 h 2380521"/>
              <a:gd name="connsiteX1637" fmla="*/ 439802 w 8023328"/>
              <a:gd name="connsiteY1637" fmla="*/ 1024625 h 2380521"/>
              <a:gd name="connsiteX1638" fmla="*/ 425014 w 8023328"/>
              <a:gd name="connsiteY1638" fmla="*/ 1010768 h 2380521"/>
              <a:gd name="connsiteX1639" fmla="*/ 439802 w 8023328"/>
              <a:gd name="connsiteY1639" fmla="*/ 998371 h 2380521"/>
              <a:gd name="connsiteX1640" fmla="*/ 368040 w 8023328"/>
              <a:gd name="connsiteY1640" fmla="*/ 998371 h 2380521"/>
              <a:gd name="connsiteX1641" fmla="*/ 380438 w 8023328"/>
              <a:gd name="connsiteY1641" fmla="*/ 1012227 h 2380521"/>
              <a:gd name="connsiteX1642" fmla="*/ 368040 w 8023328"/>
              <a:gd name="connsiteY1642" fmla="*/ 1024625 h 2380521"/>
              <a:gd name="connsiteX1643" fmla="*/ 354183 w 8023328"/>
              <a:gd name="connsiteY1643" fmla="*/ 1012227 h 2380521"/>
              <a:gd name="connsiteX1644" fmla="*/ 368040 w 8023328"/>
              <a:gd name="connsiteY1644" fmla="*/ 998371 h 2380521"/>
              <a:gd name="connsiteX1645" fmla="*/ 297208 w 8023328"/>
              <a:gd name="connsiteY1645" fmla="*/ 998371 h 2380521"/>
              <a:gd name="connsiteX1646" fmla="*/ 309606 w 8023328"/>
              <a:gd name="connsiteY1646" fmla="*/ 1012227 h 2380521"/>
              <a:gd name="connsiteX1647" fmla="*/ 297208 w 8023328"/>
              <a:gd name="connsiteY1647" fmla="*/ 1024625 h 2380521"/>
              <a:gd name="connsiteX1648" fmla="*/ 283352 w 8023328"/>
              <a:gd name="connsiteY1648" fmla="*/ 1012227 h 2380521"/>
              <a:gd name="connsiteX1649" fmla="*/ 297208 w 8023328"/>
              <a:gd name="connsiteY1649" fmla="*/ 998371 h 2380521"/>
              <a:gd name="connsiteX1650" fmla="*/ 226379 w 8023328"/>
              <a:gd name="connsiteY1650" fmla="*/ 998371 h 2380521"/>
              <a:gd name="connsiteX1651" fmla="*/ 238778 w 8023328"/>
              <a:gd name="connsiteY1651" fmla="*/ 1012227 h 2380521"/>
              <a:gd name="connsiteX1652" fmla="*/ 226379 w 8023328"/>
              <a:gd name="connsiteY1652" fmla="*/ 1024625 h 2380521"/>
              <a:gd name="connsiteX1653" fmla="*/ 212523 w 8023328"/>
              <a:gd name="connsiteY1653" fmla="*/ 1012227 h 2380521"/>
              <a:gd name="connsiteX1654" fmla="*/ 226379 w 8023328"/>
              <a:gd name="connsiteY1654" fmla="*/ 998371 h 2380521"/>
              <a:gd name="connsiteX1655" fmla="*/ 154085 w 8023328"/>
              <a:gd name="connsiteY1655" fmla="*/ 998371 h 2380521"/>
              <a:gd name="connsiteX1656" fmla="*/ 167941 w 8023328"/>
              <a:gd name="connsiteY1656" fmla="*/ 1012227 h 2380521"/>
              <a:gd name="connsiteX1657" fmla="*/ 154085 w 8023328"/>
              <a:gd name="connsiteY1657" fmla="*/ 1024625 h 2380521"/>
              <a:gd name="connsiteX1658" fmla="*/ 141687 w 8023328"/>
              <a:gd name="connsiteY1658" fmla="*/ 1012227 h 2380521"/>
              <a:gd name="connsiteX1659" fmla="*/ 154085 w 8023328"/>
              <a:gd name="connsiteY1659" fmla="*/ 998371 h 2380521"/>
              <a:gd name="connsiteX1660" fmla="*/ 83255 w 8023328"/>
              <a:gd name="connsiteY1660" fmla="*/ 998371 h 2380521"/>
              <a:gd name="connsiteX1661" fmla="*/ 97111 w 8023328"/>
              <a:gd name="connsiteY1661" fmla="*/ 1012227 h 2380521"/>
              <a:gd name="connsiteX1662" fmla="*/ 83255 w 8023328"/>
              <a:gd name="connsiteY1662" fmla="*/ 1024625 h 2380521"/>
              <a:gd name="connsiteX1663" fmla="*/ 70858 w 8023328"/>
              <a:gd name="connsiteY1663" fmla="*/ 1012227 h 2380521"/>
              <a:gd name="connsiteX1664" fmla="*/ 83255 w 8023328"/>
              <a:gd name="connsiteY1664" fmla="*/ 998371 h 2380521"/>
              <a:gd name="connsiteX1665" fmla="*/ 12019 w 8023328"/>
              <a:gd name="connsiteY1665" fmla="*/ 998371 h 2380521"/>
              <a:gd name="connsiteX1666" fmla="*/ 26260 w 8023328"/>
              <a:gd name="connsiteY1666" fmla="*/ 1012227 h 2380521"/>
              <a:gd name="connsiteX1667" fmla="*/ 12019 w 8023328"/>
              <a:gd name="connsiteY1667" fmla="*/ 1024625 h 2380521"/>
              <a:gd name="connsiteX1668" fmla="*/ 27 w 8023328"/>
              <a:gd name="connsiteY1668" fmla="*/ 1012227 h 2380521"/>
              <a:gd name="connsiteX1669" fmla="*/ 12019 w 8023328"/>
              <a:gd name="connsiteY1669" fmla="*/ 998371 h 2380521"/>
              <a:gd name="connsiteX1670" fmla="*/ 870603 w 8023328"/>
              <a:gd name="connsiteY1670" fmla="*/ 927542 h 2380521"/>
              <a:gd name="connsiteX1671" fmla="*/ 883001 w 8023328"/>
              <a:gd name="connsiteY1671" fmla="*/ 939939 h 2380521"/>
              <a:gd name="connsiteX1672" fmla="*/ 870603 w 8023328"/>
              <a:gd name="connsiteY1672" fmla="*/ 953796 h 2380521"/>
              <a:gd name="connsiteX1673" fmla="*/ 856747 w 8023328"/>
              <a:gd name="connsiteY1673" fmla="*/ 939939 h 2380521"/>
              <a:gd name="connsiteX1674" fmla="*/ 870603 w 8023328"/>
              <a:gd name="connsiteY1674" fmla="*/ 927542 h 2380521"/>
              <a:gd name="connsiteX1675" fmla="*/ 799773 w 8023328"/>
              <a:gd name="connsiteY1675" fmla="*/ 927542 h 2380521"/>
              <a:gd name="connsiteX1676" fmla="*/ 812171 w 8023328"/>
              <a:gd name="connsiteY1676" fmla="*/ 939939 h 2380521"/>
              <a:gd name="connsiteX1677" fmla="*/ 799773 w 8023328"/>
              <a:gd name="connsiteY1677" fmla="*/ 953796 h 2380521"/>
              <a:gd name="connsiteX1678" fmla="*/ 785917 w 8023328"/>
              <a:gd name="connsiteY1678" fmla="*/ 939939 h 2380521"/>
              <a:gd name="connsiteX1679" fmla="*/ 799773 w 8023328"/>
              <a:gd name="connsiteY1679" fmla="*/ 927542 h 2380521"/>
              <a:gd name="connsiteX1680" fmla="*/ 724112 w 8023328"/>
              <a:gd name="connsiteY1680" fmla="*/ 927542 h 2380521"/>
              <a:gd name="connsiteX1681" fmla="*/ 737968 w 8023328"/>
              <a:gd name="connsiteY1681" fmla="*/ 939939 h 2380521"/>
              <a:gd name="connsiteX1682" fmla="*/ 724112 w 8023328"/>
              <a:gd name="connsiteY1682" fmla="*/ 953796 h 2380521"/>
              <a:gd name="connsiteX1683" fmla="*/ 711714 w 8023328"/>
              <a:gd name="connsiteY1683" fmla="*/ 939939 h 2380521"/>
              <a:gd name="connsiteX1684" fmla="*/ 724112 w 8023328"/>
              <a:gd name="connsiteY1684" fmla="*/ 927542 h 2380521"/>
              <a:gd name="connsiteX1685" fmla="*/ 653281 w 8023328"/>
              <a:gd name="connsiteY1685" fmla="*/ 927542 h 2380521"/>
              <a:gd name="connsiteX1686" fmla="*/ 667137 w 8023328"/>
              <a:gd name="connsiteY1686" fmla="*/ 939939 h 2380521"/>
              <a:gd name="connsiteX1687" fmla="*/ 653281 w 8023328"/>
              <a:gd name="connsiteY1687" fmla="*/ 953796 h 2380521"/>
              <a:gd name="connsiteX1688" fmla="*/ 640884 w 8023328"/>
              <a:gd name="connsiteY1688" fmla="*/ 939939 h 2380521"/>
              <a:gd name="connsiteX1689" fmla="*/ 653281 w 8023328"/>
              <a:gd name="connsiteY1689" fmla="*/ 927542 h 2380521"/>
              <a:gd name="connsiteX1690" fmla="*/ 582453 w 8023328"/>
              <a:gd name="connsiteY1690" fmla="*/ 927542 h 2380521"/>
              <a:gd name="connsiteX1691" fmla="*/ 596309 w 8023328"/>
              <a:gd name="connsiteY1691" fmla="*/ 939939 h 2380521"/>
              <a:gd name="connsiteX1692" fmla="*/ 582453 w 8023328"/>
              <a:gd name="connsiteY1692" fmla="*/ 953796 h 2380521"/>
              <a:gd name="connsiteX1693" fmla="*/ 570054 w 8023328"/>
              <a:gd name="connsiteY1693" fmla="*/ 939939 h 2380521"/>
              <a:gd name="connsiteX1694" fmla="*/ 582453 w 8023328"/>
              <a:gd name="connsiteY1694" fmla="*/ 927542 h 2380521"/>
              <a:gd name="connsiteX1695" fmla="*/ 513642 w 8023328"/>
              <a:gd name="connsiteY1695" fmla="*/ 927542 h 2380521"/>
              <a:gd name="connsiteX1696" fmla="*/ 528820 w 8023328"/>
              <a:gd name="connsiteY1696" fmla="*/ 939939 h 2380521"/>
              <a:gd name="connsiteX1697" fmla="*/ 513642 w 8023328"/>
              <a:gd name="connsiteY1697" fmla="*/ 953796 h 2380521"/>
              <a:gd name="connsiteX1698" fmla="*/ 499223 w 8023328"/>
              <a:gd name="connsiteY1698" fmla="*/ 939939 h 2380521"/>
              <a:gd name="connsiteX1699" fmla="*/ 513642 w 8023328"/>
              <a:gd name="connsiteY1699" fmla="*/ 927542 h 2380521"/>
              <a:gd name="connsiteX1700" fmla="*/ 439809 w 8023328"/>
              <a:gd name="connsiteY1700" fmla="*/ 927542 h 2380521"/>
              <a:gd name="connsiteX1701" fmla="*/ 454599 w 8023328"/>
              <a:gd name="connsiteY1701" fmla="*/ 939939 h 2380521"/>
              <a:gd name="connsiteX1702" fmla="*/ 439809 w 8023328"/>
              <a:gd name="connsiteY1702" fmla="*/ 953796 h 2380521"/>
              <a:gd name="connsiteX1703" fmla="*/ 425021 w 8023328"/>
              <a:gd name="connsiteY1703" fmla="*/ 939939 h 2380521"/>
              <a:gd name="connsiteX1704" fmla="*/ 439809 w 8023328"/>
              <a:gd name="connsiteY1704" fmla="*/ 927542 h 2380521"/>
              <a:gd name="connsiteX1705" fmla="*/ 368046 w 8023328"/>
              <a:gd name="connsiteY1705" fmla="*/ 927542 h 2380521"/>
              <a:gd name="connsiteX1706" fmla="*/ 380444 w 8023328"/>
              <a:gd name="connsiteY1706" fmla="*/ 939939 h 2380521"/>
              <a:gd name="connsiteX1707" fmla="*/ 368046 w 8023328"/>
              <a:gd name="connsiteY1707" fmla="*/ 953796 h 2380521"/>
              <a:gd name="connsiteX1708" fmla="*/ 354191 w 8023328"/>
              <a:gd name="connsiteY1708" fmla="*/ 939939 h 2380521"/>
              <a:gd name="connsiteX1709" fmla="*/ 368046 w 8023328"/>
              <a:gd name="connsiteY1709" fmla="*/ 927542 h 2380521"/>
              <a:gd name="connsiteX1710" fmla="*/ 297214 w 8023328"/>
              <a:gd name="connsiteY1710" fmla="*/ 927542 h 2380521"/>
              <a:gd name="connsiteX1711" fmla="*/ 309612 w 8023328"/>
              <a:gd name="connsiteY1711" fmla="*/ 939939 h 2380521"/>
              <a:gd name="connsiteX1712" fmla="*/ 297214 w 8023328"/>
              <a:gd name="connsiteY1712" fmla="*/ 953796 h 2380521"/>
              <a:gd name="connsiteX1713" fmla="*/ 283359 w 8023328"/>
              <a:gd name="connsiteY1713" fmla="*/ 939939 h 2380521"/>
              <a:gd name="connsiteX1714" fmla="*/ 297214 w 8023328"/>
              <a:gd name="connsiteY1714" fmla="*/ 927542 h 2380521"/>
              <a:gd name="connsiteX1715" fmla="*/ 226386 w 8023328"/>
              <a:gd name="connsiteY1715" fmla="*/ 927542 h 2380521"/>
              <a:gd name="connsiteX1716" fmla="*/ 238784 w 8023328"/>
              <a:gd name="connsiteY1716" fmla="*/ 939939 h 2380521"/>
              <a:gd name="connsiteX1717" fmla="*/ 226386 w 8023328"/>
              <a:gd name="connsiteY1717" fmla="*/ 953796 h 2380521"/>
              <a:gd name="connsiteX1718" fmla="*/ 212530 w 8023328"/>
              <a:gd name="connsiteY1718" fmla="*/ 939939 h 2380521"/>
              <a:gd name="connsiteX1719" fmla="*/ 226386 w 8023328"/>
              <a:gd name="connsiteY1719" fmla="*/ 927542 h 2380521"/>
              <a:gd name="connsiteX1720" fmla="*/ 154091 w 8023328"/>
              <a:gd name="connsiteY1720" fmla="*/ 927542 h 2380521"/>
              <a:gd name="connsiteX1721" fmla="*/ 167947 w 8023328"/>
              <a:gd name="connsiteY1721" fmla="*/ 939939 h 2380521"/>
              <a:gd name="connsiteX1722" fmla="*/ 154091 w 8023328"/>
              <a:gd name="connsiteY1722" fmla="*/ 953796 h 2380521"/>
              <a:gd name="connsiteX1723" fmla="*/ 141693 w 8023328"/>
              <a:gd name="connsiteY1723" fmla="*/ 939939 h 2380521"/>
              <a:gd name="connsiteX1724" fmla="*/ 154091 w 8023328"/>
              <a:gd name="connsiteY1724" fmla="*/ 927542 h 2380521"/>
              <a:gd name="connsiteX1725" fmla="*/ 83261 w 8023328"/>
              <a:gd name="connsiteY1725" fmla="*/ 927542 h 2380521"/>
              <a:gd name="connsiteX1726" fmla="*/ 97117 w 8023328"/>
              <a:gd name="connsiteY1726" fmla="*/ 939939 h 2380521"/>
              <a:gd name="connsiteX1727" fmla="*/ 83261 w 8023328"/>
              <a:gd name="connsiteY1727" fmla="*/ 953796 h 2380521"/>
              <a:gd name="connsiteX1728" fmla="*/ 70864 w 8023328"/>
              <a:gd name="connsiteY1728" fmla="*/ 939939 h 2380521"/>
              <a:gd name="connsiteX1729" fmla="*/ 83261 w 8023328"/>
              <a:gd name="connsiteY1729" fmla="*/ 927542 h 2380521"/>
              <a:gd name="connsiteX1730" fmla="*/ 12025 w 8023328"/>
              <a:gd name="connsiteY1730" fmla="*/ 927542 h 2380521"/>
              <a:gd name="connsiteX1731" fmla="*/ 26266 w 8023328"/>
              <a:gd name="connsiteY1731" fmla="*/ 939939 h 2380521"/>
              <a:gd name="connsiteX1732" fmla="*/ 12025 w 8023328"/>
              <a:gd name="connsiteY1732" fmla="*/ 953796 h 2380521"/>
              <a:gd name="connsiteX1733" fmla="*/ 33 w 8023328"/>
              <a:gd name="connsiteY1733" fmla="*/ 939939 h 2380521"/>
              <a:gd name="connsiteX1734" fmla="*/ 12025 w 8023328"/>
              <a:gd name="connsiteY1734" fmla="*/ 927542 h 2380521"/>
              <a:gd name="connsiteX1735" fmla="*/ 6581764 w 8023328"/>
              <a:gd name="connsiteY1735" fmla="*/ 924168 h 2380521"/>
              <a:gd name="connsiteX1736" fmla="*/ 6596552 w 8023328"/>
              <a:gd name="connsiteY1736" fmla="*/ 936565 h 2380521"/>
              <a:gd name="connsiteX1737" fmla="*/ 6581764 w 8023328"/>
              <a:gd name="connsiteY1737" fmla="*/ 950422 h 2380521"/>
              <a:gd name="connsiteX1738" fmla="*/ 6566976 w 8023328"/>
              <a:gd name="connsiteY1738" fmla="*/ 936565 h 2380521"/>
              <a:gd name="connsiteX1739" fmla="*/ 6581764 w 8023328"/>
              <a:gd name="connsiteY1739" fmla="*/ 924168 h 2380521"/>
              <a:gd name="connsiteX1740" fmla="*/ 6510933 w 8023328"/>
              <a:gd name="connsiteY1740" fmla="*/ 924168 h 2380521"/>
              <a:gd name="connsiteX1741" fmla="*/ 6525722 w 8023328"/>
              <a:gd name="connsiteY1741" fmla="*/ 936565 h 2380521"/>
              <a:gd name="connsiteX1742" fmla="*/ 6510933 w 8023328"/>
              <a:gd name="connsiteY1742" fmla="*/ 950422 h 2380521"/>
              <a:gd name="connsiteX1743" fmla="*/ 6496144 w 8023328"/>
              <a:gd name="connsiteY1743" fmla="*/ 936565 h 2380521"/>
              <a:gd name="connsiteX1744" fmla="*/ 6510933 w 8023328"/>
              <a:gd name="connsiteY1744" fmla="*/ 924168 h 2380521"/>
              <a:gd name="connsiteX1745" fmla="*/ 6440492 w 8023328"/>
              <a:gd name="connsiteY1745" fmla="*/ 924168 h 2380521"/>
              <a:gd name="connsiteX1746" fmla="*/ 6454911 w 8023328"/>
              <a:gd name="connsiteY1746" fmla="*/ 936565 h 2380521"/>
              <a:gd name="connsiteX1747" fmla="*/ 6440492 w 8023328"/>
              <a:gd name="connsiteY1747" fmla="*/ 950422 h 2380521"/>
              <a:gd name="connsiteX1748" fmla="*/ 6425315 w 8023328"/>
              <a:gd name="connsiteY1748" fmla="*/ 936565 h 2380521"/>
              <a:gd name="connsiteX1749" fmla="*/ 6440492 w 8023328"/>
              <a:gd name="connsiteY1749" fmla="*/ 924168 h 2380521"/>
              <a:gd name="connsiteX1750" fmla="*/ 6368340 w 8023328"/>
              <a:gd name="connsiteY1750" fmla="*/ 924168 h 2380521"/>
              <a:gd name="connsiteX1751" fmla="*/ 6380737 w 8023328"/>
              <a:gd name="connsiteY1751" fmla="*/ 936565 h 2380521"/>
              <a:gd name="connsiteX1752" fmla="*/ 6368340 w 8023328"/>
              <a:gd name="connsiteY1752" fmla="*/ 950422 h 2380521"/>
              <a:gd name="connsiteX1753" fmla="*/ 6354484 w 8023328"/>
              <a:gd name="connsiteY1753" fmla="*/ 936565 h 2380521"/>
              <a:gd name="connsiteX1754" fmla="*/ 6368340 w 8023328"/>
              <a:gd name="connsiteY1754" fmla="*/ 924168 h 2380521"/>
              <a:gd name="connsiteX1755" fmla="*/ 6297511 w 8023328"/>
              <a:gd name="connsiteY1755" fmla="*/ 924168 h 2380521"/>
              <a:gd name="connsiteX1756" fmla="*/ 6309908 w 8023328"/>
              <a:gd name="connsiteY1756" fmla="*/ 936565 h 2380521"/>
              <a:gd name="connsiteX1757" fmla="*/ 6297511 w 8023328"/>
              <a:gd name="connsiteY1757" fmla="*/ 950422 h 2380521"/>
              <a:gd name="connsiteX1758" fmla="*/ 6283655 w 8023328"/>
              <a:gd name="connsiteY1758" fmla="*/ 936565 h 2380521"/>
              <a:gd name="connsiteX1759" fmla="*/ 6297511 w 8023328"/>
              <a:gd name="connsiteY1759" fmla="*/ 924168 h 2380521"/>
              <a:gd name="connsiteX1760" fmla="*/ 6226679 w 8023328"/>
              <a:gd name="connsiteY1760" fmla="*/ 924168 h 2380521"/>
              <a:gd name="connsiteX1761" fmla="*/ 6239076 w 8023328"/>
              <a:gd name="connsiteY1761" fmla="*/ 936565 h 2380521"/>
              <a:gd name="connsiteX1762" fmla="*/ 6226679 w 8023328"/>
              <a:gd name="connsiteY1762" fmla="*/ 950422 h 2380521"/>
              <a:gd name="connsiteX1763" fmla="*/ 6212823 w 8023328"/>
              <a:gd name="connsiteY1763" fmla="*/ 936565 h 2380521"/>
              <a:gd name="connsiteX1764" fmla="*/ 6226679 w 8023328"/>
              <a:gd name="connsiteY1764" fmla="*/ 924168 h 2380521"/>
              <a:gd name="connsiteX1765" fmla="*/ 6154391 w 8023328"/>
              <a:gd name="connsiteY1765" fmla="*/ 924168 h 2380521"/>
              <a:gd name="connsiteX1766" fmla="*/ 6168247 w 8023328"/>
              <a:gd name="connsiteY1766" fmla="*/ 936565 h 2380521"/>
              <a:gd name="connsiteX1767" fmla="*/ 6154391 w 8023328"/>
              <a:gd name="connsiteY1767" fmla="*/ 950422 h 2380521"/>
              <a:gd name="connsiteX1768" fmla="*/ 6141994 w 8023328"/>
              <a:gd name="connsiteY1768" fmla="*/ 936565 h 2380521"/>
              <a:gd name="connsiteX1769" fmla="*/ 6154391 w 8023328"/>
              <a:gd name="connsiteY1769" fmla="*/ 924168 h 2380521"/>
              <a:gd name="connsiteX1770" fmla="*/ 6083559 w 8023328"/>
              <a:gd name="connsiteY1770" fmla="*/ 924168 h 2380521"/>
              <a:gd name="connsiteX1771" fmla="*/ 6097415 w 8023328"/>
              <a:gd name="connsiteY1771" fmla="*/ 936565 h 2380521"/>
              <a:gd name="connsiteX1772" fmla="*/ 6083559 w 8023328"/>
              <a:gd name="connsiteY1772" fmla="*/ 950422 h 2380521"/>
              <a:gd name="connsiteX1773" fmla="*/ 6071162 w 8023328"/>
              <a:gd name="connsiteY1773" fmla="*/ 936565 h 2380521"/>
              <a:gd name="connsiteX1774" fmla="*/ 6083559 w 8023328"/>
              <a:gd name="connsiteY1774" fmla="*/ 924168 h 2380521"/>
              <a:gd name="connsiteX1775" fmla="*/ 6011748 w 8023328"/>
              <a:gd name="connsiteY1775" fmla="*/ 924168 h 2380521"/>
              <a:gd name="connsiteX1776" fmla="*/ 6026537 w 8023328"/>
              <a:gd name="connsiteY1776" fmla="*/ 936565 h 2380521"/>
              <a:gd name="connsiteX1777" fmla="*/ 6011748 w 8023328"/>
              <a:gd name="connsiteY1777" fmla="*/ 950422 h 2380521"/>
              <a:gd name="connsiteX1778" fmla="*/ 5996959 w 8023328"/>
              <a:gd name="connsiteY1778" fmla="*/ 936565 h 2380521"/>
              <a:gd name="connsiteX1779" fmla="*/ 6011748 w 8023328"/>
              <a:gd name="connsiteY1779" fmla="*/ 924168 h 2380521"/>
              <a:gd name="connsiteX1780" fmla="*/ 5940548 w 8023328"/>
              <a:gd name="connsiteY1780" fmla="*/ 924168 h 2380521"/>
              <a:gd name="connsiteX1781" fmla="*/ 5955726 w 8023328"/>
              <a:gd name="connsiteY1781" fmla="*/ 936565 h 2380521"/>
              <a:gd name="connsiteX1782" fmla="*/ 5940548 w 8023328"/>
              <a:gd name="connsiteY1782" fmla="*/ 950422 h 2380521"/>
              <a:gd name="connsiteX1783" fmla="*/ 5926130 w 8023328"/>
              <a:gd name="connsiteY1783" fmla="*/ 936565 h 2380521"/>
              <a:gd name="connsiteX1784" fmla="*/ 5940548 w 8023328"/>
              <a:gd name="connsiteY1784" fmla="*/ 924168 h 2380521"/>
              <a:gd name="connsiteX1785" fmla="*/ 5870088 w 8023328"/>
              <a:gd name="connsiteY1785" fmla="*/ 924168 h 2380521"/>
              <a:gd name="connsiteX1786" fmla="*/ 5884877 w 8023328"/>
              <a:gd name="connsiteY1786" fmla="*/ 936565 h 2380521"/>
              <a:gd name="connsiteX1787" fmla="*/ 5870088 w 8023328"/>
              <a:gd name="connsiteY1787" fmla="*/ 950422 h 2380521"/>
              <a:gd name="connsiteX1788" fmla="*/ 5855299 w 8023328"/>
              <a:gd name="connsiteY1788" fmla="*/ 936565 h 2380521"/>
              <a:gd name="connsiteX1789" fmla="*/ 5870088 w 8023328"/>
              <a:gd name="connsiteY1789" fmla="*/ 924168 h 2380521"/>
              <a:gd name="connsiteX1790" fmla="*/ 5798325 w 8023328"/>
              <a:gd name="connsiteY1790" fmla="*/ 924168 h 2380521"/>
              <a:gd name="connsiteX1791" fmla="*/ 5810722 w 8023328"/>
              <a:gd name="connsiteY1791" fmla="*/ 936565 h 2380521"/>
              <a:gd name="connsiteX1792" fmla="*/ 5798325 w 8023328"/>
              <a:gd name="connsiteY1792" fmla="*/ 950422 h 2380521"/>
              <a:gd name="connsiteX1793" fmla="*/ 5784469 w 8023328"/>
              <a:gd name="connsiteY1793" fmla="*/ 936565 h 2380521"/>
              <a:gd name="connsiteX1794" fmla="*/ 5798325 w 8023328"/>
              <a:gd name="connsiteY1794" fmla="*/ 924168 h 2380521"/>
              <a:gd name="connsiteX1795" fmla="*/ 5724122 w 8023328"/>
              <a:gd name="connsiteY1795" fmla="*/ 924168 h 2380521"/>
              <a:gd name="connsiteX1796" fmla="*/ 5736519 w 8023328"/>
              <a:gd name="connsiteY1796" fmla="*/ 936565 h 2380521"/>
              <a:gd name="connsiteX1797" fmla="*/ 5724122 w 8023328"/>
              <a:gd name="connsiteY1797" fmla="*/ 950422 h 2380521"/>
              <a:gd name="connsiteX1798" fmla="*/ 5710266 w 8023328"/>
              <a:gd name="connsiteY1798" fmla="*/ 936565 h 2380521"/>
              <a:gd name="connsiteX1799" fmla="*/ 5724122 w 8023328"/>
              <a:gd name="connsiteY1799" fmla="*/ 924168 h 2380521"/>
              <a:gd name="connsiteX1800" fmla="*/ 5653291 w 8023328"/>
              <a:gd name="connsiteY1800" fmla="*/ 924168 h 2380521"/>
              <a:gd name="connsiteX1801" fmla="*/ 5665688 w 8023328"/>
              <a:gd name="connsiteY1801" fmla="*/ 936565 h 2380521"/>
              <a:gd name="connsiteX1802" fmla="*/ 5653291 w 8023328"/>
              <a:gd name="connsiteY1802" fmla="*/ 950422 h 2380521"/>
              <a:gd name="connsiteX1803" fmla="*/ 5639435 w 8023328"/>
              <a:gd name="connsiteY1803" fmla="*/ 936565 h 2380521"/>
              <a:gd name="connsiteX1804" fmla="*/ 5653291 w 8023328"/>
              <a:gd name="connsiteY1804" fmla="*/ 924168 h 2380521"/>
              <a:gd name="connsiteX1805" fmla="*/ 5581002 w 8023328"/>
              <a:gd name="connsiteY1805" fmla="*/ 924168 h 2380521"/>
              <a:gd name="connsiteX1806" fmla="*/ 5594858 w 8023328"/>
              <a:gd name="connsiteY1806" fmla="*/ 936565 h 2380521"/>
              <a:gd name="connsiteX1807" fmla="*/ 5581002 w 8023328"/>
              <a:gd name="connsiteY1807" fmla="*/ 950422 h 2380521"/>
              <a:gd name="connsiteX1808" fmla="*/ 5568605 w 8023328"/>
              <a:gd name="connsiteY1808" fmla="*/ 936565 h 2380521"/>
              <a:gd name="connsiteX1809" fmla="*/ 5581002 w 8023328"/>
              <a:gd name="connsiteY1809" fmla="*/ 924168 h 2380521"/>
              <a:gd name="connsiteX1810" fmla="*/ 5510171 w 8023328"/>
              <a:gd name="connsiteY1810" fmla="*/ 924168 h 2380521"/>
              <a:gd name="connsiteX1811" fmla="*/ 5524027 w 8023328"/>
              <a:gd name="connsiteY1811" fmla="*/ 936565 h 2380521"/>
              <a:gd name="connsiteX1812" fmla="*/ 5510171 w 8023328"/>
              <a:gd name="connsiteY1812" fmla="*/ 950422 h 2380521"/>
              <a:gd name="connsiteX1813" fmla="*/ 5497774 w 8023328"/>
              <a:gd name="connsiteY1813" fmla="*/ 936565 h 2380521"/>
              <a:gd name="connsiteX1814" fmla="*/ 5510171 w 8023328"/>
              <a:gd name="connsiteY1814" fmla="*/ 924168 h 2380521"/>
              <a:gd name="connsiteX1815" fmla="*/ 5438937 w 8023328"/>
              <a:gd name="connsiteY1815" fmla="*/ 924168 h 2380521"/>
              <a:gd name="connsiteX1816" fmla="*/ 5453178 w 8023328"/>
              <a:gd name="connsiteY1816" fmla="*/ 936565 h 2380521"/>
              <a:gd name="connsiteX1817" fmla="*/ 5438937 w 8023328"/>
              <a:gd name="connsiteY1817" fmla="*/ 950422 h 2380521"/>
              <a:gd name="connsiteX1818" fmla="*/ 5426945 w 8023328"/>
              <a:gd name="connsiteY1818" fmla="*/ 936565 h 2380521"/>
              <a:gd name="connsiteX1819" fmla="*/ 5438937 w 8023328"/>
              <a:gd name="connsiteY1819" fmla="*/ 924168 h 2380521"/>
              <a:gd name="connsiteX1820" fmla="*/ 5367530 w 8023328"/>
              <a:gd name="connsiteY1820" fmla="*/ 924168 h 2380521"/>
              <a:gd name="connsiteX1821" fmla="*/ 5382318 w 8023328"/>
              <a:gd name="connsiteY1821" fmla="*/ 936565 h 2380521"/>
              <a:gd name="connsiteX1822" fmla="*/ 5367530 w 8023328"/>
              <a:gd name="connsiteY1822" fmla="*/ 950422 h 2380521"/>
              <a:gd name="connsiteX1823" fmla="*/ 5352742 w 8023328"/>
              <a:gd name="connsiteY1823" fmla="*/ 936565 h 2380521"/>
              <a:gd name="connsiteX1824" fmla="*/ 5367530 w 8023328"/>
              <a:gd name="connsiteY1824" fmla="*/ 924168 h 2380521"/>
              <a:gd name="connsiteX1825" fmla="*/ 5296699 w 8023328"/>
              <a:gd name="connsiteY1825" fmla="*/ 924168 h 2380521"/>
              <a:gd name="connsiteX1826" fmla="*/ 5311488 w 8023328"/>
              <a:gd name="connsiteY1826" fmla="*/ 936565 h 2380521"/>
              <a:gd name="connsiteX1827" fmla="*/ 5296699 w 8023328"/>
              <a:gd name="connsiteY1827" fmla="*/ 950422 h 2380521"/>
              <a:gd name="connsiteX1828" fmla="*/ 5281910 w 8023328"/>
              <a:gd name="connsiteY1828" fmla="*/ 936565 h 2380521"/>
              <a:gd name="connsiteX1829" fmla="*/ 5296699 w 8023328"/>
              <a:gd name="connsiteY1829" fmla="*/ 924168 h 2380521"/>
              <a:gd name="connsiteX1830" fmla="*/ 5225869 w 8023328"/>
              <a:gd name="connsiteY1830" fmla="*/ 924168 h 2380521"/>
              <a:gd name="connsiteX1831" fmla="*/ 5240657 w 8023328"/>
              <a:gd name="connsiteY1831" fmla="*/ 936565 h 2380521"/>
              <a:gd name="connsiteX1832" fmla="*/ 5225869 w 8023328"/>
              <a:gd name="connsiteY1832" fmla="*/ 950422 h 2380521"/>
              <a:gd name="connsiteX1833" fmla="*/ 5211081 w 8023328"/>
              <a:gd name="connsiteY1833" fmla="*/ 936565 h 2380521"/>
              <a:gd name="connsiteX1834" fmla="*/ 5225869 w 8023328"/>
              <a:gd name="connsiteY1834" fmla="*/ 924168 h 2380521"/>
              <a:gd name="connsiteX1835" fmla="*/ 5154105 w 8023328"/>
              <a:gd name="connsiteY1835" fmla="*/ 924168 h 2380521"/>
              <a:gd name="connsiteX1836" fmla="*/ 5166502 w 8023328"/>
              <a:gd name="connsiteY1836" fmla="*/ 936565 h 2380521"/>
              <a:gd name="connsiteX1837" fmla="*/ 5154105 w 8023328"/>
              <a:gd name="connsiteY1837" fmla="*/ 950422 h 2380521"/>
              <a:gd name="connsiteX1838" fmla="*/ 5140249 w 8023328"/>
              <a:gd name="connsiteY1838" fmla="*/ 936565 h 2380521"/>
              <a:gd name="connsiteX1839" fmla="*/ 5154105 w 8023328"/>
              <a:gd name="connsiteY1839" fmla="*/ 924168 h 2380521"/>
              <a:gd name="connsiteX1840" fmla="*/ 5083276 w 8023328"/>
              <a:gd name="connsiteY1840" fmla="*/ 924168 h 2380521"/>
              <a:gd name="connsiteX1841" fmla="*/ 5095673 w 8023328"/>
              <a:gd name="connsiteY1841" fmla="*/ 936565 h 2380521"/>
              <a:gd name="connsiteX1842" fmla="*/ 5083276 w 8023328"/>
              <a:gd name="connsiteY1842" fmla="*/ 950422 h 2380521"/>
              <a:gd name="connsiteX1843" fmla="*/ 5069420 w 8023328"/>
              <a:gd name="connsiteY1843" fmla="*/ 936565 h 2380521"/>
              <a:gd name="connsiteX1844" fmla="*/ 5083276 w 8023328"/>
              <a:gd name="connsiteY1844" fmla="*/ 924168 h 2380521"/>
              <a:gd name="connsiteX1845" fmla="*/ 5012445 w 8023328"/>
              <a:gd name="connsiteY1845" fmla="*/ 924168 h 2380521"/>
              <a:gd name="connsiteX1846" fmla="*/ 5024842 w 8023328"/>
              <a:gd name="connsiteY1846" fmla="*/ 936565 h 2380521"/>
              <a:gd name="connsiteX1847" fmla="*/ 5012445 w 8023328"/>
              <a:gd name="connsiteY1847" fmla="*/ 950422 h 2380521"/>
              <a:gd name="connsiteX1848" fmla="*/ 4998589 w 8023328"/>
              <a:gd name="connsiteY1848" fmla="*/ 938024 h 2380521"/>
              <a:gd name="connsiteX1849" fmla="*/ 5012445 w 8023328"/>
              <a:gd name="connsiteY1849" fmla="*/ 924168 h 2380521"/>
              <a:gd name="connsiteX1850" fmla="*/ 4940157 w 8023328"/>
              <a:gd name="connsiteY1850" fmla="*/ 924168 h 2380521"/>
              <a:gd name="connsiteX1851" fmla="*/ 4954013 w 8023328"/>
              <a:gd name="connsiteY1851" fmla="*/ 938024 h 2380521"/>
              <a:gd name="connsiteX1852" fmla="*/ 4940157 w 8023328"/>
              <a:gd name="connsiteY1852" fmla="*/ 950422 h 2380521"/>
              <a:gd name="connsiteX1853" fmla="*/ 4927760 w 8023328"/>
              <a:gd name="connsiteY1853" fmla="*/ 938024 h 2380521"/>
              <a:gd name="connsiteX1854" fmla="*/ 4940157 w 8023328"/>
              <a:gd name="connsiteY1854" fmla="*/ 924168 h 2380521"/>
              <a:gd name="connsiteX1855" fmla="*/ 4865953 w 8023328"/>
              <a:gd name="connsiteY1855" fmla="*/ 924168 h 2380521"/>
              <a:gd name="connsiteX1856" fmla="*/ 4879809 w 8023328"/>
              <a:gd name="connsiteY1856" fmla="*/ 938024 h 2380521"/>
              <a:gd name="connsiteX1857" fmla="*/ 4865953 w 8023328"/>
              <a:gd name="connsiteY1857" fmla="*/ 950422 h 2380521"/>
              <a:gd name="connsiteX1858" fmla="*/ 4853556 w 8023328"/>
              <a:gd name="connsiteY1858" fmla="*/ 938024 h 2380521"/>
              <a:gd name="connsiteX1859" fmla="*/ 4865953 w 8023328"/>
              <a:gd name="connsiteY1859" fmla="*/ 924168 h 2380521"/>
              <a:gd name="connsiteX1860" fmla="*/ 4797514 w 8023328"/>
              <a:gd name="connsiteY1860" fmla="*/ 924168 h 2380521"/>
              <a:gd name="connsiteX1861" fmla="*/ 4812303 w 8023328"/>
              <a:gd name="connsiteY1861" fmla="*/ 938024 h 2380521"/>
              <a:gd name="connsiteX1862" fmla="*/ 4797514 w 8023328"/>
              <a:gd name="connsiteY1862" fmla="*/ 950422 h 2380521"/>
              <a:gd name="connsiteX1863" fmla="*/ 4782725 w 8023328"/>
              <a:gd name="connsiteY1863" fmla="*/ 938024 h 2380521"/>
              <a:gd name="connsiteX1864" fmla="*/ 4797514 w 8023328"/>
              <a:gd name="connsiteY1864" fmla="*/ 924168 h 2380521"/>
              <a:gd name="connsiteX1865" fmla="*/ 4726684 w 8023328"/>
              <a:gd name="connsiteY1865" fmla="*/ 924168 h 2380521"/>
              <a:gd name="connsiteX1866" fmla="*/ 4741472 w 8023328"/>
              <a:gd name="connsiteY1866" fmla="*/ 938024 h 2380521"/>
              <a:gd name="connsiteX1867" fmla="*/ 4726684 w 8023328"/>
              <a:gd name="connsiteY1867" fmla="*/ 950422 h 2380521"/>
              <a:gd name="connsiteX1868" fmla="*/ 4711896 w 8023328"/>
              <a:gd name="connsiteY1868" fmla="*/ 938024 h 2380521"/>
              <a:gd name="connsiteX1869" fmla="*/ 4726684 w 8023328"/>
              <a:gd name="connsiteY1869" fmla="*/ 924168 h 2380521"/>
              <a:gd name="connsiteX1870" fmla="*/ 4655853 w 8023328"/>
              <a:gd name="connsiteY1870" fmla="*/ 924168 h 2380521"/>
              <a:gd name="connsiteX1871" fmla="*/ 4670642 w 8023328"/>
              <a:gd name="connsiteY1871" fmla="*/ 938024 h 2380521"/>
              <a:gd name="connsiteX1872" fmla="*/ 4655853 w 8023328"/>
              <a:gd name="connsiteY1872" fmla="*/ 950422 h 2380521"/>
              <a:gd name="connsiteX1873" fmla="*/ 4641064 w 8023328"/>
              <a:gd name="connsiteY1873" fmla="*/ 938024 h 2380521"/>
              <a:gd name="connsiteX1874" fmla="*/ 4655853 w 8023328"/>
              <a:gd name="connsiteY1874" fmla="*/ 924168 h 2380521"/>
              <a:gd name="connsiteX1875" fmla="*/ 4584091 w 8023328"/>
              <a:gd name="connsiteY1875" fmla="*/ 924168 h 2380521"/>
              <a:gd name="connsiteX1876" fmla="*/ 4596488 w 8023328"/>
              <a:gd name="connsiteY1876" fmla="*/ 938024 h 2380521"/>
              <a:gd name="connsiteX1877" fmla="*/ 4584091 w 8023328"/>
              <a:gd name="connsiteY1877" fmla="*/ 950422 h 2380521"/>
              <a:gd name="connsiteX1878" fmla="*/ 4570235 w 8023328"/>
              <a:gd name="connsiteY1878" fmla="*/ 938024 h 2380521"/>
              <a:gd name="connsiteX1879" fmla="*/ 4584091 w 8023328"/>
              <a:gd name="connsiteY1879" fmla="*/ 924168 h 2380521"/>
              <a:gd name="connsiteX1880" fmla="*/ 4513260 w 8023328"/>
              <a:gd name="connsiteY1880" fmla="*/ 924168 h 2380521"/>
              <a:gd name="connsiteX1881" fmla="*/ 4525657 w 8023328"/>
              <a:gd name="connsiteY1881" fmla="*/ 938024 h 2380521"/>
              <a:gd name="connsiteX1882" fmla="*/ 4513260 w 8023328"/>
              <a:gd name="connsiteY1882" fmla="*/ 950422 h 2380521"/>
              <a:gd name="connsiteX1883" fmla="*/ 4499404 w 8023328"/>
              <a:gd name="connsiteY1883" fmla="*/ 938024 h 2380521"/>
              <a:gd name="connsiteX1884" fmla="*/ 4513260 w 8023328"/>
              <a:gd name="connsiteY1884" fmla="*/ 924168 h 2380521"/>
              <a:gd name="connsiteX1885" fmla="*/ 4439056 w 8023328"/>
              <a:gd name="connsiteY1885" fmla="*/ 924168 h 2380521"/>
              <a:gd name="connsiteX1886" fmla="*/ 4451453 w 8023328"/>
              <a:gd name="connsiteY1886" fmla="*/ 938024 h 2380521"/>
              <a:gd name="connsiteX1887" fmla="*/ 4439056 w 8023328"/>
              <a:gd name="connsiteY1887" fmla="*/ 950422 h 2380521"/>
              <a:gd name="connsiteX1888" fmla="*/ 4425200 w 8023328"/>
              <a:gd name="connsiteY1888" fmla="*/ 938024 h 2380521"/>
              <a:gd name="connsiteX1889" fmla="*/ 4439056 w 8023328"/>
              <a:gd name="connsiteY1889" fmla="*/ 924168 h 2380521"/>
              <a:gd name="connsiteX1890" fmla="*/ 4366768 w 8023328"/>
              <a:gd name="connsiteY1890" fmla="*/ 924168 h 2380521"/>
              <a:gd name="connsiteX1891" fmla="*/ 4380624 w 8023328"/>
              <a:gd name="connsiteY1891" fmla="*/ 938024 h 2380521"/>
              <a:gd name="connsiteX1892" fmla="*/ 4366768 w 8023328"/>
              <a:gd name="connsiteY1892" fmla="*/ 950422 h 2380521"/>
              <a:gd name="connsiteX1893" fmla="*/ 4354371 w 8023328"/>
              <a:gd name="connsiteY1893" fmla="*/ 938024 h 2380521"/>
              <a:gd name="connsiteX1894" fmla="*/ 4366768 w 8023328"/>
              <a:gd name="connsiteY1894" fmla="*/ 924168 h 2380521"/>
              <a:gd name="connsiteX1895" fmla="*/ 4295937 w 8023328"/>
              <a:gd name="connsiteY1895" fmla="*/ 924168 h 2380521"/>
              <a:gd name="connsiteX1896" fmla="*/ 4309793 w 8023328"/>
              <a:gd name="connsiteY1896" fmla="*/ 938024 h 2380521"/>
              <a:gd name="connsiteX1897" fmla="*/ 4295937 w 8023328"/>
              <a:gd name="connsiteY1897" fmla="*/ 950422 h 2380521"/>
              <a:gd name="connsiteX1898" fmla="*/ 4283540 w 8023328"/>
              <a:gd name="connsiteY1898" fmla="*/ 938024 h 2380521"/>
              <a:gd name="connsiteX1899" fmla="*/ 4295937 w 8023328"/>
              <a:gd name="connsiteY1899" fmla="*/ 924168 h 2380521"/>
              <a:gd name="connsiteX1900" fmla="*/ 4225107 w 8023328"/>
              <a:gd name="connsiteY1900" fmla="*/ 924168 h 2380521"/>
              <a:gd name="connsiteX1901" fmla="*/ 4238963 w 8023328"/>
              <a:gd name="connsiteY1901" fmla="*/ 938024 h 2380521"/>
              <a:gd name="connsiteX1902" fmla="*/ 4225107 w 8023328"/>
              <a:gd name="connsiteY1902" fmla="*/ 950422 h 2380521"/>
              <a:gd name="connsiteX1903" fmla="*/ 4212710 w 8023328"/>
              <a:gd name="connsiteY1903" fmla="*/ 938024 h 2380521"/>
              <a:gd name="connsiteX1904" fmla="*/ 4225107 w 8023328"/>
              <a:gd name="connsiteY1904" fmla="*/ 924168 h 2380521"/>
              <a:gd name="connsiteX1905" fmla="*/ 4153295 w 8023328"/>
              <a:gd name="connsiteY1905" fmla="*/ 924168 h 2380521"/>
              <a:gd name="connsiteX1906" fmla="*/ 4168083 w 8023328"/>
              <a:gd name="connsiteY1906" fmla="*/ 938024 h 2380521"/>
              <a:gd name="connsiteX1907" fmla="*/ 4153295 w 8023328"/>
              <a:gd name="connsiteY1907" fmla="*/ 950422 h 2380521"/>
              <a:gd name="connsiteX1908" fmla="*/ 4138507 w 8023328"/>
              <a:gd name="connsiteY1908" fmla="*/ 938024 h 2380521"/>
              <a:gd name="connsiteX1909" fmla="*/ 4153295 w 8023328"/>
              <a:gd name="connsiteY1909" fmla="*/ 924168 h 2380521"/>
              <a:gd name="connsiteX1910" fmla="*/ 4082465 w 8023328"/>
              <a:gd name="connsiteY1910" fmla="*/ 924168 h 2380521"/>
              <a:gd name="connsiteX1911" fmla="*/ 4097254 w 8023328"/>
              <a:gd name="connsiteY1911" fmla="*/ 938024 h 2380521"/>
              <a:gd name="connsiteX1912" fmla="*/ 4082465 w 8023328"/>
              <a:gd name="connsiteY1912" fmla="*/ 950422 h 2380521"/>
              <a:gd name="connsiteX1913" fmla="*/ 4067676 w 8023328"/>
              <a:gd name="connsiteY1913" fmla="*/ 938024 h 2380521"/>
              <a:gd name="connsiteX1914" fmla="*/ 4082465 w 8023328"/>
              <a:gd name="connsiteY1914" fmla="*/ 924168 h 2380521"/>
              <a:gd name="connsiteX1915" fmla="*/ 4011635 w 8023328"/>
              <a:gd name="connsiteY1915" fmla="*/ 924168 h 2380521"/>
              <a:gd name="connsiteX1916" fmla="*/ 4026423 w 8023328"/>
              <a:gd name="connsiteY1916" fmla="*/ 938024 h 2380521"/>
              <a:gd name="connsiteX1917" fmla="*/ 4011635 w 8023328"/>
              <a:gd name="connsiteY1917" fmla="*/ 950422 h 2380521"/>
              <a:gd name="connsiteX1918" fmla="*/ 3996847 w 8023328"/>
              <a:gd name="connsiteY1918" fmla="*/ 938024 h 2380521"/>
              <a:gd name="connsiteX1919" fmla="*/ 4011635 w 8023328"/>
              <a:gd name="connsiteY1919" fmla="*/ 924168 h 2380521"/>
              <a:gd name="connsiteX1920" fmla="*/ 3939871 w 8023328"/>
              <a:gd name="connsiteY1920" fmla="*/ 924168 h 2380521"/>
              <a:gd name="connsiteX1921" fmla="*/ 3952268 w 8023328"/>
              <a:gd name="connsiteY1921" fmla="*/ 938024 h 2380521"/>
              <a:gd name="connsiteX1922" fmla="*/ 3939871 w 8023328"/>
              <a:gd name="connsiteY1922" fmla="*/ 950422 h 2380521"/>
              <a:gd name="connsiteX1923" fmla="*/ 3926015 w 8023328"/>
              <a:gd name="connsiteY1923" fmla="*/ 938024 h 2380521"/>
              <a:gd name="connsiteX1924" fmla="*/ 3939871 w 8023328"/>
              <a:gd name="connsiteY1924" fmla="*/ 924168 h 2380521"/>
              <a:gd name="connsiteX1925" fmla="*/ 3869042 w 8023328"/>
              <a:gd name="connsiteY1925" fmla="*/ 924168 h 2380521"/>
              <a:gd name="connsiteX1926" fmla="*/ 3881439 w 8023328"/>
              <a:gd name="connsiteY1926" fmla="*/ 938024 h 2380521"/>
              <a:gd name="connsiteX1927" fmla="*/ 3869042 w 8023328"/>
              <a:gd name="connsiteY1927" fmla="*/ 950422 h 2380521"/>
              <a:gd name="connsiteX1928" fmla="*/ 3855186 w 8023328"/>
              <a:gd name="connsiteY1928" fmla="*/ 938024 h 2380521"/>
              <a:gd name="connsiteX1929" fmla="*/ 3869042 w 8023328"/>
              <a:gd name="connsiteY1929" fmla="*/ 924168 h 2380521"/>
              <a:gd name="connsiteX1930" fmla="*/ 3798211 w 8023328"/>
              <a:gd name="connsiteY1930" fmla="*/ 924168 h 2380521"/>
              <a:gd name="connsiteX1931" fmla="*/ 3810608 w 8023328"/>
              <a:gd name="connsiteY1931" fmla="*/ 938024 h 2380521"/>
              <a:gd name="connsiteX1932" fmla="*/ 3798211 w 8023328"/>
              <a:gd name="connsiteY1932" fmla="*/ 950422 h 2380521"/>
              <a:gd name="connsiteX1933" fmla="*/ 3784355 w 8023328"/>
              <a:gd name="connsiteY1933" fmla="*/ 938024 h 2380521"/>
              <a:gd name="connsiteX1934" fmla="*/ 3798211 w 8023328"/>
              <a:gd name="connsiteY1934" fmla="*/ 924168 h 2380521"/>
              <a:gd name="connsiteX1935" fmla="*/ 3725922 w 8023328"/>
              <a:gd name="connsiteY1935" fmla="*/ 924168 h 2380521"/>
              <a:gd name="connsiteX1936" fmla="*/ 3739778 w 8023328"/>
              <a:gd name="connsiteY1936" fmla="*/ 938024 h 2380521"/>
              <a:gd name="connsiteX1937" fmla="*/ 3725922 w 8023328"/>
              <a:gd name="connsiteY1937" fmla="*/ 950422 h 2380521"/>
              <a:gd name="connsiteX1938" fmla="*/ 3713525 w 8023328"/>
              <a:gd name="connsiteY1938" fmla="*/ 938024 h 2380521"/>
              <a:gd name="connsiteX1939" fmla="*/ 3725922 w 8023328"/>
              <a:gd name="connsiteY1939" fmla="*/ 924168 h 2380521"/>
              <a:gd name="connsiteX1940" fmla="*/ 3655091 w 8023328"/>
              <a:gd name="connsiteY1940" fmla="*/ 924168 h 2380521"/>
              <a:gd name="connsiteX1941" fmla="*/ 3668947 w 8023328"/>
              <a:gd name="connsiteY1941" fmla="*/ 938024 h 2380521"/>
              <a:gd name="connsiteX1942" fmla="*/ 3655091 w 8023328"/>
              <a:gd name="connsiteY1942" fmla="*/ 950422 h 2380521"/>
              <a:gd name="connsiteX1943" fmla="*/ 3642694 w 8023328"/>
              <a:gd name="connsiteY1943" fmla="*/ 938024 h 2380521"/>
              <a:gd name="connsiteX1944" fmla="*/ 3655091 w 8023328"/>
              <a:gd name="connsiteY1944" fmla="*/ 924168 h 2380521"/>
              <a:gd name="connsiteX1945" fmla="*/ 3583280 w 8023328"/>
              <a:gd name="connsiteY1945" fmla="*/ 924168 h 2380521"/>
              <a:gd name="connsiteX1946" fmla="*/ 3598069 w 8023328"/>
              <a:gd name="connsiteY1946" fmla="*/ 938024 h 2380521"/>
              <a:gd name="connsiteX1947" fmla="*/ 3583280 w 8023328"/>
              <a:gd name="connsiteY1947" fmla="*/ 950422 h 2380521"/>
              <a:gd name="connsiteX1948" fmla="*/ 3568491 w 8023328"/>
              <a:gd name="connsiteY1948" fmla="*/ 938024 h 2380521"/>
              <a:gd name="connsiteX1949" fmla="*/ 3583280 w 8023328"/>
              <a:gd name="connsiteY1949" fmla="*/ 924168 h 2380521"/>
              <a:gd name="connsiteX1950" fmla="*/ 941441 w 8023328"/>
              <a:gd name="connsiteY1950" fmla="*/ 856710 h 2380521"/>
              <a:gd name="connsiteX1951" fmla="*/ 953839 w 8023328"/>
              <a:gd name="connsiteY1951" fmla="*/ 869107 h 2380521"/>
              <a:gd name="connsiteX1952" fmla="*/ 941441 w 8023328"/>
              <a:gd name="connsiteY1952" fmla="*/ 882964 h 2380521"/>
              <a:gd name="connsiteX1953" fmla="*/ 927585 w 8023328"/>
              <a:gd name="connsiteY1953" fmla="*/ 869107 h 2380521"/>
              <a:gd name="connsiteX1954" fmla="*/ 941441 w 8023328"/>
              <a:gd name="connsiteY1954" fmla="*/ 856710 h 2380521"/>
              <a:gd name="connsiteX1955" fmla="*/ 870610 w 8023328"/>
              <a:gd name="connsiteY1955" fmla="*/ 856710 h 2380521"/>
              <a:gd name="connsiteX1956" fmla="*/ 883008 w 8023328"/>
              <a:gd name="connsiteY1956" fmla="*/ 869107 h 2380521"/>
              <a:gd name="connsiteX1957" fmla="*/ 870610 w 8023328"/>
              <a:gd name="connsiteY1957" fmla="*/ 882964 h 2380521"/>
              <a:gd name="connsiteX1958" fmla="*/ 856754 w 8023328"/>
              <a:gd name="connsiteY1958" fmla="*/ 869107 h 2380521"/>
              <a:gd name="connsiteX1959" fmla="*/ 870610 w 8023328"/>
              <a:gd name="connsiteY1959" fmla="*/ 856710 h 2380521"/>
              <a:gd name="connsiteX1960" fmla="*/ 799780 w 8023328"/>
              <a:gd name="connsiteY1960" fmla="*/ 856710 h 2380521"/>
              <a:gd name="connsiteX1961" fmla="*/ 812178 w 8023328"/>
              <a:gd name="connsiteY1961" fmla="*/ 869107 h 2380521"/>
              <a:gd name="connsiteX1962" fmla="*/ 799780 w 8023328"/>
              <a:gd name="connsiteY1962" fmla="*/ 882964 h 2380521"/>
              <a:gd name="connsiteX1963" fmla="*/ 785924 w 8023328"/>
              <a:gd name="connsiteY1963" fmla="*/ 869107 h 2380521"/>
              <a:gd name="connsiteX1964" fmla="*/ 799780 w 8023328"/>
              <a:gd name="connsiteY1964" fmla="*/ 856710 h 2380521"/>
              <a:gd name="connsiteX1965" fmla="*/ 724119 w 8023328"/>
              <a:gd name="connsiteY1965" fmla="*/ 856710 h 2380521"/>
              <a:gd name="connsiteX1966" fmla="*/ 737976 w 8023328"/>
              <a:gd name="connsiteY1966" fmla="*/ 869107 h 2380521"/>
              <a:gd name="connsiteX1967" fmla="*/ 724119 w 8023328"/>
              <a:gd name="connsiteY1967" fmla="*/ 882964 h 2380521"/>
              <a:gd name="connsiteX1968" fmla="*/ 711721 w 8023328"/>
              <a:gd name="connsiteY1968" fmla="*/ 869107 h 2380521"/>
              <a:gd name="connsiteX1969" fmla="*/ 724119 w 8023328"/>
              <a:gd name="connsiteY1969" fmla="*/ 856710 h 2380521"/>
              <a:gd name="connsiteX1970" fmla="*/ 653288 w 8023328"/>
              <a:gd name="connsiteY1970" fmla="*/ 856710 h 2380521"/>
              <a:gd name="connsiteX1971" fmla="*/ 667144 w 8023328"/>
              <a:gd name="connsiteY1971" fmla="*/ 869107 h 2380521"/>
              <a:gd name="connsiteX1972" fmla="*/ 653288 w 8023328"/>
              <a:gd name="connsiteY1972" fmla="*/ 882964 h 2380521"/>
              <a:gd name="connsiteX1973" fmla="*/ 640891 w 8023328"/>
              <a:gd name="connsiteY1973" fmla="*/ 869107 h 2380521"/>
              <a:gd name="connsiteX1974" fmla="*/ 653288 w 8023328"/>
              <a:gd name="connsiteY1974" fmla="*/ 856710 h 2380521"/>
              <a:gd name="connsiteX1975" fmla="*/ 584851 w 8023328"/>
              <a:gd name="connsiteY1975" fmla="*/ 856710 h 2380521"/>
              <a:gd name="connsiteX1976" fmla="*/ 599638 w 8023328"/>
              <a:gd name="connsiteY1976" fmla="*/ 869107 h 2380521"/>
              <a:gd name="connsiteX1977" fmla="*/ 584851 w 8023328"/>
              <a:gd name="connsiteY1977" fmla="*/ 882964 h 2380521"/>
              <a:gd name="connsiteX1978" fmla="*/ 570061 w 8023328"/>
              <a:gd name="connsiteY1978" fmla="*/ 869107 h 2380521"/>
              <a:gd name="connsiteX1979" fmla="*/ 584851 w 8023328"/>
              <a:gd name="connsiteY1979" fmla="*/ 856710 h 2380521"/>
              <a:gd name="connsiteX1980" fmla="*/ 513649 w 8023328"/>
              <a:gd name="connsiteY1980" fmla="*/ 856710 h 2380521"/>
              <a:gd name="connsiteX1981" fmla="*/ 528826 w 8023328"/>
              <a:gd name="connsiteY1981" fmla="*/ 869107 h 2380521"/>
              <a:gd name="connsiteX1982" fmla="*/ 513649 w 8023328"/>
              <a:gd name="connsiteY1982" fmla="*/ 882964 h 2380521"/>
              <a:gd name="connsiteX1983" fmla="*/ 499230 w 8023328"/>
              <a:gd name="connsiteY1983" fmla="*/ 869107 h 2380521"/>
              <a:gd name="connsiteX1984" fmla="*/ 513649 w 8023328"/>
              <a:gd name="connsiteY1984" fmla="*/ 856710 h 2380521"/>
              <a:gd name="connsiteX1985" fmla="*/ 439816 w 8023328"/>
              <a:gd name="connsiteY1985" fmla="*/ 856710 h 2380521"/>
              <a:gd name="connsiteX1986" fmla="*/ 454606 w 8023328"/>
              <a:gd name="connsiteY1986" fmla="*/ 869107 h 2380521"/>
              <a:gd name="connsiteX1987" fmla="*/ 439816 w 8023328"/>
              <a:gd name="connsiteY1987" fmla="*/ 882964 h 2380521"/>
              <a:gd name="connsiteX1988" fmla="*/ 425028 w 8023328"/>
              <a:gd name="connsiteY1988" fmla="*/ 869107 h 2380521"/>
              <a:gd name="connsiteX1989" fmla="*/ 439816 w 8023328"/>
              <a:gd name="connsiteY1989" fmla="*/ 856710 h 2380521"/>
              <a:gd name="connsiteX1990" fmla="*/ 368053 w 8023328"/>
              <a:gd name="connsiteY1990" fmla="*/ 856710 h 2380521"/>
              <a:gd name="connsiteX1991" fmla="*/ 380451 w 8023328"/>
              <a:gd name="connsiteY1991" fmla="*/ 869107 h 2380521"/>
              <a:gd name="connsiteX1992" fmla="*/ 368053 w 8023328"/>
              <a:gd name="connsiteY1992" fmla="*/ 882964 h 2380521"/>
              <a:gd name="connsiteX1993" fmla="*/ 354198 w 8023328"/>
              <a:gd name="connsiteY1993" fmla="*/ 869107 h 2380521"/>
              <a:gd name="connsiteX1994" fmla="*/ 368053 w 8023328"/>
              <a:gd name="connsiteY1994" fmla="*/ 856710 h 2380521"/>
              <a:gd name="connsiteX1995" fmla="*/ 297222 w 8023328"/>
              <a:gd name="connsiteY1995" fmla="*/ 856710 h 2380521"/>
              <a:gd name="connsiteX1996" fmla="*/ 309618 w 8023328"/>
              <a:gd name="connsiteY1996" fmla="*/ 869107 h 2380521"/>
              <a:gd name="connsiteX1997" fmla="*/ 297222 w 8023328"/>
              <a:gd name="connsiteY1997" fmla="*/ 882964 h 2380521"/>
              <a:gd name="connsiteX1998" fmla="*/ 283366 w 8023328"/>
              <a:gd name="connsiteY1998" fmla="*/ 869107 h 2380521"/>
              <a:gd name="connsiteX1999" fmla="*/ 297222 w 8023328"/>
              <a:gd name="connsiteY1999" fmla="*/ 856710 h 2380521"/>
              <a:gd name="connsiteX2000" fmla="*/ 226393 w 8023328"/>
              <a:gd name="connsiteY2000" fmla="*/ 856710 h 2380521"/>
              <a:gd name="connsiteX2001" fmla="*/ 238791 w 8023328"/>
              <a:gd name="connsiteY2001" fmla="*/ 869107 h 2380521"/>
              <a:gd name="connsiteX2002" fmla="*/ 226393 w 8023328"/>
              <a:gd name="connsiteY2002" fmla="*/ 882964 h 2380521"/>
              <a:gd name="connsiteX2003" fmla="*/ 212537 w 8023328"/>
              <a:gd name="connsiteY2003" fmla="*/ 869107 h 2380521"/>
              <a:gd name="connsiteX2004" fmla="*/ 226393 w 8023328"/>
              <a:gd name="connsiteY2004" fmla="*/ 856710 h 2380521"/>
              <a:gd name="connsiteX2005" fmla="*/ 154097 w 8023328"/>
              <a:gd name="connsiteY2005" fmla="*/ 856710 h 2380521"/>
              <a:gd name="connsiteX2006" fmla="*/ 167953 w 8023328"/>
              <a:gd name="connsiteY2006" fmla="*/ 869107 h 2380521"/>
              <a:gd name="connsiteX2007" fmla="*/ 154097 w 8023328"/>
              <a:gd name="connsiteY2007" fmla="*/ 882964 h 2380521"/>
              <a:gd name="connsiteX2008" fmla="*/ 141699 w 8023328"/>
              <a:gd name="connsiteY2008" fmla="*/ 869107 h 2380521"/>
              <a:gd name="connsiteX2009" fmla="*/ 154097 w 8023328"/>
              <a:gd name="connsiteY2009" fmla="*/ 856710 h 2380521"/>
              <a:gd name="connsiteX2010" fmla="*/ 83267 w 8023328"/>
              <a:gd name="connsiteY2010" fmla="*/ 856710 h 2380521"/>
              <a:gd name="connsiteX2011" fmla="*/ 97123 w 8023328"/>
              <a:gd name="connsiteY2011" fmla="*/ 869107 h 2380521"/>
              <a:gd name="connsiteX2012" fmla="*/ 83267 w 8023328"/>
              <a:gd name="connsiteY2012" fmla="*/ 882964 h 2380521"/>
              <a:gd name="connsiteX2013" fmla="*/ 70870 w 8023328"/>
              <a:gd name="connsiteY2013" fmla="*/ 869107 h 2380521"/>
              <a:gd name="connsiteX2014" fmla="*/ 83267 w 8023328"/>
              <a:gd name="connsiteY2014" fmla="*/ 856710 h 2380521"/>
              <a:gd name="connsiteX2015" fmla="*/ 12032 w 8023328"/>
              <a:gd name="connsiteY2015" fmla="*/ 856710 h 2380521"/>
              <a:gd name="connsiteX2016" fmla="*/ 26273 w 8023328"/>
              <a:gd name="connsiteY2016" fmla="*/ 869107 h 2380521"/>
              <a:gd name="connsiteX2017" fmla="*/ 12032 w 8023328"/>
              <a:gd name="connsiteY2017" fmla="*/ 882964 h 2380521"/>
              <a:gd name="connsiteX2018" fmla="*/ 39 w 8023328"/>
              <a:gd name="connsiteY2018" fmla="*/ 869107 h 2380521"/>
              <a:gd name="connsiteX2019" fmla="*/ 12032 w 8023328"/>
              <a:gd name="connsiteY2019" fmla="*/ 856710 h 2380521"/>
              <a:gd name="connsiteX2020" fmla="*/ 6368340 w 8023328"/>
              <a:gd name="connsiteY2020" fmla="*/ 853339 h 2380521"/>
              <a:gd name="connsiteX2021" fmla="*/ 6380737 w 8023328"/>
              <a:gd name="connsiteY2021" fmla="*/ 867757 h 2380521"/>
              <a:gd name="connsiteX2022" fmla="*/ 6368340 w 8023328"/>
              <a:gd name="connsiteY2022" fmla="*/ 882935 h 2380521"/>
              <a:gd name="connsiteX2023" fmla="*/ 6354484 w 8023328"/>
              <a:gd name="connsiteY2023" fmla="*/ 867757 h 2380521"/>
              <a:gd name="connsiteX2024" fmla="*/ 6368340 w 8023328"/>
              <a:gd name="connsiteY2024" fmla="*/ 853339 h 2380521"/>
              <a:gd name="connsiteX2025" fmla="*/ 6297511 w 8023328"/>
              <a:gd name="connsiteY2025" fmla="*/ 853339 h 2380521"/>
              <a:gd name="connsiteX2026" fmla="*/ 6309908 w 8023328"/>
              <a:gd name="connsiteY2026" fmla="*/ 867757 h 2380521"/>
              <a:gd name="connsiteX2027" fmla="*/ 6297511 w 8023328"/>
              <a:gd name="connsiteY2027" fmla="*/ 882935 h 2380521"/>
              <a:gd name="connsiteX2028" fmla="*/ 6283655 w 8023328"/>
              <a:gd name="connsiteY2028" fmla="*/ 867757 h 2380521"/>
              <a:gd name="connsiteX2029" fmla="*/ 6297511 w 8023328"/>
              <a:gd name="connsiteY2029" fmla="*/ 853339 h 2380521"/>
              <a:gd name="connsiteX2030" fmla="*/ 6226679 w 8023328"/>
              <a:gd name="connsiteY2030" fmla="*/ 853339 h 2380521"/>
              <a:gd name="connsiteX2031" fmla="*/ 6239076 w 8023328"/>
              <a:gd name="connsiteY2031" fmla="*/ 867757 h 2380521"/>
              <a:gd name="connsiteX2032" fmla="*/ 6226679 w 8023328"/>
              <a:gd name="connsiteY2032" fmla="*/ 882935 h 2380521"/>
              <a:gd name="connsiteX2033" fmla="*/ 6212823 w 8023328"/>
              <a:gd name="connsiteY2033" fmla="*/ 867757 h 2380521"/>
              <a:gd name="connsiteX2034" fmla="*/ 6226679 w 8023328"/>
              <a:gd name="connsiteY2034" fmla="*/ 853339 h 2380521"/>
              <a:gd name="connsiteX2035" fmla="*/ 6154391 w 8023328"/>
              <a:gd name="connsiteY2035" fmla="*/ 853339 h 2380521"/>
              <a:gd name="connsiteX2036" fmla="*/ 6168247 w 8023328"/>
              <a:gd name="connsiteY2036" fmla="*/ 865007 h 2380521"/>
              <a:gd name="connsiteX2037" fmla="*/ 6154391 w 8023328"/>
              <a:gd name="connsiteY2037" fmla="*/ 879593 h 2380521"/>
              <a:gd name="connsiteX2038" fmla="*/ 6141994 w 8023328"/>
              <a:gd name="connsiteY2038" fmla="*/ 865007 h 2380521"/>
              <a:gd name="connsiteX2039" fmla="*/ 6154391 w 8023328"/>
              <a:gd name="connsiteY2039" fmla="*/ 853339 h 2380521"/>
              <a:gd name="connsiteX2040" fmla="*/ 6083559 w 8023328"/>
              <a:gd name="connsiteY2040" fmla="*/ 853339 h 2380521"/>
              <a:gd name="connsiteX2041" fmla="*/ 6097415 w 8023328"/>
              <a:gd name="connsiteY2041" fmla="*/ 865007 h 2380521"/>
              <a:gd name="connsiteX2042" fmla="*/ 6083559 w 8023328"/>
              <a:gd name="connsiteY2042" fmla="*/ 879593 h 2380521"/>
              <a:gd name="connsiteX2043" fmla="*/ 6071162 w 8023328"/>
              <a:gd name="connsiteY2043" fmla="*/ 865007 h 2380521"/>
              <a:gd name="connsiteX2044" fmla="*/ 6083559 w 8023328"/>
              <a:gd name="connsiteY2044" fmla="*/ 853339 h 2380521"/>
              <a:gd name="connsiteX2045" fmla="*/ 6011748 w 8023328"/>
              <a:gd name="connsiteY2045" fmla="*/ 853339 h 2380521"/>
              <a:gd name="connsiteX2046" fmla="*/ 6026537 w 8023328"/>
              <a:gd name="connsiteY2046" fmla="*/ 865007 h 2380521"/>
              <a:gd name="connsiteX2047" fmla="*/ 6011748 w 8023328"/>
              <a:gd name="connsiteY2047" fmla="*/ 879593 h 2380521"/>
              <a:gd name="connsiteX2048" fmla="*/ 5996959 w 8023328"/>
              <a:gd name="connsiteY2048" fmla="*/ 865007 h 2380521"/>
              <a:gd name="connsiteX2049" fmla="*/ 6011748 w 8023328"/>
              <a:gd name="connsiteY2049" fmla="*/ 853339 h 2380521"/>
              <a:gd name="connsiteX2050" fmla="*/ 5940548 w 8023328"/>
              <a:gd name="connsiteY2050" fmla="*/ 853339 h 2380521"/>
              <a:gd name="connsiteX2051" fmla="*/ 5955726 w 8023328"/>
              <a:gd name="connsiteY2051" fmla="*/ 865007 h 2380521"/>
              <a:gd name="connsiteX2052" fmla="*/ 5940548 w 8023328"/>
              <a:gd name="connsiteY2052" fmla="*/ 879593 h 2380521"/>
              <a:gd name="connsiteX2053" fmla="*/ 5926130 w 8023328"/>
              <a:gd name="connsiteY2053" fmla="*/ 865007 h 2380521"/>
              <a:gd name="connsiteX2054" fmla="*/ 5940548 w 8023328"/>
              <a:gd name="connsiteY2054" fmla="*/ 853339 h 2380521"/>
              <a:gd name="connsiteX2055" fmla="*/ 5870088 w 8023328"/>
              <a:gd name="connsiteY2055" fmla="*/ 853339 h 2380521"/>
              <a:gd name="connsiteX2056" fmla="*/ 5884877 w 8023328"/>
              <a:gd name="connsiteY2056" fmla="*/ 865007 h 2380521"/>
              <a:gd name="connsiteX2057" fmla="*/ 5870088 w 8023328"/>
              <a:gd name="connsiteY2057" fmla="*/ 879593 h 2380521"/>
              <a:gd name="connsiteX2058" fmla="*/ 5855299 w 8023328"/>
              <a:gd name="connsiteY2058" fmla="*/ 865007 h 2380521"/>
              <a:gd name="connsiteX2059" fmla="*/ 5870088 w 8023328"/>
              <a:gd name="connsiteY2059" fmla="*/ 853339 h 2380521"/>
              <a:gd name="connsiteX2060" fmla="*/ 5798325 w 8023328"/>
              <a:gd name="connsiteY2060" fmla="*/ 853339 h 2380521"/>
              <a:gd name="connsiteX2061" fmla="*/ 5810722 w 8023328"/>
              <a:gd name="connsiteY2061" fmla="*/ 865007 h 2380521"/>
              <a:gd name="connsiteX2062" fmla="*/ 5798325 w 8023328"/>
              <a:gd name="connsiteY2062" fmla="*/ 879593 h 2380521"/>
              <a:gd name="connsiteX2063" fmla="*/ 5784469 w 8023328"/>
              <a:gd name="connsiteY2063" fmla="*/ 865007 h 2380521"/>
              <a:gd name="connsiteX2064" fmla="*/ 5798325 w 8023328"/>
              <a:gd name="connsiteY2064" fmla="*/ 853339 h 2380521"/>
              <a:gd name="connsiteX2065" fmla="*/ 5724122 w 8023328"/>
              <a:gd name="connsiteY2065" fmla="*/ 853339 h 2380521"/>
              <a:gd name="connsiteX2066" fmla="*/ 5736519 w 8023328"/>
              <a:gd name="connsiteY2066" fmla="*/ 865007 h 2380521"/>
              <a:gd name="connsiteX2067" fmla="*/ 5724122 w 8023328"/>
              <a:gd name="connsiteY2067" fmla="*/ 879593 h 2380521"/>
              <a:gd name="connsiteX2068" fmla="*/ 5710266 w 8023328"/>
              <a:gd name="connsiteY2068" fmla="*/ 865007 h 2380521"/>
              <a:gd name="connsiteX2069" fmla="*/ 5724122 w 8023328"/>
              <a:gd name="connsiteY2069" fmla="*/ 853339 h 2380521"/>
              <a:gd name="connsiteX2070" fmla="*/ 5653291 w 8023328"/>
              <a:gd name="connsiteY2070" fmla="*/ 853339 h 2380521"/>
              <a:gd name="connsiteX2071" fmla="*/ 5665688 w 8023328"/>
              <a:gd name="connsiteY2071" fmla="*/ 865007 h 2380521"/>
              <a:gd name="connsiteX2072" fmla="*/ 5653291 w 8023328"/>
              <a:gd name="connsiteY2072" fmla="*/ 879593 h 2380521"/>
              <a:gd name="connsiteX2073" fmla="*/ 5639435 w 8023328"/>
              <a:gd name="connsiteY2073" fmla="*/ 865007 h 2380521"/>
              <a:gd name="connsiteX2074" fmla="*/ 5653291 w 8023328"/>
              <a:gd name="connsiteY2074" fmla="*/ 853339 h 2380521"/>
              <a:gd name="connsiteX2075" fmla="*/ 5581002 w 8023328"/>
              <a:gd name="connsiteY2075" fmla="*/ 853339 h 2380521"/>
              <a:gd name="connsiteX2076" fmla="*/ 5594858 w 8023328"/>
              <a:gd name="connsiteY2076" fmla="*/ 865007 h 2380521"/>
              <a:gd name="connsiteX2077" fmla="*/ 5581002 w 8023328"/>
              <a:gd name="connsiteY2077" fmla="*/ 879593 h 2380521"/>
              <a:gd name="connsiteX2078" fmla="*/ 5568605 w 8023328"/>
              <a:gd name="connsiteY2078" fmla="*/ 865007 h 2380521"/>
              <a:gd name="connsiteX2079" fmla="*/ 5581002 w 8023328"/>
              <a:gd name="connsiteY2079" fmla="*/ 853339 h 2380521"/>
              <a:gd name="connsiteX2080" fmla="*/ 5510171 w 8023328"/>
              <a:gd name="connsiteY2080" fmla="*/ 853339 h 2380521"/>
              <a:gd name="connsiteX2081" fmla="*/ 5524027 w 8023328"/>
              <a:gd name="connsiteY2081" fmla="*/ 865007 h 2380521"/>
              <a:gd name="connsiteX2082" fmla="*/ 5510171 w 8023328"/>
              <a:gd name="connsiteY2082" fmla="*/ 879593 h 2380521"/>
              <a:gd name="connsiteX2083" fmla="*/ 5497774 w 8023328"/>
              <a:gd name="connsiteY2083" fmla="*/ 865007 h 2380521"/>
              <a:gd name="connsiteX2084" fmla="*/ 5510171 w 8023328"/>
              <a:gd name="connsiteY2084" fmla="*/ 853339 h 2380521"/>
              <a:gd name="connsiteX2085" fmla="*/ 5438937 w 8023328"/>
              <a:gd name="connsiteY2085" fmla="*/ 853339 h 2380521"/>
              <a:gd name="connsiteX2086" fmla="*/ 5453178 w 8023328"/>
              <a:gd name="connsiteY2086" fmla="*/ 865007 h 2380521"/>
              <a:gd name="connsiteX2087" fmla="*/ 5438937 w 8023328"/>
              <a:gd name="connsiteY2087" fmla="*/ 879593 h 2380521"/>
              <a:gd name="connsiteX2088" fmla="*/ 5426945 w 8023328"/>
              <a:gd name="connsiteY2088" fmla="*/ 865007 h 2380521"/>
              <a:gd name="connsiteX2089" fmla="*/ 5438937 w 8023328"/>
              <a:gd name="connsiteY2089" fmla="*/ 853339 h 2380521"/>
              <a:gd name="connsiteX2090" fmla="*/ 5367530 w 8023328"/>
              <a:gd name="connsiteY2090" fmla="*/ 853339 h 2380521"/>
              <a:gd name="connsiteX2091" fmla="*/ 5382318 w 8023328"/>
              <a:gd name="connsiteY2091" fmla="*/ 865007 h 2380521"/>
              <a:gd name="connsiteX2092" fmla="*/ 5367530 w 8023328"/>
              <a:gd name="connsiteY2092" fmla="*/ 879593 h 2380521"/>
              <a:gd name="connsiteX2093" fmla="*/ 5352742 w 8023328"/>
              <a:gd name="connsiteY2093" fmla="*/ 865007 h 2380521"/>
              <a:gd name="connsiteX2094" fmla="*/ 5367530 w 8023328"/>
              <a:gd name="connsiteY2094" fmla="*/ 853339 h 2380521"/>
              <a:gd name="connsiteX2095" fmla="*/ 5296699 w 8023328"/>
              <a:gd name="connsiteY2095" fmla="*/ 853339 h 2380521"/>
              <a:gd name="connsiteX2096" fmla="*/ 5311488 w 8023328"/>
              <a:gd name="connsiteY2096" fmla="*/ 865007 h 2380521"/>
              <a:gd name="connsiteX2097" fmla="*/ 5296699 w 8023328"/>
              <a:gd name="connsiteY2097" fmla="*/ 879593 h 2380521"/>
              <a:gd name="connsiteX2098" fmla="*/ 5281910 w 8023328"/>
              <a:gd name="connsiteY2098" fmla="*/ 865007 h 2380521"/>
              <a:gd name="connsiteX2099" fmla="*/ 5296699 w 8023328"/>
              <a:gd name="connsiteY2099" fmla="*/ 853339 h 2380521"/>
              <a:gd name="connsiteX2100" fmla="*/ 5225869 w 8023328"/>
              <a:gd name="connsiteY2100" fmla="*/ 853339 h 2380521"/>
              <a:gd name="connsiteX2101" fmla="*/ 5240657 w 8023328"/>
              <a:gd name="connsiteY2101" fmla="*/ 865007 h 2380521"/>
              <a:gd name="connsiteX2102" fmla="*/ 5225869 w 8023328"/>
              <a:gd name="connsiteY2102" fmla="*/ 879593 h 2380521"/>
              <a:gd name="connsiteX2103" fmla="*/ 5211081 w 8023328"/>
              <a:gd name="connsiteY2103" fmla="*/ 865007 h 2380521"/>
              <a:gd name="connsiteX2104" fmla="*/ 5225869 w 8023328"/>
              <a:gd name="connsiteY2104" fmla="*/ 853339 h 2380521"/>
              <a:gd name="connsiteX2105" fmla="*/ 5154105 w 8023328"/>
              <a:gd name="connsiteY2105" fmla="*/ 853339 h 2380521"/>
              <a:gd name="connsiteX2106" fmla="*/ 5166502 w 8023328"/>
              <a:gd name="connsiteY2106" fmla="*/ 865007 h 2380521"/>
              <a:gd name="connsiteX2107" fmla="*/ 5154105 w 8023328"/>
              <a:gd name="connsiteY2107" fmla="*/ 879593 h 2380521"/>
              <a:gd name="connsiteX2108" fmla="*/ 5140249 w 8023328"/>
              <a:gd name="connsiteY2108" fmla="*/ 865007 h 2380521"/>
              <a:gd name="connsiteX2109" fmla="*/ 5154105 w 8023328"/>
              <a:gd name="connsiteY2109" fmla="*/ 853339 h 2380521"/>
              <a:gd name="connsiteX2110" fmla="*/ 5083276 w 8023328"/>
              <a:gd name="connsiteY2110" fmla="*/ 853339 h 2380521"/>
              <a:gd name="connsiteX2111" fmla="*/ 5095673 w 8023328"/>
              <a:gd name="connsiteY2111" fmla="*/ 865007 h 2380521"/>
              <a:gd name="connsiteX2112" fmla="*/ 5083276 w 8023328"/>
              <a:gd name="connsiteY2112" fmla="*/ 879593 h 2380521"/>
              <a:gd name="connsiteX2113" fmla="*/ 5069420 w 8023328"/>
              <a:gd name="connsiteY2113" fmla="*/ 865007 h 2380521"/>
              <a:gd name="connsiteX2114" fmla="*/ 5083276 w 8023328"/>
              <a:gd name="connsiteY2114" fmla="*/ 853339 h 2380521"/>
              <a:gd name="connsiteX2115" fmla="*/ 5012445 w 8023328"/>
              <a:gd name="connsiteY2115" fmla="*/ 853339 h 2380521"/>
              <a:gd name="connsiteX2116" fmla="*/ 5024842 w 8023328"/>
              <a:gd name="connsiteY2116" fmla="*/ 865007 h 2380521"/>
              <a:gd name="connsiteX2117" fmla="*/ 5012445 w 8023328"/>
              <a:gd name="connsiteY2117" fmla="*/ 879593 h 2380521"/>
              <a:gd name="connsiteX2118" fmla="*/ 4998589 w 8023328"/>
              <a:gd name="connsiteY2118" fmla="*/ 865007 h 2380521"/>
              <a:gd name="connsiteX2119" fmla="*/ 5012445 w 8023328"/>
              <a:gd name="connsiteY2119" fmla="*/ 853339 h 2380521"/>
              <a:gd name="connsiteX2120" fmla="*/ 4940157 w 8023328"/>
              <a:gd name="connsiteY2120" fmla="*/ 853339 h 2380521"/>
              <a:gd name="connsiteX2121" fmla="*/ 4954013 w 8023328"/>
              <a:gd name="connsiteY2121" fmla="*/ 865007 h 2380521"/>
              <a:gd name="connsiteX2122" fmla="*/ 4940157 w 8023328"/>
              <a:gd name="connsiteY2122" fmla="*/ 879593 h 2380521"/>
              <a:gd name="connsiteX2123" fmla="*/ 4927760 w 8023328"/>
              <a:gd name="connsiteY2123" fmla="*/ 865007 h 2380521"/>
              <a:gd name="connsiteX2124" fmla="*/ 4940157 w 8023328"/>
              <a:gd name="connsiteY2124" fmla="*/ 853339 h 2380521"/>
              <a:gd name="connsiteX2125" fmla="*/ 4865953 w 8023328"/>
              <a:gd name="connsiteY2125" fmla="*/ 853339 h 2380521"/>
              <a:gd name="connsiteX2126" fmla="*/ 4879809 w 8023328"/>
              <a:gd name="connsiteY2126" fmla="*/ 865007 h 2380521"/>
              <a:gd name="connsiteX2127" fmla="*/ 4865953 w 8023328"/>
              <a:gd name="connsiteY2127" fmla="*/ 879593 h 2380521"/>
              <a:gd name="connsiteX2128" fmla="*/ 4853556 w 8023328"/>
              <a:gd name="connsiteY2128" fmla="*/ 865007 h 2380521"/>
              <a:gd name="connsiteX2129" fmla="*/ 4865953 w 8023328"/>
              <a:gd name="connsiteY2129" fmla="*/ 853339 h 2380521"/>
              <a:gd name="connsiteX2130" fmla="*/ 4797514 w 8023328"/>
              <a:gd name="connsiteY2130" fmla="*/ 853339 h 2380521"/>
              <a:gd name="connsiteX2131" fmla="*/ 4812303 w 8023328"/>
              <a:gd name="connsiteY2131" fmla="*/ 865007 h 2380521"/>
              <a:gd name="connsiteX2132" fmla="*/ 4797514 w 8023328"/>
              <a:gd name="connsiteY2132" fmla="*/ 879593 h 2380521"/>
              <a:gd name="connsiteX2133" fmla="*/ 4782725 w 8023328"/>
              <a:gd name="connsiteY2133" fmla="*/ 865007 h 2380521"/>
              <a:gd name="connsiteX2134" fmla="*/ 4797514 w 8023328"/>
              <a:gd name="connsiteY2134" fmla="*/ 853339 h 2380521"/>
              <a:gd name="connsiteX2135" fmla="*/ 4726684 w 8023328"/>
              <a:gd name="connsiteY2135" fmla="*/ 853339 h 2380521"/>
              <a:gd name="connsiteX2136" fmla="*/ 4741472 w 8023328"/>
              <a:gd name="connsiteY2136" fmla="*/ 865007 h 2380521"/>
              <a:gd name="connsiteX2137" fmla="*/ 4726684 w 8023328"/>
              <a:gd name="connsiteY2137" fmla="*/ 879593 h 2380521"/>
              <a:gd name="connsiteX2138" fmla="*/ 4711896 w 8023328"/>
              <a:gd name="connsiteY2138" fmla="*/ 865007 h 2380521"/>
              <a:gd name="connsiteX2139" fmla="*/ 4726684 w 8023328"/>
              <a:gd name="connsiteY2139" fmla="*/ 853339 h 2380521"/>
              <a:gd name="connsiteX2140" fmla="*/ 4655853 w 8023328"/>
              <a:gd name="connsiteY2140" fmla="*/ 853339 h 2380521"/>
              <a:gd name="connsiteX2141" fmla="*/ 4670642 w 8023328"/>
              <a:gd name="connsiteY2141" fmla="*/ 865007 h 2380521"/>
              <a:gd name="connsiteX2142" fmla="*/ 4655853 w 8023328"/>
              <a:gd name="connsiteY2142" fmla="*/ 879593 h 2380521"/>
              <a:gd name="connsiteX2143" fmla="*/ 4641064 w 8023328"/>
              <a:gd name="connsiteY2143" fmla="*/ 865007 h 2380521"/>
              <a:gd name="connsiteX2144" fmla="*/ 4655853 w 8023328"/>
              <a:gd name="connsiteY2144" fmla="*/ 853339 h 2380521"/>
              <a:gd name="connsiteX2145" fmla="*/ 4584091 w 8023328"/>
              <a:gd name="connsiteY2145" fmla="*/ 853339 h 2380521"/>
              <a:gd name="connsiteX2146" fmla="*/ 4596488 w 8023328"/>
              <a:gd name="connsiteY2146" fmla="*/ 865007 h 2380521"/>
              <a:gd name="connsiteX2147" fmla="*/ 4584091 w 8023328"/>
              <a:gd name="connsiteY2147" fmla="*/ 879593 h 2380521"/>
              <a:gd name="connsiteX2148" fmla="*/ 4570235 w 8023328"/>
              <a:gd name="connsiteY2148" fmla="*/ 865007 h 2380521"/>
              <a:gd name="connsiteX2149" fmla="*/ 4584091 w 8023328"/>
              <a:gd name="connsiteY2149" fmla="*/ 853339 h 2380521"/>
              <a:gd name="connsiteX2150" fmla="*/ 4513260 w 8023328"/>
              <a:gd name="connsiteY2150" fmla="*/ 853339 h 2380521"/>
              <a:gd name="connsiteX2151" fmla="*/ 4525657 w 8023328"/>
              <a:gd name="connsiteY2151" fmla="*/ 865007 h 2380521"/>
              <a:gd name="connsiteX2152" fmla="*/ 4513260 w 8023328"/>
              <a:gd name="connsiteY2152" fmla="*/ 879593 h 2380521"/>
              <a:gd name="connsiteX2153" fmla="*/ 4499404 w 8023328"/>
              <a:gd name="connsiteY2153" fmla="*/ 865007 h 2380521"/>
              <a:gd name="connsiteX2154" fmla="*/ 4513260 w 8023328"/>
              <a:gd name="connsiteY2154" fmla="*/ 853339 h 2380521"/>
              <a:gd name="connsiteX2155" fmla="*/ 4439056 w 8023328"/>
              <a:gd name="connsiteY2155" fmla="*/ 853339 h 2380521"/>
              <a:gd name="connsiteX2156" fmla="*/ 4451453 w 8023328"/>
              <a:gd name="connsiteY2156" fmla="*/ 865007 h 2380521"/>
              <a:gd name="connsiteX2157" fmla="*/ 4439056 w 8023328"/>
              <a:gd name="connsiteY2157" fmla="*/ 879593 h 2380521"/>
              <a:gd name="connsiteX2158" fmla="*/ 4425200 w 8023328"/>
              <a:gd name="connsiteY2158" fmla="*/ 865007 h 2380521"/>
              <a:gd name="connsiteX2159" fmla="*/ 4439056 w 8023328"/>
              <a:gd name="connsiteY2159" fmla="*/ 853339 h 2380521"/>
              <a:gd name="connsiteX2160" fmla="*/ 4366768 w 8023328"/>
              <a:gd name="connsiteY2160" fmla="*/ 853339 h 2380521"/>
              <a:gd name="connsiteX2161" fmla="*/ 4380624 w 8023328"/>
              <a:gd name="connsiteY2161" fmla="*/ 865007 h 2380521"/>
              <a:gd name="connsiteX2162" fmla="*/ 4366768 w 8023328"/>
              <a:gd name="connsiteY2162" fmla="*/ 879593 h 2380521"/>
              <a:gd name="connsiteX2163" fmla="*/ 4354371 w 8023328"/>
              <a:gd name="connsiteY2163" fmla="*/ 867195 h 2380521"/>
              <a:gd name="connsiteX2164" fmla="*/ 4366768 w 8023328"/>
              <a:gd name="connsiteY2164" fmla="*/ 853339 h 2380521"/>
              <a:gd name="connsiteX2165" fmla="*/ 4295937 w 8023328"/>
              <a:gd name="connsiteY2165" fmla="*/ 853339 h 2380521"/>
              <a:gd name="connsiteX2166" fmla="*/ 4309793 w 8023328"/>
              <a:gd name="connsiteY2166" fmla="*/ 867195 h 2380521"/>
              <a:gd name="connsiteX2167" fmla="*/ 4295937 w 8023328"/>
              <a:gd name="connsiteY2167" fmla="*/ 879593 h 2380521"/>
              <a:gd name="connsiteX2168" fmla="*/ 4283540 w 8023328"/>
              <a:gd name="connsiteY2168" fmla="*/ 867195 h 2380521"/>
              <a:gd name="connsiteX2169" fmla="*/ 4295937 w 8023328"/>
              <a:gd name="connsiteY2169" fmla="*/ 853339 h 2380521"/>
              <a:gd name="connsiteX2170" fmla="*/ 4225107 w 8023328"/>
              <a:gd name="connsiteY2170" fmla="*/ 853339 h 2380521"/>
              <a:gd name="connsiteX2171" fmla="*/ 4238963 w 8023328"/>
              <a:gd name="connsiteY2171" fmla="*/ 867195 h 2380521"/>
              <a:gd name="connsiteX2172" fmla="*/ 4225107 w 8023328"/>
              <a:gd name="connsiteY2172" fmla="*/ 879593 h 2380521"/>
              <a:gd name="connsiteX2173" fmla="*/ 4212710 w 8023328"/>
              <a:gd name="connsiteY2173" fmla="*/ 867195 h 2380521"/>
              <a:gd name="connsiteX2174" fmla="*/ 4225107 w 8023328"/>
              <a:gd name="connsiteY2174" fmla="*/ 853339 h 2380521"/>
              <a:gd name="connsiteX2175" fmla="*/ 4153295 w 8023328"/>
              <a:gd name="connsiteY2175" fmla="*/ 853339 h 2380521"/>
              <a:gd name="connsiteX2176" fmla="*/ 4168083 w 8023328"/>
              <a:gd name="connsiteY2176" fmla="*/ 867195 h 2380521"/>
              <a:gd name="connsiteX2177" fmla="*/ 4153295 w 8023328"/>
              <a:gd name="connsiteY2177" fmla="*/ 879593 h 2380521"/>
              <a:gd name="connsiteX2178" fmla="*/ 4138507 w 8023328"/>
              <a:gd name="connsiteY2178" fmla="*/ 867195 h 2380521"/>
              <a:gd name="connsiteX2179" fmla="*/ 4153295 w 8023328"/>
              <a:gd name="connsiteY2179" fmla="*/ 853339 h 2380521"/>
              <a:gd name="connsiteX2180" fmla="*/ 4082465 w 8023328"/>
              <a:gd name="connsiteY2180" fmla="*/ 853339 h 2380521"/>
              <a:gd name="connsiteX2181" fmla="*/ 4097254 w 8023328"/>
              <a:gd name="connsiteY2181" fmla="*/ 867195 h 2380521"/>
              <a:gd name="connsiteX2182" fmla="*/ 4082465 w 8023328"/>
              <a:gd name="connsiteY2182" fmla="*/ 879593 h 2380521"/>
              <a:gd name="connsiteX2183" fmla="*/ 4067676 w 8023328"/>
              <a:gd name="connsiteY2183" fmla="*/ 867195 h 2380521"/>
              <a:gd name="connsiteX2184" fmla="*/ 4082465 w 8023328"/>
              <a:gd name="connsiteY2184" fmla="*/ 853339 h 2380521"/>
              <a:gd name="connsiteX2185" fmla="*/ 4011635 w 8023328"/>
              <a:gd name="connsiteY2185" fmla="*/ 853339 h 2380521"/>
              <a:gd name="connsiteX2186" fmla="*/ 4026423 w 8023328"/>
              <a:gd name="connsiteY2186" fmla="*/ 867195 h 2380521"/>
              <a:gd name="connsiteX2187" fmla="*/ 4011635 w 8023328"/>
              <a:gd name="connsiteY2187" fmla="*/ 879593 h 2380521"/>
              <a:gd name="connsiteX2188" fmla="*/ 3996847 w 8023328"/>
              <a:gd name="connsiteY2188" fmla="*/ 867195 h 2380521"/>
              <a:gd name="connsiteX2189" fmla="*/ 4011635 w 8023328"/>
              <a:gd name="connsiteY2189" fmla="*/ 853339 h 2380521"/>
              <a:gd name="connsiteX2190" fmla="*/ 3939871 w 8023328"/>
              <a:gd name="connsiteY2190" fmla="*/ 853339 h 2380521"/>
              <a:gd name="connsiteX2191" fmla="*/ 3952268 w 8023328"/>
              <a:gd name="connsiteY2191" fmla="*/ 867195 h 2380521"/>
              <a:gd name="connsiteX2192" fmla="*/ 3939871 w 8023328"/>
              <a:gd name="connsiteY2192" fmla="*/ 879593 h 2380521"/>
              <a:gd name="connsiteX2193" fmla="*/ 3926015 w 8023328"/>
              <a:gd name="connsiteY2193" fmla="*/ 867195 h 2380521"/>
              <a:gd name="connsiteX2194" fmla="*/ 3939871 w 8023328"/>
              <a:gd name="connsiteY2194" fmla="*/ 853339 h 2380521"/>
              <a:gd name="connsiteX2195" fmla="*/ 3869042 w 8023328"/>
              <a:gd name="connsiteY2195" fmla="*/ 853339 h 2380521"/>
              <a:gd name="connsiteX2196" fmla="*/ 3881439 w 8023328"/>
              <a:gd name="connsiteY2196" fmla="*/ 867195 h 2380521"/>
              <a:gd name="connsiteX2197" fmla="*/ 3869042 w 8023328"/>
              <a:gd name="connsiteY2197" fmla="*/ 879593 h 2380521"/>
              <a:gd name="connsiteX2198" fmla="*/ 3855186 w 8023328"/>
              <a:gd name="connsiteY2198" fmla="*/ 867195 h 2380521"/>
              <a:gd name="connsiteX2199" fmla="*/ 3869042 w 8023328"/>
              <a:gd name="connsiteY2199" fmla="*/ 853339 h 2380521"/>
              <a:gd name="connsiteX2200" fmla="*/ 3796752 w 8023328"/>
              <a:gd name="connsiteY2200" fmla="*/ 853339 h 2380521"/>
              <a:gd name="connsiteX2201" fmla="*/ 3810608 w 8023328"/>
              <a:gd name="connsiteY2201" fmla="*/ 867195 h 2380521"/>
              <a:gd name="connsiteX2202" fmla="*/ 3796752 w 8023328"/>
              <a:gd name="connsiteY2202" fmla="*/ 879593 h 2380521"/>
              <a:gd name="connsiteX2203" fmla="*/ 3784355 w 8023328"/>
              <a:gd name="connsiteY2203" fmla="*/ 867195 h 2380521"/>
              <a:gd name="connsiteX2204" fmla="*/ 3796752 w 8023328"/>
              <a:gd name="connsiteY2204" fmla="*/ 853339 h 2380521"/>
              <a:gd name="connsiteX2205" fmla="*/ 3725922 w 8023328"/>
              <a:gd name="connsiteY2205" fmla="*/ 853339 h 2380521"/>
              <a:gd name="connsiteX2206" fmla="*/ 3739778 w 8023328"/>
              <a:gd name="connsiteY2206" fmla="*/ 867195 h 2380521"/>
              <a:gd name="connsiteX2207" fmla="*/ 3725922 w 8023328"/>
              <a:gd name="connsiteY2207" fmla="*/ 879593 h 2380521"/>
              <a:gd name="connsiteX2208" fmla="*/ 3713525 w 8023328"/>
              <a:gd name="connsiteY2208" fmla="*/ 867195 h 2380521"/>
              <a:gd name="connsiteX2209" fmla="*/ 3725922 w 8023328"/>
              <a:gd name="connsiteY2209" fmla="*/ 853339 h 2380521"/>
              <a:gd name="connsiteX2210" fmla="*/ 3655091 w 8023328"/>
              <a:gd name="connsiteY2210" fmla="*/ 853339 h 2380521"/>
              <a:gd name="connsiteX2211" fmla="*/ 3668947 w 8023328"/>
              <a:gd name="connsiteY2211" fmla="*/ 867195 h 2380521"/>
              <a:gd name="connsiteX2212" fmla="*/ 3655091 w 8023328"/>
              <a:gd name="connsiteY2212" fmla="*/ 879593 h 2380521"/>
              <a:gd name="connsiteX2213" fmla="*/ 3642694 w 8023328"/>
              <a:gd name="connsiteY2213" fmla="*/ 867195 h 2380521"/>
              <a:gd name="connsiteX2214" fmla="*/ 3655091 w 8023328"/>
              <a:gd name="connsiteY2214" fmla="*/ 853339 h 2380521"/>
              <a:gd name="connsiteX2215" fmla="*/ 3583280 w 8023328"/>
              <a:gd name="connsiteY2215" fmla="*/ 853339 h 2380521"/>
              <a:gd name="connsiteX2216" fmla="*/ 3598069 w 8023328"/>
              <a:gd name="connsiteY2216" fmla="*/ 867195 h 2380521"/>
              <a:gd name="connsiteX2217" fmla="*/ 3583280 w 8023328"/>
              <a:gd name="connsiteY2217" fmla="*/ 879593 h 2380521"/>
              <a:gd name="connsiteX2218" fmla="*/ 3568491 w 8023328"/>
              <a:gd name="connsiteY2218" fmla="*/ 867195 h 2380521"/>
              <a:gd name="connsiteX2219" fmla="*/ 3583280 w 8023328"/>
              <a:gd name="connsiteY2219" fmla="*/ 853339 h 2380521"/>
              <a:gd name="connsiteX2220" fmla="*/ 3512449 w 8023328"/>
              <a:gd name="connsiteY2220" fmla="*/ 853339 h 2380521"/>
              <a:gd name="connsiteX2221" fmla="*/ 3527237 w 8023328"/>
              <a:gd name="connsiteY2221" fmla="*/ 867195 h 2380521"/>
              <a:gd name="connsiteX2222" fmla="*/ 3512449 w 8023328"/>
              <a:gd name="connsiteY2222" fmla="*/ 879593 h 2380521"/>
              <a:gd name="connsiteX2223" fmla="*/ 3497661 w 8023328"/>
              <a:gd name="connsiteY2223" fmla="*/ 867195 h 2380521"/>
              <a:gd name="connsiteX2224" fmla="*/ 3512449 w 8023328"/>
              <a:gd name="connsiteY2224" fmla="*/ 853339 h 2380521"/>
              <a:gd name="connsiteX2225" fmla="*/ 3441619 w 8023328"/>
              <a:gd name="connsiteY2225" fmla="*/ 853339 h 2380521"/>
              <a:gd name="connsiteX2226" fmla="*/ 3456408 w 8023328"/>
              <a:gd name="connsiteY2226" fmla="*/ 867195 h 2380521"/>
              <a:gd name="connsiteX2227" fmla="*/ 3441619 w 8023328"/>
              <a:gd name="connsiteY2227" fmla="*/ 879593 h 2380521"/>
              <a:gd name="connsiteX2228" fmla="*/ 3426830 w 8023328"/>
              <a:gd name="connsiteY2228" fmla="*/ 867195 h 2380521"/>
              <a:gd name="connsiteX2229" fmla="*/ 3441619 w 8023328"/>
              <a:gd name="connsiteY2229" fmla="*/ 853339 h 2380521"/>
              <a:gd name="connsiteX2230" fmla="*/ 3369857 w 8023328"/>
              <a:gd name="connsiteY2230" fmla="*/ 853339 h 2380521"/>
              <a:gd name="connsiteX2231" fmla="*/ 3382254 w 8023328"/>
              <a:gd name="connsiteY2231" fmla="*/ 867195 h 2380521"/>
              <a:gd name="connsiteX2232" fmla="*/ 3369857 w 8023328"/>
              <a:gd name="connsiteY2232" fmla="*/ 879593 h 2380521"/>
              <a:gd name="connsiteX2233" fmla="*/ 3356001 w 8023328"/>
              <a:gd name="connsiteY2233" fmla="*/ 867195 h 2380521"/>
              <a:gd name="connsiteX2234" fmla="*/ 3369857 w 8023328"/>
              <a:gd name="connsiteY2234" fmla="*/ 853339 h 2380521"/>
              <a:gd name="connsiteX2235" fmla="*/ 1013589 w 8023328"/>
              <a:gd name="connsiteY2235" fmla="*/ 853339 h 2380521"/>
              <a:gd name="connsiteX2236" fmla="*/ 1028011 w 8023328"/>
              <a:gd name="connsiteY2236" fmla="*/ 868127 h 2380521"/>
              <a:gd name="connsiteX2237" fmla="*/ 1013589 w 8023328"/>
              <a:gd name="connsiteY2237" fmla="*/ 882916 h 2380521"/>
              <a:gd name="connsiteX2238" fmla="*/ 998413 w 8023328"/>
              <a:gd name="connsiteY2238" fmla="*/ 868127 h 2380521"/>
              <a:gd name="connsiteX2239" fmla="*/ 1013589 w 8023328"/>
              <a:gd name="connsiteY2239" fmla="*/ 853339 h 2380521"/>
              <a:gd name="connsiteX2240" fmla="*/ 368059 w 8023328"/>
              <a:gd name="connsiteY2240" fmla="*/ 785881 h 2380521"/>
              <a:gd name="connsiteX2241" fmla="*/ 380456 w 8023328"/>
              <a:gd name="connsiteY2241" fmla="*/ 797549 h 2380521"/>
              <a:gd name="connsiteX2242" fmla="*/ 368059 w 8023328"/>
              <a:gd name="connsiteY2242" fmla="*/ 812135 h 2380521"/>
              <a:gd name="connsiteX2243" fmla="*/ 354203 w 8023328"/>
              <a:gd name="connsiteY2243" fmla="*/ 797549 h 2380521"/>
              <a:gd name="connsiteX2244" fmla="*/ 368059 w 8023328"/>
              <a:gd name="connsiteY2244" fmla="*/ 785881 h 2380521"/>
              <a:gd name="connsiteX2245" fmla="*/ 297226 w 8023328"/>
              <a:gd name="connsiteY2245" fmla="*/ 785881 h 2380521"/>
              <a:gd name="connsiteX2246" fmla="*/ 309624 w 8023328"/>
              <a:gd name="connsiteY2246" fmla="*/ 797549 h 2380521"/>
              <a:gd name="connsiteX2247" fmla="*/ 297226 w 8023328"/>
              <a:gd name="connsiteY2247" fmla="*/ 812135 h 2380521"/>
              <a:gd name="connsiteX2248" fmla="*/ 283371 w 8023328"/>
              <a:gd name="connsiteY2248" fmla="*/ 797549 h 2380521"/>
              <a:gd name="connsiteX2249" fmla="*/ 297226 w 8023328"/>
              <a:gd name="connsiteY2249" fmla="*/ 785881 h 2380521"/>
              <a:gd name="connsiteX2250" fmla="*/ 226398 w 8023328"/>
              <a:gd name="connsiteY2250" fmla="*/ 785881 h 2380521"/>
              <a:gd name="connsiteX2251" fmla="*/ 238797 w 8023328"/>
              <a:gd name="connsiteY2251" fmla="*/ 797549 h 2380521"/>
              <a:gd name="connsiteX2252" fmla="*/ 226398 w 8023328"/>
              <a:gd name="connsiteY2252" fmla="*/ 812135 h 2380521"/>
              <a:gd name="connsiteX2253" fmla="*/ 212542 w 8023328"/>
              <a:gd name="connsiteY2253" fmla="*/ 797549 h 2380521"/>
              <a:gd name="connsiteX2254" fmla="*/ 226398 w 8023328"/>
              <a:gd name="connsiteY2254" fmla="*/ 785881 h 2380521"/>
              <a:gd name="connsiteX2255" fmla="*/ 154101 w 8023328"/>
              <a:gd name="connsiteY2255" fmla="*/ 785881 h 2380521"/>
              <a:gd name="connsiteX2256" fmla="*/ 167957 w 8023328"/>
              <a:gd name="connsiteY2256" fmla="*/ 797549 h 2380521"/>
              <a:gd name="connsiteX2257" fmla="*/ 154101 w 8023328"/>
              <a:gd name="connsiteY2257" fmla="*/ 812135 h 2380521"/>
              <a:gd name="connsiteX2258" fmla="*/ 141704 w 8023328"/>
              <a:gd name="connsiteY2258" fmla="*/ 797549 h 2380521"/>
              <a:gd name="connsiteX2259" fmla="*/ 154101 w 8023328"/>
              <a:gd name="connsiteY2259" fmla="*/ 785881 h 2380521"/>
              <a:gd name="connsiteX2260" fmla="*/ 83272 w 8023328"/>
              <a:gd name="connsiteY2260" fmla="*/ 785881 h 2380521"/>
              <a:gd name="connsiteX2261" fmla="*/ 97128 w 8023328"/>
              <a:gd name="connsiteY2261" fmla="*/ 797549 h 2380521"/>
              <a:gd name="connsiteX2262" fmla="*/ 83272 w 8023328"/>
              <a:gd name="connsiteY2262" fmla="*/ 812135 h 2380521"/>
              <a:gd name="connsiteX2263" fmla="*/ 70874 w 8023328"/>
              <a:gd name="connsiteY2263" fmla="*/ 797549 h 2380521"/>
              <a:gd name="connsiteX2264" fmla="*/ 83272 w 8023328"/>
              <a:gd name="connsiteY2264" fmla="*/ 785881 h 2380521"/>
              <a:gd name="connsiteX2265" fmla="*/ 12036 w 8023328"/>
              <a:gd name="connsiteY2265" fmla="*/ 785881 h 2380521"/>
              <a:gd name="connsiteX2266" fmla="*/ 26277 w 8023328"/>
              <a:gd name="connsiteY2266" fmla="*/ 797549 h 2380521"/>
              <a:gd name="connsiteX2267" fmla="*/ 12036 w 8023328"/>
              <a:gd name="connsiteY2267" fmla="*/ 812135 h 2380521"/>
              <a:gd name="connsiteX2268" fmla="*/ 44 w 8023328"/>
              <a:gd name="connsiteY2268" fmla="*/ 797549 h 2380521"/>
              <a:gd name="connsiteX2269" fmla="*/ 12036 w 8023328"/>
              <a:gd name="connsiteY2269" fmla="*/ 785881 h 2380521"/>
              <a:gd name="connsiteX2270" fmla="*/ 4726684 w 8023328"/>
              <a:gd name="connsiteY2270" fmla="*/ 782507 h 2380521"/>
              <a:gd name="connsiteX2271" fmla="*/ 4741472 w 8023328"/>
              <a:gd name="connsiteY2271" fmla="*/ 794904 h 2380521"/>
              <a:gd name="connsiteX2272" fmla="*/ 4726684 w 8023328"/>
              <a:gd name="connsiteY2272" fmla="*/ 808761 h 2380521"/>
              <a:gd name="connsiteX2273" fmla="*/ 4711896 w 8023328"/>
              <a:gd name="connsiteY2273" fmla="*/ 794904 h 2380521"/>
              <a:gd name="connsiteX2274" fmla="*/ 4726684 w 8023328"/>
              <a:gd name="connsiteY2274" fmla="*/ 782507 h 2380521"/>
              <a:gd name="connsiteX2275" fmla="*/ 4655853 w 8023328"/>
              <a:gd name="connsiteY2275" fmla="*/ 782507 h 2380521"/>
              <a:gd name="connsiteX2276" fmla="*/ 4670642 w 8023328"/>
              <a:gd name="connsiteY2276" fmla="*/ 794904 h 2380521"/>
              <a:gd name="connsiteX2277" fmla="*/ 4655853 w 8023328"/>
              <a:gd name="connsiteY2277" fmla="*/ 808761 h 2380521"/>
              <a:gd name="connsiteX2278" fmla="*/ 4641064 w 8023328"/>
              <a:gd name="connsiteY2278" fmla="*/ 794904 h 2380521"/>
              <a:gd name="connsiteX2279" fmla="*/ 4655853 w 8023328"/>
              <a:gd name="connsiteY2279" fmla="*/ 782507 h 2380521"/>
              <a:gd name="connsiteX2280" fmla="*/ 4584091 w 8023328"/>
              <a:gd name="connsiteY2280" fmla="*/ 782507 h 2380521"/>
              <a:gd name="connsiteX2281" fmla="*/ 4596488 w 8023328"/>
              <a:gd name="connsiteY2281" fmla="*/ 794904 h 2380521"/>
              <a:gd name="connsiteX2282" fmla="*/ 4584091 w 8023328"/>
              <a:gd name="connsiteY2282" fmla="*/ 808761 h 2380521"/>
              <a:gd name="connsiteX2283" fmla="*/ 4570235 w 8023328"/>
              <a:gd name="connsiteY2283" fmla="*/ 794904 h 2380521"/>
              <a:gd name="connsiteX2284" fmla="*/ 4584091 w 8023328"/>
              <a:gd name="connsiteY2284" fmla="*/ 782507 h 2380521"/>
              <a:gd name="connsiteX2285" fmla="*/ 4513260 w 8023328"/>
              <a:gd name="connsiteY2285" fmla="*/ 782507 h 2380521"/>
              <a:gd name="connsiteX2286" fmla="*/ 4525657 w 8023328"/>
              <a:gd name="connsiteY2286" fmla="*/ 794904 h 2380521"/>
              <a:gd name="connsiteX2287" fmla="*/ 4513260 w 8023328"/>
              <a:gd name="connsiteY2287" fmla="*/ 808761 h 2380521"/>
              <a:gd name="connsiteX2288" fmla="*/ 4499404 w 8023328"/>
              <a:gd name="connsiteY2288" fmla="*/ 794904 h 2380521"/>
              <a:gd name="connsiteX2289" fmla="*/ 4513260 w 8023328"/>
              <a:gd name="connsiteY2289" fmla="*/ 782507 h 2380521"/>
              <a:gd name="connsiteX2290" fmla="*/ 4439056 w 8023328"/>
              <a:gd name="connsiteY2290" fmla="*/ 782507 h 2380521"/>
              <a:gd name="connsiteX2291" fmla="*/ 4451453 w 8023328"/>
              <a:gd name="connsiteY2291" fmla="*/ 794904 h 2380521"/>
              <a:gd name="connsiteX2292" fmla="*/ 4439056 w 8023328"/>
              <a:gd name="connsiteY2292" fmla="*/ 808761 h 2380521"/>
              <a:gd name="connsiteX2293" fmla="*/ 4425200 w 8023328"/>
              <a:gd name="connsiteY2293" fmla="*/ 794904 h 2380521"/>
              <a:gd name="connsiteX2294" fmla="*/ 4439056 w 8023328"/>
              <a:gd name="connsiteY2294" fmla="*/ 782507 h 2380521"/>
              <a:gd name="connsiteX2295" fmla="*/ 4366768 w 8023328"/>
              <a:gd name="connsiteY2295" fmla="*/ 782507 h 2380521"/>
              <a:gd name="connsiteX2296" fmla="*/ 4380624 w 8023328"/>
              <a:gd name="connsiteY2296" fmla="*/ 794904 h 2380521"/>
              <a:gd name="connsiteX2297" fmla="*/ 4366768 w 8023328"/>
              <a:gd name="connsiteY2297" fmla="*/ 808761 h 2380521"/>
              <a:gd name="connsiteX2298" fmla="*/ 4354371 w 8023328"/>
              <a:gd name="connsiteY2298" fmla="*/ 794904 h 2380521"/>
              <a:gd name="connsiteX2299" fmla="*/ 4366768 w 8023328"/>
              <a:gd name="connsiteY2299" fmla="*/ 782507 h 2380521"/>
              <a:gd name="connsiteX2300" fmla="*/ 4295937 w 8023328"/>
              <a:gd name="connsiteY2300" fmla="*/ 782507 h 2380521"/>
              <a:gd name="connsiteX2301" fmla="*/ 4309793 w 8023328"/>
              <a:gd name="connsiteY2301" fmla="*/ 794904 h 2380521"/>
              <a:gd name="connsiteX2302" fmla="*/ 4295937 w 8023328"/>
              <a:gd name="connsiteY2302" fmla="*/ 808761 h 2380521"/>
              <a:gd name="connsiteX2303" fmla="*/ 4283540 w 8023328"/>
              <a:gd name="connsiteY2303" fmla="*/ 794904 h 2380521"/>
              <a:gd name="connsiteX2304" fmla="*/ 4295937 w 8023328"/>
              <a:gd name="connsiteY2304" fmla="*/ 782507 h 2380521"/>
              <a:gd name="connsiteX2305" fmla="*/ 4225107 w 8023328"/>
              <a:gd name="connsiteY2305" fmla="*/ 782507 h 2380521"/>
              <a:gd name="connsiteX2306" fmla="*/ 4238963 w 8023328"/>
              <a:gd name="connsiteY2306" fmla="*/ 794904 h 2380521"/>
              <a:gd name="connsiteX2307" fmla="*/ 4225107 w 8023328"/>
              <a:gd name="connsiteY2307" fmla="*/ 808761 h 2380521"/>
              <a:gd name="connsiteX2308" fmla="*/ 4212710 w 8023328"/>
              <a:gd name="connsiteY2308" fmla="*/ 794904 h 2380521"/>
              <a:gd name="connsiteX2309" fmla="*/ 4225107 w 8023328"/>
              <a:gd name="connsiteY2309" fmla="*/ 782507 h 2380521"/>
              <a:gd name="connsiteX2310" fmla="*/ 4153295 w 8023328"/>
              <a:gd name="connsiteY2310" fmla="*/ 782507 h 2380521"/>
              <a:gd name="connsiteX2311" fmla="*/ 4168083 w 8023328"/>
              <a:gd name="connsiteY2311" fmla="*/ 794904 h 2380521"/>
              <a:gd name="connsiteX2312" fmla="*/ 4153295 w 8023328"/>
              <a:gd name="connsiteY2312" fmla="*/ 808761 h 2380521"/>
              <a:gd name="connsiteX2313" fmla="*/ 4138507 w 8023328"/>
              <a:gd name="connsiteY2313" fmla="*/ 794904 h 2380521"/>
              <a:gd name="connsiteX2314" fmla="*/ 4153295 w 8023328"/>
              <a:gd name="connsiteY2314" fmla="*/ 782507 h 2380521"/>
              <a:gd name="connsiteX2315" fmla="*/ 4082465 w 8023328"/>
              <a:gd name="connsiteY2315" fmla="*/ 782507 h 2380521"/>
              <a:gd name="connsiteX2316" fmla="*/ 4097254 w 8023328"/>
              <a:gd name="connsiteY2316" fmla="*/ 794904 h 2380521"/>
              <a:gd name="connsiteX2317" fmla="*/ 4082465 w 8023328"/>
              <a:gd name="connsiteY2317" fmla="*/ 808761 h 2380521"/>
              <a:gd name="connsiteX2318" fmla="*/ 4067676 w 8023328"/>
              <a:gd name="connsiteY2318" fmla="*/ 794904 h 2380521"/>
              <a:gd name="connsiteX2319" fmla="*/ 4082465 w 8023328"/>
              <a:gd name="connsiteY2319" fmla="*/ 782507 h 2380521"/>
              <a:gd name="connsiteX2320" fmla="*/ 4010703 w 8023328"/>
              <a:gd name="connsiteY2320" fmla="*/ 782507 h 2380521"/>
              <a:gd name="connsiteX2321" fmla="*/ 4023100 w 8023328"/>
              <a:gd name="connsiteY2321" fmla="*/ 794904 h 2380521"/>
              <a:gd name="connsiteX2322" fmla="*/ 4010703 w 8023328"/>
              <a:gd name="connsiteY2322" fmla="*/ 808761 h 2380521"/>
              <a:gd name="connsiteX2323" fmla="*/ 3996847 w 8023328"/>
              <a:gd name="connsiteY2323" fmla="*/ 794904 h 2380521"/>
              <a:gd name="connsiteX2324" fmla="*/ 4010703 w 8023328"/>
              <a:gd name="connsiteY2324" fmla="*/ 782507 h 2380521"/>
              <a:gd name="connsiteX2325" fmla="*/ 3939871 w 8023328"/>
              <a:gd name="connsiteY2325" fmla="*/ 782507 h 2380521"/>
              <a:gd name="connsiteX2326" fmla="*/ 3952268 w 8023328"/>
              <a:gd name="connsiteY2326" fmla="*/ 794904 h 2380521"/>
              <a:gd name="connsiteX2327" fmla="*/ 3939871 w 8023328"/>
              <a:gd name="connsiteY2327" fmla="*/ 808761 h 2380521"/>
              <a:gd name="connsiteX2328" fmla="*/ 3926015 w 8023328"/>
              <a:gd name="connsiteY2328" fmla="*/ 794904 h 2380521"/>
              <a:gd name="connsiteX2329" fmla="*/ 3939871 w 8023328"/>
              <a:gd name="connsiteY2329" fmla="*/ 782507 h 2380521"/>
              <a:gd name="connsiteX2330" fmla="*/ 3869042 w 8023328"/>
              <a:gd name="connsiteY2330" fmla="*/ 782507 h 2380521"/>
              <a:gd name="connsiteX2331" fmla="*/ 3881439 w 8023328"/>
              <a:gd name="connsiteY2331" fmla="*/ 794904 h 2380521"/>
              <a:gd name="connsiteX2332" fmla="*/ 3869042 w 8023328"/>
              <a:gd name="connsiteY2332" fmla="*/ 808761 h 2380521"/>
              <a:gd name="connsiteX2333" fmla="*/ 3855186 w 8023328"/>
              <a:gd name="connsiteY2333" fmla="*/ 794904 h 2380521"/>
              <a:gd name="connsiteX2334" fmla="*/ 3869042 w 8023328"/>
              <a:gd name="connsiteY2334" fmla="*/ 782507 h 2380521"/>
              <a:gd name="connsiteX2335" fmla="*/ 3796752 w 8023328"/>
              <a:gd name="connsiteY2335" fmla="*/ 782507 h 2380521"/>
              <a:gd name="connsiteX2336" fmla="*/ 3810608 w 8023328"/>
              <a:gd name="connsiteY2336" fmla="*/ 796363 h 2380521"/>
              <a:gd name="connsiteX2337" fmla="*/ 3796752 w 8023328"/>
              <a:gd name="connsiteY2337" fmla="*/ 808761 h 2380521"/>
              <a:gd name="connsiteX2338" fmla="*/ 3784355 w 8023328"/>
              <a:gd name="connsiteY2338" fmla="*/ 796363 h 2380521"/>
              <a:gd name="connsiteX2339" fmla="*/ 3796752 w 8023328"/>
              <a:gd name="connsiteY2339" fmla="*/ 782507 h 2380521"/>
              <a:gd name="connsiteX2340" fmla="*/ 3725922 w 8023328"/>
              <a:gd name="connsiteY2340" fmla="*/ 782507 h 2380521"/>
              <a:gd name="connsiteX2341" fmla="*/ 3739778 w 8023328"/>
              <a:gd name="connsiteY2341" fmla="*/ 796363 h 2380521"/>
              <a:gd name="connsiteX2342" fmla="*/ 3725922 w 8023328"/>
              <a:gd name="connsiteY2342" fmla="*/ 808761 h 2380521"/>
              <a:gd name="connsiteX2343" fmla="*/ 3713525 w 8023328"/>
              <a:gd name="connsiteY2343" fmla="*/ 796363 h 2380521"/>
              <a:gd name="connsiteX2344" fmla="*/ 3725922 w 8023328"/>
              <a:gd name="connsiteY2344" fmla="*/ 782507 h 2380521"/>
              <a:gd name="connsiteX2345" fmla="*/ 3655091 w 8023328"/>
              <a:gd name="connsiteY2345" fmla="*/ 782507 h 2380521"/>
              <a:gd name="connsiteX2346" fmla="*/ 3668947 w 8023328"/>
              <a:gd name="connsiteY2346" fmla="*/ 796363 h 2380521"/>
              <a:gd name="connsiteX2347" fmla="*/ 3655091 w 8023328"/>
              <a:gd name="connsiteY2347" fmla="*/ 808761 h 2380521"/>
              <a:gd name="connsiteX2348" fmla="*/ 3642694 w 8023328"/>
              <a:gd name="connsiteY2348" fmla="*/ 796363 h 2380521"/>
              <a:gd name="connsiteX2349" fmla="*/ 3655091 w 8023328"/>
              <a:gd name="connsiteY2349" fmla="*/ 782507 h 2380521"/>
              <a:gd name="connsiteX2350" fmla="*/ 3583280 w 8023328"/>
              <a:gd name="connsiteY2350" fmla="*/ 782507 h 2380521"/>
              <a:gd name="connsiteX2351" fmla="*/ 3598069 w 8023328"/>
              <a:gd name="connsiteY2351" fmla="*/ 796363 h 2380521"/>
              <a:gd name="connsiteX2352" fmla="*/ 3583280 w 8023328"/>
              <a:gd name="connsiteY2352" fmla="*/ 808761 h 2380521"/>
              <a:gd name="connsiteX2353" fmla="*/ 3568491 w 8023328"/>
              <a:gd name="connsiteY2353" fmla="*/ 796363 h 2380521"/>
              <a:gd name="connsiteX2354" fmla="*/ 3583280 w 8023328"/>
              <a:gd name="connsiteY2354" fmla="*/ 782507 h 2380521"/>
              <a:gd name="connsiteX2355" fmla="*/ 3512449 w 8023328"/>
              <a:gd name="connsiteY2355" fmla="*/ 782507 h 2380521"/>
              <a:gd name="connsiteX2356" fmla="*/ 3527237 w 8023328"/>
              <a:gd name="connsiteY2356" fmla="*/ 796363 h 2380521"/>
              <a:gd name="connsiteX2357" fmla="*/ 3512449 w 8023328"/>
              <a:gd name="connsiteY2357" fmla="*/ 808761 h 2380521"/>
              <a:gd name="connsiteX2358" fmla="*/ 3497661 w 8023328"/>
              <a:gd name="connsiteY2358" fmla="*/ 796363 h 2380521"/>
              <a:gd name="connsiteX2359" fmla="*/ 3512449 w 8023328"/>
              <a:gd name="connsiteY2359" fmla="*/ 782507 h 2380521"/>
              <a:gd name="connsiteX2360" fmla="*/ 3441619 w 8023328"/>
              <a:gd name="connsiteY2360" fmla="*/ 782507 h 2380521"/>
              <a:gd name="connsiteX2361" fmla="*/ 3456408 w 8023328"/>
              <a:gd name="connsiteY2361" fmla="*/ 796363 h 2380521"/>
              <a:gd name="connsiteX2362" fmla="*/ 3441619 w 8023328"/>
              <a:gd name="connsiteY2362" fmla="*/ 808761 h 2380521"/>
              <a:gd name="connsiteX2363" fmla="*/ 3426830 w 8023328"/>
              <a:gd name="connsiteY2363" fmla="*/ 796363 h 2380521"/>
              <a:gd name="connsiteX2364" fmla="*/ 3441619 w 8023328"/>
              <a:gd name="connsiteY2364" fmla="*/ 782507 h 2380521"/>
              <a:gd name="connsiteX2365" fmla="*/ 3369857 w 8023328"/>
              <a:gd name="connsiteY2365" fmla="*/ 782507 h 2380521"/>
              <a:gd name="connsiteX2366" fmla="*/ 3382254 w 8023328"/>
              <a:gd name="connsiteY2366" fmla="*/ 796363 h 2380521"/>
              <a:gd name="connsiteX2367" fmla="*/ 3369857 w 8023328"/>
              <a:gd name="connsiteY2367" fmla="*/ 808761 h 2380521"/>
              <a:gd name="connsiteX2368" fmla="*/ 3356001 w 8023328"/>
              <a:gd name="connsiteY2368" fmla="*/ 796363 h 2380521"/>
              <a:gd name="connsiteX2369" fmla="*/ 3369857 w 8023328"/>
              <a:gd name="connsiteY2369" fmla="*/ 782507 h 2380521"/>
              <a:gd name="connsiteX2370" fmla="*/ 3299083 w 8023328"/>
              <a:gd name="connsiteY2370" fmla="*/ 782507 h 2380521"/>
              <a:gd name="connsiteX2371" fmla="*/ 3311480 w 8023328"/>
              <a:gd name="connsiteY2371" fmla="*/ 796363 h 2380521"/>
              <a:gd name="connsiteX2372" fmla="*/ 3299083 w 8023328"/>
              <a:gd name="connsiteY2372" fmla="*/ 808761 h 2380521"/>
              <a:gd name="connsiteX2373" fmla="*/ 3285229 w 8023328"/>
              <a:gd name="connsiteY2373" fmla="*/ 796363 h 2380521"/>
              <a:gd name="connsiteX2374" fmla="*/ 3299083 w 8023328"/>
              <a:gd name="connsiteY2374" fmla="*/ 782507 h 2380521"/>
              <a:gd name="connsiteX2375" fmla="*/ 3228250 w 8023328"/>
              <a:gd name="connsiteY2375" fmla="*/ 782507 h 2380521"/>
              <a:gd name="connsiteX2376" fmla="*/ 3240649 w 8023328"/>
              <a:gd name="connsiteY2376" fmla="*/ 796363 h 2380521"/>
              <a:gd name="connsiteX2377" fmla="*/ 3228250 w 8023328"/>
              <a:gd name="connsiteY2377" fmla="*/ 808761 h 2380521"/>
              <a:gd name="connsiteX2378" fmla="*/ 3214395 w 8023328"/>
              <a:gd name="connsiteY2378" fmla="*/ 796363 h 2380521"/>
              <a:gd name="connsiteX2379" fmla="*/ 3228250 w 8023328"/>
              <a:gd name="connsiteY2379" fmla="*/ 782507 h 2380521"/>
              <a:gd name="connsiteX2380" fmla="*/ 3152591 w 8023328"/>
              <a:gd name="connsiteY2380" fmla="*/ 782507 h 2380521"/>
              <a:gd name="connsiteX2381" fmla="*/ 3166447 w 8023328"/>
              <a:gd name="connsiteY2381" fmla="*/ 796363 h 2380521"/>
              <a:gd name="connsiteX2382" fmla="*/ 3152591 w 8023328"/>
              <a:gd name="connsiteY2382" fmla="*/ 808761 h 2380521"/>
              <a:gd name="connsiteX2383" fmla="*/ 3140193 w 8023328"/>
              <a:gd name="connsiteY2383" fmla="*/ 796363 h 2380521"/>
              <a:gd name="connsiteX2384" fmla="*/ 3152591 w 8023328"/>
              <a:gd name="connsiteY2384" fmla="*/ 782507 h 2380521"/>
              <a:gd name="connsiteX2385" fmla="*/ 1226672 w 8023328"/>
              <a:gd name="connsiteY2385" fmla="*/ 782507 h 2380521"/>
              <a:gd name="connsiteX2386" fmla="*/ 1240529 w 8023328"/>
              <a:gd name="connsiteY2386" fmla="*/ 796926 h 2380521"/>
              <a:gd name="connsiteX2387" fmla="*/ 1226672 w 8023328"/>
              <a:gd name="connsiteY2387" fmla="*/ 812105 h 2380521"/>
              <a:gd name="connsiteX2388" fmla="*/ 1214283 w 8023328"/>
              <a:gd name="connsiteY2388" fmla="*/ 796926 h 2380521"/>
              <a:gd name="connsiteX2389" fmla="*/ 1226672 w 8023328"/>
              <a:gd name="connsiteY2389" fmla="*/ 782507 h 2380521"/>
              <a:gd name="connsiteX2390" fmla="*/ 1154869 w 8023328"/>
              <a:gd name="connsiteY2390" fmla="*/ 782507 h 2380521"/>
              <a:gd name="connsiteX2391" fmla="*/ 1169658 w 8023328"/>
              <a:gd name="connsiteY2391" fmla="*/ 796926 h 2380521"/>
              <a:gd name="connsiteX2392" fmla="*/ 1154869 w 8023328"/>
              <a:gd name="connsiteY2392" fmla="*/ 812105 h 2380521"/>
              <a:gd name="connsiteX2393" fmla="*/ 1140080 w 8023328"/>
              <a:gd name="connsiteY2393" fmla="*/ 796926 h 2380521"/>
              <a:gd name="connsiteX2394" fmla="*/ 1154869 w 8023328"/>
              <a:gd name="connsiteY2394" fmla="*/ 782507 h 2380521"/>
              <a:gd name="connsiteX2395" fmla="*/ 1084040 w 8023328"/>
              <a:gd name="connsiteY2395" fmla="*/ 782507 h 2380521"/>
              <a:gd name="connsiteX2396" fmla="*/ 1098826 w 8023328"/>
              <a:gd name="connsiteY2396" fmla="*/ 796926 h 2380521"/>
              <a:gd name="connsiteX2397" fmla="*/ 1084040 w 8023328"/>
              <a:gd name="connsiteY2397" fmla="*/ 812105 h 2380521"/>
              <a:gd name="connsiteX2398" fmla="*/ 1069250 w 8023328"/>
              <a:gd name="connsiteY2398" fmla="*/ 796926 h 2380521"/>
              <a:gd name="connsiteX2399" fmla="*/ 1084040 w 8023328"/>
              <a:gd name="connsiteY2399" fmla="*/ 782507 h 2380521"/>
              <a:gd name="connsiteX2400" fmla="*/ 1013594 w 8023328"/>
              <a:gd name="connsiteY2400" fmla="*/ 782507 h 2380521"/>
              <a:gd name="connsiteX2401" fmla="*/ 1028015 w 8023328"/>
              <a:gd name="connsiteY2401" fmla="*/ 796926 h 2380521"/>
              <a:gd name="connsiteX2402" fmla="*/ 1013594 w 8023328"/>
              <a:gd name="connsiteY2402" fmla="*/ 812105 h 2380521"/>
              <a:gd name="connsiteX2403" fmla="*/ 998417 w 8023328"/>
              <a:gd name="connsiteY2403" fmla="*/ 796926 h 2380521"/>
              <a:gd name="connsiteX2404" fmla="*/ 1013594 w 8023328"/>
              <a:gd name="connsiteY2404" fmla="*/ 782507 h 2380521"/>
              <a:gd name="connsiteX2405" fmla="*/ 941447 w 8023328"/>
              <a:gd name="connsiteY2405" fmla="*/ 782507 h 2380521"/>
              <a:gd name="connsiteX2406" fmla="*/ 953844 w 8023328"/>
              <a:gd name="connsiteY2406" fmla="*/ 796926 h 2380521"/>
              <a:gd name="connsiteX2407" fmla="*/ 941447 w 8023328"/>
              <a:gd name="connsiteY2407" fmla="*/ 812105 h 2380521"/>
              <a:gd name="connsiteX2408" fmla="*/ 927591 w 8023328"/>
              <a:gd name="connsiteY2408" fmla="*/ 796926 h 2380521"/>
              <a:gd name="connsiteX2409" fmla="*/ 941447 w 8023328"/>
              <a:gd name="connsiteY2409" fmla="*/ 782507 h 2380521"/>
              <a:gd name="connsiteX2410" fmla="*/ 870615 w 8023328"/>
              <a:gd name="connsiteY2410" fmla="*/ 782507 h 2380521"/>
              <a:gd name="connsiteX2411" fmla="*/ 883013 w 8023328"/>
              <a:gd name="connsiteY2411" fmla="*/ 796926 h 2380521"/>
              <a:gd name="connsiteX2412" fmla="*/ 870615 w 8023328"/>
              <a:gd name="connsiteY2412" fmla="*/ 812105 h 2380521"/>
              <a:gd name="connsiteX2413" fmla="*/ 856759 w 8023328"/>
              <a:gd name="connsiteY2413" fmla="*/ 796926 h 2380521"/>
              <a:gd name="connsiteX2414" fmla="*/ 870615 w 8023328"/>
              <a:gd name="connsiteY2414" fmla="*/ 782507 h 2380521"/>
              <a:gd name="connsiteX2415" fmla="*/ 799784 w 8023328"/>
              <a:gd name="connsiteY2415" fmla="*/ 782507 h 2380521"/>
              <a:gd name="connsiteX2416" fmla="*/ 812183 w 8023328"/>
              <a:gd name="connsiteY2416" fmla="*/ 796926 h 2380521"/>
              <a:gd name="connsiteX2417" fmla="*/ 799784 w 8023328"/>
              <a:gd name="connsiteY2417" fmla="*/ 812105 h 2380521"/>
              <a:gd name="connsiteX2418" fmla="*/ 785929 w 8023328"/>
              <a:gd name="connsiteY2418" fmla="*/ 796926 h 2380521"/>
              <a:gd name="connsiteX2419" fmla="*/ 799784 w 8023328"/>
              <a:gd name="connsiteY2419" fmla="*/ 782507 h 2380521"/>
              <a:gd name="connsiteX2420" fmla="*/ 724123 w 8023328"/>
              <a:gd name="connsiteY2420" fmla="*/ 782507 h 2380521"/>
              <a:gd name="connsiteX2421" fmla="*/ 737981 w 8023328"/>
              <a:gd name="connsiteY2421" fmla="*/ 796926 h 2380521"/>
              <a:gd name="connsiteX2422" fmla="*/ 724123 w 8023328"/>
              <a:gd name="connsiteY2422" fmla="*/ 812105 h 2380521"/>
              <a:gd name="connsiteX2423" fmla="*/ 711726 w 8023328"/>
              <a:gd name="connsiteY2423" fmla="*/ 796926 h 2380521"/>
              <a:gd name="connsiteX2424" fmla="*/ 724123 w 8023328"/>
              <a:gd name="connsiteY2424" fmla="*/ 782507 h 2380521"/>
              <a:gd name="connsiteX2425" fmla="*/ 653293 w 8023328"/>
              <a:gd name="connsiteY2425" fmla="*/ 782507 h 2380521"/>
              <a:gd name="connsiteX2426" fmla="*/ 667149 w 8023328"/>
              <a:gd name="connsiteY2426" fmla="*/ 796926 h 2380521"/>
              <a:gd name="connsiteX2427" fmla="*/ 653293 w 8023328"/>
              <a:gd name="connsiteY2427" fmla="*/ 812105 h 2380521"/>
              <a:gd name="connsiteX2428" fmla="*/ 640896 w 8023328"/>
              <a:gd name="connsiteY2428" fmla="*/ 796926 h 2380521"/>
              <a:gd name="connsiteX2429" fmla="*/ 653293 w 8023328"/>
              <a:gd name="connsiteY2429" fmla="*/ 782507 h 2380521"/>
              <a:gd name="connsiteX2430" fmla="*/ 584855 w 8023328"/>
              <a:gd name="connsiteY2430" fmla="*/ 782507 h 2380521"/>
              <a:gd name="connsiteX2431" fmla="*/ 599643 w 8023328"/>
              <a:gd name="connsiteY2431" fmla="*/ 796926 h 2380521"/>
              <a:gd name="connsiteX2432" fmla="*/ 584855 w 8023328"/>
              <a:gd name="connsiteY2432" fmla="*/ 812105 h 2380521"/>
              <a:gd name="connsiteX2433" fmla="*/ 570066 w 8023328"/>
              <a:gd name="connsiteY2433" fmla="*/ 796926 h 2380521"/>
              <a:gd name="connsiteX2434" fmla="*/ 584855 w 8023328"/>
              <a:gd name="connsiteY2434" fmla="*/ 782507 h 2380521"/>
              <a:gd name="connsiteX2435" fmla="*/ 513654 w 8023328"/>
              <a:gd name="connsiteY2435" fmla="*/ 782507 h 2380521"/>
              <a:gd name="connsiteX2436" fmla="*/ 528831 w 8023328"/>
              <a:gd name="connsiteY2436" fmla="*/ 796926 h 2380521"/>
              <a:gd name="connsiteX2437" fmla="*/ 513654 w 8023328"/>
              <a:gd name="connsiteY2437" fmla="*/ 812105 h 2380521"/>
              <a:gd name="connsiteX2438" fmla="*/ 499235 w 8023328"/>
              <a:gd name="connsiteY2438" fmla="*/ 796926 h 2380521"/>
              <a:gd name="connsiteX2439" fmla="*/ 513654 w 8023328"/>
              <a:gd name="connsiteY2439" fmla="*/ 782507 h 2380521"/>
              <a:gd name="connsiteX2440" fmla="*/ 439821 w 8023328"/>
              <a:gd name="connsiteY2440" fmla="*/ 782507 h 2380521"/>
              <a:gd name="connsiteX2441" fmla="*/ 454611 w 8023328"/>
              <a:gd name="connsiteY2441" fmla="*/ 796926 h 2380521"/>
              <a:gd name="connsiteX2442" fmla="*/ 439821 w 8023328"/>
              <a:gd name="connsiteY2442" fmla="*/ 812105 h 2380521"/>
              <a:gd name="connsiteX2443" fmla="*/ 425033 w 8023328"/>
              <a:gd name="connsiteY2443" fmla="*/ 796926 h 2380521"/>
              <a:gd name="connsiteX2444" fmla="*/ 439821 w 8023328"/>
              <a:gd name="connsiteY2444" fmla="*/ 782507 h 2380521"/>
              <a:gd name="connsiteX2445" fmla="*/ 4439056 w 8023328"/>
              <a:gd name="connsiteY2445" fmla="*/ 711678 h 2380521"/>
              <a:gd name="connsiteX2446" fmla="*/ 4451453 w 8023328"/>
              <a:gd name="connsiteY2446" fmla="*/ 724075 h 2380521"/>
              <a:gd name="connsiteX2447" fmla="*/ 4439056 w 8023328"/>
              <a:gd name="connsiteY2447" fmla="*/ 737932 h 2380521"/>
              <a:gd name="connsiteX2448" fmla="*/ 4425200 w 8023328"/>
              <a:gd name="connsiteY2448" fmla="*/ 724075 h 2380521"/>
              <a:gd name="connsiteX2449" fmla="*/ 4439056 w 8023328"/>
              <a:gd name="connsiteY2449" fmla="*/ 711678 h 2380521"/>
              <a:gd name="connsiteX2450" fmla="*/ 4366768 w 8023328"/>
              <a:gd name="connsiteY2450" fmla="*/ 711678 h 2380521"/>
              <a:gd name="connsiteX2451" fmla="*/ 4380624 w 8023328"/>
              <a:gd name="connsiteY2451" fmla="*/ 724075 h 2380521"/>
              <a:gd name="connsiteX2452" fmla="*/ 4366768 w 8023328"/>
              <a:gd name="connsiteY2452" fmla="*/ 737932 h 2380521"/>
              <a:gd name="connsiteX2453" fmla="*/ 4354371 w 8023328"/>
              <a:gd name="connsiteY2453" fmla="*/ 724075 h 2380521"/>
              <a:gd name="connsiteX2454" fmla="*/ 4366768 w 8023328"/>
              <a:gd name="connsiteY2454" fmla="*/ 711678 h 2380521"/>
              <a:gd name="connsiteX2455" fmla="*/ 4295937 w 8023328"/>
              <a:gd name="connsiteY2455" fmla="*/ 711678 h 2380521"/>
              <a:gd name="connsiteX2456" fmla="*/ 4309793 w 8023328"/>
              <a:gd name="connsiteY2456" fmla="*/ 724075 h 2380521"/>
              <a:gd name="connsiteX2457" fmla="*/ 4295937 w 8023328"/>
              <a:gd name="connsiteY2457" fmla="*/ 737932 h 2380521"/>
              <a:gd name="connsiteX2458" fmla="*/ 4283540 w 8023328"/>
              <a:gd name="connsiteY2458" fmla="*/ 724075 h 2380521"/>
              <a:gd name="connsiteX2459" fmla="*/ 4295937 w 8023328"/>
              <a:gd name="connsiteY2459" fmla="*/ 711678 h 2380521"/>
              <a:gd name="connsiteX2460" fmla="*/ 4225107 w 8023328"/>
              <a:gd name="connsiteY2460" fmla="*/ 711678 h 2380521"/>
              <a:gd name="connsiteX2461" fmla="*/ 4238963 w 8023328"/>
              <a:gd name="connsiteY2461" fmla="*/ 724075 h 2380521"/>
              <a:gd name="connsiteX2462" fmla="*/ 4225107 w 8023328"/>
              <a:gd name="connsiteY2462" fmla="*/ 737932 h 2380521"/>
              <a:gd name="connsiteX2463" fmla="*/ 4212710 w 8023328"/>
              <a:gd name="connsiteY2463" fmla="*/ 724075 h 2380521"/>
              <a:gd name="connsiteX2464" fmla="*/ 4225107 w 8023328"/>
              <a:gd name="connsiteY2464" fmla="*/ 711678 h 2380521"/>
              <a:gd name="connsiteX2465" fmla="*/ 4153295 w 8023328"/>
              <a:gd name="connsiteY2465" fmla="*/ 711678 h 2380521"/>
              <a:gd name="connsiteX2466" fmla="*/ 4168083 w 8023328"/>
              <a:gd name="connsiteY2466" fmla="*/ 724075 h 2380521"/>
              <a:gd name="connsiteX2467" fmla="*/ 4153295 w 8023328"/>
              <a:gd name="connsiteY2467" fmla="*/ 737932 h 2380521"/>
              <a:gd name="connsiteX2468" fmla="*/ 4138507 w 8023328"/>
              <a:gd name="connsiteY2468" fmla="*/ 724075 h 2380521"/>
              <a:gd name="connsiteX2469" fmla="*/ 4153295 w 8023328"/>
              <a:gd name="connsiteY2469" fmla="*/ 711678 h 2380521"/>
              <a:gd name="connsiteX2470" fmla="*/ 4082465 w 8023328"/>
              <a:gd name="connsiteY2470" fmla="*/ 711678 h 2380521"/>
              <a:gd name="connsiteX2471" fmla="*/ 4097254 w 8023328"/>
              <a:gd name="connsiteY2471" fmla="*/ 724075 h 2380521"/>
              <a:gd name="connsiteX2472" fmla="*/ 4082465 w 8023328"/>
              <a:gd name="connsiteY2472" fmla="*/ 737932 h 2380521"/>
              <a:gd name="connsiteX2473" fmla="*/ 4067676 w 8023328"/>
              <a:gd name="connsiteY2473" fmla="*/ 724075 h 2380521"/>
              <a:gd name="connsiteX2474" fmla="*/ 4082465 w 8023328"/>
              <a:gd name="connsiteY2474" fmla="*/ 711678 h 2380521"/>
              <a:gd name="connsiteX2475" fmla="*/ 4010703 w 8023328"/>
              <a:gd name="connsiteY2475" fmla="*/ 711678 h 2380521"/>
              <a:gd name="connsiteX2476" fmla="*/ 4023100 w 8023328"/>
              <a:gd name="connsiteY2476" fmla="*/ 724075 h 2380521"/>
              <a:gd name="connsiteX2477" fmla="*/ 4010703 w 8023328"/>
              <a:gd name="connsiteY2477" fmla="*/ 737932 h 2380521"/>
              <a:gd name="connsiteX2478" fmla="*/ 3996847 w 8023328"/>
              <a:gd name="connsiteY2478" fmla="*/ 724075 h 2380521"/>
              <a:gd name="connsiteX2479" fmla="*/ 4010703 w 8023328"/>
              <a:gd name="connsiteY2479" fmla="*/ 711678 h 2380521"/>
              <a:gd name="connsiteX2480" fmla="*/ 3939871 w 8023328"/>
              <a:gd name="connsiteY2480" fmla="*/ 711678 h 2380521"/>
              <a:gd name="connsiteX2481" fmla="*/ 3952268 w 8023328"/>
              <a:gd name="connsiteY2481" fmla="*/ 724075 h 2380521"/>
              <a:gd name="connsiteX2482" fmla="*/ 3939871 w 8023328"/>
              <a:gd name="connsiteY2482" fmla="*/ 737932 h 2380521"/>
              <a:gd name="connsiteX2483" fmla="*/ 3926015 w 8023328"/>
              <a:gd name="connsiteY2483" fmla="*/ 724075 h 2380521"/>
              <a:gd name="connsiteX2484" fmla="*/ 3939871 w 8023328"/>
              <a:gd name="connsiteY2484" fmla="*/ 711678 h 2380521"/>
              <a:gd name="connsiteX2485" fmla="*/ 3869042 w 8023328"/>
              <a:gd name="connsiteY2485" fmla="*/ 711678 h 2380521"/>
              <a:gd name="connsiteX2486" fmla="*/ 3881439 w 8023328"/>
              <a:gd name="connsiteY2486" fmla="*/ 724075 h 2380521"/>
              <a:gd name="connsiteX2487" fmla="*/ 3869042 w 8023328"/>
              <a:gd name="connsiteY2487" fmla="*/ 737932 h 2380521"/>
              <a:gd name="connsiteX2488" fmla="*/ 3855186 w 8023328"/>
              <a:gd name="connsiteY2488" fmla="*/ 724075 h 2380521"/>
              <a:gd name="connsiteX2489" fmla="*/ 3869042 w 8023328"/>
              <a:gd name="connsiteY2489" fmla="*/ 711678 h 2380521"/>
              <a:gd name="connsiteX2490" fmla="*/ 3796752 w 8023328"/>
              <a:gd name="connsiteY2490" fmla="*/ 711678 h 2380521"/>
              <a:gd name="connsiteX2491" fmla="*/ 3810608 w 8023328"/>
              <a:gd name="connsiteY2491" fmla="*/ 724075 h 2380521"/>
              <a:gd name="connsiteX2492" fmla="*/ 3796752 w 8023328"/>
              <a:gd name="connsiteY2492" fmla="*/ 737932 h 2380521"/>
              <a:gd name="connsiteX2493" fmla="*/ 3784355 w 8023328"/>
              <a:gd name="connsiteY2493" fmla="*/ 724075 h 2380521"/>
              <a:gd name="connsiteX2494" fmla="*/ 3796752 w 8023328"/>
              <a:gd name="connsiteY2494" fmla="*/ 711678 h 2380521"/>
              <a:gd name="connsiteX2495" fmla="*/ 3725922 w 8023328"/>
              <a:gd name="connsiteY2495" fmla="*/ 711678 h 2380521"/>
              <a:gd name="connsiteX2496" fmla="*/ 3739778 w 8023328"/>
              <a:gd name="connsiteY2496" fmla="*/ 724075 h 2380521"/>
              <a:gd name="connsiteX2497" fmla="*/ 3725922 w 8023328"/>
              <a:gd name="connsiteY2497" fmla="*/ 737932 h 2380521"/>
              <a:gd name="connsiteX2498" fmla="*/ 3713525 w 8023328"/>
              <a:gd name="connsiteY2498" fmla="*/ 724075 h 2380521"/>
              <a:gd name="connsiteX2499" fmla="*/ 3725922 w 8023328"/>
              <a:gd name="connsiteY2499" fmla="*/ 711678 h 2380521"/>
              <a:gd name="connsiteX2500" fmla="*/ 3655091 w 8023328"/>
              <a:gd name="connsiteY2500" fmla="*/ 711678 h 2380521"/>
              <a:gd name="connsiteX2501" fmla="*/ 3668947 w 8023328"/>
              <a:gd name="connsiteY2501" fmla="*/ 724075 h 2380521"/>
              <a:gd name="connsiteX2502" fmla="*/ 3655091 w 8023328"/>
              <a:gd name="connsiteY2502" fmla="*/ 737932 h 2380521"/>
              <a:gd name="connsiteX2503" fmla="*/ 3642694 w 8023328"/>
              <a:gd name="connsiteY2503" fmla="*/ 724075 h 2380521"/>
              <a:gd name="connsiteX2504" fmla="*/ 3655091 w 8023328"/>
              <a:gd name="connsiteY2504" fmla="*/ 711678 h 2380521"/>
              <a:gd name="connsiteX2505" fmla="*/ 3583280 w 8023328"/>
              <a:gd name="connsiteY2505" fmla="*/ 711678 h 2380521"/>
              <a:gd name="connsiteX2506" fmla="*/ 3598069 w 8023328"/>
              <a:gd name="connsiteY2506" fmla="*/ 724075 h 2380521"/>
              <a:gd name="connsiteX2507" fmla="*/ 3583280 w 8023328"/>
              <a:gd name="connsiteY2507" fmla="*/ 737932 h 2380521"/>
              <a:gd name="connsiteX2508" fmla="*/ 3568491 w 8023328"/>
              <a:gd name="connsiteY2508" fmla="*/ 724075 h 2380521"/>
              <a:gd name="connsiteX2509" fmla="*/ 3583280 w 8023328"/>
              <a:gd name="connsiteY2509" fmla="*/ 711678 h 2380521"/>
              <a:gd name="connsiteX2510" fmla="*/ 3512449 w 8023328"/>
              <a:gd name="connsiteY2510" fmla="*/ 711678 h 2380521"/>
              <a:gd name="connsiteX2511" fmla="*/ 3527237 w 8023328"/>
              <a:gd name="connsiteY2511" fmla="*/ 724075 h 2380521"/>
              <a:gd name="connsiteX2512" fmla="*/ 3512449 w 8023328"/>
              <a:gd name="connsiteY2512" fmla="*/ 737932 h 2380521"/>
              <a:gd name="connsiteX2513" fmla="*/ 3497661 w 8023328"/>
              <a:gd name="connsiteY2513" fmla="*/ 724075 h 2380521"/>
              <a:gd name="connsiteX2514" fmla="*/ 3512449 w 8023328"/>
              <a:gd name="connsiteY2514" fmla="*/ 711678 h 2380521"/>
              <a:gd name="connsiteX2515" fmla="*/ 3441619 w 8023328"/>
              <a:gd name="connsiteY2515" fmla="*/ 711678 h 2380521"/>
              <a:gd name="connsiteX2516" fmla="*/ 3456408 w 8023328"/>
              <a:gd name="connsiteY2516" fmla="*/ 724075 h 2380521"/>
              <a:gd name="connsiteX2517" fmla="*/ 3441619 w 8023328"/>
              <a:gd name="connsiteY2517" fmla="*/ 737932 h 2380521"/>
              <a:gd name="connsiteX2518" fmla="*/ 3426830 w 8023328"/>
              <a:gd name="connsiteY2518" fmla="*/ 724075 h 2380521"/>
              <a:gd name="connsiteX2519" fmla="*/ 3441619 w 8023328"/>
              <a:gd name="connsiteY2519" fmla="*/ 711678 h 2380521"/>
              <a:gd name="connsiteX2520" fmla="*/ 3369857 w 8023328"/>
              <a:gd name="connsiteY2520" fmla="*/ 711678 h 2380521"/>
              <a:gd name="connsiteX2521" fmla="*/ 3382254 w 8023328"/>
              <a:gd name="connsiteY2521" fmla="*/ 724075 h 2380521"/>
              <a:gd name="connsiteX2522" fmla="*/ 3369857 w 8023328"/>
              <a:gd name="connsiteY2522" fmla="*/ 737932 h 2380521"/>
              <a:gd name="connsiteX2523" fmla="*/ 3356001 w 8023328"/>
              <a:gd name="connsiteY2523" fmla="*/ 724075 h 2380521"/>
              <a:gd name="connsiteX2524" fmla="*/ 3369857 w 8023328"/>
              <a:gd name="connsiteY2524" fmla="*/ 711678 h 2380521"/>
              <a:gd name="connsiteX2525" fmla="*/ 3299086 w 8023328"/>
              <a:gd name="connsiteY2525" fmla="*/ 711678 h 2380521"/>
              <a:gd name="connsiteX2526" fmla="*/ 3311485 w 8023328"/>
              <a:gd name="connsiteY2526" fmla="*/ 724075 h 2380521"/>
              <a:gd name="connsiteX2527" fmla="*/ 3299086 w 8023328"/>
              <a:gd name="connsiteY2527" fmla="*/ 737932 h 2380521"/>
              <a:gd name="connsiteX2528" fmla="*/ 3285234 w 8023328"/>
              <a:gd name="connsiteY2528" fmla="*/ 724075 h 2380521"/>
              <a:gd name="connsiteX2529" fmla="*/ 3299086 w 8023328"/>
              <a:gd name="connsiteY2529" fmla="*/ 711678 h 2380521"/>
              <a:gd name="connsiteX2530" fmla="*/ 3228255 w 8023328"/>
              <a:gd name="connsiteY2530" fmla="*/ 711678 h 2380521"/>
              <a:gd name="connsiteX2531" fmla="*/ 3240654 w 8023328"/>
              <a:gd name="connsiteY2531" fmla="*/ 724075 h 2380521"/>
              <a:gd name="connsiteX2532" fmla="*/ 3228255 w 8023328"/>
              <a:gd name="connsiteY2532" fmla="*/ 737932 h 2380521"/>
              <a:gd name="connsiteX2533" fmla="*/ 3214398 w 8023328"/>
              <a:gd name="connsiteY2533" fmla="*/ 724075 h 2380521"/>
              <a:gd name="connsiteX2534" fmla="*/ 3228255 w 8023328"/>
              <a:gd name="connsiteY2534" fmla="*/ 711678 h 2380521"/>
              <a:gd name="connsiteX2535" fmla="*/ 3152594 w 8023328"/>
              <a:gd name="connsiteY2535" fmla="*/ 711678 h 2380521"/>
              <a:gd name="connsiteX2536" fmla="*/ 3166451 w 8023328"/>
              <a:gd name="connsiteY2536" fmla="*/ 724075 h 2380521"/>
              <a:gd name="connsiteX2537" fmla="*/ 3152594 w 8023328"/>
              <a:gd name="connsiteY2537" fmla="*/ 737932 h 2380521"/>
              <a:gd name="connsiteX2538" fmla="*/ 3140198 w 8023328"/>
              <a:gd name="connsiteY2538" fmla="*/ 725534 h 2380521"/>
              <a:gd name="connsiteX2539" fmla="*/ 3152594 w 8023328"/>
              <a:gd name="connsiteY2539" fmla="*/ 711678 h 2380521"/>
              <a:gd name="connsiteX2540" fmla="*/ 3081763 w 8023328"/>
              <a:gd name="connsiteY2540" fmla="*/ 711678 h 2380521"/>
              <a:gd name="connsiteX2541" fmla="*/ 3095617 w 8023328"/>
              <a:gd name="connsiteY2541" fmla="*/ 725534 h 2380521"/>
              <a:gd name="connsiteX2542" fmla="*/ 3081763 w 8023328"/>
              <a:gd name="connsiteY2542" fmla="*/ 737932 h 2380521"/>
              <a:gd name="connsiteX2543" fmla="*/ 3069364 w 8023328"/>
              <a:gd name="connsiteY2543" fmla="*/ 725534 h 2380521"/>
              <a:gd name="connsiteX2544" fmla="*/ 3081763 w 8023328"/>
              <a:gd name="connsiteY2544" fmla="*/ 711678 h 2380521"/>
              <a:gd name="connsiteX2545" fmla="*/ 3013707 w 8023328"/>
              <a:gd name="connsiteY2545" fmla="*/ 711678 h 2380521"/>
              <a:gd name="connsiteX2546" fmla="*/ 3028128 w 8023328"/>
              <a:gd name="connsiteY2546" fmla="*/ 725534 h 2380521"/>
              <a:gd name="connsiteX2547" fmla="*/ 3013707 w 8023328"/>
              <a:gd name="connsiteY2547" fmla="*/ 737932 h 2380521"/>
              <a:gd name="connsiteX2548" fmla="*/ 2998531 w 8023328"/>
              <a:gd name="connsiteY2548" fmla="*/ 725534 h 2380521"/>
              <a:gd name="connsiteX2549" fmla="*/ 3013707 w 8023328"/>
              <a:gd name="connsiteY2549" fmla="*/ 711678 h 2380521"/>
              <a:gd name="connsiteX2550" fmla="*/ 2942485 w 8023328"/>
              <a:gd name="connsiteY2550" fmla="*/ 711678 h 2380521"/>
              <a:gd name="connsiteX2551" fmla="*/ 2957280 w 8023328"/>
              <a:gd name="connsiteY2551" fmla="*/ 725534 h 2380521"/>
              <a:gd name="connsiteX2552" fmla="*/ 2942485 w 8023328"/>
              <a:gd name="connsiteY2552" fmla="*/ 737932 h 2380521"/>
              <a:gd name="connsiteX2553" fmla="*/ 2927700 w 8023328"/>
              <a:gd name="connsiteY2553" fmla="*/ 725534 h 2380521"/>
              <a:gd name="connsiteX2554" fmla="*/ 2942485 w 8023328"/>
              <a:gd name="connsiteY2554" fmla="*/ 711678 h 2380521"/>
              <a:gd name="connsiteX2555" fmla="*/ 1440620 w 8023328"/>
              <a:gd name="connsiteY2555" fmla="*/ 711678 h 2380521"/>
              <a:gd name="connsiteX2556" fmla="*/ 1453017 w 8023328"/>
              <a:gd name="connsiteY2556" fmla="*/ 726466 h 2380521"/>
              <a:gd name="connsiteX2557" fmla="*/ 1440620 w 8023328"/>
              <a:gd name="connsiteY2557" fmla="*/ 741255 h 2380521"/>
              <a:gd name="connsiteX2558" fmla="*/ 1426765 w 8023328"/>
              <a:gd name="connsiteY2558" fmla="*/ 726466 h 2380521"/>
              <a:gd name="connsiteX2559" fmla="*/ 1440620 w 8023328"/>
              <a:gd name="connsiteY2559" fmla="*/ 711678 h 2380521"/>
              <a:gd name="connsiteX2560" fmla="*/ 1368338 w 8023328"/>
              <a:gd name="connsiteY2560" fmla="*/ 711678 h 2380521"/>
              <a:gd name="connsiteX2561" fmla="*/ 1382190 w 8023328"/>
              <a:gd name="connsiteY2561" fmla="*/ 726466 h 2380521"/>
              <a:gd name="connsiteX2562" fmla="*/ 1368338 w 8023328"/>
              <a:gd name="connsiteY2562" fmla="*/ 741255 h 2380521"/>
              <a:gd name="connsiteX2563" fmla="*/ 1355939 w 8023328"/>
              <a:gd name="connsiteY2563" fmla="*/ 726466 h 2380521"/>
              <a:gd name="connsiteX2564" fmla="*/ 1368338 w 8023328"/>
              <a:gd name="connsiteY2564" fmla="*/ 711678 h 2380521"/>
              <a:gd name="connsiteX2565" fmla="*/ 1297509 w 8023328"/>
              <a:gd name="connsiteY2565" fmla="*/ 711678 h 2380521"/>
              <a:gd name="connsiteX2566" fmla="*/ 1311366 w 8023328"/>
              <a:gd name="connsiteY2566" fmla="*/ 726466 h 2380521"/>
              <a:gd name="connsiteX2567" fmla="*/ 1297509 w 8023328"/>
              <a:gd name="connsiteY2567" fmla="*/ 741255 h 2380521"/>
              <a:gd name="connsiteX2568" fmla="*/ 1285113 w 8023328"/>
              <a:gd name="connsiteY2568" fmla="*/ 726466 h 2380521"/>
              <a:gd name="connsiteX2569" fmla="*/ 1297509 w 8023328"/>
              <a:gd name="connsiteY2569" fmla="*/ 711678 h 2380521"/>
              <a:gd name="connsiteX2570" fmla="*/ 1226678 w 8023328"/>
              <a:gd name="connsiteY2570" fmla="*/ 711678 h 2380521"/>
              <a:gd name="connsiteX2571" fmla="*/ 1240535 w 8023328"/>
              <a:gd name="connsiteY2571" fmla="*/ 726466 h 2380521"/>
              <a:gd name="connsiteX2572" fmla="*/ 1226678 w 8023328"/>
              <a:gd name="connsiteY2572" fmla="*/ 741255 h 2380521"/>
              <a:gd name="connsiteX2573" fmla="*/ 1214288 w 8023328"/>
              <a:gd name="connsiteY2573" fmla="*/ 726466 h 2380521"/>
              <a:gd name="connsiteX2574" fmla="*/ 1226678 w 8023328"/>
              <a:gd name="connsiteY2574" fmla="*/ 711678 h 2380521"/>
              <a:gd name="connsiteX2575" fmla="*/ 1154874 w 8023328"/>
              <a:gd name="connsiteY2575" fmla="*/ 711678 h 2380521"/>
              <a:gd name="connsiteX2576" fmla="*/ 1169663 w 8023328"/>
              <a:gd name="connsiteY2576" fmla="*/ 726466 h 2380521"/>
              <a:gd name="connsiteX2577" fmla="*/ 1154874 w 8023328"/>
              <a:gd name="connsiteY2577" fmla="*/ 741255 h 2380521"/>
              <a:gd name="connsiteX2578" fmla="*/ 1140086 w 8023328"/>
              <a:gd name="connsiteY2578" fmla="*/ 726466 h 2380521"/>
              <a:gd name="connsiteX2579" fmla="*/ 1154874 w 8023328"/>
              <a:gd name="connsiteY2579" fmla="*/ 711678 h 2380521"/>
              <a:gd name="connsiteX2580" fmla="*/ 1084045 w 8023328"/>
              <a:gd name="connsiteY2580" fmla="*/ 711678 h 2380521"/>
              <a:gd name="connsiteX2581" fmla="*/ 1098833 w 8023328"/>
              <a:gd name="connsiteY2581" fmla="*/ 726466 h 2380521"/>
              <a:gd name="connsiteX2582" fmla="*/ 1084045 w 8023328"/>
              <a:gd name="connsiteY2582" fmla="*/ 741255 h 2380521"/>
              <a:gd name="connsiteX2583" fmla="*/ 1069255 w 8023328"/>
              <a:gd name="connsiteY2583" fmla="*/ 726466 h 2380521"/>
              <a:gd name="connsiteX2584" fmla="*/ 1084045 w 8023328"/>
              <a:gd name="connsiteY2584" fmla="*/ 711678 h 2380521"/>
              <a:gd name="connsiteX2585" fmla="*/ 1013599 w 8023328"/>
              <a:gd name="connsiteY2585" fmla="*/ 711678 h 2380521"/>
              <a:gd name="connsiteX2586" fmla="*/ 1028021 w 8023328"/>
              <a:gd name="connsiteY2586" fmla="*/ 726466 h 2380521"/>
              <a:gd name="connsiteX2587" fmla="*/ 1013599 w 8023328"/>
              <a:gd name="connsiteY2587" fmla="*/ 741255 h 2380521"/>
              <a:gd name="connsiteX2588" fmla="*/ 998423 w 8023328"/>
              <a:gd name="connsiteY2588" fmla="*/ 726466 h 2380521"/>
              <a:gd name="connsiteX2589" fmla="*/ 1013599 w 8023328"/>
              <a:gd name="connsiteY2589" fmla="*/ 711678 h 2380521"/>
              <a:gd name="connsiteX2590" fmla="*/ 941452 w 8023328"/>
              <a:gd name="connsiteY2590" fmla="*/ 711678 h 2380521"/>
              <a:gd name="connsiteX2591" fmla="*/ 953848 w 8023328"/>
              <a:gd name="connsiteY2591" fmla="*/ 726466 h 2380521"/>
              <a:gd name="connsiteX2592" fmla="*/ 941452 w 8023328"/>
              <a:gd name="connsiteY2592" fmla="*/ 741255 h 2380521"/>
              <a:gd name="connsiteX2593" fmla="*/ 927596 w 8023328"/>
              <a:gd name="connsiteY2593" fmla="*/ 726466 h 2380521"/>
              <a:gd name="connsiteX2594" fmla="*/ 941452 w 8023328"/>
              <a:gd name="connsiteY2594" fmla="*/ 711678 h 2380521"/>
              <a:gd name="connsiteX2595" fmla="*/ 870620 w 8023328"/>
              <a:gd name="connsiteY2595" fmla="*/ 711678 h 2380521"/>
              <a:gd name="connsiteX2596" fmla="*/ 883018 w 8023328"/>
              <a:gd name="connsiteY2596" fmla="*/ 726466 h 2380521"/>
              <a:gd name="connsiteX2597" fmla="*/ 870620 w 8023328"/>
              <a:gd name="connsiteY2597" fmla="*/ 741255 h 2380521"/>
              <a:gd name="connsiteX2598" fmla="*/ 856764 w 8023328"/>
              <a:gd name="connsiteY2598" fmla="*/ 726466 h 2380521"/>
              <a:gd name="connsiteX2599" fmla="*/ 870620 w 8023328"/>
              <a:gd name="connsiteY2599" fmla="*/ 711678 h 2380521"/>
              <a:gd name="connsiteX2600" fmla="*/ 798331 w 8023328"/>
              <a:gd name="connsiteY2600" fmla="*/ 711678 h 2380521"/>
              <a:gd name="connsiteX2601" fmla="*/ 812189 w 8023328"/>
              <a:gd name="connsiteY2601" fmla="*/ 726466 h 2380521"/>
              <a:gd name="connsiteX2602" fmla="*/ 798331 w 8023328"/>
              <a:gd name="connsiteY2602" fmla="*/ 741255 h 2380521"/>
              <a:gd name="connsiteX2603" fmla="*/ 785934 w 8023328"/>
              <a:gd name="connsiteY2603" fmla="*/ 726466 h 2380521"/>
              <a:gd name="connsiteX2604" fmla="*/ 798331 w 8023328"/>
              <a:gd name="connsiteY2604" fmla="*/ 711678 h 2380521"/>
              <a:gd name="connsiteX2605" fmla="*/ 724129 w 8023328"/>
              <a:gd name="connsiteY2605" fmla="*/ 711678 h 2380521"/>
              <a:gd name="connsiteX2606" fmla="*/ 737986 w 8023328"/>
              <a:gd name="connsiteY2606" fmla="*/ 726466 h 2380521"/>
              <a:gd name="connsiteX2607" fmla="*/ 724129 w 8023328"/>
              <a:gd name="connsiteY2607" fmla="*/ 741255 h 2380521"/>
              <a:gd name="connsiteX2608" fmla="*/ 711732 w 8023328"/>
              <a:gd name="connsiteY2608" fmla="*/ 726466 h 2380521"/>
              <a:gd name="connsiteX2609" fmla="*/ 724129 w 8023328"/>
              <a:gd name="connsiteY2609" fmla="*/ 711678 h 2380521"/>
              <a:gd name="connsiteX2610" fmla="*/ 653298 w 8023328"/>
              <a:gd name="connsiteY2610" fmla="*/ 711678 h 2380521"/>
              <a:gd name="connsiteX2611" fmla="*/ 667154 w 8023328"/>
              <a:gd name="connsiteY2611" fmla="*/ 726466 h 2380521"/>
              <a:gd name="connsiteX2612" fmla="*/ 653298 w 8023328"/>
              <a:gd name="connsiteY2612" fmla="*/ 741255 h 2380521"/>
              <a:gd name="connsiteX2613" fmla="*/ 640901 w 8023328"/>
              <a:gd name="connsiteY2613" fmla="*/ 726466 h 2380521"/>
              <a:gd name="connsiteX2614" fmla="*/ 653298 w 8023328"/>
              <a:gd name="connsiteY2614" fmla="*/ 711678 h 2380521"/>
              <a:gd name="connsiteX2615" fmla="*/ 584861 w 8023328"/>
              <a:gd name="connsiteY2615" fmla="*/ 711678 h 2380521"/>
              <a:gd name="connsiteX2616" fmla="*/ 599648 w 8023328"/>
              <a:gd name="connsiteY2616" fmla="*/ 726466 h 2380521"/>
              <a:gd name="connsiteX2617" fmla="*/ 584861 w 8023328"/>
              <a:gd name="connsiteY2617" fmla="*/ 741255 h 2380521"/>
              <a:gd name="connsiteX2618" fmla="*/ 570071 w 8023328"/>
              <a:gd name="connsiteY2618" fmla="*/ 726466 h 2380521"/>
              <a:gd name="connsiteX2619" fmla="*/ 584861 w 8023328"/>
              <a:gd name="connsiteY2619" fmla="*/ 711678 h 2380521"/>
              <a:gd name="connsiteX2620" fmla="*/ 513660 w 8023328"/>
              <a:gd name="connsiteY2620" fmla="*/ 711678 h 2380521"/>
              <a:gd name="connsiteX2621" fmla="*/ 528837 w 8023328"/>
              <a:gd name="connsiteY2621" fmla="*/ 726466 h 2380521"/>
              <a:gd name="connsiteX2622" fmla="*/ 513660 w 8023328"/>
              <a:gd name="connsiteY2622" fmla="*/ 741255 h 2380521"/>
              <a:gd name="connsiteX2623" fmla="*/ 499241 w 8023328"/>
              <a:gd name="connsiteY2623" fmla="*/ 726466 h 2380521"/>
              <a:gd name="connsiteX2624" fmla="*/ 513660 w 8023328"/>
              <a:gd name="connsiteY2624" fmla="*/ 711678 h 2380521"/>
              <a:gd name="connsiteX2625" fmla="*/ 439826 w 8023328"/>
              <a:gd name="connsiteY2625" fmla="*/ 711678 h 2380521"/>
              <a:gd name="connsiteX2626" fmla="*/ 454616 w 8023328"/>
              <a:gd name="connsiteY2626" fmla="*/ 726466 h 2380521"/>
              <a:gd name="connsiteX2627" fmla="*/ 439826 w 8023328"/>
              <a:gd name="connsiteY2627" fmla="*/ 741255 h 2380521"/>
              <a:gd name="connsiteX2628" fmla="*/ 425038 w 8023328"/>
              <a:gd name="connsiteY2628" fmla="*/ 726466 h 2380521"/>
              <a:gd name="connsiteX2629" fmla="*/ 439826 w 8023328"/>
              <a:gd name="connsiteY2629" fmla="*/ 711678 h 2380521"/>
              <a:gd name="connsiteX2630" fmla="*/ 368064 w 8023328"/>
              <a:gd name="connsiteY2630" fmla="*/ 711678 h 2380521"/>
              <a:gd name="connsiteX2631" fmla="*/ 380462 w 8023328"/>
              <a:gd name="connsiteY2631" fmla="*/ 726466 h 2380521"/>
              <a:gd name="connsiteX2632" fmla="*/ 368064 w 8023328"/>
              <a:gd name="connsiteY2632" fmla="*/ 741255 h 2380521"/>
              <a:gd name="connsiteX2633" fmla="*/ 354207 w 8023328"/>
              <a:gd name="connsiteY2633" fmla="*/ 726466 h 2380521"/>
              <a:gd name="connsiteX2634" fmla="*/ 368064 w 8023328"/>
              <a:gd name="connsiteY2634" fmla="*/ 711678 h 2380521"/>
              <a:gd name="connsiteX2635" fmla="*/ 297232 w 8023328"/>
              <a:gd name="connsiteY2635" fmla="*/ 711678 h 2380521"/>
              <a:gd name="connsiteX2636" fmla="*/ 309630 w 8023328"/>
              <a:gd name="connsiteY2636" fmla="*/ 726466 h 2380521"/>
              <a:gd name="connsiteX2637" fmla="*/ 297232 w 8023328"/>
              <a:gd name="connsiteY2637" fmla="*/ 741255 h 2380521"/>
              <a:gd name="connsiteX2638" fmla="*/ 283376 w 8023328"/>
              <a:gd name="connsiteY2638" fmla="*/ 726466 h 2380521"/>
              <a:gd name="connsiteX2639" fmla="*/ 297232 w 8023328"/>
              <a:gd name="connsiteY2639" fmla="*/ 711678 h 2380521"/>
              <a:gd name="connsiteX2640" fmla="*/ 226403 w 8023328"/>
              <a:gd name="connsiteY2640" fmla="*/ 711678 h 2380521"/>
              <a:gd name="connsiteX2641" fmla="*/ 238801 w 8023328"/>
              <a:gd name="connsiteY2641" fmla="*/ 726466 h 2380521"/>
              <a:gd name="connsiteX2642" fmla="*/ 226403 w 8023328"/>
              <a:gd name="connsiteY2642" fmla="*/ 741255 h 2380521"/>
              <a:gd name="connsiteX2643" fmla="*/ 212548 w 8023328"/>
              <a:gd name="connsiteY2643" fmla="*/ 726466 h 2380521"/>
              <a:gd name="connsiteX2644" fmla="*/ 226403 w 8023328"/>
              <a:gd name="connsiteY2644" fmla="*/ 711678 h 2380521"/>
              <a:gd name="connsiteX2645" fmla="*/ 154106 w 8023328"/>
              <a:gd name="connsiteY2645" fmla="*/ 711678 h 2380521"/>
              <a:gd name="connsiteX2646" fmla="*/ 167962 w 8023328"/>
              <a:gd name="connsiteY2646" fmla="*/ 726466 h 2380521"/>
              <a:gd name="connsiteX2647" fmla="*/ 154106 w 8023328"/>
              <a:gd name="connsiteY2647" fmla="*/ 741255 h 2380521"/>
              <a:gd name="connsiteX2648" fmla="*/ 141708 w 8023328"/>
              <a:gd name="connsiteY2648" fmla="*/ 726466 h 2380521"/>
              <a:gd name="connsiteX2649" fmla="*/ 154106 w 8023328"/>
              <a:gd name="connsiteY2649" fmla="*/ 711678 h 2380521"/>
              <a:gd name="connsiteX2650" fmla="*/ 4227498 w 8023328"/>
              <a:gd name="connsiteY2650" fmla="*/ 640846 h 2380521"/>
              <a:gd name="connsiteX2651" fmla="*/ 4242286 w 8023328"/>
              <a:gd name="connsiteY2651" fmla="*/ 653243 h 2380521"/>
              <a:gd name="connsiteX2652" fmla="*/ 4227498 w 8023328"/>
              <a:gd name="connsiteY2652" fmla="*/ 667100 h 2380521"/>
              <a:gd name="connsiteX2653" fmla="*/ 4212710 w 8023328"/>
              <a:gd name="connsiteY2653" fmla="*/ 653243 h 2380521"/>
              <a:gd name="connsiteX2654" fmla="*/ 4227498 w 8023328"/>
              <a:gd name="connsiteY2654" fmla="*/ 640846 h 2380521"/>
              <a:gd name="connsiteX2655" fmla="*/ 4153295 w 8023328"/>
              <a:gd name="connsiteY2655" fmla="*/ 640846 h 2380521"/>
              <a:gd name="connsiteX2656" fmla="*/ 4168083 w 8023328"/>
              <a:gd name="connsiteY2656" fmla="*/ 653243 h 2380521"/>
              <a:gd name="connsiteX2657" fmla="*/ 4153295 w 8023328"/>
              <a:gd name="connsiteY2657" fmla="*/ 667100 h 2380521"/>
              <a:gd name="connsiteX2658" fmla="*/ 4138507 w 8023328"/>
              <a:gd name="connsiteY2658" fmla="*/ 653243 h 2380521"/>
              <a:gd name="connsiteX2659" fmla="*/ 4153295 w 8023328"/>
              <a:gd name="connsiteY2659" fmla="*/ 640846 h 2380521"/>
              <a:gd name="connsiteX2660" fmla="*/ 4082465 w 8023328"/>
              <a:gd name="connsiteY2660" fmla="*/ 640846 h 2380521"/>
              <a:gd name="connsiteX2661" fmla="*/ 4097254 w 8023328"/>
              <a:gd name="connsiteY2661" fmla="*/ 653243 h 2380521"/>
              <a:gd name="connsiteX2662" fmla="*/ 4082465 w 8023328"/>
              <a:gd name="connsiteY2662" fmla="*/ 667100 h 2380521"/>
              <a:gd name="connsiteX2663" fmla="*/ 4067676 w 8023328"/>
              <a:gd name="connsiteY2663" fmla="*/ 653243 h 2380521"/>
              <a:gd name="connsiteX2664" fmla="*/ 4082465 w 8023328"/>
              <a:gd name="connsiteY2664" fmla="*/ 640846 h 2380521"/>
              <a:gd name="connsiteX2665" fmla="*/ 4010703 w 8023328"/>
              <a:gd name="connsiteY2665" fmla="*/ 640846 h 2380521"/>
              <a:gd name="connsiteX2666" fmla="*/ 4023100 w 8023328"/>
              <a:gd name="connsiteY2666" fmla="*/ 653243 h 2380521"/>
              <a:gd name="connsiteX2667" fmla="*/ 4010703 w 8023328"/>
              <a:gd name="connsiteY2667" fmla="*/ 667100 h 2380521"/>
              <a:gd name="connsiteX2668" fmla="*/ 3996847 w 8023328"/>
              <a:gd name="connsiteY2668" fmla="*/ 653243 h 2380521"/>
              <a:gd name="connsiteX2669" fmla="*/ 4010703 w 8023328"/>
              <a:gd name="connsiteY2669" fmla="*/ 640846 h 2380521"/>
              <a:gd name="connsiteX2670" fmla="*/ 3939871 w 8023328"/>
              <a:gd name="connsiteY2670" fmla="*/ 640846 h 2380521"/>
              <a:gd name="connsiteX2671" fmla="*/ 3952268 w 8023328"/>
              <a:gd name="connsiteY2671" fmla="*/ 653243 h 2380521"/>
              <a:gd name="connsiteX2672" fmla="*/ 3939871 w 8023328"/>
              <a:gd name="connsiteY2672" fmla="*/ 667100 h 2380521"/>
              <a:gd name="connsiteX2673" fmla="*/ 3926015 w 8023328"/>
              <a:gd name="connsiteY2673" fmla="*/ 653243 h 2380521"/>
              <a:gd name="connsiteX2674" fmla="*/ 3939871 w 8023328"/>
              <a:gd name="connsiteY2674" fmla="*/ 640846 h 2380521"/>
              <a:gd name="connsiteX2675" fmla="*/ 3869042 w 8023328"/>
              <a:gd name="connsiteY2675" fmla="*/ 640846 h 2380521"/>
              <a:gd name="connsiteX2676" fmla="*/ 3881439 w 8023328"/>
              <a:gd name="connsiteY2676" fmla="*/ 653243 h 2380521"/>
              <a:gd name="connsiteX2677" fmla="*/ 3869042 w 8023328"/>
              <a:gd name="connsiteY2677" fmla="*/ 667100 h 2380521"/>
              <a:gd name="connsiteX2678" fmla="*/ 3855186 w 8023328"/>
              <a:gd name="connsiteY2678" fmla="*/ 653243 h 2380521"/>
              <a:gd name="connsiteX2679" fmla="*/ 3869042 w 8023328"/>
              <a:gd name="connsiteY2679" fmla="*/ 640846 h 2380521"/>
              <a:gd name="connsiteX2680" fmla="*/ 3796752 w 8023328"/>
              <a:gd name="connsiteY2680" fmla="*/ 640846 h 2380521"/>
              <a:gd name="connsiteX2681" fmla="*/ 3810608 w 8023328"/>
              <a:gd name="connsiteY2681" fmla="*/ 653243 h 2380521"/>
              <a:gd name="connsiteX2682" fmla="*/ 3796752 w 8023328"/>
              <a:gd name="connsiteY2682" fmla="*/ 667100 h 2380521"/>
              <a:gd name="connsiteX2683" fmla="*/ 3784355 w 8023328"/>
              <a:gd name="connsiteY2683" fmla="*/ 653243 h 2380521"/>
              <a:gd name="connsiteX2684" fmla="*/ 3796752 w 8023328"/>
              <a:gd name="connsiteY2684" fmla="*/ 640846 h 2380521"/>
              <a:gd name="connsiteX2685" fmla="*/ 3725922 w 8023328"/>
              <a:gd name="connsiteY2685" fmla="*/ 640846 h 2380521"/>
              <a:gd name="connsiteX2686" fmla="*/ 3739778 w 8023328"/>
              <a:gd name="connsiteY2686" fmla="*/ 653243 h 2380521"/>
              <a:gd name="connsiteX2687" fmla="*/ 3725922 w 8023328"/>
              <a:gd name="connsiteY2687" fmla="*/ 667100 h 2380521"/>
              <a:gd name="connsiteX2688" fmla="*/ 3713525 w 8023328"/>
              <a:gd name="connsiteY2688" fmla="*/ 653243 h 2380521"/>
              <a:gd name="connsiteX2689" fmla="*/ 3725922 w 8023328"/>
              <a:gd name="connsiteY2689" fmla="*/ 640846 h 2380521"/>
              <a:gd name="connsiteX2690" fmla="*/ 3655091 w 8023328"/>
              <a:gd name="connsiteY2690" fmla="*/ 640846 h 2380521"/>
              <a:gd name="connsiteX2691" fmla="*/ 3668947 w 8023328"/>
              <a:gd name="connsiteY2691" fmla="*/ 653243 h 2380521"/>
              <a:gd name="connsiteX2692" fmla="*/ 3655091 w 8023328"/>
              <a:gd name="connsiteY2692" fmla="*/ 667100 h 2380521"/>
              <a:gd name="connsiteX2693" fmla="*/ 3642694 w 8023328"/>
              <a:gd name="connsiteY2693" fmla="*/ 653243 h 2380521"/>
              <a:gd name="connsiteX2694" fmla="*/ 3655091 w 8023328"/>
              <a:gd name="connsiteY2694" fmla="*/ 640846 h 2380521"/>
              <a:gd name="connsiteX2695" fmla="*/ 3583280 w 8023328"/>
              <a:gd name="connsiteY2695" fmla="*/ 640846 h 2380521"/>
              <a:gd name="connsiteX2696" fmla="*/ 3598069 w 8023328"/>
              <a:gd name="connsiteY2696" fmla="*/ 653243 h 2380521"/>
              <a:gd name="connsiteX2697" fmla="*/ 3583280 w 8023328"/>
              <a:gd name="connsiteY2697" fmla="*/ 667100 h 2380521"/>
              <a:gd name="connsiteX2698" fmla="*/ 3568491 w 8023328"/>
              <a:gd name="connsiteY2698" fmla="*/ 653243 h 2380521"/>
              <a:gd name="connsiteX2699" fmla="*/ 3583280 w 8023328"/>
              <a:gd name="connsiteY2699" fmla="*/ 640846 h 2380521"/>
              <a:gd name="connsiteX2700" fmla="*/ 3512449 w 8023328"/>
              <a:gd name="connsiteY2700" fmla="*/ 640846 h 2380521"/>
              <a:gd name="connsiteX2701" fmla="*/ 3527237 w 8023328"/>
              <a:gd name="connsiteY2701" fmla="*/ 653243 h 2380521"/>
              <a:gd name="connsiteX2702" fmla="*/ 3512449 w 8023328"/>
              <a:gd name="connsiteY2702" fmla="*/ 667100 h 2380521"/>
              <a:gd name="connsiteX2703" fmla="*/ 3497661 w 8023328"/>
              <a:gd name="connsiteY2703" fmla="*/ 653243 h 2380521"/>
              <a:gd name="connsiteX2704" fmla="*/ 3512449 w 8023328"/>
              <a:gd name="connsiteY2704" fmla="*/ 640846 h 2380521"/>
              <a:gd name="connsiteX2705" fmla="*/ 3441619 w 8023328"/>
              <a:gd name="connsiteY2705" fmla="*/ 640846 h 2380521"/>
              <a:gd name="connsiteX2706" fmla="*/ 3456408 w 8023328"/>
              <a:gd name="connsiteY2706" fmla="*/ 653243 h 2380521"/>
              <a:gd name="connsiteX2707" fmla="*/ 3441619 w 8023328"/>
              <a:gd name="connsiteY2707" fmla="*/ 667100 h 2380521"/>
              <a:gd name="connsiteX2708" fmla="*/ 3426830 w 8023328"/>
              <a:gd name="connsiteY2708" fmla="*/ 653243 h 2380521"/>
              <a:gd name="connsiteX2709" fmla="*/ 3441619 w 8023328"/>
              <a:gd name="connsiteY2709" fmla="*/ 640846 h 2380521"/>
              <a:gd name="connsiteX2710" fmla="*/ 3369857 w 8023328"/>
              <a:gd name="connsiteY2710" fmla="*/ 640846 h 2380521"/>
              <a:gd name="connsiteX2711" fmla="*/ 3382254 w 8023328"/>
              <a:gd name="connsiteY2711" fmla="*/ 653243 h 2380521"/>
              <a:gd name="connsiteX2712" fmla="*/ 3369857 w 8023328"/>
              <a:gd name="connsiteY2712" fmla="*/ 667100 h 2380521"/>
              <a:gd name="connsiteX2713" fmla="*/ 3356001 w 8023328"/>
              <a:gd name="connsiteY2713" fmla="*/ 653243 h 2380521"/>
              <a:gd name="connsiteX2714" fmla="*/ 3369857 w 8023328"/>
              <a:gd name="connsiteY2714" fmla="*/ 640846 h 2380521"/>
              <a:gd name="connsiteX2715" fmla="*/ 3299091 w 8023328"/>
              <a:gd name="connsiteY2715" fmla="*/ 640846 h 2380521"/>
              <a:gd name="connsiteX2716" fmla="*/ 3311488 w 8023328"/>
              <a:gd name="connsiteY2716" fmla="*/ 653243 h 2380521"/>
              <a:gd name="connsiteX2717" fmla="*/ 3299091 w 8023328"/>
              <a:gd name="connsiteY2717" fmla="*/ 667100 h 2380521"/>
              <a:gd name="connsiteX2718" fmla="*/ 3285237 w 8023328"/>
              <a:gd name="connsiteY2718" fmla="*/ 653243 h 2380521"/>
              <a:gd name="connsiteX2719" fmla="*/ 3299091 w 8023328"/>
              <a:gd name="connsiteY2719" fmla="*/ 640846 h 2380521"/>
              <a:gd name="connsiteX2720" fmla="*/ 3228258 w 8023328"/>
              <a:gd name="connsiteY2720" fmla="*/ 640846 h 2380521"/>
              <a:gd name="connsiteX2721" fmla="*/ 3240658 w 8023328"/>
              <a:gd name="connsiteY2721" fmla="*/ 653243 h 2380521"/>
              <a:gd name="connsiteX2722" fmla="*/ 3228258 w 8023328"/>
              <a:gd name="connsiteY2722" fmla="*/ 667100 h 2380521"/>
              <a:gd name="connsiteX2723" fmla="*/ 3214403 w 8023328"/>
              <a:gd name="connsiteY2723" fmla="*/ 653243 h 2380521"/>
              <a:gd name="connsiteX2724" fmla="*/ 3228258 w 8023328"/>
              <a:gd name="connsiteY2724" fmla="*/ 640846 h 2380521"/>
              <a:gd name="connsiteX2725" fmla="*/ 3152597 w 8023328"/>
              <a:gd name="connsiteY2725" fmla="*/ 640846 h 2380521"/>
              <a:gd name="connsiteX2726" fmla="*/ 3166454 w 8023328"/>
              <a:gd name="connsiteY2726" fmla="*/ 653243 h 2380521"/>
              <a:gd name="connsiteX2727" fmla="*/ 3152597 w 8023328"/>
              <a:gd name="connsiteY2727" fmla="*/ 667100 h 2380521"/>
              <a:gd name="connsiteX2728" fmla="*/ 3140200 w 8023328"/>
              <a:gd name="connsiteY2728" fmla="*/ 653243 h 2380521"/>
              <a:gd name="connsiteX2729" fmla="*/ 3152597 w 8023328"/>
              <a:gd name="connsiteY2729" fmla="*/ 640846 h 2380521"/>
              <a:gd name="connsiteX2730" fmla="*/ 3081767 w 8023328"/>
              <a:gd name="connsiteY2730" fmla="*/ 640846 h 2380521"/>
              <a:gd name="connsiteX2731" fmla="*/ 3095620 w 8023328"/>
              <a:gd name="connsiteY2731" fmla="*/ 653243 h 2380521"/>
              <a:gd name="connsiteX2732" fmla="*/ 3081767 w 8023328"/>
              <a:gd name="connsiteY2732" fmla="*/ 667100 h 2380521"/>
              <a:gd name="connsiteX2733" fmla="*/ 3069366 w 8023328"/>
              <a:gd name="connsiteY2733" fmla="*/ 653243 h 2380521"/>
              <a:gd name="connsiteX2734" fmla="*/ 3081767 w 8023328"/>
              <a:gd name="connsiteY2734" fmla="*/ 640846 h 2380521"/>
              <a:gd name="connsiteX2735" fmla="*/ 3013710 w 8023328"/>
              <a:gd name="connsiteY2735" fmla="*/ 640846 h 2380521"/>
              <a:gd name="connsiteX2736" fmla="*/ 3028129 w 8023328"/>
              <a:gd name="connsiteY2736" fmla="*/ 653243 h 2380521"/>
              <a:gd name="connsiteX2737" fmla="*/ 3013710 w 8023328"/>
              <a:gd name="connsiteY2737" fmla="*/ 667100 h 2380521"/>
              <a:gd name="connsiteX2738" fmla="*/ 2998534 w 8023328"/>
              <a:gd name="connsiteY2738" fmla="*/ 653243 h 2380521"/>
              <a:gd name="connsiteX2739" fmla="*/ 3013710 w 8023328"/>
              <a:gd name="connsiteY2739" fmla="*/ 640846 h 2380521"/>
              <a:gd name="connsiteX2740" fmla="*/ 2942488 w 8023328"/>
              <a:gd name="connsiteY2740" fmla="*/ 640846 h 2380521"/>
              <a:gd name="connsiteX2741" fmla="*/ 2957280 w 8023328"/>
              <a:gd name="connsiteY2741" fmla="*/ 653243 h 2380521"/>
              <a:gd name="connsiteX2742" fmla="*/ 2942488 w 8023328"/>
              <a:gd name="connsiteY2742" fmla="*/ 667100 h 2380521"/>
              <a:gd name="connsiteX2743" fmla="*/ 2927703 w 8023328"/>
              <a:gd name="connsiteY2743" fmla="*/ 653243 h 2380521"/>
              <a:gd name="connsiteX2744" fmla="*/ 2942488 w 8023328"/>
              <a:gd name="connsiteY2744" fmla="*/ 640846 h 2380521"/>
              <a:gd name="connsiteX2745" fmla="*/ 2868288 w 8023328"/>
              <a:gd name="connsiteY2745" fmla="*/ 640846 h 2380521"/>
              <a:gd name="connsiteX2746" fmla="*/ 2883082 w 8023328"/>
              <a:gd name="connsiteY2746" fmla="*/ 653243 h 2380521"/>
              <a:gd name="connsiteX2747" fmla="*/ 2868288 w 8023328"/>
              <a:gd name="connsiteY2747" fmla="*/ 667100 h 2380521"/>
              <a:gd name="connsiteX2748" fmla="*/ 2853498 w 8023328"/>
              <a:gd name="connsiteY2748" fmla="*/ 653243 h 2380521"/>
              <a:gd name="connsiteX2749" fmla="*/ 2868288 w 8023328"/>
              <a:gd name="connsiteY2749" fmla="*/ 640846 h 2380521"/>
              <a:gd name="connsiteX2750" fmla="*/ 2796532 w 8023328"/>
              <a:gd name="connsiteY2750" fmla="*/ 640846 h 2380521"/>
              <a:gd name="connsiteX2751" fmla="*/ 2808926 w 8023328"/>
              <a:gd name="connsiteY2751" fmla="*/ 653243 h 2380521"/>
              <a:gd name="connsiteX2752" fmla="*/ 2796532 w 8023328"/>
              <a:gd name="connsiteY2752" fmla="*/ 667100 h 2380521"/>
              <a:gd name="connsiteX2753" fmla="*/ 2782673 w 8023328"/>
              <a:gd name="connsiteY2753" fmla="*/ 653243 h 2380521"/>
              <a:gd name="connsiteX2754" fmla="*/ 2796532 w 8023328"/>
              <a:gd name="connsiteY2754" fmla="*/ 640846 h 2380521"/>
              <a:gd name="connsiteX2755" fmla="*/ 2725692 w 8023328"/>
              <a:gd name="connsiteY2755" fmla="*/ 640846 h 2380521"/>
              <a:gd name="connsiteX2756" fmla="*/ 2738097 w 8023328"/>
              <a:gd name="connsiteY2756" fmla="*/ 653243 h 2380521"/>
              <a:gd name="connsiteX2757" fmla="*/ 2725692 w 8023328"/>
              <a:gd name="connsiteY2757" fmla="*/ 667100 h 2380521"/>
              <a:gd name="connsiteX2758" fmla="*/ 2711843 w 8023328"/>
              <a:gd name="connsiteY2758" fmla="*/ 653243 h 2380521"/>
              <a:gd name="connsiteX2759" fmla="*/ 2725692 w 8023328"/>
              <a:gd name="connsiteY2759" fmla="*/ 640846 h 2380521"/>
              <a:gd name="connsiteX2760" fmla="*/ 2654867 w 8023328"/>
              <a:gd name="connsiteY2760" fmla="*/ 640846 h 2380521"/>
              <a:gd name="connsiteX2761" fmla="*/ 2667266 w 8023328"/>
              <a:gd name="connsiteY2761" fmla="*/ 653243 h 2380521"/>
              <a:gd name="connsiteX2762" fmla="*/ 2654867 w 8023328"/>
              <a:gd name="connsiteY2762" fmla="*/ 667100 h 2380521"/>
              <a:gd name="connsiteX2763" fmla="*/ 2641013 w 8023328"/>
              <a:gd name="connsiteY2763" fmla="*/ 653243 h 2380521"/>
              <a:gd name="connsiteX2764" fmla="*/ 2654867 w 8023328"/>
              <a:gd name="connsiteY2764" fmla="*/ 640846 h 2380521"/>
              <a:gd name="connsiteX2765" fmla="*/ 2582577 w 8023328"/>
              <a:gd name="connsiteY2765" fmla="*/ 640846 h 2380521"/>
              <a:gd name="connsiteX2766" fmla="*/ 2596432 w 8023328"/>
              <a:gd name="connsiteY2766" fmla="*/ 654702 h 2380521"/>
              <a:gd name="connsiteX2767" fmla="*/ 2582577 w 8023328"/>
              <a:gd name="connsiteY2767" fmla="*/ 667100 h 2380521"/>
              <a:gd name="connsiteX2768" fmla="*/ 2570181 w 8023328"/>
              <a:gd name="connsiteY2768" fmla="*/ 654702 h 2380521"/>
              <a:gd name="connsiteX2769" fmla="*/ 2582577 w 8023328"/>
              <a:gd name="connsiteY2769" fmla="*/ 640846 h 2380521"/>
              <a:gd name="connsiteX2770" fmla="*/ 1728254 w 8023328"/>
              <a:gd name="connsiteY2770" fmla="*/ 640846 h 2380521"/>
              <a:gd name="connsiteX2771" fmla="*/ 1743044 w 8023328"/>
              <a:gd name="connsiteY2771" fmla="*/ 654702 h 2380521"/>
              <a:gd name="connsiteX2772" fmla="*/ 1728254 w 8023328"/>
              <a:gd name="connsiteY2772" fmla="*/ 667100 h 2380521"/>
              <a:gd name="connsiteX2773" fmla="*/ 1713464 w 8023328"/>
              <a:gd name="connsiteY2773" fmla="*/ 654702 h 2380521"/>
              <a:gd name="connsiteX2774" fmla="*/ 1728254 w 8023328"/>
              <a:gd name="connsiteY2774" fmla="*/ 640846 h 2380521"/>
              <a:gd name="connsiteX2775" fmla="*/ 1657423 w 8023328"/>
              <a:gd name="connsiteY2775" fmla="*/ 640846 h 2380521"/>
              <a:gd name="connsiteX2776" fmla="*/ 1672215 w 8023328"/>
              <a:gd name="connsiteY2776" fmla="*/ 654702 h 2380521"/>
              <a:gd name="connsiteX2777" fmla="*/ 1657423 w 8023328"/>
              <a:gd name="connsiteY2777" fmla="*/ 667100 h 2380521"/>
              <a:gd name="connsiteX2778" fmla="*/ 1642644 w 8023328"/>
              <a:gd name="connsiteY2778" fmla="*/ 654702 h 2380521"/>
              <a:gd name="connsiteX2779" fmla="*/ 1657423 w 8023328"/>
              <a:gd name="connsiteY2779" fmla="*/ 640846 h 2380521"/>
              <a:gd name="connsiteX2780" fmla="*/ 1582290 w 8023328"/>
              <a:gd name="connsiteY2780" fmla="*/ 640846 h 2380521"/>
              <a:gd name="connsiteX2781" fmla="*/ 1594694 w 8023328"/>
              <a:gd name="connsiteY2781" fmla="*/ 654702 h 2380521"/>
              <a:gd name="connsiteX2782" fmla="*/ 1582290 w 8023328"/>
              <a:gd name="connsiteY2782" fmla="*/ 667100 h 2380521"/>
              <a:gd name="connsiteX2783" fmla="*/ 1568435 w 8023328"/>
              <a:gd name="connsiteY2783" fmla="*/ 654702 h 2380521"/>
              <a:gd name="connsiteX2784" fmla="*/ 1582290 w 8023328"/>
              <a:gd name="connsiteY2784" fmla="*/ 640846 h 2380521"/>
              <a:gd name="connsiteX2785" fmla="*/ 1512190 w 8023328"/>
              <a:gd name="connsiteY2785" fmla="*/ 640846 h 2380521"/>
              <a:gd name="connsiteX2786" fmla="*/ 1523859 w 8023328"/>
              <a:gd name="connsiteY2786" fmla="*/ 654702 h 2380521"/>
              <a:gd name="connsiteX2787" fmla="*/ 1512190 w 8023328"/>
              <a:gd name="connsiteY2787" fmla="*/ 667100 h 2380521"/>
              <a:gd name="connsiteX2788" fmla="*/ 1497604 w 8023328"/>
              <a:gd name="connsiteY2788" fmla="*/ 654702 h 2380521"/>
              <a:gd name="connsiteX2789" fmla="*/ 1512190 w 8023328"/>
              <a:gd name="connsiteY2789" fmla="*/ 640846 h 2380521"/>
              <a:gd name="connsiteX2790" fmla="*/ 1440623 w 8023328"/>
              <a:gd name="connsiteY2790" fmla="*/ 640846 h 2380521"/>
              <a:gd name="connsiteX2791" fmla="*/ 1453017 w 8023328"/>
              <a:gd name="connsiteY2791" fmla="*/ 654702 h 2380521"/>
              <a:gd name="connsiteX2792" fmla="*/ 1440623 w 8023328"/>
              <a:gd name="connsiteY2792" fmla="*/ 667100 h 2380521"/>
              <a:gd name="connsiteX2793" fmla="*/ 1426767 w 8023328"/>
              <a:gd name="connsiteY2793" fmla="*/ 654702 h 2380521"/>
              <a:gd name="connsiteX2794" fmla="*/ 1440623 w 8023328"/>
              <a:gd name="connsiteY2794" fmla="*/ 640846 h 2380521"/>
              <a:gd name="connsiteX2795" fmla="*/ 1368339 w 8023328"/>
              <a:gd name="connsiteY2795" fmla="*/ 640846 h 2380521"/>
              <a:gd name="connsiteX2796" fmla="*/ 1382194 w 8023328"/>
              <a:gd name="connsiteY2796" fmla="*/ 654702 h 2380521"/>
              <a:gd name="connsiteX2797" fmla="*/ 1368339 w 8023328"/>
              <a:gd name="connsiteY2797" fmla="*/ 667100 h 2380521"/>
              <a:gd name="connsiteX2798" fmla="*/ 1355943 w 8023328"/>
              <a:gd name="connsiteY2798" fmla="*/ 654702 h 2380521"/>
              <a:gd name="connsiteX2799" fmla="*/ 1368339 w 8023328"/>
              <a:gd name="connsiteY2799" fmla="*/ 640846 h 2380521"/>
              <a:gd name="connsiteX2800" fmla="*/ 1297512 w 8023328"/>
              <a:gd name="connsiteY2800" fmla="*/ 640846 h 2380521"/>
              <a:gd name="connsiteX2801" fmla="*/ 1311369 w 8023328"/>
              <a:gd name="connsiteY2801" fmla="*/ 654702 h 2380521"/>
              <a:gd name="connsiteX2802" fmla="*/ 1297512 w 8023328"/>
              <a:gd name="connsiteY2802" fmla="*/ 667100 h 2380521"/>
              <a:gd name="connsiteX2803" fmla="*/ 1285116 w 8023328"/>
              <a:gd name="connsiteY2803" fmla="*/ 654702 h 2380521"/>
              <a:gd name="connsiteX2804" fmla="*/ 1297512 w 8023328"/>
              <a:gd name="connsiteY2804" fmla="*/ 640846 h 2380521"/>
              <a:gd name="connsiteX2805" fmla="*/ 1226680 w 8023328"/>
              <a:gd name="connsiteY2805" fmla="*/ 640846 h 2380521"/>
              <a:gd name="connsiteX2806" fmla="*/ 1240537 w 8023328"/>
              <a:gd name="connsiteY2806" fmla="*/ 654702 h 2380521"/>
              <a:gd name="connsiteX2807" fmla="*/ 1226680 w 8023328"/>
              <a:gd name="connsiteY2807" fmla="*/ 667100 h 2380521"/>
              <a:gd name="connsiteX2808" fmla="*/ 1214291 w 8023328"/>
              <a:gd name="connsiteY2808" fmla="*/ 654702 h 2380521"/>
              <a:gd name="connsiteX2809" fmla="*/ 1226680 w 8023328"/>
              <a:gd name="connsiteY2809" fmla="*/ 640846 h 2380521"/>
              <a:gd name="connsiteX2810" fmla="*/ 1154878 w 8023328"/>
              <a:gd name="connsiteY2810" fmla="*/ 640846 h 2380521"/>
              <a:gd name="connsiteX2811" fmla="*/ 1169666 w 8023328"/>
              <a:gd name="connsiteY2811" fmla="*/ 654702 h 2380521"/>
              <a:gd name="connsiteX2812" fmla="*/ 1154878 w 8023328"/>
              <a:gd name="connsiteY2812" fmla="*/ 667100 h 2380521"/>
              <a:gd name="connsiteX2813" fmla="*/ 1140088 w 8023328"/>
              <a:gd name="connsiteY2813" fmla="*/ 654702 h 2380521"/>
              <a:gd name="connsiteX2814" fmla="*/ 1154878 w 8023328"/>
              <a:gd name="connsiteY2814" fmla="*/ 640846 h 2380521"/>
              <a:gd name="connsiteX2815" fmla="*/ 1084051 w 8023328"/>
              <a:gd name="connsiteY2815" fmla="*/ 640846 h 2380521"/>
              <a:gd name="connsiteX2816" fmla="*/ 1098838 w 8023328"/>
              <a:gd name="connsiteY2816" fmla="*/ 654702 h 2380521"/>
              <a:gd name="connsiteX2817" fmla="*/ 1084051 w 8023328"/>
              <a:gd name="connsiteY2817" fmla="*/ 667100 h 2380521"/>
              <a:gd name="connsiteX2818" fmla="*/ 1069261 w 8023328"/>
              <a:gd name="connsiteY2818" fmla="*/ 654702 h 2380521"/>
              <a:gd name="connsiteX2819" fmla="*/ 1084051 w 8023328"/>
              <a:gd name="connsiteY2819" fmla="*/ 640846 h 2380521"/>
              <a:gd name="connsiteX2820" fmla="*/ 1013010 w 8023328"/>
              <a:gd name="connsiteY2820" fmla="*/ 640846 h 2380521"/>
              <a:gd name="connsiteX2821" fmla="*/ 1024682 w 8023328"/>
              <a:gd name="connsiteY2821" fmla="*/ 654702 h 2380521"/>
              <a:gd name="connsiteX2822" fmla="*/ 1013010 w 8023328"/>
              <a:gd name="connsiteY2822" fmla="*/ 667100 h 2380521"/>
              <a:gd name="connsiteX2823" fmla="*/ 998429 w 8023328"/>
              <a:gd name="connsiteY2823" fmla="*/ 654702 h 2380521"/>
              <a:gd name="connsiteX2824" fmla="*/ 1013010 w 8023328"/>
              <a:gd name="connsiteY2824" fmla="*/ 640846 h 2380521"/>
              <a:gd name="connsiteX2825" fmla="*/ 941457 w 8023328"/>
              <a:gd name="connsiteY2825" fmla="*/ 640846 h 2380521"/>
              <a:gd name="connsiteX2826" fmla="*/ 953852 w 8023328"/>
              <a:gd name="connsiteY2826" fmla="*/ 654702 h 2380521"/>
              <a:gd name="connsiteX2827" fmla="*/ 941457 w 8023328"/>
              <a:gd name="connsiteY2827" fmla="*/ 667100 h 2380521"/>
              <a:gd name="connsiteX2828" fmla="*/ 927599 w 8023328"/>
              <a:gd name="connsiteY2828" fmla="*/ 654702 h 2380521"/>
              <a:gd name="connsiteX2829" fmla="*/ 941457 w 8023328"/>
              <a:gd name="connsiteY2829" fmla="*/ 640846 h 2380521"/>
              <a:gd name="connsiteX2830" fmla="*/ 870622 w 8023328"/>
              <a:gd name="connsiteY2830" fmla="*/ 640846 h 2380521"/>
              <a:gd name="connsiteX2831" fmla="*/ 883024 w 8023328"/>
              <a:gd name="connsiteY2831" fmla="*/ 654702 h 2380521"/>
              <a:gd name="connsiteX2832" fmla="*/ 870622 w 8023328"/>
              <a:gd name="connsiteY2832" fmla="*/ 667100 h 2380521"/>
              <a:gd name="connsiteX2833" fmla="*/ 856770 w 8023328"/>
              <a:gd name="connsiteY2833" fmla="*/ 654702 h 2380521"/>
              <a:gd name="connsiteX2834" fmla="*/ 870622 w 8023328"/>
              <a:gd name="connsiteY2834" fmla="*/ 640846 h 2380521"/>
              <a:gd name="connsiteX2835" fmla="*/ 798337 w 8023328"/>
              <a:gd name="connsiteY2835" fmla="*/ 640846 h 2380521"/>
              <a:gd name="connsiteX2836" fmla="*/ 812191 w 8023328"/>
              <a:gd name="connsiteY2836" fmla="*/ 655635 h 2380521"/>
              <a:gd name="connsiteX2837" fmla="*/ 798337 w 8023328"/>
              <a:gd name="connsiteY2837" fmla="*/ 670424 h 2380521"/>
              <a:gd name="connsiteX2838" fmla="*/ 785937 w 8023328"/>
              <a:gd name="connsiteY2838" fmla="*/ 655635 h 2380521"/>
              <a:gd name="connsiteX2839" fmla="*/ 798337 w 8023328"/>
              <a:gd name="connsiteY2839" fmla="*/ 640846 h 2380521"/>
              <a:gd name="connsiteX2840" fmla="*/ 724134 w 8023328"/>
              <a:gd name="connsiteY2840" fmla="*/ 640846 h 2380521"/>
              <a:gd name="connsiteX2841" fmla="*/ 737989 w 8023328"/>
              <a:gd name="connsiteY2841" fmla="*/ 655635 h 2380521"/>
              <a:gd name="connsiteX2842" fmla="*/ 724134 w 8023328"/>
              <a:gd name="connsiteY2842" fmla="*/ 670424 h 2380521"/>
              <a:gd name="connsiteX2843" fmla="*/ 711735 w 8023328"/>
              <a:gd name="connsiteY2843" fmla="*/ 655635 h 2380521"/>
              <a:gd name="connsiteX2844" fmla="*/ 724134 w 8023328"/>
              <a:gd name="connsiteY2844" fmla="*/ 640846 h 2380521"/>
              <a:gd name="connsiteX2845" fmla="*/ 653301 w 8023328"/>
              <a:gd name="connsiteY2845" fmla="*/ 640846 h 2380521"/>
              <a:gd name="connsiteX2846" fmla="*/ 667160 w 8023328"/>
              <a:gd name="connsiteY2846" fmla="*/ 655635 h 2380521"/>
              <a:gd name="connsiteX2847" fmla="*/ 653301 w 8023328"/>
              <a:gd name="connsiteY2847" fmla="*/ 670424 h 2380521"/>
              <a:gd name="connsiteX2848" fmla="*/ 640907 w 8023328"/>
              <a:gd name="connsiteY2848" fmla="*/ 655635 h 2380521"/>
              <a:gd name="connsiteX2849" fmla="*/ 653301 w 8023328"/>
              <a:gd name="connsiteY2849" fmla="*/ 640846 h 2380521"/>
              <a:gd name="connsiteX2850" fmla="*/ 584864 w 8023328"/>
              <a:gd name="connsiteY2850" fmla="*/ 640846 h 2380521"/>
              <a:gd name="connsiteX2851" fmla="*/ 599651 w 8023328"/>
              <a:gd name="connsiteY2851" fmla="*/ 655635 h 2380521"/>
              <a:gd name="connsiteX2852" fmla="*/ 584864 w 8023328"/>
              <a:gd name="connsiteY2852" fmla="*/ 670424 h 2380521"/>
              <a:gd name="connsiteX2853" fmla="*/ 570075 w 8023328"/>
              <a:gd name="connsiteY2853" fmla="*/ 655635 h 2380521"/>
              <a:gd name="connsiteX2854" fmla="*/ 584864 w 8023328"/>
              <a:gd name="connsiteY2854" fmla="*/ 640846 h 2380521"/>
              <a:gd name="connsiteX2855" fmla="*/ 513663 w 8023328"/>
              <a:gd name="connsiteY2855" fmla="*/ 640846 h 2380521"/>
              <a:gd name="connsiteX2856" fmla="*/ 528843 w 8023328"/>
              <a:gd name="connsiteY2856" fmla="*/ 655635 h 2380521"/>
              <a:gd name="connsiteX2857" fmla="*/ 513663 w 8023328"/>
              <a:gd name="connsiteY2857" fmla="*/ 670424 h 2380521"/>
              <a:gd name="connsiteX2858" fmla="*/ 499246 w 8023328"/>
              <a:gd name="connsiteY2858" fmla="*/ 655635 h 2380521"/>
              <a:gd name="connsiteX2859" fmla="*/ 513663 w 8023328"/>
              <a:gd name="connsiteY2859" fmla="*/ 640846 h 2380521"/>
              <a:gd name="connsiteX2860" fmla="*/ 439832 w 8023328"/>
              <a:gd name="connsiteY2860" fmla="*/ 640846 h 2380521"/>
              <a:gd name="connsiteX2861" fmla="*/ 454622 w 8023328"/>
              <a:gd name="connsiteY2861" fmla="*/ 655635 h 2380521"/>
              <a:gd name="connsiteX2862" fmla="*/ 439832 w 8023328"/>
              <a:gd name="connsiteY2862" fmla="*/ 670424 h 2380521"/>
              <a:gd name="connsiteX2863" fmla="*/ 425044 w 8023328"/>
              <a:gd name="connsiteY2863" fmla="*/ 655635 h 2380521"/>
              <a:gd name="connsiteX2864" fmla="*/ 439832 w 8023328"/>
              <a:gd name="connsiteY2864" fmla="*/ 640846 h 2380521"/>
              <a:gd name="connsiteX2865" fmla="*/ 368070 w 8023328"/>
              <a:gd name="connsiteY2865" fmla="*/ 640846 h 2380521"/>
              <a:gd name="connsiteX2866" fmla="*/ 380465 w 8023328"/>
              <a:gd name="connsiteY2866" fmla="*/ 655635 h 2380521"/>
              <a:gd name="connsiteX2867" fmla="*/ 368070 w 8023328"/>
              <a:gd name="connsiteY2867" fmla="*/ 670424 h 2380521"/>
              <a:gd name="connsiteX2868" fmla="*/ 354211 w 8023328"/>
              <a:gd name="connsiteY2868" fmla="*/ 655635 h 2380521"/>
              <a:gd name="connsiteX2869" fmla="*/ 368070 w 8023328"/>
              <a:gd name="connsiteY2869" fmla="*/ 640846 h 2380521"/>
              <a:gd name="connsiteX2870" fmla="*/ 297235 w 8023328"/>
              <a:gd name="connsiteY2870" fmla="*/ 640846 h 2380521"/>
              <a:gd name="connsiteX2871" fmla="*/ 309631 w 8023328"/>
              <a:gd name="connsiteY2871" fmla="*/ 655635 h 2380521"/>
              <a:gd name="connsiteX2872" fmla="*/ 297235 w 8023328"/>
              <a:gd name="connsiteY2872" fmla="*/ 670424 h 2380521"/>
              <a:gd name="connsiteX2873" fmla="*/ 283379 w 8023328"/>
              <a:gd name="connsiteY2873" fmla="*/ 655635 h 2380521"/>
              <a:gd name="connsiteX2874" fmla="*/ 297235 w 8023328"/>
              <a:gd name="connsiteY2874" fmla="*/ 640846 h 2380521"/>
              <a:gd name="connsiteX2875" fmla="*/ 4082465 w 8023328"/>
              <a:gd name="connsiteY2875" fmla="*/ 570017 h 2380521"/>
              <a:gd name="connsiteX2876" fmla="*/ 4097254 w 8023328"/>
              <a:gd name="connsiteY2876" fmla="*/ 584805 h 2380521"/>
              <a:gd name="connsiteX2877" fmla="*/ 4082465 w 8023328"/>
              <a:gd name="connsiteY2877" fmla="*/ 599594 h 2380521"/>
              <a:gd name="connsiteX2878" fmla="*/ 4067676 w 8023328"/>
              <a:gd name="connsiteY2878" fmla="*/ 584805 h 2380521"/>
              <a:gd name="connsiteX2879" fmla="*/ 4082465 w 8023328"/>
              <a:gd name="connsiteY2879" fmla="*/ 570017 h 2380521"/>
              <a:gd name="connsiteX2880" fmla="*/ 4010703 w 8023328"/>
              <a:gd name="connsiteY2880" fmla="*/ 570017 h 2380521"/>
              <a:gd name="connsiteX2881" fmla="*/ 4023100 w 8023328"/>
              <a:gd name="connsiteY2881" fmla="*/ 584805 h 2380521"/>
              <a:gd name="connsiteX2882" fmla="*/ 4010703 w 8023328"/>
              <a:gd name="connsiteY2882" fmla="*/ 599594 h 2380521"/>
              <a:gd name="connsiteX2883" fmla="*/ 3996847 w 8023328"/>
              <a:gd name="connsiteY2883" fmla="*/ 584805 h 2380521"/>
              <a:gd name="connsiteX2884" fmla="*/ 4010703 w 8023328"/>
              <a:gd name="connsiteY2884" fmla="*/ 570017 h 2380521"/>
              <a:gd name="connsiteX2885" fmla="*/ 3939871 w 8023328"/>
              <a:gd name="connsiteY2885" fmla="*/ 570017 h 2380521"/>
              <a:gd name="connsiteX2886" fmla="*/ 3952268 w 8023328"/>
              <a:gd name="connsiteY2886" fmla="*/ 584805 h 2380521"/>
              <a:gd name="connsiteX2887" fmla="*/ 3939871 w 8023328"/>
              <a:gd name="connsiteY2887" fmla="*/ 599594 h 2380521"/>
              <a:gd name="connsiteX2888" fmla="*/ 3926015 w 8023328"/>
              <a:gd name="connsiteY2888" fmla="*/ 584805 h 2380521"/>
              <a:gd name="connsiteX2889" fmla="*/ 3939871 w 8023328"/>
              <a:gd name="connsiteY2889" fmla="*/ 570017 h 2380521"/>
              <a:gd name="connsiteX2890" fmla="*/ 3869042 w 8023328"/>
              <a:gd name="connsiteY2890" fmla="*/ 570017 h 2380521"/>
              <a:gd name="connsiteX2891" fmla="*/ 3881439 w 8023328"/>
              <a:gd name="connsiteY2891" fmla="*/ 584805 h 2380521"/>
              <a:gd name="connsiteX2892" fmla="*/ 3869042 w 8023328"/>
              <a:gd name="connsiteY2892" fmla="*/ 599594 h 2380521"/>
              <a:gd name="connsiteX2893" fmla="*/ 3855186 w 8023328"/>
              <a:gd name="connsiteY2893" fmla="*/ 584805 h 2380521"/>
              <a:gd name="connsiteX2894" fmla="*/ 3869042 w 8023328"/>
              <a:gd name="connsiteY2894" fmla="*/ 570017 h 2380521"/>
              <a:gd name="connsiteX2895" fmla="*/ 3796752 w 8023328"/>
              <a:gd name="connsiteY2895" fmla="*/ 570017 h 2380521"/>
              <a:gd name="connsiteX2896" fmla="*/ 3810608 w 8023328"/>
              <a:gd name="connsiteY2896" fmla="*/ 584805 h 2380521"/>
              <a:gd name="connsiteX2897" fmla="*/ 3796752 w 8023328"/>
              <a:gd name="connsiteY2897" fmla="*/ 599594 h 2380521"/>
              <a:gd name="connsiteX2898" fmla="*/ 3784355 w 8023328"/>
              <a:gd name="connsiteY2898" fmla="*/ 584805 h 2380521"/>
              <a:gd name="connsiteX2899" fmla="*/ 3796752 w 8023328"/>
              <a:gd name="connsiteY2899" fmla="*/ 570017 h 2380521"/>
              <a:gd name="connsiteX2900" fmla="*/ 3725922 w 8023328"/>
              <a:gd name="connsiteY2900" fmla="*/ 570017 h 2380521"/>
              <a:gd name="connsiteX2901" fmla="*/ 3739778 w 8023328"/>
              <a:gd name="connsiteY2901" fmla="*/ 584805 h 2380521"/>
              <a:gd name="connsiteX2902" fmla="*/ 3725922 w 8023328"/>
              <a:gd name="connsiteY2902" fmla="*/ 599594 h 2380521"/>
              <a:gd name="connsiteX2903" fmla="*/ 3713525 w 8023328"/>
              <a:gd name="connsiteY2903" fmla="*/ 584805 h 2380521"/>
              <a:gd name="connsiteX2904" fmla="*/ 3725922 w 8023328"/>
              <a:gd name="connsiteY2904" fmla="*/ 570017 h 2380521"/>
              <a:gd name="connsiteX2905" fmla="*/ 3655091 w 8023328"/>
              <a:gd name="connsiteY2905" fmla="*/ 570017 h 2380521"/>
              <a:gd name="connsiteX2906" fmla="*/ 3668947 w 8023328"/>
              <a:gd name="connsiteY2906" fmla="*/ 582414 h 2380521"/>
              <a:gd name="connsiteX2907" fmla="*/ 3655091 w 8023328"/>
              <a:gd name="connsiteY2907" fmla="*/ 596271 h 2380521"/>
              <a:gd name="connsiteX2908" fmla="*/ 3642694 w 8023328"/>
              <a:gd name="connsiteY2908" fmla="*/ 582414 h 2380521"/>
              <a:gd name="connsiteX2909" fmla="*/ 3655091 w 8023328"/>
              <a:gd name="connsiteY2909" fmla="*/ 570017 h 2380521"/>
              <a:gd name="connsiteX2910" fmla="*/ 3583280 w 8023328"/>
              <a:gd name="connsiteY2910" fmla="*/ 570017 h 2380521"/>
              <a:gd name="connsiteX2911" fmla="*/ 3598069 w 8023328"/>
              <a:gd name="connsiteY2911" fmla="*/ 582414 h 2380521"/>
              <a:gd name="connsiteX2912" fmla="*/ 3583280 w 8023328"/>
              <a:gd name="connsiteY2912" fmla="*/ 596271 h 2380521"/>
              <a:gd name="connsiteX2913" fmla="*/ 3568491 w 8023328"/>
              <a:gd name="connsiteY2913" fmla="*/ 582414 h 2380521"/>
              <a:gd name="connsiteX2914" fmla="*/ 3583280 w 8023328"/>
              <a:gd name="connsiteY2914" fmla="*/ 570017 h 2380521"/>
              <a:gd name="connsiteX2915" fmla="*/ 3512449 w 8023328"/>
              <a:gd name="connsiteY2915" fmla="*/ 570017 h 2380521"/>
              <a:gd name="connsiteX2916" fmla="*/ 3527237 w 8023328"/>
              <a:gd name="connsiteY2916" fmla="*/ 582414 h 2380521"/>
              <a:gd name="connsiteX2917" fmla="*/ 3512449 w 8023328"/>
              <a:gd name="connsiteY2917" fmla="*/ 596271 h 2380521"/>
              <a:gd name="connsiteX2918" fmla="*/ 3497661 w 8023328"/>
              <a:gd name="connsiteY2918" fmla="*/ 582414 h 2380521"/>
              <a:gd name="connsiteX2919" fmla="*/ 3512449 w 8023328"/>
              <a:gd name="connsiteY2919" fmla="*/ 570017 h 2380521"/>
              <a:gd name="connsiteX2920" fmla="*/ 3441619 w 8023328"/>
              <a:gd name="connsiteY2920" fmla="*/ 570017 h 2380521"/>
              <a:gd name="connsiteX2921" fmla="*/ 3456408 w 8023328"/>
              <a:gd name="connsiteY2921" fmla="*/ 582414 h 2380521"/>
              <a:gd name="connsiteX2922" fmla="*/ 3441619 w 8023328"/>
              <a:gd name="connsiteY2922" fmla="*/ 596271 h 2380521"/>
              <a:gd name="connsiteX2923" fmla="*/ 3426830 w 8023328"/>
              <a:gd name="connsiteY2923" fmla="*/ 582414 h 2380521"/>
              <a:gd name="connsiteX2924" fmla="*/ 3441619 w 8023328"/>
              <a:gd name="connsiteY2924" fmla="*/ 570017 h 2380521"/>
              <a:gd name="connsiteX2925" fmla="*/ 3369857 w 8023328"/>
              <a:gd name="connsiteY2925" fmla="*/ 570017 h 2380521"/>
              <a:gd name="connsiteX2926" fmla="*/ 3382254 w 8023328"/>
              <a:gd name="connsiteY2926" fmla="*/ 582414 h 2380521"/>
              <a:gd name="connsiteX2927" fmla="*/ 3369857 w 8023328"/>
              <a:gd name="connsiteY2927" fmla="*/ 596271 h 2380521"/>
              <a:gd name="connsiteX2928" fmla="*/ 3356001 w 8023328"/>
              <a:gd name="connsiteY2928" fmla="*/ 582414 h 2380521"/>
              <a:gd name="connsiteX2929" fmla="*/ 3369857 w 8023328"/>
              <a:gd name="connsiteY2929" fmla="*/ 570017 h 2380521"/>
              <a:gd name="connsiteX2930" fmla="*/ 3299091 w 8023328"/>
              <a:gd name="connsiteY2930" fmla="*/ 570017 h 2380521"/>
              <a:gd name="connsiteX2931" fmla="*/ 3311491 w 8023328"/>
              <a:gd name="connsiteY2931" fmla="*/ 582414 h 2380521"/>
              <a:gd name="connsiteX2932" fmla="*/ 3299091 w 8023328"/>
              <a:gd name="connsiteY2932" fmla="*/ 596271 h 2380521"/>
              <a:gd name="connsiteX2933" fmla="*/ 3285240 w 8023328"/>
              <a:gd name="connsiteY2933" fmla="*/ 582414 h 2380521"/>
              <a:gd name="connsiteX2934" fmla="*/ 3299091 w 8023328"/>
              <a:gd name="connsiteY2934" fmla="*/ 570017 h 2380521"/>
              <a:gd name="connsiteX2935" fmla="*/ 3226803 w 8023328"/>
              <a:gd name="connsiteY2935" fmla="*/ 570017 h 2380521"/>
              <a:gd name="connsiteX2936" fmla="*/ 3240660 w 8023328"/>
              <a:gd name="connsiteY2936" fmla="*/ 582414 h 2380521"/>
              <a:gd name="connsiteX2937" fmla="*/ 3226803 w 8023328"/>
              <a:gd name="connsiteY2937" fmla="*/ 596271 h 2380521"/>
              <a:gd name="connsiteX2938" fmla="*/ 3214406 w 8023328"/>
              <a:gd name="connsiteY2938" fmla="*/ 582414 h 2380521"/>
              <a:gd name="connsiteX2939" fmla="*/ 3226803 w 8023328"/>
              <a:gd name="connsiteY2939" fmla="*/ 570017 h 2380521"/>
              <a:gd name="connsiteX2940" fmla="*/ 3152600 w 8023328"/>
              <a:gd name="connsiteY2940" fmla="*/ 570017 h 2380521"/>
              <a:gd name="connsiteX2941" fmla="*/ 3166454 w 8023328"/>
              <a:gd name="connsiteY2941" fmla="*/ 582414 h 2380521"/>
              <a:gd name="connsiteX2942" fmla="*/ 3152600 w 8023328"/>
              <a:gd name="connsiteY2942" fmla="*/ 596271 h 2380521"/>
              <a:gd name="connsiteX2943" fmla="*/ 3140203 w 8023328"/>
              <a:gd name="connsiteY2943" fmla="*/ 582414 h 2380521"/>
              <a:gd name="connsiteX2944" fmla="*/ 3152600 w 8023328"/>
              <a:gd name="connsiteY2944" fmla="*/ 570017 h 2380521"/>
              <a:gd name="connsiteX2945" fmla="*/ 3081770 w 8023328"/>
              <a:gd name="connsiteY2945" fmla="*/ 570017 h 2380521"/>
              <a:gd name="connsiteX2946" fmla="*/ 3095622 w 8023328"/>
              <a:gd name="connsiteY2946" fmla="*/ 582414 h 2380521"/>
              <a:gd name="connsiteX2947" fmla="*/ 3081770 w 8023328"/>
              <a:gd name="connsiteY2947" fmla="*/ 596271 h 2380521"/>
              <a:gd name="connsiteX2948" fmla="*/ 3069369 w 8023328"/>
              <a:gd name="connsiteY2948" fmla="*/ 582414 h 2380521"/>
              <a:gd name="connsiteX2949" fmla="*/ 3081770 w 8023328"/>
              <a:gd name="connsiteY2949" fmla="*/ 570017 h 2380521"/>
              <a:gd name="connsiteX2950" fmla="*/ 3013712 w 8023328"/>
              <a:gd name="connsiteY2950" fmla="*/ 570017 h 2380521"/>
              <a:gd name="connsiteX2951" fmla="*/ 3028132 w 8023328"/>
              <a:gd name="connsiteY2951" fmla="*/ 582414 h 2380521"/>
              <a:gd name="connsiteX2952" fmla="*/ 3013712 w 8023328"/>
              <a:gd name="connsiteY2952" fmla="*/ 596271 h 2380521"/>
              <a:gd name="connsiteX2953" fmla="*/ 2998537 w 8023328"/>
              <a:gd name="connsiteY2953" fmla="*/ 582414 h 2380521"/>
              <a:gd name="connsiteX2954" fmla="*/ 3013712 w 8023328"/>
              <a:gd name="connsiteY2954" fmla="*/ 570017 h 2380521"/>
              <a:gd name="connsiteX2955" fmla="*/ 2942491 w 8023328"/>
              <a:gd name="connsiteY2955" fmla="*/ 570017 h 2380521"/>
              <a:gd name="connsiteX2956" fmla="*/ 2957285 w 8023328"/>
              <a:gd name="connsiteY2956" fmla="*/ 582414 h 2380521"/>
              <a:gd name="connsiteX2957" fmla="*/ 2942491 w 8023328"/>
              <a:gd name="connsiteY2957" fmla="*/ 596271 h 2380521"/>
              <a:gd name="connsiteX2958" fmla="*/ 2927705 w 8023328"/>
              <a:gd name="connsiteY2958" fmla="*/ 582414 h 2380521"/>
              <a:gd name="connsiteX2959" fmla="*/ 2942491 w 8023328"/>
              <a:gd name="connsiteY2959" fmla="*/ 570017 h 2380521"/>
              <a:gd name="connsiteX2960" fmla="*/ 2868288 w 8023328"/>
              <a:gd name="connsiteY2960" fmla="*/ 570017 h 2380521"/>
              <a:gd name="connsiteX2961" fmla="*/ 2883082 w 8023328"/>
              <a:gd name="connsiteY2961" fmla="*/ 582414 h 2380521"/>
              <a:gd name="connsiteX2962" fmla="*/ 2868288 w 8023328"/>
              <a:gd name="connsiteY2962" fmla="*/ 596271 h 2380521"/>
              <a:gd name="connsiteX2963" fmla="*/ 2853502 w 8023328"/>
              <a:gd name="connsiteY2963" fmla="*/ 582414 h 2380521"/>
              <a:gd name="connsiteX2964" fmla="*/ 2868288 w 8023328"/>
              <a:gd name="connsiteY2964" fmla="*/ 570017 h 2380521"/>
              <a:gd name="connsiteX2965" fmla="*/ 2796532 w 8023328"/>
              <a:gd name="connsiteY2965" fmla="*/ 570017 h 2380521"/>
              <a:gd name="connsiteX2966" fmla="*/ 2808931 w 8023328"/>
              <a:gd name="connsiteY2966" fmla="*/ 582414 h 2380521"/>
              <a:gd name="connsiteX2967" fmla="*/ 2796532 w 8023328"/>
              <a:gd name="connsiteY2967" fmla="*/ 596271 h 2380521"/>
              <a:gd name="connsiteX2968" fmla="*/ 2782675 w 8023328"/>
              <a:gd name="connsiteY2968" fmla="*/ 582414 h 2380521"/>
              <a:gd name="connsiteX2969" fmla="*/ 2796532 w 8023328"/>
              <a:gd name="connsiteY2969" fmla="*/ 570017 h 2380521"/>
              <a:gd name="connsiteX2970" fmla="*/ 2725695 w 8023328"/>
              <a:gd name="connsiteY2970" fmla="*/ 570017 h 2380521"/>
              <a:gd name="connsiteX2971" fmla="*/ 2738097 w 8023328"/>
              <a:gd name="connsiteY2971" fmla="*/ 582414 h 2380521"/>
              <a:gd name="connsiteX2972" fmla="*/ 2725695 w 8023328"/>
              <a:gd name="connsiteY2972" fmla="*/ 596271 h 2380521"/>
              <a:gd name="connsiteX2973" fmla="*/ 2711843 w 8023328"/>
              <a:gd name="connsiteY2973" fmla="*/ 582414 h 2380521"/>
              <a:gd name="connsiteX2974" fmla="*/ 2725695 w 8023328"/>
              <a:gd name="connsiteY2974" fmla="*/ 570017 h 2380521"/>
              <a:gd name="connsiteX2975" fmla="*/ 2654867 w 8023328"/>
              <a:gd name="connsiteY2975" fmla="*/ 570017 h 2380521"/>
              <a:gd name="connsiteX2976" fmla="*/ 2667266 w 8023328"/>
              <a:gd name="connsiteY2976" fmla="*/ 582414 h 2380521"/>
              <a:gd name="connsiteX2977" fmla="*/ 2654867 w 8023328"/>
              <a:gd name="connsiteY2977" fmla="*/ 596271 h 2380521"/>
              <a:gd name="connsiteX2978" fmla="*/ 2641013 w 8023328"/>
              <a:gd name="connsiteY2978" fmla="*/ 582414 h 2380521"/>
              <a:gd name="connsiteX2979" fmla="*/ 2654867 w 8023328"/>
              <a:gd name="connsiteY2979" fmla="*/ 570017 h 2380521"/>
              <a:gd name="connsiteX2980" fmla="*/ 2582580 w 8023328"/>
              <a:gd name="connsiteY2980" fmla="*/ 570017 h 2380521"/>
              <a:gd name="connsiteX2981" fmla="*/ 2596435 w 8023328"/>
              <a:gd name="connsiteY2981" fmla="*/ 582414 h 2380521"/>
              <a:gd name="connsiteX2982" fmla="*/ 2582580 w 8023328"/>
              <a:gd name="connsiteY2982" fmla="*/ 596271 h 2380521"/>
              <a:gd name="connsiteX2983" fmla="*/ 2570184 w 8023328"/>
              <a:gd name="connsiteY2983" fmla="*/ 582414 h 2380521"/>
              <a:gd name="connsiteX2984" fmla="*/ 2582580 w 8023328"/>
              <a:gd name="connsiteY2984" fmla="*/ 570017 h 2380521"/>
              <a:gd name="connsiteX2985" fmla="*/ 2511026 w 8023328"/>
              <a:gd name="connsiteY2985" fmla="*/ 570017 h 2380521"/>
              <a:gd name="connsiteX2986" fmla="*/ 2525610 w 8023328"/>
              <a:gd name="connsiteY2986" fmla="*/ 582414 h 2380521"/>
              <a:gd name="connsiteX2987" fmla="*/ 2511026 w 8023328"/>
              <a:gd name="connsiteY2987" fmla="*/ 596271 h 2380521"/>
              <a:gd name="connsiteX2988" fmla="*/ 2499358 w 8023328"/>
              <a:gd name="connsiteY2988" fmla="*/ 582414 h 2380521"/>
              <a:gd name="connsiteX2989" fmla="*/ 2511026 w 8023328"/>
              <a:gd name="connsiteY2989" fmla="*/ 570017 h 2380521"/>
              <a:gd name="connsiteX2990" fmla="*/ 2440921 w 8023328"/>
              <a:gd name="connsiteY2990" fmla="*/ 570017 h 2380521"/>
              <a:gd name="connsiteX2991" fmla="*/ 2454778 w 8023328"/>
              <a:gd name="connsiteY2991" fmla="*/ 582414 h 2380521"/>
              <a:gd name="connsiteX2992" fmla="*/ 2440921 w 8023328"/>
              <a:gd name="connsiteY2992" fmla="*/ 596271 h 2380521"/>
              <a:gd name="connsiteX2993" fmla="*/ 2428525 w 8023328"/>
              <a:gd name="connsiteY2993" fmla="*/ 582414 h 2380521"/>
              <a:gd name="connsiteX2994" fmla="*/ 2440921 w 8023328"/>
              <a:gd name="connsiteY2994" fmla="*/ 570017 h 2380521"/>
              <a:gd name="connsiteX2995" fmla="*/ 2369108 w 8023328"/>
              <a:gd name="connsiteY2995" fmla="*/ 570017 h 2380521"/>
              <a:gd name="connsiteX2996" fmla="*/ 2383896 w 8023328"/>
              <a:gd name="connsiteY2996" fmla="*/ 582414 h 2380521"/>
              <a:gd name="connsiteX2997" fmla="*/ 2369108 w 8023328"/>
              <a:gd name="connsiteY2997" fmla="*/ 596271 h 2380521"/>
              <a:gd name="connsiteX2998" fmla="*/ 2354319 w 8023328"/>
              <a:gd name="connsiteY2998" fmla="*/ 582414 h 2380521"/>
              <a:gd name="connsiteX2999" fmla="*/ 2369108 w 8023328"/>
              <a:gd name="connsiteY2999" fmla="*/ 570017 h 2380521"/>
              <a:gd name="connsiteX3000" fmla="*/ 2298275 w 8023328"/>
              <a:gd name="connsiteY3000" fmla="*/ 570017 h 2380521"/>
              <a:gd name="connsiteX3001" fmla="*/ 2313064 w 8023328"/>
              <a:gd name="connsiteY3001" fmla="*/ 582414 h 2380521"/>
              <a:gd name="connsiteX3002" fmla="*/ 2298275 w 8023328"/>
              <a:gd name="connsiteY3002" fmla="*/ 596271 h 2380521"/>
              <a:gd name="connsiteX3003" fmla="*/ 2283487 w 8023328"/>
              <a:gd name="connsiteY3003" fmla="*/ 582414 h 2380521"/>
              <a:gd name="connsiteX3004" fmla="*/ 2298275 w 8023328"/>
              <a:gd name="connsiteY3004" fmla="*/ 570017 h 2380521"/>
              <a:gd name="connsiteX3005" fmla="*/ 2226512 w 8023328"/>
              <a:gd name="connsiteY3005" fmla="*/ 570017 h 2380521"/>
              <a:gd name="connsiteX3006" fmla="*/ 2238911 w 8023328"/>
              <a:gd name="connsiteY3006" fmla="*/ 582414 h 2380521"/>
              <a:gd name="connsiteX3007" fmla="*/ 2226512 w 8023328"/>
              <a:gd name="connsiteY3007" fmla="*/ 596271 h 2380521"/>
              <a:gd name="connsiteX3008" fmla="*/ 2212655 w 8023328"/>
              <a:gd name="connsiteY3008" fmla="*/ 582414 h 2380521"/>
              <a:gd name="connsiteX3009" fmla="*/ 2226512 w 8023328"/>
              <a:gd name="connsiteY3009" fmla="*/ 570017 h 2380521"/>
              <a:gd name="connsiteX3010" fmla="*/ 2155680 w 8023328"/>
              <a:gd name="connsiteY3010" fmla="*/ 570017 h 2380521"/>
              <a:gd name="connsiteX3011" fmla="*/ 2168079 w 8023328"/>
              <a:gd name="connsiteY3011" fmla="*/ 582414 h 2380521"/>
              <a:gd name="connsiteX3012" fmla="*/ 2155680 w 8023328"/>
              <a:gd name="connsiteY3012" fmla="*/ 596271 h 2380521"/>
              <a:gd name="connsiteX3013" fmla="*/ 2141823 w 8023328"/>
              <a:gd name="connsiteY3013" fmla="*/ 582414 h 2380521"/>
              <a:gd name="connsiteX3014" fmla="*/ 2155680 w 8023328"/>
              <a:gd name="connsiteY3014" fmla="*/ 570017 h 2380521"/>
              <a:gd name="connsiteX3015" fmla="*/ 2084846 w 8023328"/>
              <a:gd name="connsiteY3015" fmla="*/ 570017 h 2380521"/>
              <a:gd name="connsiteX3016" fmla="*/ 2097246 w 8023328"/>
              <a:gd name="connsiteY3016" fmla="*/ 582414 h 2380521"/>
              <a:gd name="connsiteX3017" fmla="*/ 2084846 w 8023328"/>
              <a:gd name="connsiteY3017" fmla="*/ 596271 h 2380521"/>
              <a:gd name="connsiteX3018" fmla="*/ 2070989 w 8023328"/>
              <a:gd name="connsiteY3018" fmla="*/ 582414 h 2380521"/>
              <a:gd name="connsiteX3019" fmla="*/ 2084846 w 8023328"/>
              <a:gd name="connsiteY3019" fmla="*/ 570017 h 2380521"/>
              <a:gd name="connsiteX3020" fmla="*/ 2011831 w 8023328"/>
              <a:gd name="connsiteY3020" fmla="*/ 570017 h 2380521"/>
              <a:gd name="connsiteX3021" fmla="*/ 2026416 w 8023328"/>
              <a:gd name="connsiteY3021" fmla="*/ 582414 h 2380521"/>
              <a:gd name="connsiteX3022" fmla="*/ 2011831 w 8023328"/>
              <a:gd name="connsiteY3022" fmla="*/ 596271 h 2380521"/>
              <a:gd name="connsiteX3023" fmla="*/ 2000163 w 8023328"/>
              <a:gd name="connsiteY3023" fmla="*/ 582414 h 2380521"/>
              <a:gd name="connsiteX3024" fmla="*/ 2011831 w 8023328"/>
              <a:gd name="connsiteY3024" fmla="*/ 570017 h 2380521"/>
              <a:gd name="connsiteX3025" fmla="*/ 1938359 w 8023328"/>
              <a:gd name="connsiteY3025" fmla="*/ 570017 h 2380521"/>
              <a:gd name="connsiteX3026" fmla="*/ 1952216 w 8023328"/>
              <a:gd name="connsiteY3026" fmla="*/ 583873 h 2380521"/>
              <a:gd name="connsiteX3027" fmla="*/ 1938359 w 8023328"/>
              <a:gd name="connsiteY3027" fmla="*/ 596271 h 2380521"/>
              <a:gd name="connsiteX3028" fmla="*/ 1925962 w 8023328"/>
              <a:gd name="connsiteY3028" fmla="*/ 583873 h 2380521"/>
              <a:gd name="connsiteX3029" fmla="*/ 1938359 w 8023328"/>
              <a:gd name="connsiteY3029" fmla="*/ 570017 h 2380521"/>
              <a:gd name="connsiteX3030" fmla="*/ 1867522 w 8023328"/>
              <a:gd name="connsiteY3030" fmla="*/ 570017 h 2380521"/>
              <a:gd name="connsiteX3031" fmla="*/ 1881382 w 8023328"/>
              <a:gd name="connsiteY3031" fmla="*/ 583873 h 2380521"/>
              <a:gd name="connsiteX3032" fmla="*/ 1867522 w 8023328"/>
              <a:gd name="connsiteY3032" fmla="*/ 596271 h 2380521"/>
              <a:gd name="connsiteX3033" fmla="*/ 1855124 w 8023328"/>
              <a:gd name="connsiteY3033" fmla="*/ 583873 h 2380521"/>
              <a:gd name="connsiteX3034" fmla="*/ 1867522 w 8023328"/>
              <a:gd name="connsiteY3034" fmla="*/ 570017 h 2380521"/>
              <a:gd name="connsiteX3035" fmla="*/ 1799082 w 8023328"/>
              <a:gd name="connsiteY3035" fmla="*/ 570017 h 2380521"/>
              <a:gd name="connsiteX3036" fmla="*/ 1813871 w 8023328"/>
              <a:gd name="connsiteY3036" fmla="*/ 583873 h 2380521"/>
              <a:gd name="connsiteX3037" fmla="*/ 1799082 w 8023328"/>
              <a:gd name="connsiteY3037" fmla="*/ 596271 h 2380521"/>
              <a:gd name="connsiteX3038" fmla="*/ 1784295 w 8023328"/>
              <a:gd name="connsiteY3038" fmla="*/ 583873 h 2380521"/>
              <a:gd name="connsiteX3039" fmla="*/ 1799082 w 8023328"/>
              <a:gd name="connsiteY3039" fmla="*/ 570017 h 2380521"/>
              <a:gd name="connsiteX3040" fmla="*/ 1728257 w 8023328"/>
              <a:gd name="connsiteY3040" fmla="*/ 570017 h 2380521"/>
              <a:gd name="connsiteX3041" fmla="*/ 1743046 w 8023328"/>
              <a:gd name="connsiteY3041" fmla="*/ 583873 h 2380521"/>
              <a:gd name="connsiteX3042" fmla="*/ 1728257 w 8023328"/>
              <a:gd name="connsiteY3042" fmla="*/ 596271 h 2380521"/>
              <a:gd name="connsiteX3043" fmla="*/ 1713467 w 8023328"/>
              <a:gd name="connsiteY3043" fmla="*/ 583873 h 2380521"/>
              <a:gd name="connsiteX3044" fmla="*/ 1728257 w 8023328"/>
              <a:gd name="connsiteY3044" fmla="*/ 570017 h 2380521"/>
              <a:gd name="connsiteX3045" fmla="*/ 1657426 w 8023328"/>
              <a:gd name="connsiteY3045" fmla="*/ 570017 h 2380521"/>
              <a:gd name="connsiteX3046" fmla="*/ 1672218 w 8023328"/>
              <a:gd name="connsiteY3046" fmla="*/ 583873 h 2380521"/>
              <a:gd name="connsiteX3047" fmla="*/ 1657426 w 8023328"/>
              <a:gd name="connsiteY3047" fmla="*/ 596271 h 2380521"/>
              <a:gd name="connsiteX3048" fmla="*/ 1642647 w 8023328"/>
              <a:gd name="connsiteY3048" fmla="*/ 583873 h 2380521"/>
              <a:gd name="connsiteX3049" fmla="*/ 1657426 w 8023328"/>
              <a:gd name="connsiteY3049" fmla="*/ 570017 h 2380521"/>
              <a:gd name="connsiteX3050" fmla="*/ 1582294 w 8023328"/>
              <a:gd name="connsiteY3050" fmla="*/ 570017 h 2380521"/>
              <a:gd name="connsiteX3051" fmla="*/ 1594694 w 8023328"/>
              <a:gd name="connsiteY3051" fmla="*/ 583873 h 2380521"/>
              <a:gd name="connsiteX3052" fmla="*/ 1582294 w 8023328"/>
              <a:gd name="connsiteY3052" fmla="*/ 596271 h 2380521"/>
              <a:gd name="connsiteX3053" fmla="*/ 1568438 w 8023328"/>
              <a:gd name="connsiteY3053" fmla="*/ 583873 h 2380521"/>
              <a:gd name="connsiteX3054" fmla="*/ 1582294 w 8023328"/>
              <a:gd name="connsiteY3054" fmla="*/ 570017 h 2380521"/>
              <a:gd name="connsiteX3055" fmla="*/ 1512190 w 8023328"/>
              <a:gd name="connsiteY3055" fmla="*/ 570017 h 2380521"/>
              <a:gd name="connsiteX3056" fmla="*/ 1523859 w 8023328"/>
              <a:gd name="connsiteY3056" fmla="*/ 583873 h 2380521"/>
              <a:gd name="connsiteX3057" fmla="*/ 1512190 w 8023328"/>
              <a:gd name="connsiteY3057" fmla="*/ 596271 h 2380521"/>
              <a:gd name="connsiteX3058" fmla="*/ 1497607 w 8023328"/>
              <a:gd name="connsiteY3058" fmla="*/ 583873 h 2380521"/>
              <a:gd name="connsiteX3059" fmla="*/ 1512190 w 8023328"/>
              <a:gd name="connsiteY3059" fmla="*/ 570017 h 2380521"/>
              <a:gd name="connsiteX3060" fmla="*/ 1440623 w 8023328"/>
              <a:gd name="connsiteY3060" fmla="*/ 570017 h 2380521"/>
              <a:gd name="connsiteX3061" fmla="*/ 1453020 w 8023328"/>
              <a:gd name="connsiteY3061" fmla="*/ 583873 h 2380521"/>
              <a:gd name="connsiteX3062" fmla="*/ 1440623 w 8023328"/>
              <a:gd name="connsiteY3062" fmla="*/ 596271 h 2380521"/>
              <a:gd name="connsiteX3063" fmla="*/ 1426771 w 8023328"/>
              <a:gd name="connsiteY3063" fmla="*/ 583873 h 2380521"/>
              <a:gd name="connsiteX3064" fmla="*/ 1440623 w 8023328"/>
              <a:gd name="connsiteY3064" fmla="*/ 570017 h 2380521"/>
              <a:gd name="connsiteX3065" fmla="*/ 1368341 w 8023328"/>
              <a:gd name="connsiteY3065" fmla="*/ 570017 h 2380521"/>
              <a:gd name="connsiteX3066" fmla="*/ 1382194 w 8023328"/>
              <a:gd name="connsiteY3066" fmla="*/ 583873 h 2380521"/>
              <a:gd name="connsiteX3067" fmla="*/ 1368341 w 8023328"/>
              <a:gd name="connsiteY3067" fmla="*/ 596271 h 2380521"/>
              <a:gd name="connsiteX3068" fmla="*/ 1355945 w 8023328"/>
              <a:gd name="connsiteY3068" fmla="*/ 583873 h 2380521"/>
              <a:gd name="connsiteX3069" fmla="*/ 1368341 w 8023328"/>
              <a:gd name="connsiteY3069" fmla="*/ 570017 h 2380521"/>
              <a:gd name="connsiteX3070" fmla="*/ 1297515 w 8023328"/>
              <a:gd name="connsiteY3070" fmla="*/ 570017 h 2380521"/>
              <a:gd name="connsiteX3071" fmla="*/ 1311369 w 8023328"/>
              <a:gd name="connsiteY3071" fmla="*/ 583873 h 2380521"/>
              <a:gd name="connsiteX3072" fmla="*/ 1297515 w 8023328"/>
              <a:gd name="connsiteY3072" fmla="*/ 596271 h 2380521"/>
              <a:gd name="connsiteX3073" fmla="*/ 1285116 w 8023328"/>
              <a:gd name="connsiteY3073" fmla="*/ 583873 h 2380521"/>
              <a:gd name="connsiteX3074" fmla="*/ 1297515 w 8023328"/>
              <a:gd name="connsiteY3074" fmla="*/ 570017 h 2380521"/>
              <a:gd name="connsiteX3075" fmla="*/ 1226680 w 8023328"/>
              <a:gd name="connsiteY3075" fmla="*/ 570017 h 2380521"/>
              <a:gd name="connsiteX3076" fmla="*/ 1240537 w 8023328"/>
              <a:gd name="connsiteY3076" fmla="*/ 583873 h 2380521"/>
              <a:gd name="connsiteX3077" fmla="*/ 1226680 w 8023328"/>
              <a:gd name="connsiteY3077" fmla="*/ 596271 h 2380521"/>
              <a:gd name="connsiteX3078" fmla="*/ 1214296 w 8023328"/>
              <a:gd name="connsiteY3078" fmla="*/ 583873 h 2380521"/>
              <a:gd name="connsiteX3079" fmla="*/ 1226680 w 8023328"/>
              <a:gd name="connsiteY3079" fmla="*/ 570017 h 2380521"/>
              <a:gd name="connsiteX3080" fmla="*/ 1154879 w 8023328"/>
              <a:gd name="connsiteY3080" fmla="*/ 570017 h 2380521"/>
              <a:gd name="connsiteX3081" fmla="*/ 1169669 w 8023328"/>
              <a:gd name="connsiteY3081" fmla="*/ 583873 h 2380521"/>
              <a:gd name="connsiteX3082" fmla="*/ 1154879 w 8023328"/>
              <a:gd name="connsiteY3082" fmla="*/ 596271 h 2380521"/>
              <a:gd name="connsiteX3083" fmla="*/ 1140090 w 8023328"/>
              <a:gd name="connsiteY3083" fmla="*/ 583873 h 2380521"/>
              <a:gd name="connsiteX3084" fmla="*/ 1154879 w 8023328"/>
              <a:gd name="connsiteY3084" fmla="*/ 570017 h 2380521"/>
              <a:gd name="connsiteX3085" fmla="*/ 1084053 w 8023328"/>
              <a:gd name="connsiteY3085" fmla="*/ 570017 h 2380521"/>
              <a:gd name="connsiteX3086" fmla="*/ 1098840 w 8023328"/>
              <a:gd name="connsiteY3086" fmla="*/ 583873 h 2380521"/>
              <a:gd name="connsiteX3087" fmla="*/ 1084053 w 8023328"/>
              <a:gd name="connsiteY3087" fmla="*/ 596271 h 2380521"/>
              <a:gd name="connsiteX3088" fmla="*/ 1069263 w 8023328"/>
              <a:gd name="connsiteY3088" fmla="*/ 583873 h 2380521"/>
              <a:gd name="connsiteX3089" fmla="*/ 1084053 w 8023328"/>
              <a:gd name="connsiteY3089" fmla="*/ 570017 h 2380521"/>
              <a:gd name="connsiteX3090" fmla="*/ 1013010 w 8023328"/>
              <a:gd name="connsiteY3090" fmla="*/ 570017 h 2380521"/>
              <a:gd name="connsiteX3091" fmla="*/ 1024682 w 8023328"/>
              <a:gd name="connsiteY3091" fmla="*/ 583873 h 2380521"/>
              <a:gd name="connsiteX3092" fmla="*/ 1013010 w 8023328"/>
              <a:gd name="connsiteY3092" fmla="*/ 596271 h 2380521"/>
              <a:gd name="connsiteX3093" fmla="*/ 998433 w 8023328"/>
              <a:gd name="connsiteY3093" fmla="*/ 583873 h 2380521"/>
              <a:gd name="connsiteX3094" fmla="*/ 1013010 w 8023328"/>
              <a:gd name="connsiteY3094" fmla="*/ 570017 h 2380521"/>
              <a:gd name="connsiteX3095" fmla="*/ 941458 w 8023328"/>
              <a:gd name="connsiteY3095" fmla="*/ 570017 h 2380521"/>
              <a:gd name="connsiteX3096" fmla="*/ 953857 w 8023328"/>
              <a:gd name="connsiteY3096" fmla="*/ 583873 h 2380521"/>
              <a:gd name="connsiteX3097" fmla="*/ 941458 w 8023328"/>
              <a:gd name="connsiteY3097" fmla="*/ 596271 h 2380521"/>
              <a:gd name="connsiteX3098" fmla="*/ 927601 w 8023328"/>
              <a:gd name="connsiteY3098" fmla="*/ 583873 h 2380521"/>
              <a:gd name="connsiteX3099" fmla="*/ 941458 w 8023328"/>
              <a:gd name="connsiteY3099" fmla="*/ 570017 h 2380521"/>
              <a:gd name="connsiteX3100" fmla="*/ 870626 w 8023328"/>
              <a:gd name="connsiteY3100" fmla="*/ 570017 h 2380521"/>
              <a:gd name="connsiteX3101" fmla="*/ 883027 w 8023328"/>
              <a:gd name="connsiteY3101" fmla="*/ 583873 h 2380521"/>
              <a:gd name="connsiteX3102" fmla="*/ 870626 w 8023328"/>
              <a:gd name="connsiteY3102" fmla="*/ 596271 h 2380521"/>
              <a:gd name="connsiteX3103" fmla="*/ 856772 w 8023328"/>
              <a:gd name="connsiteY3103" fmla="*/ 583873 h 2380521"/>
              <a:gd name="connsiteX3104" fmla="*/ 870626 w 8023328"/>
              <a:gd name="connsiteY3104" fmla="*/ 570017 h 2380521"/>
              <a:gd name="connsiteX3105" fmla="*/ 798340 w 8023328"/>
              <a:gd name="connsiteY3105" fmla="*/ 570017 h 2380521"/>
              <a:gd name="connsiteX3106" fmla="*/ 812193 w 8023328"/>
              <a:gd name="connsiteY3106" fmla="*/ 583873 h 2380521"/>
              <a:gd name="connsiteX3107" fmla="*/ 798340 w 8023328"/>
              <a:gd name="connsiteY3107" fmla="*/ 596271 h 2380521"/>
              <a:gd name="connsiteX3108" fmla="*/ 785941 w 8023328"/>
              <a:gd name="connsiteY3108" fmla="*/ 583873 h 2380521"/>
              <a:gd name="connsiteX3109" fmla="*/ 798340 w 8023328"/>
              <a:gd name="connsiteY3109" fmla="*/ 570017 h 2380521"/>
              <a:gd name="connsiteX3110" fmla="*/ 724135 w 8023328"/>
              <a:gd name="connsiteY3110" fmla="*/ 570017 h 2380521"/>
              <a:gd name="connsiteX3111" fmla="*/ 737991 w 8023328"/>
              <a:gd name="connsiteY3111" fmla="*/ 583873 h 2380521"/>
              <a:gd name="connsiteX3112" fmla="*/ 724135 w 8023328"/>
              <a:gd name="connsiteY3112" fmla="*/ 596271 h 2380521"/>
              <a:gd name="connsiteX3113" fmla="*/ 711737 w 8023328"/>
              <a:gd name="connsiteY3113" fmla="*/ 583873 h 2380521"/>
              <a:gd name="connsiteX3114" fmla="*/ 724135 w 8023328"/>
              <a:gd name="connsiteY3114" fmla="*/ 570017 h 2380521"/>
              <a:gd name="connsiteX3115" fmla="*/ 653306 w 8023328"/>
              <a:gd name="connsiteY3115" fmla="*/ 570017 h 2380521"/>
              <a:gd name="connsiteX3116" fmla="*/ 667161 w 8023328"/>
              <a:gd name="connsiteY3116" fmla="*/ 583873 h 2380521"/>
              <a:gd name="connsiteX3117" fmla="*/ 653306 w 8023328"/>
              <a:gd name="connsiteY3117" fmla="*/ 596271 h 2380521"/>
              <a:gd name="connsiteX3118" fmla="*/ 640910 w 8023328"/>
              <a:gd name="connsiteY3118" fmla="*/ 583873 h 2380521"/>
              <a:gd name="connsiteX3119" fmla="*/ 653306 w 8023328"/>
              <a:gd name="connsiteY3119" fmla="*/ 570017 h 2380521"/>
              <a:gd name="connsiteX3120" fmla="*/ 584865 w 8023328"/>
              <a:gd name="connsiteY3120" fmla="*/ 570017 h 2380521"/>
              <a:gd name="connsiteX3121" fmla="*/ 599654 w 8023328"/>
              <a:gd name="connsiteY3121" fmla="*/ 583873 h 2380521"/>
              <a:gd name="connsiteX3122" fmla="*/ 584865 w 8023328"/>
              <a:gd name="connsiteY3122" fmla="*/ 596271 h 2380521"/>
              <a:gd name="connsiteX3123" fmla="*/ 570076 w 8023328"/>
              <a:gd name="connsiteY3123" fmla="*/ 583873 h 2380521"/>
              <a:gd name="connsiteX3124" fmla="*/ 584865 w 8023328"/>
              <a:gd name="connsiteY3124" fmla="*/ 570017 h 2380521"/>
              <a:gd name="connsiteX3125" fmla="*/ 513668 w 8023328"/>
              <a:gd name="connsiteY3125" fmla="*/ 570017 h 2380521"/>
              <a:gd name="connsiteX3126" fmla="*/ 528846 w 8023328"/>
              <a:gd name="connsiteY3126" fmla="*/ 583873 h 2380521"/>
              <a:gd name="connsiteX3127" fmla="*/ 513668 w 8023328"/>
              <a:gd name="connsiteY3127" fmla="*/ 596271 h 2380521"/>
              <a:gd name="connsiteX3128" fmla="*/ 499248 w 8023328"/>
              <a:gd name="connsiteY3128" fmla="*/ 583873 h 2380521"/>
              <a:gd name="connsiteX3129" fmla="*/ 513668 w 8023328"/>
              <a:gd name="connsiteY3129" fmla="*/ 570017 h 2380521"/>
              <a:gd name="connsiteX3130" fmla="*/ 439833 w 8023328"/>
              <a:gd name="connsiteY3130" fmla="*/ 570017 h 2380521"/>
              <a:gd name="connsiteX3131" fmla="*/ 454623 w 8023328"/>
              <a:gd name="connsiteY3131" fmla="*/ 583873 h 2380521"/>
              <a:gd name="connsiteX3132" fmla="*/ 439833 w 8023328"/>
              <a:gd name="connsiteY3132" fmla="*/ 596271 h 2380521"/>
              <a:gd name="connsiteX3133" fmla="*/ 425044 w 8023328"/>
              <a:gd name="connsiteY3133" fmla="*/ 583873 h 2380521"/>
              <a:gd name="connsiteX3134" fmla="*/ 439833 w 8023328"/>
              <a:gd name="connsiteY3134" fmla="*/ 570017 h 2380521"/>
              <a:gd name="connsiteX3135" fmla="*/ 368072 w 8023328"/>
              <a:gd name="connsiteY3135" fmla="*/ 570017 h 2380521"/>
              <a:gd name="connsiteX3136" fmla="*/ 380467 w 8023328"/>
              <a:gd name="connsiteY3136" fmla="*/ 583873 h 2380521"/>
              <a:gd name="connsiteX3137" fmla="*/ 368072 w 8023328"/>
              <a:gd name="connsiteY3137" fmla="*/ 596271 h 2380521"/>
              <a:gd name="connsiteX3138" fmla="*/ 354211 w 8023328"/>
              <a:gd name="connsiteY3138" fmla="*/ 583873 h 2380521"/>
              <a:gd name="connsiteX3139" fmla="*/ 368072 w 8023328"/>
              <a:gd name="connsiteY3139" fmla="*/ 570017 h 2380521"/>
              <a:gd name="connsiteX3140" fmla="*/ 3081772 w 8023328"/>
              <a:gd name="connsiteY3140" fmla="*/ 499186 h 2380521"/>
              <a:gd name="connsiteX3141" fmla="*/ 3095622 w 8023328"/>
              <a:gd name="connsiteY3141" fmla="*/ 511583 h 2380521"/>
              <a:gd name="connsiteX3142" fmla="*/ 3081772 w 8023328"/>
              <a:gd name="connsiteY3142" fmla="*/ 525440 h 2380521"/>
              <a:gd name="connsiteX3143" fmla="*/ 3069372 w 8023328"/>
              <a:gd name="connsiteY3143" fmla="*/ 511583 h 2380521"/>
              <a:gd name="connsiteX3144" fmla="*/ 3081772 w 8023328"/>
              <a:gd name="connsiteY3144" fmla="*/ 499186 h 2380521"/>
              <a:gd name="connsiteX3145" fmla="*/ 3013712 w 8023328"/>
              <a:gd name="connsiteY3145" fmla="*/ 499186 h 2380521"/>
              <a:gd name="connsiteX3146" fmla="*/ 3028135 w 8023328"/>
              <a:gd name="connsiteY3146" fmla="*/ 511583 h 2380521"/>
              <a:gd name="connsiteX3147" fmla="*/ 3013712 w 8023328"/>
              <a:gd name="connsiteY3147" fmla="*/ 525440 h 2380521"/>
              <a:gd name="connsiteX3148" fmla="*/ 2998539 w 8023328"/>
              <a:gd name="connsiteY3148" fmla="*/ 511583 h 2380521"/>
              <a:gd name="connsiteX3149" fmla="*/ 3013712 w 8023328"/>
              <a:gd name="connsiteY3149" fmla="*/ 499186 h 2380521"/>
              <a:gd name="connsiteX3150" fmla="*/ 2942491 w 8023328"/>
              <a:gd name="connsiteY3150" fmla="*/ 499186 h 2380521"/>
              <a:gd name="connsiteX3151" fmla="*/ 2957285 w 8023328"/>
              <a:gd name="connsiteY3151" fmla="*/ 511583 h 2380521"/>
              <a:gd name="connsiteX3152" fmla="*/ 2942491 w 8023328"/>
              <a:gd name="connsiteY3152" fmla="*/ 525440 h 2380521"/>
              <a:gd name="connsiteX3153" fmla="*/ 2927705 w 8023328"/>
              <a:gd name="connsiteY3153" fmla="*/ 511583 h 2380521"/>
              <a:gd name="connsiteX3154" fmla="*/ 2942491 w 8023328"/>
              <a:gd name="connsiteY3154" fmla="*/ 499186 h 2380521"/>
              <a:gd name="connsiteX3155" fmla="*/ 2868291 w 8023328"/>
              <a:gd name="connsiteY3155" fmla="*/ 499186 h 2380521"/>
              <a:gd name="connsiteX3156" fmla="*/ 2883082 w 8023328"/>
              <a:gd name="connsiteY3156" fmla="*/ 511583 h 2380521"/>
              <a:gd name="connsiteX3157" fmla="*/ 2868291 w 8023328"/>
              <a:gd name="connsiteY3157" fmla="*/ 525440 h 2380521"/>
              <a:gd name="connsiteX3158" fmla="*/ 2853502 w 8023328"/>
              <a:gd name="connsiteY3158" fmla="*/ 511583 h 2380521"/>
              <a:gd name="connsiteX3159" fmla="*/ 2868291 w 8023328"/>
              <a:gd name="connsiteY3159" fmla="*/ 499186 h 2380521"/>
              <a:gd name="connsiteX3160" fmla="*/ 2796533 w 8023328"/>
              <a:gd name="connsiteY3160" fmla="*/ 499186 h 2380521"/>
              <a:gd name="connsiteX3161" fmla="*/ 2808931 w 8023328"/>
              <a:gd name="connsiteY3161" fmla="*/ 511583 h 2380521"/>
              <a:gd name="connsiteX3162" fmla="*/ 2796533 w 8023328"/>
              <a:gd name="connsiteY3162" fmla="*/ 525440 h 2380521"/>
              <a:gd name="connsiteX3163" fmla="*/ 2782678 w 8023328"/>
              <a:gd name="connsiteY3163" fmla="*/ 511583 h 2380521"/>
              <a:gd name="connsiteX3164" fmla="*/ 2796533 w 8023328"/>
              <a:gd name="connsiteY3164" fmla="*/ 499186 h 2380521"/>
              <a:gd name="connsiteX3165" fmla="*/ 2725695 w 8023328"/>
              <a:gd name="connsiteY3165" fmla="*/ 499186 h 2380521"/>
              <a:gd name="connsiteX3166" fmla="*/ 2738097 w 8023328"/>
              <a:gd name="connsiteY3166" fmla="*/ 511583 h 2380521"/>
              <a:gd name="connsiteX3167" fmla="*/ 2725695 w 8023328"/>
              <a:gd name="connsiteY3167" fmla="*/ 525440 h 2380521"/>
              <a:gd name="connsiteX3168" fmla="*/ 2711846 w 8023328"/>
              <a:gd name="connsiteY3168" fmla="*/ 511583 h 2380521"/>
              <a:gd name="connsiteX3169" fmla="*/ 2725695 w 8023328"/>
              <a:gd name="connsiteY3169" fmla="*/ 499186 h 2380521"/>
              <a:gd name="connsiteX3170" fmla="*/ 2654870 w 8023328"/>
              <a:gd name="connsiteY3170" fmla="*/ 499186 h 2380521"/>
              <a:gd name="connsiteX3171" fmla="*/ 2667266 w 8023328"/>
              <a:gd name="connsiteY3171" fmla="*/ 511583 h 2380521"/>
              <a:gd name="connsiteX3172" fmla="*/ 2654870 w 8023328"/>
              <a:gd name="connsiteY3172" fmla="*/ 525440 h 2380521"/>
              <a:gd name="connsiteX3173" fmla="*/ 2641013 w 8023328"/>
              <a:gd name="connsiteY3173" fmla="*/ 511583 h 2380521"/>
              <a:gd name="connsiteX3174" fmla="*/ 2654870 w 8023328"/>
              <a:gd name="connsiteY3174" fmla="*/ 499186 h 2380521"/>
              <a:gd name="connsiteX3175" fmla="*/ 2582580 w 8023328"/>
              <a:gd name="connsiteY3175" fmla="*/ 499186 h 2380521"/>
              <a:gd name="connsiteX3176" fmla="*/ 2596435 w 8023328"/>
              <a:gd name="connsiteY3176" fmla="*/ 511583 h 2380521"/>
              <a:gd name="connsiteX3177" fmla="*/ 2582580 w 8023328"/>
              <a:gd name="connsiteY3177" fmla="*/ 525440 h 2380521"/>
              <a:gd name="connsiteX3178" fmla="*/ 2570184 w 8023328"/>
              <a:gd name="connsiteY3178" fmla="*/ 511583 h 2380521"/>
              <a:gd name="connsiteX3179" fmla="*/ 2582580 w 8023328"/>
              <a:gd name="connsiteY3179" fmla="*/ 499186 h 2380521"/>
              <a:gd name="connsiteX3180" fmla="*/ 2511026 w 8023328"/>
              <a:gd name="connsiteY3180" fmla="*/ 499186 h 2380521"/>
              <a:gd name="connsiteX3181" fmla="*/ 2525610 w 8023328"/>
              <a:gd name="connsiteY3181" fmla="*/ 511583 h 2380521"/>
              <a:gd name="connsiteX3182" fmla="*/ 2511026 w 8023328"/>
              <a:gd name="connsiteY3182" fmla="*/ 525440 h 2380521"/>
              <a:gd name="connsiteX3183" fmla="*/ 2499361 w 8023328"/>
              <a:gd name="connsiteY3183" fmla="*/ 511583 h 2380521"/>
              <a:gd name="connsiteX3184" fmla="*/ 2511026 w 8023328"/>
              <a:gd name="connsiteY3184" fmla="*/ 499186 h 2380521"/>
              <a:gd name="connsiteX3185" fmla="*/ 2440924 w 8023328"/>
              <a:gd name="connsiteY3185" fmla="*/ 499186 h 2380521"/>
              <a:gd name="connsiteX3186" fmla="*/ 2454781 w 8023328"/>
              <a:gd name="connsiteY3186" fmla="*/ 511583 h 2380521"/>
              <a:gd name="connsiteX3187" fmla="*/ 2440924 w 8023328"/>
              <a:gd name="connsiteY3187" fmla="*/ 525440 h 2380521"/>
              <a:gd name="connsiteX3188" fmla="*/ 2428527 w 8023328"/>
              <a:gd name="connsiteY3188" fmla="*/ 511583 h 2380521"/>
              <a:gd name="connsiteX3189" fmla="*/ 2440924 w 8023328"/>
              <a:gd name="connsiteY3189" fmla="*/ 499186 h 2380521"/>
              <a:gd name="connsiteX3190" fmla="*/ 2369108 w 8023328"/>
              <a:gd name="connsiteY3190" fmla="*/ 499186 h 2380521"/>
              <a:gd name="connsiteX3191" fmla="*/ 2383898 w 8023328"/>
              <a:gd name="connsiteY3191" fmla="*/ 511583 h 2380521"/>
              <a:gd name="connsiteX3192" fmla="*/ 2369108 w 8023328"/>
              <a:gd name="connsiteY3192" fmla="*/ 525440 h 2380521"/>
              <a:gd name="connsiteX3193" fmla="*/ 2354319 w 8023328"/>
              <a:gd name="connsiteY3193" fmla="*/ 511583 h 2380521"/>
              <a:gd name="connsiteX3194" fmla="*/ 2369108 w 8023328"/>
              <a:gd name="connsiteY3194" fmla="*/ 499186 h 2380521"/>
              <a:gd name="connsiteX3195" fmla="*/ 2298278 w 8023328"/>
              <a:gd name="connsiteY3195" fmla="*/ 499186 h 2380521"/>
              <a:gd name="connsiteX3196" fmla="*/ 2313066 w 8023328"/>
              <a:gd name="connsiteY3196" fmla="*/ 511583 h 2380521"/>
              <a:gd name="connsiteX3197" fmla="*/ 2298278 w 8023328"/>
              <a:gd name="connsiteY3197" fmla="*/ 525440 h 2380521"/>
              <a:gd name="connsiteX3198" fmla="*/ 2283488 w 8023328"/>
              <a:gd name="connsiteY3198" fmla="*/ 511583 h 2380521"/>
              <a:gd name="connsiteX3199" fmla="*/ 2298278 w 8023328"/>
              <a:gd name="connsiteY3199" fmla="*/ 499186 h 2380521"/>
              <a:gd name="connsiteX3200" fmla="*/ 2226514 w 8023328"/>
              <a:gd name="connsiteY3200" fmla="*/ 499186 h 2380521"/>
              <a:gd name="connsiteX3201" fmla="*/ 2238914 w 8023328"/>
              <a:gd name="connsiteY3201" fmla="*/ 511583 h 2380521"/>
              <a:gd name="connsiteX3202" fmla="*/ 2226514 w 8023328"/>
              <a:gd name="connsiteY3202" fmla="*/ 525440 h 2380521"/>
              <a:gd name="connsiteX3203" fmla="*/ 2212655 w 8023328"/>
              <a:gd name="connsiteY3203" fmla="*/ 511583 h 2380521"/>
              <a:gd name="connsiteX3204" fmla="*/ 2226514 w 8023328"/>
              <a:gd name="connsiteY3204" fmla="*/ 499186 h 2380521"/>
              <a:gd name="connsiteX3205" fmla="*/ 2155680 w 8023328"/>
              <a:gd name="connsiteY3205" fmla="*/ 499186 h 2380521"/>
              <a:gd name="connsiteX3206" fmla="*/ 2168079 w 8023328"/>
              <a:gd name="connsiteY3206" fmla="*/ 511583 h 2380521"/>
              <a:gd name="connsiteX3207" fmla="*/ 2155680 w 8023328"/>
              <a:gd name="connsiteY3207" fmla="*/ 525440 h 2380521"/>
              <a:gd name="connsiteX3208" fmla="*/ 2141823 w 8023328"/>
              <a:gd name="connsiteY3208" fmla="*/ 511583 h 2380521"/>
              <a:gd name="connsiteX3209" fmla="*/ 2155680 w 8023328"/>
              <a:gd name="connsiteY3209" fmla="*/ 499186 h 2380521"/>
              <a:gd name="connsiteX3210" fmla="*/ 2084846 w 8023328"/>
              <a:gd name="connsiteY3210" fmla="*/ 499186 h 2380521"/>
              <a:gd name="connsiteX3211" fmla="*/ 2097246 w 8023328"/>
              <a:gd name="connsiteY3211" fmla="*/ 511583 h 2380521"/>
              <a:gd name="connsiteX3212" fmla="*/ 2084846 w 8023328"/>
              <a:gd name="connsiteY3212" fmla="*/ 525440 h 2380521"/>
              <a:gd name="connsiteX3213" fmla="*/ 2070991 w 8023328"/>
              <a:gd name="connsiteY3213" fmla="*/ 511583 h 2380521"/>
              <a:gd name="connsiteX3214" fmla="*/ 2084846 w 8023328"/>
              <a:gd name="connsiteY3214" fmla="*/ 499186 h 2380521"/>
              <a:gd name="connsiteX3215" fmla="*/ 2011831 w 8023328"/>
              <a:gd name="connsiteY3215" fmla="*/ 499186 h 2380521"/>
              <a:gd name="connsiteX3216" fmla="*/ 2026416 w 8023328"/>
              <a:gd name="connsiteY3216" fmla="*/ 511583 h 2380521"/>
              <a:gd name="connsiteX3217" fmla="*/ 2011831 w 8023328"/>
              <a:gd name="connsiteY3217" fmla="*/ 525440 h 2380521"/>
              <a:gd name="connsiteX3218" fmla="*/ 2000165 w 8023328"/>
              <a:gd name="connsiteY3218" fmla="*/ 511583 h 2380521"/>
              <a:gd name="connsiteX3219" fmla="*/ 2011831 w 8023328"/>
              <a:gd name="connsiteY3219" fmla="*/ 499186 h 2380521"/>
              <a:gd name="connsiteX3220" fmla="*/ 1938362 w 8023328"/>
              <a:gd name="connsiteY3220" fmla="*/ 499186 h 2380521"/>
              <a:gd name="connsiteX3221" fmla="*/ 1952216 w 8023328"/>
              <a:gd name="connsiteY3221" fmla="*/ 511583 h 2380521"/>
              <a:gd name="connsiteX3222" fmla="*/ 1938362 w 8023328"/>
              <a:gd name="connsiteY3222" fmla="*/ 525440 h 2380521"/>
              <a:gd name="connsiteX3223" fmla="*/ 1925965 w 8023328"/>
              <a:gd name="connsiteY3223" fmla="*/ 511583 h 2380521"/>
              <a:gd name="connsiteX3224" fmla="*/ 1938362 w 8023328"/>
              <a:gd name="connsiteY3224" fmla="*/ 499186 h 2380521"/>
              <a:gd name="connsiteX3225" fmla="*/ 1867525 w 8023328"/>
              <a:gd name="connsiteY3225" fmla="*/ 499186 h 2380521"/>
              <a:gd name="connsiteX3226" fmla="*/ 1881384 w 8023328"/>
              <a:gd name="connsiteY3226" fmla="*/ 511583 h 2380521"/>
              <a:gd name="connsiteX3227" fmla="*/ 1867525 w 8023328"/>
              <a:gd name="connsiteY3227" fmla="*/ 525440 h 2380521"/>
              <a:gd name="connsiteX3228" fmla="*/ 1855126 w 8023328"/>
              <a:gd name="connsiteY3228" fmla="*/ 511583 h 2380521"/>
              <a:gd name="connsiteX3229" fmla="*/ 1867525 w 8023328"/>
              <a:gd name="connsiteY3229" fmla="*/ 499186 h 2380521"/>
              <a:gd name="connsiteX3230" fmla="*/ 1799085 w 8023328"/>
              <a:gd name="connsiteY3230" fmla="*/ 499186 h 2380521"/>
              <a:gd name="connsiteX3231" fmla="*/ 1813871 w 8023328"/>
              <a:gd name="connsiteY3231" fmla="*/ 511583 h 2380521"/>
              <a:gd name="connsiteX3232" fmla="*/ 1799085 w 8023328"/>
              <a:gd name="connsiteY3232" fmla="*/ 525440 h 2380521"/>
              <a:gd name="connsiteX3233" fmla="*/ 1784295 w 8023328"/>
              <a:gd name="connsiteY3233" fmla="*/ 511583 h 2380521"/>
              <a:gd name="connsiteX3234" fmla="*/ 1799085 w 8023328"/>
              <a:gd name="connsiteY3234" fmla="*/ 499186 h 2380521"/>
              <a:gd name="connsiteX3235" fmla="*/ 1728257 w 8023328"/>
              <a:gd name="connsiteY3235" fmla="*/ 499186 h 2380521"/>
              <a:gd name="connsiteX3236" fmla="*/ 1743046 w 8023328"/>
              <a:gd name="connsiteY3236" fmla="*/ 511583 h 2380521"/>
              <a:gd name="connsiteX3237" fmla="*/ 1728257 w 8023328"/>
              <a:gd name="connsiteY3237" fmla="*/ 525440 h 2380521"/>
              <a:gd name="connsiteX3238" fmla="*/ 1713469 w 8023328"/>
              <a:gd name="connsiteY3238" fmla="*/ 511583 h 2380521"/>
              <a:gd name="connsiteX3239" fmla="*/ 1728257 w 8023328"/>
              <a:gd name="connsiteY3239" fmla="*/ 499186 h 2380521"/>
              <a:gd name="connsiteX3240" fmla="*/ 1657426 w 8023328"/>
              <a:gd name="connsiteY3240" fmla="*/ 499186 h 2380521"/>
              <a:gd name="connsiteX3241" fmla="*/ 1672218 w 8023328"/>
              <a:gd name="connsiteY3241" fmla="*/ 511583 h 2380521"/>
              <a:gd name="connsiteX3242" fmla="*/ 1657426 w 8023328"/>
              <a:gd name="connsiteY3242" fmla="*/ 525440 h 2380521"/>
              <a:gd name="connsiteX3243" fmla="*/ 1642647 w 8023328"/>
              <a:gd name="connsiteY3243" fmla="*/ 511583 h 2380521"/>
              <a:gd name="connsiteX3244" fmla="*/ 1657426 w 8023328"/>
              <a:gd name="connsiteY3244" fmla="*/ 499186 h 2380521"/>
              <a:gd name="connsiteX3245" fmla="*/ 1582294 w 8023328"/>
              <a:gd name="connsiteY3245" fmla="*/ 499186 h 2380521"/>
              <a:gd name="connsiteX3246" fmla="*/ 1594694 w 8023328"/>
              <a:gd name="connsiteY3246" fmla="*/ 511583 h 2380521"/>
              <a:gd name="connsiteX3247" fmla="*/ 1582294 w 8023328"/>
              <a:gd name="connsiteY3247" fmla="*/ 525440 h 2380521"/>
              <a:gd name="connsiteX3248" fmla="*/ 1568438 w 8023328"/>
              <a:gd name="connsiteY3248" fmla="*/ 511583 h 2380521"/>
              <a:gd name="connsiteX3249" fmla="*/ 1582294 w 8023328"/>
              <a:gd name="connsiteY3249" fmla="*/ 499186 h 2380521"/>
              <a:gd name="connsiteX3250" fmla="*/ 1512192 w 8023328"/>
              <a:gd name="connsiteY3250" fmla="*/ 499186 h 2380521"/>
              <a:gd name="connsiteX3251" fmla="*/ 1523862 w 8023328"/>
              <a:gd name="connsiteY3251" fmla="*/ 511583 h 2380521"/>
              <a:gd name="connsiteX3252" fmla="*/ 1512192 w 8023328"/>
              <a:gd name="connsiteY3252" fmla="*/ 525440 h 2380521"/>
              <a:gd name="connsiteX3253" fmla="*/ 1497607 w 8023328"/>
              <a:gd name="connsiteY3253" fmla="*/ 511583 h 2380521"/>
              <a:gd name="connsiteX3254" fmla="*/ 1512192 w 8023328"/>
              <a:gd name="connsiteY3254" fmla="*/ 499186 h 2380521"/>
              <a:gd name="connsiteX3255" fmla="*/ 1440623 w 8023328"/>
              <a:gd name="connsiteY3255" fmla="*/ 499186 h 2380521"/>
              <a:gd name="connsiteX3256" fmla="*/ 1453023 w 8023328"/>
              <a:gd name="connsiteY3256" fmla="*/ 511583 h 2380521"/>
              <a:gd name="connsiteX3257" fmla="*/ 1440623 w 8023328"/>
              <a:gd name="connsiteY3257" fmla="*/ 525440 h 2380521"/>
              <a:gd name="connsiteX3258" fmla="*/ 1426771 w 8023328"/>
              <a:gd name="connsiteY3258" fmla="*/ 511583 h 2380521"/>
              <a:gd name="connsiteX3259" fmla="*/ 1440623 w 8023328"/>
              <a:gd name="connsiteY3259" fmla="*/ 499186 h 2380521"/>
              <a:gd name="connsiteX3260" fmla="*/ 1368341 w 8023328"/>
              <a:gd name="connsiteY3260" fmla="*/ 499186 h 2380521"/>
              <a:gd name="connsiteX3261" fmla="*/ 1382196 w 8023328"/>
              <a:gd name="connsiteY3261" fmla="*/ 511583 h 2380521"/>
              <a:gd name="connsiteX3262" fmla="*/ 1368341 w 8023328"/>
              <a:gd name="connsiteY3262" fmla="*/ 525440 h 2380521"/>
              <a:gd name="connsiteX3263" fmla="*/ 1355948 w 8023328"/>
              <a:gd name="connsiteY3263" fmla="*/ 511583 h 2380521"/>
              <a:gd name="connsiteX3264" fmla="*/ 1368341 w 8023328"/>
              <a:gd name="connsiteY3264" fmla="*/ 499186 h 2380521"/>
              <a:gd name="connsiteX3265" fmla="*/ 1297515 w 8023328"/>
              <a:gd name="connsiteY3265" fmla="*/ 499186 h 2380521"/>
              <a:gd name="connsiteX3266" fmla="*/ 1311369 w 8023328"/>
              <a:gd name="connsiteY3266" fmla="*/ 513042 h 2380521"/>
              <a:gd name="connsiteX3267" fmla="*/ 1297515 w 8023328"/>
              <a:gd name="connsiteY3267" fmla="*/ 525440 h 2380521"/>
              <a:gd name="connsiteX3268" fmla="*/ 1285118 w 8023328"/>
              <a:gd name="connsiteY3268" fmla="*/ 513042 h 2380521"/>
              <a:gd name="connsiteX3269" fmla="*/ 1297515 w 8023328"/>
              <a:gd name="connsiteY3269" fmla="*/ 499186 h 2380521"/>
              <a:gd name="connsiteX3270" fmla="*/ 1225700 w 8023328"/>
              <a:gd name="connsiteY3270" fmla="*/ 499186 h 2380521"/>
              <a:gd name="connsiteX3271" fmla="*/ 1240491 w 8023328"/>
              <a:gd name="connsiteY3271" fmla="*/ 513042 h 2380521"/>
              <a:gd name="connsiteX3272" fmla="*/ 1225700 w 8023328"/>
              <a:gd name="connsiteY3272" fmla="*/ 525440 h 2380521"/>
              <a:gd name="connsiteX3273" fmla="*/ 1210925 w 8023328"/>
              <a:gd name="connsiteY3273" fmla="*/ 513042 h 2380521"/>
              <a:gd name="connsiteX3274" fmla="*/ 1225700 w 8023328"/>
              <a:gd name="connsiteY3274" fmla="*/ 499186 h 2380521"/>
              <a:gd name="connsiteX3275" fmla="*/ 1154881 w 8023328"/>
              <a:gd name="connsiteY3275" fmla="*/ 499186 h 2380521"/>
              <a:gd name="connsiteX3276" fmla="*/ 1169669 w 8023328"/>
              <a:gd name="connsiteY3276" fmla="*/ 513042 h 2380521"/>
              <a:gd name="connsiteX3277" fmla="*/ 1154881 w 8023328"/>
              <a:gd name="connsiteY3277" fmla="*/ 525440 h 2380521"/>
              <a:gd name="connsiteX3278" fmla="*/ 1140095 w 8023328"/>
              <a:gd name="connsiteY3278" fmla="*/ 513042 h 2380521"/>
              <a:gd name="connsiteX3279" fmla="*/ 1154881 w 8023328"/>
              <a:gd name="connsiteY3279" fmla="*/ 499186 h 2380521"/>
              <a:gd name="connsiteX3280" fmla="*/ 1084053 w 8023328"/>
              <a:gd name="connsiteY3280" fmla="*/ 499186 h 2380521"/>
              <a:gd name="connsiteX3281" fmla="*/ 1098842 w 8023328"/>
              <a:gd name="connsiteY3281" fmla="*/ 513042 h 2380521"/>
              <a:gd name="connsiteX3282" fmla="*/ 1084053 w 8023328"/>
              <a:gd name="connsiteY3282" fmla="*/ 525440 h 2380521"/>
              <a:gd name="connsiteX3283" fmla="*/ 1069267 w 8023328"/>
              <a:gd name="connsiteY3283" fmla="*/ 513042 h 2380521"/>
              <a:gd name="connsiteX3284" fmla="*/ 1084053 w 8023328"/>
              <a:gd name="connsiteY3284" fmla="*/ 499186 h 2380521"/>
              <a:gd name="connsiteX3285" fmla="*/ 1013012 w 8023328"/>
              <a:gd name="connsiteY3285" fmla="*/ 499186 h 2380521"/>
              <a:gd name="connsiteX3286" fmla="*/ 1024685 w 8023328"/>
              <a:gd name="connsiteY3286" fmla="*/ 513042 h 2380521"/>
              <a:gd name="connsiteX3287" fmla="*/ 1013012 w 8023328"/>
              <a:gd name="connsiteY3287" fmla="*/ 525440 h 2380521"/>
              <a:gd name="connsiteX3288" fmla="*/ 998433 w 8023328"/>
              <a:gd name="connsiteY3288" fmla="*/ 513042 h 2380521"/>
              <a:gd name="connsiteX3289" fmla="*/ 1013012 w 8023328"/>
              <a:gd name="connsiteY3289" fmla="*/ 499186 h 2380521"/>
              <a:gd name="connsiteX3290" fmla="*/ 941461 w 8023328"/>
              <a:gd name="connsiteY3290" fmla="*/ 499186 h 2380521"/>
              <a:gd name="connsiteX3291" fmla="*/ 953861 w 8023328"/>
              <a:gd name="connsiteY3291" fmla="*/ 513042 h 2380521"/>
              <a:gd name="connsiteX3292" fmla="*/ 941461 w 8023328"/>
              <a:gd name="connsiteY3292" fmla="*/ 525440 h 2380521"/>
              <a:gd name="connsiteX3293" fmla="*/ 927607 w 8023328"/>
              <a:gd name="connsiteY3293" fmla="*/ 513042 h 2380521"/>
              <a:gd name="connsiteX3294" fmla="*/ 941461 w 8023328"/>
              <a:gd name="connsiteY3294" fmla="*/ 499186 h 2380521"/>
              <a:gd name="connsiteX3295" fmla="*/ 870626 w 8023328"/>
              <a:gd name="connsiteY3295" fmla="*/ 499186 h 2380521"/>
              <a:gd name="connsiteX3296" fmla="*/ 883027 w 8023328"/>
              <a:gd name="connsiteY3296" fmla="*/ 513042 h 2380521"/>
              <a:gd name="connsiteX3297" fmla="*/ 870626 w 8023328"/>
              <a:gd name="connsiteY3297" fmla="*/ 525440 h 2380521"/>
              <a:gd name="connsiteX3298" fmla="*/ 856774 w 8023328"/>
              <a:gd name="connsiteY3298" fmla="*/ 513042 h 2380521"/>
              <a:gd name="connsiteX3299" fmla="*/ 870626 w 8023328"/>
              <a:gd name="connsiteY3299" fmla="*/ 499186 h 2380521"/>
              <a:gd name="connsiteX3300" fmla="*/ 798340 w 8023328"/>
              <a:gd name="connsiteY3300" fmla="*/ 499186 h 2380521"/>
              <a:gd name="connsiteX3301" fmla="*/ 812196 w 8023328"/>
              <a:gd name="connsiteY3301" fmla="*/ 513042 h 2380521"/>
              <a:gd name="connsiteX3302" fmla="*/ 798340 w 8023328"/>
              <a:gd name="connsiteY3302" fmla="*/ 525440 h 2380521"/>
              <a:gd name="connsiteX3303" fmla="*/ 785941 w 8023328"/>
              <a:gd name="connsiteY3303" fmla="*/ 513042 h 2380521"/>
              <a:gd name="connsiteX3304" fmla="*/ 798340 w 8023328"/>
              <a:gd name="connsiteY3304" fmla="*/ 499186 h 2380521"/>
              <a:gd name="connsiteX3305" fmla="*/ 724135 w 8023328"/>
              <a:gd name="connsiteY3305" fmla="*/ 499186 h 2380521"/>
              <a:gd name="connsiteX3306" fmla="*/ 737991 w 8023328"/>
              <a:gd name="connsiteY3306" fmla="*/ 513042 h 2380521"/>
              <a:gd name="connsiteX3307" fmla="*/ 724135 w 8023328"/>
              <a:gd name="connsiteY3307" fmla="*/ 525440 h 2380521"/>
              <a:gd name="connsiteX3308" fmla="*/ 711744 w 8023328"/>
              <a:gd name="connsiteY3308" fmla="*/ 513042 h 2380521"/>
              <a:gd name="connsiteX3309" fmla="*/ 724135 w 8023328"/>
              <a:gd name="connsiteY3309" fmla="*/ 499186 h 2380521"/>
              <a:gd name="connsiteX3310" fmla="*/ 653306 w 8023328"/>
              <a:gd name="connsiteY3310" fmla="*/ 499186 h 2380521"/>
              <a:gd name="connsiteX3311" fmla="*/ 667164 w 8023328"/>
              <a:gd name="connsiteY3311" fmla="*/ 513042 h 2380521"/>
              <a:gd name="connsiteX3312" fmla="*/ 653306 w 8023328"/>
              <a:gd name="connsiteY3312" fmla="*/ 525440 h 2380521"/>
              <a:gd name="connsiteX3313" fmla="*/ 640910 w 8023328"/>
              <a:gd name="connsiteY3313" fmla="*/ 513042 h 2380521"/>
              <a:gd name="connsiteX3314" fmla="*/ 653306 w 8023328"/>
              <a:gd name="connsiteY3314" fmla="*/ 499186 h 2380521"/>
              <a:gd name="connsiteX3315" fmla="*/ 584869 w 8023328"/>
              <a:gd name="connsiteY3315" fmla="*/ 499186 h 2380521"/>
              <a:gd name="connsiteX3316" fmla="*/ 599654 w 8023328"/>
              <a:gd name="connsiteY3316" fmla="*/ 513042 h 2380521"/>
              <a:gd name="connsiteX3317" fmla="*/ 584869 w 8023328"/>
              <a:gd name="connsiteY3317" fmla="*/ 525440 h 2380521"/>
              <a:gd name="connsiteX3318" fmla="*/ 570076 w 8023328"/>
              <a:gd name="connsiteY3318" fmla="*/ 513042 h 2380521"/>
              <a:gd name="connsiteX3319" fmla="*/ 584869 w 8023328"/>
              <a:gd name="connsiteY3319" fmla="*/ 499186 h 2380521"/>
              <a:gd name="connsiteX3320" fmla="*/ 513670 w 8023328"/>
              <a:gd name="connsiteY3320" fmla="*/ 499186 h 2380521"/>
              <a:gd name="connsiteX3321" fmla="*/ 528846 w 8023328"/>
              <a:gd name="connsiteY3321" fmla="*/ 513042 h 2380521"/>
              <a:gd name="connsiteX3322" fmla="*/ 513670 w 8023328"/>
              <a:gd name="connsiteY3322" fmla="*/ 525440 h 2380521"/>
              <a:gd name="connsiteX3323" fmla="*/ 499248 w 8023328"/>
              <a:gd name="connsiteY3323" fmla="*/ 513042 h 2380521"/>
              <a:gd name="connsiteX3324" fmla="*/ 513670 w 8023328"/>
              <a:gd name="connsiteY3324" fmla="*/ 499186 h 2380521"/>
              <a:gd name="connsiteX3325" fmla="*/ 3939871 w 8023328"/>
              <a:gd name="connsiteY3325" fmla="*/ 495814 h 2380521"/>
              <a:gd name="connsiteX3326" fmla="*/ 3952268 w 8023328"/>
              <a:gd name="connsiteY3326" fmla="*/ 510602 h 2380521"/>
              <a:gd name="connsiteX3327" fmla="*/ 3939871 w 8023328"/>
              <a:gd name="connsiteY3327" fmla="*/ 525391 h 2380521"/>
              <a:gd name="connsiteX3328" fmla="*/ 3926015 w 8023328"/>
              <a:gd name="connsiteY3328" fmla="*/ 510602 h 2380521"/>
              <a:gd name="connsiteX3329" fmla="*/ 3939871 w 8023328"/>
              <a:gd name="connsiteY3329" fmla="*/ 495814 h 2380521"/>
              <a:gd name="connsiteX3330" fmla="*/ 3869042 w 8023328"/>
              <a:gd name="connsiteY3330" fmla="*/ 495814 h 2380521"/>
              <a:gd name="connsiteX3331" fmla="*/ 3881439 w 8023328"/>
              <a:gd name="connsiteY3331" fmla="*/ 510602 h 2380521"/>
              <a:gd name="connsiteX3332" fmla="*/ 3869042 w 8023328"/>
              <a:gd name="connsiteY3332" fmla="*/ 525391 h 2380521"/>
              <a:gd name="connsiteX3333" fmla="*/ 3855186 w 8023328"/>
              <a:gd name="connsiteY3333" fmla="*/ 510602 h 2380521"/>
              <a:gd name="connsiteX3334" fmla="*/ 3869042 w 8023328"/>
              <a:gd name="connsiteY3334" fmla="*/ 495814 h 2380521"/>
              <a:gd name="connsiteX3335" fmla="*/ 3796752 w 8023328"/>
              <a:gd name="connsiteY3335" fmla="*/ 495814 h 2380521"/>
              <a:gd name="connsiteX3336" fmla="*/ 3810608 w 8023328"/>
              <a:gd name="connsiteY3336" fmla="*/ 510602 h 2380521"/>
              <a:gd name="connsiteX3337" fmla="*/ 3796752 w 8023328"/>
              <a:gd name="connsiteY3337" fmla="*/ 525391 h 2380521"/>
              <a:gd name="connsiteX3338" fmla="*/ 3784355 w 8023328"/>
              <a:gd name="connsiteY3338" fmla="*/ 510602 h 2380521"/>
              <a:gd name="connsiteX3339" fmla="*/ 3796752 w 8023328"/>
              <a:gd name="connsiteY3339" fmla="*/ 495814 h 2380521"/>
              <a:gd name="connsiteX3340" fmla="*/ 3725922 w 8023328"/>
              <a:gd name="connsiteY3340" fmla="*/ 495814 h 2380521"/>
              <a:gd name="connsiteX3341" fmla="*/ 3739778 w 8023328"/>
              <a:gd name="connsiteY3341" fmla="*/ 510602 h 2380521"/>
              <a:gd name="connsiteX3342" fmla="*/ 3725922 w 8023328"/>
              <a:gd name="connsiteY3342" fmla="*/ 525391 h 2380521"/>
              <a:gd name="connsiteX3343" fmla="*/ 3713525 w 8023328"/>
              <a:gd name="connsiteY3343" fmla="*/ 510602 h 2380521"/>
              <a:gd name="connsiteX3344" fmla="*/ 3725922 w 8023328"/>
              <a:gd name="connsiteY3344" fmla="*/ 495814 h 2380521"/>
              <a:gd name="connsiteX3345" fmla="*/ 3655091 w 8023328"/>
              <a:gd name="connsiteY3345" fmla="*/ 495814 h 2380521"/>
              <a:gd name="connsiteX3346" fmla="*/ 3668947 w 8023328"/>
              <a:gd name="connsiteY3346" fmla="*/ 510602 h 2380521"/>
              <a:gd name="connsiteX3347" fmla="*/ 3655091 w 8023328"/>
              <a:gd name="connsiteY3347" fmla="*/ 525391 h 2380521"/>
              <a:gd name="connsiteX3348" fmla="*/ 3642694 w 8023328"/>
              <a:gd name="connsiteY3348" fmla="*/ 510602 h 2380521"/>
              <a:gd name="connsiteX3349" fmla="*/ 3655091 w 8023328"/>
              <a:gd name="connsiteY3349" fmla="*/ 495814 h 2380521"/>
              <a:gd name="connsiteX3350" fmla="*/ 3583280 w 8023328"/>
              <a:gd name="connsiteY3350" fmla="*/ 495814 h 2380521"/>
              <a:gd name="connsiteX3351" fmla="*/ 3598069 w 8023328"/>
              <a:gd name="connsiteY3351" fmla="*/ 510602 h 2380521"/>
              <a:gd name="connsiteX3352" fmla="*/ 3583280 w 8023328"/>
              <a:gd name="connsiteY3352" fmla="*/ 525391 h 2380521"/>
              <a:gd name="connsiteX3353" fmla="*/ 3568491 w 8023328"/>
              <a:gd name="connsiteY3353" fmla="*/ 510602 h 2380521"/>
              <a:gd name="connsiteX3354" fmla="*/ 3583280 w 8023328"/>
              <a:gd name="connsiteY3354" fmla="*/ 495814 h 2380521"/>
              <a:gd name="connsiteX3355" fmla="*/ 3512449 w 8023328"/>
              <a:gd name="connsiteY3355" fmla="*/ 495814 h 2380521"/>
              <a:gd name="connsiteX3356" fmla="*/ 3527237 w 8023328"/>
              <a:gd name="connsiteY3356" fmla="*/ 510602 h 2380521"/>
              <a:gd name="connsiteX3357" fmla="*/ 3512449 w 8023328"/>
              <a:gd name="connsiteY3357" fmla="*/ 525391 h 2380521"/>
              <a:gd name="connsiteX3358" fmla="*/ 3497661 w 8023328"/>
              <a:gd name="connsiteY3358" fmla="*/ 510602 h 2380521"/>
              <a:gd name="connsiteX3359" fmla="*/ 3512449 w 8023328"/>
              <a:gd name="connsiteY3359" fmla="*/ 495814 h 2380521"/>
              <a:gd name="connsiteX3360" fmla="*/ 3440686 w 8023328"/>
              <a:gd name="connsiteY3360" fmla="*/ 495814 h 2380521"/>
              <a:gd name="connsiteX3361" fmla="*/ 3453083 w 8023328"/>
              <a:gd name="connsiteY3361" fmla="*/ 510602 h 2380521"/>
              <a:gd name="connsiteX3362" fmla="*/ 3440686 w 8023328"/>
              <a:gd name="connsiteY3362" fmla="*/ 525391 h 2380521"/>
              <a:gd name="connsiteX3363" fmla="*/ 3426830 w 8023328"/>
              <a:gd name="connsiteY3363" fmla="*/ 510602 h 2380521"/>
              <a:gd name="connsiteX3364" fmla="*/ 3440686 w 8023328"/>
              <a:gd name="connsiteY3364" fmla="*/ 495814 h 2380521"/>
              <a:gd name="connsiteX3365" fmla="*/ 3369857 w 8023328"/>
              <a:gd name="connsiteY3365" fmla="*/ 495814 h 2380521"/>
              <a:gd name="connsiteX3366" fmla="*/ 3382254 w 8023328"/>
              <a:gd name="connsiteY3366" fmla="*/ 510602 h 2380521"/>
              <a:gd name="connsiteX3367" fmla="*/ 3369857 w 8023328"/>
              <a:gd name="connsiteY3367" fmla="*/ 525391 h 2380521"/>
              <a:gd name="connsiteX3368" fmla="*/ 3356001 w 8023328"/>
              <a:gd name="connsiteY3368" fmla="*/ 510602 h 2380521"/>
              <a:gd name="connsiteX3369" fmla="*/ 3369857 w 8023328"/>
              <a:gd name="connsiteY3369" fmla="*/ 495814 h 2380521"/>
              <a:gd name="connsiteX3370" fmla="*/ 3299094 w 8023328"/>
              <a:gd name="connsiteY3370" fmla="*/ 495814 h 2380521"/>
              <a:gd name="connsiteX3371" fmla="*/ 3311491 w 8023328"/>
              <a:gd name="connsiteY3371" fmla="*/ 510602 h 2380521"/>
              <a:gd name="connsiteX3372" fmla="*/ 3299094 w 8023328"/>
              <a:gd name="connsiteY3372" fmla="*/ 525391 h 2380521"/>
              <a:gd name="connsiteX3373" fmla="*/ 3285240 w 8023328"/>
              <a:gd name="connsiteY3373" fmla="*/ 510602 h 2380521"/>
              <a:gd name="connsiteX3374" fmla="*/ 3299094 w 8023328"/>
              <a:gd name="connsiteY3374" fmla="*/ 495814 h 2380521"/>
              <a:gd name="connsiteX3375" fmla="*/ 3226805 w 8023328"/>
              <a:gd name="connsiteY3375" fmla="*/ 495814 h 2380521"/>
              <a:gd name="connsiteX3376" fmla="*/ 3240660 w 8023328"/>
              <a:gd name="connsiteY3376" fmla="*/ 510602 h 2380521"/>
              <a:gd name="connsiteX3377" fmla="*/ 3226805 w 8023328"/>
              <a:gd name="connsiteY3377" fmla="*/ 525391 h 2380521"/>
              <a:gd name="connsiteX3378" fmla="*/ 3214406 w 8023328"/>
              <a:gd name="connsiteY3378" fmla="*/ 510602 h 2380521"/>
              <a:gd name="connsiteX3379" fmla="*/ 3226805 w 8023328"/>
              <a:gd name="connsiteY3379" fmla="*/ 495814 h 2380521"/>
              <a:gd name="connsiteX3380" fmla="*/ 3152602 w 8023328"/>
              <a:gd name="connsiteY3380" fmla="*/ 495814 h 2380521"/>
              <a:gd name="connsiteX3381" fmla="*/ 3166454 w 8023328"/>
              <a:gd name="connsiteY3381" fmla="*/ 510602 h 2380521"/>
              <a:gd name="connsiteX3382" fmla="*/ 3152602 w 8023328"/>
              <a:gd name="connsiteY3382" fmla="*/ 525391 h 2380521"/>
              <a:gd name="connsiteX3383" fmla="*/ 3140203 w 8023328"/>
              <a:gd name="connsiteY3383" fmla="*/ 510602 h 2380521"/>
              <a:gd name="connsiteX3384" fmla="*/ 3152602 w 8023328"/>
              <a:gd name="connsiteY3384" fmla="*/ 495814 h 2380521"/>
              <a:gd name="connsiteX3385" fmla="*/ 2439944 w 8023328"/>
              <a:gd name="connsiteY3385" fmla="*/ 428356 h 2380521"/>
              <a:gd name="connsiteX3386" fmla="*/ 2454729 w 8023328"/>
              <a:gd name="connsiteY3386" fmla="*/ 440753 h 2380521"/>
              <a:gd name="connsiteX3387" fmla="*/ 2439944 w 8023328"/>
              <a:gd name="connsiteY3387" fmla="*/ 454610 h 2380521"/>
              <a:gd name="connsiteX3388" fmla="*/ 2425156 w 8023328"/>
              <a:gd name="connsiteY3388" fmla="*/ 440753 h 2380521"/>
              <a:gd name="connsiteX3389" fmla="*/ 2439944 w 8023328"/>
              <a:gd name="connsiteY3389" fmla="*/ 428356 h 2380521"/>
              <a:gd name="connsiteX3390" fmla="*/ 2369110 w 8023328"/>
              <a:gd name="connsiteY3390" fmla="*/ 428356 h 2380521"/>
              <a:gd name="connsiteX3391" fmla="*/ 2383898 w 8023328"/>
              <a:gd name="connsiteY3391" fmla="*/ 440753 h 2380521"/>
              <a:gd name="connsiteX3392" fmla="*/ 2369110 w 8023328"/>
              <a:gd name="connsiteY3392" fmla="*/ 454610 h 2380521"/>
              <a:gd name="connsiteX3393" fmla="*/ 2354319 w 8023328"/>
              <a:gd name="connsiteY3393" fmla="*/ 440753 h 2380521"/>
              <a:gd name="connsiteX3394" fmla="*/ 2369110 w 8023328"/>
              <a:gd name="connsiteY3394" fmla="*/ 428356 h 2380521"/>
              <a:gd name="connsiteX3395" fmla="*/ 2298278 w 8023328"/>
              <a:gd name="connsiteY3395" fmla="*/ 428356 h 2380521"/>
              <a:gd name="connsiteX3396" fmla="*/ 2313066 w 8023328"/>
              <a:gd name="connsiteY3396" fmla="*/ 440753 h 2380521"/>
              <a:gd name="connsiteX3397" fmla="*/ 2298278 w 8023328"/>
              <a:gd name="connsiteY3397" fmla="*/ 454610 h 2380521"/>
              <a:gd name="connsiteX3398" fmla="*/ 2283490 w 8023328"/>
              <a:gd name="connsiteY3398" fmla="*/ 440753 h 2380521"/>
              <a:gd name="connsiteX3399" fmla="*/ 2298278 w 8023328"/>
              <a:gd name="connsiteY3399" fmla="*/ 428356 h 2380521"/>
              <a:gd name="connsiteX3400" fmla="*/ 2226514 w 8023328"/>
              <a:gd name="connsiteY3400" fmla="*/ 428356 h 2380521"/>
              <a:gd name="connsiteX3401" fmla="*/ 2238914 w 8023328"/>
              <a:gd name="connsiteY3401" fmla="*/ 440753 h 2380521"/>
              <a:gd name="connsiteX3402" fmla="*/ 2226514 w 8023328"/>
              <a:gd name="connsiteY3402" fmla="*/ 454610 h 2380521"/>
              <a:gd name="connsiteX3403" fmla="*/ 2212656 w 8023328"/>
              <a:gd name="connsiteY3403" fmla="*/ 440753 h 2380521"/>
              <a:gd name="connsiteX3404" fmla="*/ 2226514 w 8023328"/>
              <a:gd name="connsiteY3404" fmla="*/ 428356 h 2380521"/>
              <a:gd name="connsiteX3405" fmla="*/ 2155682 w 8023328"/>
              <a:gd name="connsiteY3405" fmla="*/ 428356 h 2380521"/>
              <a:gd name="connsiteX3406" fmla="*/ 2168079 w 8023328"/>
              <a:gd name="connsiteY3406" fmla="*/ 440753 h 2380521"/>
              <a:gd name="connsiteX3407" fmla="*/ 2155682 w 8023328"/>
              <a:gd name="connsiteY3407" fmla="*/ 454610 h 2380521"/>
              <a:gd name="connsiteX3408" fmla="*/ 2141825 w 8023328"/>
              <a:gd name="connsiteY3408" fmla="*/ 440753 h 2380521"/>
              <a:gd name="connsiteX3409" fmla="*/ 2155682 w 8023328"/>
              <a:gd name="connsiteY3409" fmla="*/ 428356 h 2380521"/>
              <a:gd name="connsiteX3410" fmla="*/ 2084846 w 8023328"/>
              <a:gd name="connsiteY3410" fmla="*/ 428356 h 2380521"/>
              <a:gd name="connsiteX3411" fmla="*/ 2097246 w 8023328"/>
              <a:gd name="connsiteY3411" fmla="*/ 440753 h 2380521"/>
              <a:gd name="connsiteX3412" fmla="*/ 2084846 w 8023328"/>
              <a:gd name="connsiteY3412" fmla="*/ 454610 h 2380521"/>
              <a:gd name="connsiteX3413" fmla="*/ 2070991 w 8023328"/>
              <a:gd name="connsiteY3413" fmla="*/ 440753 h 2380521"/>
              <a:gd name="connsiteX3414" fmla="*/ 2084846 w 8023328"/>
              <a:gd name="connsiteY3414" fmla="*/ 428356 h 2380521"/>
              <a:gd name="connsiteX3415" fmla="*/ 2011832 w 8023328"/>
              <a:gd name="connsiteY3415" fmla="*/ 428356 h 2380521"/>
              <a:gd name="connsiteX3416" fmla="*/ 2026418 w 8023328"/>
              <a:gd name="connsiteY3416" fmla="*/ 440753 h 2380521"/>
              <a:gd name="connsiteX3417" fmla="*/ 2011832 w 8023328"/>
              <a:gd name="connsiteY3417" fmla="*/ 454610 h 2380521"/>
              <a:gd name="connsiteX3418" fmla="*/ 2000165 w 8023328"/>
              <a:gd name="connsiteY3418" fmla="*/ 440753 h 2380521"/>
              <a:gd name="connsiteX3419" fmla="*/ 2011832 w 8023328"/>
              <a:gd name="connsiteY3419" fmla="*/ 428356 h 2380521"/>
              <a:gd name="connsiteX3420" fmla="*/ 1938362 w 8023328"/>
              <a:gd name="connsiteY3420" fmla="*/ 428356 h 2380521"/>
              <a:gd name="connsiteX3421" fmla="*/ 1952216 w 8023328"/>
              <a:gd name="connsiteY3421" fmla="*/ 440753 h 2380521"/>
              <a:gd name="connsiteX3422" fmla="*/ 1938362 w 8023328"/>
              <a:gd name="connsiteY3422" fmla="*/ 454610 h 2380521"/>
              <a:gd name="connsiteX3423" fmla="*/ 1925965 w 8023328"/>
              <a:gd name="connsiteY3423" fmla="*/ 440753 h 2380521"/>
              <a:gd name="connsiteX3424" fmla="*/ 1938362 w 8023328"/>
              <a:gd name="connsiteY3424" fmla="*/ 428356 h 2380521"/>
              <a:gd name="connsiteX3425" fmla="*/ 1867525 w 8023328"/>
              <a:gd name="connsiteY3425" fmla="*/ 428356 h 2380521"/>
              <a:gd name="connsiteX3426" fmla="*/ 1881384 w 8023328"/>
              <a:gd name="connsiteY3426" fmla="*/ 440753 h 2380521"/>
              <a:gd name="connsiteX3427" fmla="*/ 1867525 w 8023328"/>
              <a:gd name="connsiteY3427" fmla="*/ 454610 h 2380521"/>
              <a:gd name="connsiteX3428" fmla="*/ 1855126 w 8023328"/>
              <a:gd name="connsiteY3428" fmla="*/ 440753 h 2380521"/>
              <a:gd name="connsiteX3429" fmla="*/ 1867525 w 8023328"/>
              <a:gd name="connsiteY3429" fmla="*/ 428356 h 2380521"/>
              <a:gd name="connsiteX3430" fmla="*/ 1799085 w 8023328"/>
              <a:gd name="connsiteY3430" fmla="*/ 428356 h 2380521"/>
              <a:gd name="connsiteX3431" fmla="*/ 1813873 w 8023328"/>
              <a:gd name="connsiteY3431" fmla="*/ 440753 h 2380521"/>
              <a:gd name="connsiteX3432" fmla="*/ 1799085 w 8023328"/>
              <a:gd name="connsiteY3432" fmla="*/ 454610 h 2380521"/>
              <a:gd name="connsiteX3433" fmla="*/ 1784298 w 8023328"/>
              <a:gd name="connsiteY3433" fmla="*/ 440753 h 2380521"/>
              <a:gd name="connsiteX3434" fmla="*/ 1799085 w 8023328"/>
              <a:gd name="connsiteY3434" fmla="*/ 428356 h 2380521"/>
              <a:gd name="connsiteX3435" fmla="*/ 1728260 w 8023328"/>
              <a:gd name="connsiteY3435" fmla="*/ 428356 h 2380521"/>
              <a:gd name="connsiteX3436" fmla="*/ 1743046 w 8023328"/>
              <a:gd name="connsiteY3436" fmla="*/ 440753 h 2380521"/>
              <a:gd name="connsiteX3437" fmla="*/ 1728260 w 8023328"/>
              <a:gd name="connsiteY3437" fmla="*/ 454610 h 2380521"/>
              <a:gd name="connsiteX3438" fmla="*/ 1713469 w 8023328"/>
              <a:gd name="connsiteY3438" fmla="*/ 440753 h 2380521"/>
              <a:gd name="connsiteX3439" fmla="*/ 1728260 w 8023328"/>
              <a:gd name="connsiteY3439" fmla="*/ 428356 h 2380521"/>
              <a:gd name="connsiteX3440" fmla="*/ 1657426 w 8023328"/>
              <a:gd name="connsiteY3440" fmla="*/ 428356 h 2380521"/>
              <a:gd name="connsiteX3441" fmla="*/ 1672218 w 8023328"/>
              <a:gd name="connsiteY3441" fmla="*/ 440753 h 2380521"/>
              <a:gd name="connsiteX3442" fmla="*/ 1657426 w 8023328"/>
              <a:gd name="connsiteY3442" fmla="*/ 454610 h 2380521"/>
              <a:gd name="connsiteX3443" fmla="*/ 1642647 w 8023328"/>
              <a:gd name="connsiteY3443" fmla="*/ 440753 h 2380521"/>
              <a:gd name="connsiteX3444" fmla="*/ 1657426 w 8023328"/>
              <a:gd name="connsiteY3444" fmla="*/ 428356 h 2380521"/>
              <a:gd name="connsiteX3445" fmla="*/ 1582294 w 8023328"/>
              <a:gd name="connsiteY3445" fmla="*/ 428356 h 2380521"/>
              <a:gd name="connsiteX3446" fmla="*/ 1594697 w 8023328"/>
              <a:gd name="connsiteY3446" fmla="*/ 440753 h 2380521"/>
              <a:gd name="connsiteX3447" fmla="*/ 1582294 w 8023328"/>
              <a:gd name="connsiteY3447" fmla="*/ 454610 h 2380521"/>
              <a:gd name="connsiteX3448" fmla="*/ 1568438 w 8023328"/>
              <a:gd name="connsiteY3448" fmla="*/ 440753 h 2380521"/>
              <a:gd name="connsiteX3449" fmla="*/ 1582294 w 8023328"/>
              <a:gd name="connsiteY3449" fmla="*/ 428356 h 2380521"/>
              <a:gd name="connsiteX3450" fmla="*/ 1512195 w 8023328"/>
              <a:gd name="connsiteY3450" fmla="*/ 428356 h 2380521"/>
              <a:gd name="connsiteX3451" fmla="*/ 1523862 w 8023328"/>
              <a:gd name="connsiteY3451" fmla="*/ 440753 h 2380521"/>
              <a:gd name="connsiteX3452" fmla="*/ 1512195 w 8023328"/>
              <a:gd name="connsiteY3452" fmla="*/ 454610 h 2380521"/>
              <a:gd name="connsiteX3453" fmla="*/ 1497610 w 8023328"/>
              <a:gd name="connsiteY3453" fmla="*/ 440753 h 2380521"/>
              <a:gd name="connsiteX3454" fmla="*/ 1512195 w 8023328"/>
              <a:gd name="connsiteY3454" fmla="*/ 428356 h 2380521"/>
              <a:gd name="connsiteX3455" fmla="*/ 1439171 w 8023328"/>
              <a:gd name="connsiteY3455" fmla="*/ 428356 h 2380521"/>
              <a:gd name="connsiteX3456" fmla="*/ 1453023 w 8023328"/>
              <a:gd name="connsiteY3456" fmla="*/ 440753 h 2380521"/>
              <a:gd name="connsiteX3457" fmla="*/ 1439171 w 8023328"/>
              <a:gd name="connsiteY3457" fmla="*/ 454610 h 2380521"/>
              <a:gd name="connsiteX3458" fmla="*/ 1426771 w 8023328"/>
              <a:gd name="connsiteY3458" fmla="*/ 440753 h 2380521"/>
              <a:gd name="connsiteX3459" fmla="*/ 1439171 w 8023328"/>
              <a:gd name="connsiteY3459" fmla="*/ 428356 h 2380521"/>
              <a:gd name="connsiteX3460" fmla="*/ 1368344 w 8023328"/>
              <a:gd name="connsiteY3460" fmla="*/ 428356 h 2380521"/>
              <a:gd name="connsiteX3461" fmla="*/ 1382196 w 8023328"/>
              <a:gd name="connsiteY3461" fmla="*/ 440753 h 2380521"/>
              <a:gd name="connsiteX3462" fmla="*/ 1368344 w 8023328"/>
              <a:gd name="connsiteY3462" fmla="*/ 454610 h 2380521"/>
              <a:gd name="connsiteX3463" fmla="*/ 1355948 w 8023328"/>
              <a:gd name="connsiteY3463" fmla="*/ 440753 h 2380521"/>
              <a:gd name="connsiteX3464" fmla="*/ 1368344 w 8023328"/>
              <a:gd name="connsiteY3464" fmla="*/ 428356 h 2380521"/>
              <a:gd name="connsiteX3465" fmla="*/ 1297515 w 8023328"/>
              <a:gd name="connsiteY3465" fmla="*/ 428356 h 2380521"/>
              <a:gd name="connsiteX3466" fmla="*/ 1311372 w 8023328"/>
              <a:gd name="connsiteY3466" fmla="*/ 440753 h 2380521"/>
              <a:gd name="connsiteX3467" fmla="*/ 1297515 w 8023328"/>
              <a:gd name="connsiteY3467" fmla="*/ 454610 h 2380521"/>
              <a:gd name="connsiteX3468" fmla="*/ 1285118 w 8023328"/>
              <a:gd name="connsiteY3468" fmla="*/ 440753 h 2380521"/>
              <a:gd name="connsiteX3469" fmla="*/ 1297515 w 8023328"/>
              <a:gd name="connsiteY3469" fmla="*/ 428356 h 2380521"/>
              <a:gd name="connsiteX3470" fmla="*/ 1225703 w 8023328"/>
              <a:gd name="connsiteY3470" fmla="*/ 428356 h 2380521"/>
              <a:gd name="connsiteX3471" fmla="*/ 1240491 w 8023328"/>
              <a:gd name="connsiteY3471" fmla="*/ 440753 h 2380521"/>
              <a:gd name="connsiteX3472" fmla="*/ 1225703 w 8023328"/>
              <a:gd name="connsiteY3472" fmla="*/ 454610 h 2380521"/>
              <a:gd name="connsiteX3473" fmla="*/ 1210925 w 8023328"/>
              <a:gd name="connsiteY3473" fmla="*/ 440753 h 2380521"/>
              <a:gd name="connsiteX3474" fmla="*/ 1225703 w 8023328"/>
              <a:gd name="connsiteY3474" fmla="*/ 428356 h 2380521"/>
              <a:gd name="connsiteX3475" fmla="*/ 1154886 w 8023328"/>
              <a:gd name="connsiteY3475" fmla="*/ 428356 h 2380521"/>
              <a:gd name="connsiteX3476" fmla="*/ 1169676 w 8023328"/>
              <a:gd name="connsiteY3476" fmla="*/ 440753 h 2380521"/>
              <a:gd name="connsiteX3477" fmla="*/ 1154886 w 8023328"/>
              <a:gd name="connsiteY3477" fmla="*/ 454610 h 2380521"/>
              <a:gd name="connsiteX3478" fmla="*/ 1140096 w 8023328"/>
              <a:gd name="connsiteY3478" fmla="*/ 440753 h 2380521"/>
              <a:gd name="connsiteX3479" fmla="*/ 1154886 w 8023328"/>
              <a:gd name="connsiteY3479" fmla="*/ 428356 h 2380521"/>
              <a:gd name="connsiteX3480" fmla="*/ 1084056 w 8023328"/>
              <a:gd name="connsiteY3480" fmla="*/ 428356 h 2380521"/>
              <a:gd name="connsiteX3481" fmla="*/ 1098844 w 8023328"/>
              <a:gd name="connsiteY3481" fmla="*/ 440753 h 2380521"/>
              <a:gd name="connsiteX3482" fmla="*/ 1084056 w 8023328"/>
              <a:gd name="connsiteY3482" fmla="*/ 454610 h 2380521"/>
              <a:gd name="connsiteX3483" fmla="*/ 1069267 w 8023328"/>
              <a:gd name="connsiteY3483" fmla="*/ 440753 h 2380521"/>
              <a:gd name="connsiteX3484" fmla="*/ 1084056 w 8023328"/>
              <a:gd name="connsiteY3484" fmla="*/ 428356 h 2380521"/>
              <a:gd name="connsiteX3485" fmla="*/ 1013015 w 8023328"/>
              <a:gd name="connsiteY3485" fmla="*/ 428356 h 2380521"/>
              <a:gd name="connsiteX3486" fmla="*/ 1024685 w 8023328"/>
              <a:gd name="connsiteY3486" fmla="*/ 440753 h 2380521"/>
              <a:gd name="connsiteX3487" fmla="*/ 1013015 w 8023328"/>
              <a:gd name="connsiteY3487" fmla="*/ 454610 h 2380521"/>
              <a:gd name="connsiteX3488" fmla="*/ 998434 w 8023328"/>
              <a:gd name="connsiteY3488" fmla="*/ 440753 h 2380521"/>
              <a:gd name="connsiteX3489" fmla="*/ 1013015 w 8023328"/>
              <a:gd name="connsiteY3489" fmla="*/ 428356 h 2380521"/>
              <a:gd name="connsiteX3490" fmla="*/ 941465 w 8023328"/>
              <a:gd name="connsiteY3490" fmla="*/ 428356 h 2380521"/>
              <a:gd name="connsiteX3491" fmla="*/ 953864 w 8023328"/>
              <a:gd name="connsiteY3491" fmla="*/ 440753 h 2380521"/>
              <a:gd name="connsiteX3492" fmla="*/ 941465 w 8023328"/>
              <a:gd name="connsiteY3492" fmla="*/ 454610 h 2380521"/>
              <a:gd name="connsiteX3493" fmla="*/ 927611 w 8023328"/>
              <a:gd name="connsiteY3493" fmla="*/ 440753 h 2380521"/>
              <a:gd name="connsiteX3494" fmla="*/ 941465 w 8023328"/>
              <a:gd name="connsiteY3494" fmla="*/ 428356 h 2380521"/>
              <a:gd name="connsiteX3495" fmla="*/ 870633 w 8023328"/>
              <a:gd name="connsiteY3495" fmla="*/ 428356 h 2380521"/>
              <a:gd name="connsiteX3496" fmla="*/ 883030 w 8023328"/>
              <a:gd name="connsiteY3496" fmla="*/ 440753 h 2380521"/>
              <a:gd name="connsiteX3497" fmla="*/ 870633 w 8023328"/>
              <a:gd name="connsiteY3497" fmla="*/ 454610 h 2380521"/>
              <a:gd name="connsiteX3498" fmla="*/ 856774 w 8023328"/>
              <a:gd name="connsiteY3498" fmla="*/ 440753 h 2380521"/>
              <a:gd name="connsiteX3499" fmla="*/ 870633 w 8023328"/>
              <a:gd name="connsiteY3499" fmla="*/ 428356 h 2380521"/>
              <a:gd name="connsiteX3500" fmla="*/ 798344 w 8023328"/>
              <a:gd name="connsiteY3500" fmla="*/ 428356 h 2380521"/>
              <a:gd name="connsiteX3501" fmla="*/ 812196 w 8023328"/>
              <a:gd name="connsiteY3501" fmla="*/ 440753 h 2380521"/>
              <a:gd name="connsiteX3502" fmla="*/ 798344 w 8023328"/>
              <a:gd name="connsiteY3502" fmla="*/ 454610 h 2380521"/>
              <a:gd name="connsiteX3503" fmla="*/ 785947 w 8023328"/>
              <a:gd name="connsiteY3503" fmla="*/ 440753 h 2380521"/>
              <a:gd name="connsiteX3504" fmla="*/ 798344 w 8023328"/>
              <a:gd name="connsiteY3504" fmla="*/ 428356 h 2380521"/>
              <a:gd name="connsiteX3505" fmla="*/ 724138 w 8023328"/>
              <a:gd name="connsiteY3505" fmla="*/ 428356 h 2380521"/>
              <a:gd name="connsiteX3506" fmla="*/ 738002 w 8023328"/>
              <a:gd name="connsiteY3506" fmla="*/ 442212 h 2380521"/>
              <a:gd name="connsiteX3507" fmla="*/ 724138 w 8023328"/>
              <a:gd name="connsiteY3507" fmla="*/ 454610 h 2380521"/>
              <a:gd name="connsiteX3508" fmla="*/ 711747 w 8023328"/>
              <a:gd name="connsiteY3508" fmla="*/ 442212 h 2380521"/>
              <a:gd name="connsiteX3509" fmla="*/ 724138 w 8023328"/>
              <a:gd name="connsiteY3509" fmla="*/ 428356 h 2380521"/>
              <a:gd name="connsiteX3510" fmla="*/ 653312 w 8023328"/>
              <a:gd name="connsiteY3510" fmla="*/ 428356 h 2380521"/>
              <a:gd name="connsiteX3511" fmla="*/ 667165 w 8023328"/>
              <a:gd name="connsiteY3511" fmla="*/ 442212 h 2380521"/>
              <a:gd name="connsiteX3512" fmla="*/ 653312 w 8023328"/>
              <a:gd name="connsiteY3512" fmla="*/ 454610 h 2380521"/>
              <a:gd name="connsiteX3513" fmla="*/ 640912 w 8023328"/>
              <a:gd name="connsiteY3513" fmla="*/ 442212 h 2380521"/>
              <a:gd name="connsiteX3514" fmla="*/ 653312 w 8023328"/>
              <a:gd name="connsiteY3514" fmla="*/ 428356 h 2380521"/>
              <a:gd name="connsiteX3515" fmla="*/ 3796752 w 8023328"/>
              <a:gd name="connsiteY3515" fmla="*/ 424982 h 2380521"/>
              <a:gd name="connsiteX3516" fmla="*/ 3810608 w 8023328"/>
              <a:gd name="connsiteY3516" fmla="*/ 439771 h 2380521"/>
              <a:gd name="connsiteX3517" fmla="*/ 3796752 w 8023328"/>
              <a:gd name="connsiteY3517" fmla="*/ 454560 h 2380521"/>
              <a:gd name="connsiteX3518" fmla="*/ 3784355 w 8023328"/>
              <a:gd name="connsiteY3518" fmla="*/ 439771 h 2380521"/>
              <a:gd name="connsiteX3519" fmla="*/ 3796752 w 8023328"/>
              <a:gd name="connsiteY3519" fmla="*/ 424982 h 2380521"/>
              <a:gd name="connsiteX3520" fmla="*/ 3725922 w 8023328"/>
              <a:gd name="connsiteY3520" fmla="*/ 424982 h 2380521"/>
              <a:gd name="connsiteX3521" fmla="*/ 3739778 w 8023328"/>
              <a:gd name="connsiteY3521" fmla="*/ 439771 h 2380521"/>
              <a:gd name="connsiteX3522" fmla="*/ 3725922 w 8023328"/>
              <a:gd name="connsiteY3522" fmla="*/ 454560 h 2380521"/>
              <a:gd name="connsiteX3523" fmla="*/ 3713525 w 8023328"/>
              <a:gd name="connsiteY3523" fmla="*/ 439771 h 2380521"/>
              <a:gd name="connsiteX3524" fmla="*/ 3725922 w 8023328"/>
              <a:gd name="connsiteY3524" fmla="*/ 424982 h 2380521"/>
              <a:gd name="connsiteX3525" fmla="*/ 3655091 w 8023328"/>
              <a:gd name="connsiteY3525" fmla="*/ 424982 h 2380521"/>
              <a:gd name="connsiteX3526" fmla="*/ 3668947 w 8023328"/>
              <a:gd name="connsiteY3526" fmla="*/ 439771 h 2380521"/>
              <a:gd name="connsiteX3527" fmla="*/ 3655091 w 8023328"/>
              <a:gd name="connsiteY3527" fmla="*/ 454560 h 2380521"/>
              <a:gd name="connsiteX3528" fmla="*/ 3642694 w 8023328"/>
              <a:gd name="connsiteY3528" fmla="*/ 439771 h 2380521"/>
              <a:gd name="connsiteX3529" fmla="*/ 3655091 w 8023328"/>
              <a:gd name="connsiteY3529" fmla="*/ 424982 h 2380521"/>
              <a:gd name="connsiteX3530" fmla="*/ 3583280 w 8023328"/>
              <a:gd name="connsiteY3530" fmla="*/ 424982 h 2380521"/>
              <a:gd name="connsiteX3531" fmla="*/ 3598069 w 8023328"/>
              <a:gd name="connsiteY3531" fmla="*/ 439771 h 2380521"/>
              <a:gd name="connsiteX3532" fmla="*/ 3583280 w 8023328"/>
              <a:gd name="connsiteY3532" fmla="*/ 454560 h 2380521"/>
              <a:gd name="connsiteX3533" fmla="*/ 3568491 w 8023328"/>
              <a:gd name="connsiteY3533" fmla="*/ 439771 h 2380521"/>
              <a:gd name="connsiteX3534" fmla="*/ 3583280 w 8023328"/>
              <a:gd name="connsiteY3534" fmla="*/ 424982 h 2380521"/>
              <a:gd name="connsiteX3535" fmla="*/ 3512449 w 8023328"/>
              <a:gd name="connsiteY3535" fmla="*/ 424982 h 2380521"/>
              <a:gd name="connsiteX3536" fmla="*/ 3527237 w 8023328"/>
              <a:gd name="connsiteY3536" fmla="*/ 439771 h 2380521"/>
              <a:gd name="connsiteX3537" fmla="*/ 3512449 w 8023328"/>
              <a:gd name="connsiteY3537" fmla="*/ 454560 h 2380521"/>
              <a:gd name="connsiteX3538" fmla="*/ 3497661 w 8023328"/>
              <a:gd name="connsiteY3538" fmla="*/ 439771 h 2380521"/>
              <a:gd name="connsiteX3539" fmla="*/ 3512449 w 8023328"/>
              <a:gd name="connsiteY3539" fmla="*/ 424982 h 2380521"/>
              <a:gd name="connsiteX3540" fmla="*/ 3440686 w 8023328"/>
              <a:gd name="connsiteY3540" fmla="*/ 424982 h 2380521"/>
              <a:gd name="connsiteX3541" fmla="*/ 3453083 w 8023328"/>
              <a:gd name="connsiteY3541" fmla="*/ 439771 h 2380521"/>
              <a:gd name="connsiteX3542" fmla="*/ 3440686 w 8023328"/>
              <a:gd name="connsiteY3542" fmla="*/ 454560 h 2380521"/>
              <a:gd name="connsiteX3543" fmla="*/ 3426830 w 8023328"/>
              <a:gd name="connsiteY3543" fmla="*/ 439771 h 2380521"/>
              <a:gd name="connsiteX3544" fmla="*/ 3440686 w 8023328"/>
              <a:gd name="connsiteY3544" fmla="*/ 424982 h 2380521"/>
              <a:gd name="connsiteX3545" fmla="*/ 3369857 w 8023328"/>
              <a:gd name="connsiteY3545" fmla="*/ 424982 h 2380521"/>
              <a:gd name="connsiteX3546" fmla="*/ 3382254 w 8023328"/>
              <a:gd name="connsiteY3546" fmla="*/ 439771 h 2380521"/>
              <a:gd name="connsiteX3547" fmla="*/ 3369857 w 8023328"/>
              <a:gd name="connsiteY3547" fmla="*/ 454560 h 2380521"/>
              <a:gd name="connsiteX3548" fmla="*/ 3356001 w 8023328"/>
              <a:gd name="connsiteY3548" fmla="*/ 439771 h 2380521"/>
              <a:gd name="connsiteX3549" fmla="*/ 3369857 w 8023328"/>
              <a:gd name="connsiteY3549" fmla="*/ 424982 h 2380521"/>
              <a:gd name="connsiteX3550" fmla="*/ 3299097 w 8023328"/>
              <a:gd name="connsiteY3550" fmla="*/ 424982 h 2380521"/>
              <a:gd name="connsiteX3551" fmla="*/ 3311491 w 8023328"/>
              <a:gd name="connsiteY3551" fmla="*/ 439771 h 2380521"/>
              <a:gd name="connsiteX3552" fmla="*/ 3299097 w 8023328"/>
              <a:gd name="connsiteY3552" fmla="*/ 454560 h 2380521"/>
              <a:gd name="connsiteX3553" fmla="*/ 3285240 w 8023328"/>
              <a:gd name="connsiteY3553" fmla="*/ 439771 h 2380521"/>
              <a:gd name="connsiteX3554" fmla="*/ 3299097 w 8023328"/>
              <a:gd name="connsiteY3554" fmla="*/ 424982 h 2380521"/>
              <a:gd name="connsiteX3555" fmla="*/ 3226805 w 8023328"/>
              <a:gd name="connsiteY3555" fmla="*/ 424982 h 2380521"/>
              <a:gd name="connsiteX3556" fmla="*/ 3240664 w 8023328"/>
              <a:gd name="connsiteY3556" fmla="*/ 439771 h 2380521"/>
              <a:gd name="connsiteX3557" fmla="*/ 3226805 w 8023328"/>
              <a:gd name="connsiteY3557" fmla="*/ 454560 h 2380521"/>
              <a:gd name="connsiteX3558" fmla="*/ 3214406 w 8023328"/>
              <a:gd name="connsiteY3558" fmla="*/ 439771 h 2380521"/>
              <a:gd name="connsiteX3559" fmla="*/ 3226805 w 8023328"/>
              <a:gd name="connsiteY3559" fmla="*/ 424982 h 2380521"/>
              <a:gd name="connsiteX3560" fmla="*/ 3152602 w 8023328"/>
              <a:gd name="connsiteY3560" fmla="*/ 424982 h 2380521"/>
              <a:gd name="connsiteX3561" fmla="*/ 3166460 w 8023328"/>
              <a:gd name="connsiteY3561" fmla="*/ 439771 h 2380521"/>
              <a:gd name="connsiteX3562" fmla="*/ 3152602 w 8023328"/>
              <a:gd name="connsiteY3562" fmla="*/ 454560 h 2380521"/>
              <a:gd name="connsiteX3563" fmla="*/ 3140203 w 8023328"/>
              <a:gd name="connsiteY3563" fmla="*/ 439771 h 2380521"/>
              <a:gd name="connsiteX3564" fmla="*/ 3152602 w 8023328"/>
              <a:gd name="connsiteY3564" fmla="*/ 424982 h 2380521"/>
              <a:gd name="connsiteX3565" fmla="*/ 3081772 w 8023328"/>
              <a:gd name="connsiteY3565" fmla="*/ 424982 h 2380521"/>
              <a:gd name="connsiteX3566" fmla="*/ 3095624 w 8023328"/>
              <a:gd name="connsiteY3566" fmla="*/ 439771 h 2380521"/>
              <a:gd name="connsiteX3567" fmla="*/ 3081772 w 8023328"/>
              <a:gd name="connsiteY3567" fmla="*/ 454560 h 2380521"/>
              <a:gd name="connsiteX3568" fmla="*/ 3069372 w 8023328"/>
              <a:gd name="connsiteY3568" fmla="*/ 439771 h 2380521"/>
              <a:gd name="connsiteX3569" fmla="*/ 3081772 w 8023328"/>
              <a:gd name="connsiteY3569" fmla="*/ 424982 h 2380521"/>
              <a:gd name="connsiteX3570" fmla="*/ 3013715 w 8023328"/>
              <a:gd name="connsiteY3570" fmla="*/ 424982 h 2380521"/>
              <a:gd name="connsiteX3571" fmla="*/ 3028135 w 8023328"/>
              <a:gd name="connsiteY3571" fmla="*/ 439771 h 2380521"/>
              <a:gd name="connsiteX3572" fmla="*/ 3013715 w 8023328"/>
              <a:gd name="connsiteY3572" fmla="*/ 454560 h 2380521"/>
              <a:gd name="connsiteX3573" fmla="*/ 2998539 w 8023328"/>
              <a:gd name="connsiteY3573" fmla="*/ 439771 h 2380521"/>
              <a:gd name="connsiteX3574" fmla="*/ 3013715 w 8023328"/>
              <a:gd name="connsiteY3574" fmla="*/ 424982 h 2380521"/>
              <a:gd name="connsiteX3575" fmla="*/ 2942491 w 8023328"/>
              <a:gd name="connsiteY3575" fmla="*/ 424982 h 2380521"/>
              <a:gd name="connsiteX3576" fmla="*/ 2957286 w 8023328"/>
              <a:gd name="connsiteY3576" fmla="*/ 439771 h 2380521"/>
              <a:gd name="connsiteX3577" fmla="*/ 2942491 w 8023328"/>
              <a:gd name="connsiteY3577" fmla="*/ 454560 h 2380521"/>
              <a:gd name="connsiteX3578" fmla="*/ 2927708 w 8023328"/>
              <a:gd name="connsiteY3578" fmla="*/ 439771 h 2380521"/>
              <a:gd name="connsiteX3579" fmla="*/ 2942491 w 8023328"/>
              <a:gd name="connsiteY3579" fmla="*/ 424982 h 2380521"/>
              <a:gd name="connsiteX3580" fmla="*/ 2868291 w 8023328"/>
              <a:gd name="connsiteY3580" fmla="*/ 424982 h 2380521"/>
              <a:gd name="connsiteX3581" fmla="*/ 2883085 w 8023328"/>
              <a:gd name="connsiteY3581" fmla="*/ 439771 h 2380521"/>
              <a:gd name="connsiteX3582" fmla="*/ 2868291 w 8023328"/>
              <a:gd name="connsiteY3582" fmla="*/ 454560 h 2380521"/>
              <a:gd name="connsiteX3583" fmla="*/ 2853504 w 8023328"/>
              <a:gd name="connsiteY3583" fmla="*/ 439771 h 2380521"/>
              <a:gd name="connsiteX3584" fmla="*/ 2868291 w 8023328"/>
              <a:gd name="connsiteY3584" fmla="*/ 424982 h 2380521"/>
              <a:gd name="connsiteX3585" fmla="*/ 2796533 w 8023328"/>
              <a:gd name="connsiteY3585" fmla="*/ 424982 h 2380521"/>
              <a:gd name="connsiteX3586" fmla="*/ 2808932 w 8023328"/>
              <a:gd name="connsiteY3586" fmla="*/ 439771 h 2380521"/>
              <a:gd name="connsiteX3587" fmla="*/ 2796533 w 8023328"/>
              <a:gd name="connsiteY3587" fmla="*/ 454560 h 2380521"/>
              <a:gd name="connsiteX3588" fmla="*/ 2782678 w 8023328"/>
              <a:gd name="connsiteY3588" fmla="*/ 439771 h 2380521"/>
              <a:gd name="connsiteX3589" fmla="*/ 2796533 w 8023328"/>
              <a:gd name="connsiteY3589" fmla="*/ 424982 h 2380521"/>
              <a:gd name="connsiteX3590" fmla="*/ 2725695 w 8023328"/>
              <a:gd name="connsiteY3590" fmla="*/ 424982 h 2380521"/>
              <a:gd name="connsiteX3591" fmla="*/ 2738097 w 8023328"/>
              <a:gd name="connsiteY3591" fmla="*/ 439771 h 2380521"/>
              <a:gd name="connsiteX3592" fmla="*/ 2725695 w 8023328"/>
              <a:gd name="connsiteY3592" fmla="*/ 454560 h 2380521"/>
              <a:gd name="connsiteX3593" fmla="*/ 2711846 w 8023328"/>
              <a:gd name="connsiteY3593" fmla="*/ 439771 h 2380521"/>
              <a:gd name="connsiteX3594" fmla="*/ 2725695 w 8023328"/>
              <a:gd name="connsiteY3594" fmla="*/ 424982 h 2380521"/>
              <a:gd name="connsiteX3595" fmla="*/ 2654870 w 8023328"/>
              <a:gd name="connsiteY3595" fmla="*/ 424982 h 2380521"/>
              <a:gd name="connsiteX3596" fmla="*/ 2667270 w 8023328"/>
              <a:gd name="connsiteY3596" fmla="*/ 439771 h 2380521"/>
              <a:gd name="connsiteX3597" fmla="*/ 2654870 w 8023328"/>
              <a:gd name="connsiteY3597" fmla="*/ 454560 h 2380521"/>
              <a:gd name="connsiteX3598" fmla="*/ 2641018 w 8023328"/>
              <a:gd name="connsiteY3598" fmla="*/ 439771 h 2380521"/>
              <a:gd name="connsiteX3599" fmla="*/ 2654870 w 8023328"/>
              <a:gd name="connsiteY3599" fmla="*/ 424982 h 2380521"/>
              <a:gd name="connsiteX3600" fmla="*/ 2582580 w 8023328"/>
              <a:gd name="connsiteY3600" fmla="*/ 424982 h 2380521"/>
              <a:gd name="connsiteX3601" fmla="*/ 2596437 w 8023328"/>
              <a:gd name="connsiteY3601" fmla="*/ 439771 h 2380521"/>
              <a:gd name="connsiteX3602" fmla="*/ 2582580 w 8023328"/>
              <a:gd name="connsiteY3602" fmla="*/ 454560 h 2380521"/>
              <a:gd name="connsiteX3603" fmla="*/ 2570184 w 8023328"/>
              <a:gd name="connsiteY3603" fmla="*/ 439771 h 2380521"/>
              <a:gd name="connsiteX3604" fmla="*/ 2582580 w 8023328"/>
              <a:gd name="connsiteY3604" fmla="*/ 424982 h 2380521"/>
              <a:gd name="connsiteX3605" fmla="*/ 2511026 w 8023328"/>
              <a:gd name="connsiteY3605" fmla="*/ 424982 h 2380521"/>
              <a:gd name="connsiteX3606" fmla="*/ 2525610 w 8023328"/>
              <a:gd name="connsiteY3606" fmla="*/ 439771 h 2380521"/>
              <a:gd name="connsiteX3607" fmla="*/ 2511026 w 8023328"/>
              <a:gd name="connsiteY3607" fmla="*/ 454560 h 2380521"/>
              <a:gd name="connsiteX3608" fmla="*/ 2499361 w 8023328"/>
              <a:gd name="connsiteY3608" fmla="*/ 439771 h 2380521"/>
              <a:gd name="connsiteX3609" fmla="*/ 2511026 w 8023328"/>
              <a:gd name="connsiteY3609" fmla="*/ 424982 h 2380521"/>
              <a:gd name="connsiteX3610" fmla="*/ 1799085 w 8023328"/>
              <a:gd name="connsiteY3610" fmla="*/ 357525 h 2380521"/>
              <a:gd name="connsiteX3611" fmla="*/ 1813873 w 8023328"/>
              <a:gd name="connsiteY3611" fmla="*/ 369922 h 2380521"/>
              <a:gd name="connsiteX3612" fmla="*/ 1799085 w 8023328"/>
              <a:gd name="connsiteY3612" fmla="*/ 383779 h 2380521"/>
              <a:gd name="connsiteX3613" fmla="*/ 1784300 w 8023328"/>
              <a:gd name="connsiteY3613" fmla="*/ 369922 h 2380521"/>
              <a:gd name="connsiteX3614" fmla="*/ 1799085 w 8023328"/>
              <a:gd name="connsiteY3614" fmla="*/ 357525 h 2380521"/>
              <a:gd name="connsiteX3615" fmla="*/ 1728262 w 8023328"/>
              <a:gd name="connsiteY3615" fmla="*/ 357525 h 2380521"/>
              <a:gd name="connsiteX3616" fmla="*/ 1743049 w 8023328"/>
              <a:gd name="connsiteY3616" fmla="*/ 369922 h 2380521"/>
              <a:gd name="connsiteX3617" fmla="*/ 1728262 w 8023328"/>
              <a:gd name="connsiteY3617" fmla="*/ 383779 h 2380521"/>
              <a:gd name="connsiteX3618" fmla="*/ 1713470 w 8023328"/>
              <a:gd name="connsiteY3618" fmla="*/ 369922 h 2380521"/>
              <a:gd name="connsiteX3619" fmla="*/ 1728262 w 8023328"/>
              <a:gd name="connsiteY3619" fmla="*/ 357525 h 2380521"/>
              <a:gd name="connsiteX3620" fmla="*/ 1657429 w 8023328"/>
              <a:gd name="connsiteY3620" fmla="*/ 357525 h 2380521"/>
              <a:gd name="connsiteX3621" fmla="*/ 1672220 w 8023328"/>
              <a:gd name="connsiteY3621" fmla="*/ 369922 h 2380521"/>
              <a:gd name="connsiteX3622" fmla="*/ 1657429 w 8023328"/>
              <a:gd name="connsiteY3622" fmla="*/ 383779 h 2380521"/>
              <a:gd name="connsiteX3623" fmla="*/ 1642650 w 8023328"/>
              <a:gd name="connsiteY3623" fmla="*/ 369922 h 2380521"/>
              <a:gd name="connsiteX3624" fmla="*/ 1657429 w 8023328"/>
              <a:gd name="connsiteY3624" fmla="*/ 357525 h 2380521"/>
              <a:gd name="connsiteX3625" fmla="*/ 1582296 w 8023328"/>
              <a:gd name="connsiteY3625" fmla="*/ 357525 h 2380521"/>
              <a:gd name="connsiteX3626" fmla="*/ 1594704 w 8023328"/>
              <a:gd name="connsiteY3626" fmla="*/ 369922 h 2380521"/>
              <a:gd name="connsiteX3627" fmla="*/ 1582296 w 8023328"/>
              <a:gd name="connsiteY3627" fmla="*/ 383779 h 2380521"/>
              <a:gd name="connsiteX3628" fmla="*/ 1568441 w 8023328"/>
              <a:gd name="connsiteY3628" fmla="*/ 369922 h 2380521"/>
              <a:gd name="connsiteX3629" fmla="*/ 1582296 w 8023328"/>
              <a:gd name="connsiteY3629" fmla="*/ 357525 h 2380521"/>
              <a:gd name="connsiteX3630" fmla="*/ 1512195 w 8023328"/>
              <a:gd name="connsiteY3630" fmla="*/ 357525 h 2380521"/>
              <a:gd name="connsiteX3631" fmla="*/ 1523863 w 8023328"/>
              <a:gd name="connsiteY3631" fmla="*/ 369922 h 2380521"/>
              <a:gd name="connsiteX3632" fmla="*/ 1512195 w 8023328"/>
              <a:gd name="connsiteY3632" fmla="*/ 383779 h 2380521"/>
              <a:gd name="connsiteX3633" fmla="*/ 1497612 w 8023328"/>
              <a:gd name="connsiteY3633" fmla="*/ 369922 h 2380521"/>
              <a:gd name="connsiteX3634" fmla="*/ 1512195 w 8023328"/>
              <a:gd name="connsiteY3634" fmla="*/ 357525 h 2380521"/>
              <a:gd name="connsiteX3635" fmla="*/ 1439171 w 8023328"/>
              <a:gd name="connsiteY3635" fmla="*/ 357525 h 2380521"/>
              <a:gd name="connsiteX3636" fmla="*/ 1453023 w 8023328"/>
              <a:gd name="connsiteY3636" fmla="*/ 369922 h 2380521"/>
              <a:gd name="connsiteX3637" fmla="*/ 1439171 w 8023328"/>
              <a:gd name="connsiteY3637" fmla="*/ 383779 h 2380521"/>
              <a:gd name="connsiteX3638" fmla="*/ 1426774 w 8023328"/>
              <a:gd name="connsiteY3638" fmla="*/ 369922 h 2380521"/>
              <a:gd name="connsiteX3639" fmla="*/ 1439171 w 8023328"/>
              <a:gd name="connsiteY3639" fmla="*/ 357525 h 2380521"/>
              <a:gd name="connsiteX3640" fmla="*/ 1368347 w 8023328"/>
              <a:gd name="connsiteY3640" fmla="*/ 357525 h 2380521"/>
              <a:gd name="connsiteX3641" fmla="*/ 1382199 w 8023328"/>
              <a:gd name="connsiteY3641" fmla="*/ 369922 h 2380521"/>
              <a:gd name="connsiteX3642" fmla="*/ 1368347 w 8023328"/>
              <a:gd name="connsiteY3642" fmla="*/ 383779 h 2380521"/>
              <a:gd name="connsiteX3643" fmla="*/ 1355949 w 8023328"/>
              <a:gd name="connsiteY3643" fmla="*/ 369922 h 2380521"/>
              <a:gd name="connsiteX3644" fmla="*/ 1368347 w 8023328"/>
              <a:gd name="connsiteY3644" fmla="*/ 357525 h 2380521"/>
              <a:gd name="connsiteX3645" fmla="*/ 1297518 w 8023328"/>
              <a:gd name="connsiteY3645" fmla="*/ 357525 h 2380521"/>
              <a:gd name="connsiteX3646" fmla="*/ 1311374 w 8023328"/>
              <a:gd name="connsiteY3646" fmla="*/ 369922 h 2380521"/>
              <a:gd name="connsiteX3647" fmla="*/ 1297518 w 8023328"/>
              <a:gd name="connsiteY3647" fmla="*/ 383779 h 2380521"/>
              <a:gd name="connsiteX3648" fmla="*/ 1285121 w 8023328"/>
              <a:gd name="connsiteY3648" fmla="*/ 369922 h 2380521"/>
              <a:gd name="connsiteX3649" fmla="*/ 1297518 w 8023328"/>
              <a:gd name="connsiteY3649" fmla="*/ 357525 h 2380521"/>
              <a:gd name="connsiteX3650" fmla="*/ 1225703 w 8023328"/>
              <a:gd name="connsiteY3650" fmla="*/ 357525 h 2380521"/>
              <a:gd name="connsiteX3651" fmla="*/ 1240493 w 8023328"/>
              <a:gd name="connsiteY3651" fmla="*/ 369922 h 2380521"/>
              <a:gd name="connsiteX3652" fmla="*/ 1225703 w 8023328"/>
              <a:gd name="connsiteY3652" fmla="*/ 383779 h 2380521"/>
              <a:gd name="connsiteX3653" fmla="*/ 1210926 w 8023328"/>
              <a:gd name="connsiteY3653" fmla="*/ 369922 h 2380521"/>
              <a:gd name="connsiteX3654" fmla="*/ 1225703 w 8023328"/>
              <a:gd name="connsiteY3654" fmla="*/ 357525 h 2380521"/>
              <a:gd name="connsiteX3655" fmla="*/ 1154890 w 8023328"/>
              <a:gd name="connsiteY3655" fmla="*/ 357525 h 2380521"/>
              <a:gd name="connsiteX3656" fmla="*/ 1169676 w 8023328"/>
              <a:gd name="connsiteY3656" fmla="*/ 369922 h 2380521"/>
              <a:gd name="connsiteX3657" fmla="*/ 1154890 w 8023328"/>
              <a:gd name="connsiteY3657" fmla="*/ 383779 h 2380521"/>
              <a:gd name="connsiteX3658" fmla="*/ 1140096 w 8023328"/>
              <a:gd name="connsiteY3658" fmla="*/ 369922 h 2380521"/>
              <a:gd name="connsiteX3659" fmla="*/ 1154890 w 8023328"/>
              <a:gd name="connsiteY3659" fmla="*/ 357525 h 2380521"/>
              <a:gd name="connsiteX3660" fmla="*/ 1084059 w 8023328"/>
              <a:gd name="connsiteY3660" fmla="*/ 357525 h 2380521"/>
              <a:gd name="connsiteX3661" fmla="*/ 1098844 w 8023328"/>
              <a:gd name="connsiteY3661" fmla="*/ 369922 h 2380521"/>
              <a:gd name="connsiteX3662" fmla="*/ 1084059 w 8023328"/>
              <a:gd name="connsiteY3662" fmla="*/ 383779 h 2380521"/>
              <a:gd name="connsiteX3663" fmla="*/ 1069268 w 8023328"/>
              <a:gd name="connsiteY3663" fmla="*/ 369922 h 2380521"/>
              <a:gd name="connsiteX3664" fmla="*/ 1084059 w 8023328"/>
              <a:gd name="connsiteY3664" fmla="*/ 357525 h 2380521"/>
              <a:gd name="connsiteX3665" fmla="*/ 1013015 w 8023328"/>
              <a:gd name="connsiteY3665" fmla="*/ 357525 h 2380521"/>
              <a:gd name="connsiteX3666" fmla="*/ 1024685 w 8023328"/>
              <a:gd name="connsiteY3666" fmla="*/ 369922 h 2380521"/>
              <a:gd name="connsiteX3667" fmla="*/ 1013015 w 8023328"/>
              <a:gd name="connsiteY3667" fmla="*/ 383779 h 2380521"/>
              <a:gd name="connsiteX3668" fmla="*/ 998434 w 8023328"/>
              <a:gd name="connsiteY3668" fmla="*/ 369922 h 2380521"/>
              <a:gd name="connsiteX3669" fmla="*/ 1013015 w 8023328"/>
              <a:gd name="connsiteY3669" fmla="*/ 357525 h 2380521"/>
              <a:gd name="connsiteX3670" fmla="*/ 941465 w 8023328"/>
              <a:gd name="connsiteY3670" fmla="*/ 357525 h 2380521"/>
              <a:gd name="connsiteX3671" fmla="*/ 953864 w 8023328"/>
              <a:gd name="connsiteY3671" fmla="*/ 369922 h 2380521"/>
              <a:gd name="connsiteX3672" fmla="*/ 941465 w 8023328"/>
              <a:gd name="connsiteY3672" fmla="*/ 383779 h 2380521"/>
              <a:gd name="connsiteX3673" fmla="*/ 927611 w 8023328"/>
              <a:gd name="connsiteY3673" fmla="*/ 369922 h 2380521"/>
              <a:gd name="connsiteX3674" fmla="*/ 941465 w 8023328"/>
              <a:gd name="connsiteY3674" fmla="*/ 357525 h 2380521"/>
              <a:gd name="connsiteX3675" fmla="*/ 870633 w 8023328"/>
              <a:gd name="connsiteY3675" fmla="*/ 357525 h 2380521"/>
              <a:gd name="connsiteX3676" fmla="*/ 883034 w 8023328"/>
              <a:gd name="connsiteY3676" fmla="*/ 369922 h 2380521"/>
              <a:gd name="connsiteX3677" fmla="*/ 870633 w 8023328"/>
              <a:gd name="connsiteY3677" fmla="*/ 383779 h 2380521"/>
              <a:gd name="connsiteX3678" fmla="*/ 856777 w 8023328"/>
              <a:gd name="connsiteY3678" fmla="*/ 369922 h 2380521"/>
              <a:gd name="connsiteX3679" fmla="*/ 870633 w 8023328"/>
              <a:gd name="connsiteY3679" fmla="*/ 357525 h 2380521"/>
              <a:gd name="connsiteX3680" fmla="*/ 798346 w 8023328"/>
              <a:gd name="connsiteY3680" fmla="*/ 357525 h 2380521"/>
              <a:gd name="connsiteX3681" fmla="*/ 812203 w 8023328"/>
              <a:gd name="connsiteY3681" fmla="*/ 369922 h 2380521"/>
              <a:gd name="connsiteX3682" fmla="*/ 798346 w 8023328"/>
              <a:gd name="connsiteY3682" fmla="*/ 383779 h 2380521"/>
              <a:gd name="connsiteX3683" fmla="*/ 785947 w 8023328"/>
              <a:gd name="connsiteY3683" fmla="*/ 369922 h 2380521"/>
              <a:gd name="connsiteX3684" fmla="*/ 798346 w 8023328"/>
              <a:gd name="connsiteY3684" fmla="*/ 357525 h 2380521"/>
              <a:gd name="connsiteX3685" fmla="*/ 3654110 w 8023328"/>
              <a:gd name="connsiteY3685" fmla="*/ 354153 h 2380521"/>
              <a:gd name="connsiteX3686" fmla="*/ 3668898 w 8023328"/>
              <a:gd name="connsiteY3686" fmla="*/ 368738 h 2380521"/>
              <a:gd name="connsiteX3687" fmla="*/ 3654110 w 8023328"/>
              <a:gd name="connsiteY3687" fmla="*/ 380407 h 2380521"/>
              <a:gd name="connsiteX3688" fmla="*/ 3639322 w 8023328"/>
              <a:gd name="connsiteY3688" fmla="*/ 368738 h 2380521"/>
              <a:gd name="connsiteX3689" fmla="*/ 3654110 w 8023328"/>
              <a:gd name="connsiteY3689" fmla="*/ 354153 h 2380521"/>
              <a:gd name="connsiteX3690" fmla="*/ 3583280 w 8023328"/>
              <a:gd name="connsiteY3690" fmla="*/ 354153 h 2380521"/>
              <a:gd name="connsiteX3691" fmla="*/ 3598069 w 8023328"/>
              <a:gd name="connsiteY3691" fmla="*/ 368738 h 2380521"/>
              <a:gd name="connsiteX3692" fmla="*/ 3583280 w 8023328"/>
              <a:gd name="connsiteY3692" fmla="*/ 380407 h 2380521"/>
              <a:gd name="connsiteX3693" fmla="*/ 3568491 w 8023328"/>
              <a:gd name="connsiteY3693" fmla="*/ 368738 h 2380521"/>
              <a:gd name="connsiteX3694" fmla="*/ 3583280 w 8023328"/>
              <a:gd name="connsiteY3694" fmla="*/ 354153 h 2380521"/>
              <a:gd name="connsiteX3695" fmla="*/ 3512449 w 8023328"/>
              <a:gd name="connsiteY3695" fmla="*/ 354153 h 2380521"/>
              <a:gd name="connsiteX3696" fmla="*/ 3527237 w 8023328"/>
              <a:gd name="connsiteY3696" fmla="*/ 369330 h 2380521"/>
              <a:gd name="connsiteX3697" fmla="*/ 3512449 w 8023328"/>
              <a:gd name="connsiteY3697" fmla="*/ 383749 h 2380521"/>
              <a:gd name="connsiteX3698" fmla="*/ 3497661 w 8023328"/>
              <a:gd name="connsiteY3698" fmla="*/ 369330 h 2380521"/>
              <a:gd name="connsiteX3699" fmla="*/ 3512449 w 8023328"/>
              <a:gd name="connsiteY3699" fmla="*/ 354153 h 2380521"/>
              <a:gd name="connsiteX3700" fmla="*/ 3440686 w 8023328"/>
              <a:gd name="connsiteY3700" fmla="*/ 354153 h 2380521"/>
              <a:gd name="connsiteX3701" fmla="*/ 3453083 w 8023328"/>
              <a:gd name="connsiteY3701" fmla="*/ 369330 h 2380521"/>
              <a:gd name="connsiteX3702" fmla="*/ 3440686 w 8023328"/>
              <a:gd name="connsiteY3702" fmla="*/ 383749 h 2380521"/>
              <a:gd name="connsiteX3703" fmla="*/ 3426830 w 8023328"/>
              <a:gd name="connsiteY3703" fmla="*/ 369330 h 2380521"/>
              <a:gd name="connsiteX3704" fmla="*/ 3440686 w 8023328"/>
              <a:gd name="connsiteY3704" fmla="*/ 354153 h 2380521"/>
              <a:gd name="connsiteX3705" fmla="*/ 3369857 w 8023328"/>
              <a:gd name="connsiteY3705" fmla="*/ 354153 h 2380521"/>
              <a:gd name="connsiteX3706" fmla="*/ 3382254 w 8023328"/>
              <a:gd name="connsiteY3706" fmla="*/ 369330 h 2380521"/>
              <a:gd name="connsiteX3707" fmla="*/ 3369857 w 8023328"/>
              <a:gd name="connsiteY3707" fmla="*/ 383749 h 2380521"/>
              <a:gd name="connsiteX3708" fmla="*/ 3356001 w 8023328"/>
              <a:gd name="connsiteY3708" fmla="*/ 369330 h 2380521"/>
              <a:gd name="connsiteX3709" fmla="*/ 3369857 w 8023328"/>
              <a:gd name="connsiteY3709" fmla="*/ 354153 h 2380521"/>
              <a:gd name="connsiteX3710" fmla="*/ 3299097 w 8023328"/>
              <a:gd name="connsiteY3710" fmla="*/ 354153 h 2380521"/>
              <a:gd name="connsiteX3711" fmla="*/ 3311496 w 8023328"/>
              <a:gd name="connsiteY3711" fmla="*/ 369330 h 2380521"/>
              <a:gd name="connsiteX3712" fmla="*/ 3299097 w 8023328"/>
              <a:gd name="connsiteY3712" fmla="*/ 383749 h 2380521"/>
              <a:gd name="connsiteX3713" fmla="*/ 3285242 w 8023328"/>
              <a:gd name="connsiteY3713" fmla="*/ 369330 h 2380521"/>
              <a:gd name="connsiteX3714" fmla="*/ 3299097 w 8023328"/>
              <a:gd name="connsiteY3714" fmla="*/ 354153 h 2380521"/>
              <a:gd name="connsiteX3715" fmla="*/ 3226808 w 8023328"/>
              <a:gd name="connsiteY3715" fmla="*/ 354153 h 2380521"/>
              <a:gd name="connsiteX3716" fmla="*/ 3240664 w 8023328"/>
              <a:gd name="connsiteY3716" fmla="*/ 369330 h 2380521"/>
              <a:gd name="connsiteX3717" fmla="*/ 3226808 w 8023328"/>
              <a:gd name="connsiteY3717" fmla="*/ 383749 h 2380521"/>
              <a:gd name="connsiteX3718" fmla="*/ 3214410 w 8023328"/>
              <a:gd name="connsiteY3718" fmla="*/ 369330 h 2380521"/>
              <a:gd name="connsiteX3719" fmla="*/ 3226808 w 8023328"/>
              <a:gd name="connsiteY3719" fmla="*/ 354153 h 2380521"/>
              <a:gd name="connsiteX3720" fmla="*/ 3152605 w 8023328"/>
              <a:gd name="connsiteY3720" fmla="*/ 354153 h 2380521"/>
              <a:gd name="connsiteX3721" fmla="*/ 3166462 w 8023328"/>
              <a:gd name="connsiteY3721" fmla="*/ 369330 h 2380521"/>
              <a:gd name="connsiteX3722" fmla="*/ 3152605 w 8023328"/>
              <a:gd name="connsiteY3722" fmla="*/ 383749 h 2380521"/>
              <a:gd name="connsiteX3723" fmla="*/ 3140206 w 8023328"/>
              <a:gd name="connsiteY3723" fmla="*/ 369330 h 2380521"/>
              <a:gd name="connsiteX3724" fmla="*/ 3152605 w 8023328"/>
              <a:gd name="connsiteY3724" fmla="*/ 354153 h 2380521"/>
              <a:gd name="connsiteX3725" fmla="*/ 3081774 w 8023328"/>
              <a:gd name="connsiteY3725" fmla="*/ 354153 h 2380521"/>
              <a:gd name="connsiteX3726" fmla="*/ 3095627 w 8023328"/>
              <a:gd name="connsiteY3726" fmla="*/ 369330 h 2380521"/>
              <a:gd name="connsiteX3727" fmla="*/ 3081774 w 8023328"/>
              <a:gd name="connsiteY3727" fmla="*/ 383749 h 2380521"/>
              <a:gd name="connsiteX3728" fmla="*/ 3069375 w 8023328"/>
              <a:gd name="connsiteY3728" fmla="*/ 369330 h 2380521"/>
              <a:gd name="connsiteX3729" fmla="*/ 3081774 w 8023328"/>
              <a:gd name="connsiteY3729" fmla="*/ 354153 h 2380521"/>
              <a:gd name="connsiteX3730" fmla="*/ 3013715 w 8023328"/>
              <a:gd name="connsiteY3730" fmla="*/ 354153 h 2380521"/>
              <a:gd name="connsiteX3731" fmla="*/ 3028135 w 8023328"/>
              <a:gd name="connsiteY3731" fmla="*/ 369330 h 2380521"/>
              <a:gd name="connsiteX3732" fmla="*/ 3013715 w 8023328"/>
              <a:gd name="connsiteY3732" fmla="*/ 383749 h 2380521"/>
              <a:gd name="connsiteX3733" fmla="*/ 2998539 w 8023328"/>
              <a:gd name="connsiteY3733" fmla="*/ 369330 h 2380521"/>
              <a:gd name="connsiteX3734" fmla="*/ 3013715 w 8023328"/>
              <a:gd name="connsiteY3734" fmla="*/ 354153 h 2380521"/>
              <a:gd name="connsiteX3735" fmla="*/ 2942494 w 8023328"/>
              <a:gd name="connsiteY3735" fmla="*/ 354153 h 2380521"/>
              <a:gd name="connsiteX3736" fmla="*/ 2957288 w 8023328"/>
              <a:gd name="connsiteY3736" fmla="*/ 369330 h 2380521"/>
              <a:gd name="connsiteX3737" fmla="*/ 2942494 w 8023328"/>
              <a:gd name="connsiteY3737" fmla="*/ 383749 h 2380521"/>
              <a:gd name="connsiteX3738" fmla="*/ 2927708 w 8023328"/>
              <a:gd name="connsiteY3738" fmla="*/ 369330 h 2380521"/>
              <a:gd name="connsiteX3739" fmla="*/ 2942494 w 8023328"/>
              <a:gd name="connsiteY3739" fmla="*/ 354153 h 2380521"/>
              <a:gd name="connsiteX3740" fmla="*/ 2868293 w 8023328"/>
              <a:gd name="connsiteY3740" fmla="*/ 354153 h 2380521"/>
              <a:gd name="connsiteX3741" fmla="*/ 2883085 w 8023328"/>
              <a:gd name="connsiteY3741" fmla="*/ 369330 h 2380521"/>
              <a:gd name="connsiteX3742" fmla="*/ 2868293 w 8023328"/>
              <a:gd name="connsiteY3742" fmla="*/ 383749 h 2380521"/>
              <a:gd name="connsiteX3743" fmla="*/ 2853504 w 8023328"/>
              <a:gd name="connsiteY3743" fmla="*/ 369330 h 2380521"/>
              <a:gd name="connsiteX3744" fmla="*/ 2868293 w 8023328"/>
              <a:gd name="connsiteY3744" fmla="*/ 354153 h 2380521"/>
              <a:gd name="connsiteX3745" fmla="*/ 2796535 w 8023328"/>
              <a:gd name="connsiteY3745" fmla="*/ 354153 h 2380521"/>
              <a:gd name="connsiteX3746" fmla="*/ 2808932 w 8023328"/>
              <a:gd name="connsiteY3746" fmla="*/ 369330 h 2380521"/>
              <a:gd name="connsiteX3747" fmla="*/ 2796535 w 8023328"/>
              <a:gd name="connsiteY3747" fmla="*/ 383749 h 2380521"/>
              <a:gd name="connsiteX3748" fmla="*/ 2782678 w 8023328"/>
              <a:gd name="connsiteY3748" fmla="*/ 369330 h 2380521"/>
              <a:gd name="connsiteX3749" fmla="*/ 2796535 w 8023328"/>
              <a:gd name="connsiteY3749" fmla="*/ 354153 h 2380521"/>
              <a:gd name="connsiteX3750" fmla="*/ 2725695 w 8023328"/>
              <a:gd name="connsiteY3750" fmla="*/ 354153 h 2380521"/>
              <a:gd name="connsiteX3751" fmla="*/ 2738100 w 8023328"/>
              <a:gd name="connsiteY3751" fmla="*/ 369330 h 2380521"/>
              <a:gd name="connsiteX3752" fmla="*/ 2725695 w 8023328"/>
              <a:gd name="connsiteY3752" fmla="*/ 383749 h 2380521"/>
              <a:gd name="connsiteX3753" fmla="*/ 2711846 w 8023328"/>
              <a:gd name="connsiteY3753" fmla="*/ 369330 h 2380521"/>
              <a:gd name="connsiteX3754" fmla="*/ 2725695 w 8023328"/>
              <a:gd name="connsiteY3754" fmla="*/ 354153 h 2380521"/>
              <a:gd name="connsiteX3755" fmla="*/ 2653415 w 8023328"/>
              <a:gd name="connsiteY3755" fmla="*/ 354153 h 2380521"/>
              <a:gd name="connsiteX3756" fmla="*/ 2667270 w 8023328"/>
              <a:gd name="connsiteY3756" fmla="*/ 369330 h 2380521"/>
              <a:gd name="connsiteX3757" fmla="*/ 2653415 w 8023328"/>
              <a:gd name="connsiteY3757" fmla="*/ 383749 h 2380521"/>
              <a:gd name="connsiteX3758" fmla="*/ 2641021 w 8023328"/>
              <a:gd name="connsiteY3758" fmla="*/ 369330 h 2380521"/>
              <a:gd name="connsiteX3759" fmla="*/ 2653415 w 8023328"/>
              <a:gd name="connsiteY3759" fmla="*/ 354153 h 2380521"/>
              <a:gd name="connsiteX3760" fmla="*/ 2582583 w 8023328"/>
              <a:gd name="connsiteY3760" fmla="*/ 354153 h 2380521"/>
              <a:gd name="connsiteX3761" fmla="*/ 2596439 w 8023328"/>
              <a:gd name="connsiteY3761" fmla="*/ 369330 h 2380521"/>
              <a:gd name="connsiteX3762" fmla="*/ 2582583 w 8023328"/>
              <a:gd name="connsiteY3762" fmla="*/ 383749 h 2380521"/>
              <a:gd name="connsiteX3763" fmla="*/ 2570184 w 8023328"/>
              <a:gd name="connsiteY3763" fmla="*/ 369330 h 2380521"/>
              <a:gd name="connsiteX3764" fmla="*/ 2582583 w 8023328"/>
              <a:gd name="connsiteY3764" fmla="*/ 354153 h 2380521"/>
              <a:gd name="connsiteX3765" fmla="*/ 2511029 w 8023328"/>
              <a:gd name="connsiteY3765" fmla="*/ 354153 h 2380521"/>
              <a:gd name="connsiteX3766" fmla="*/ 2525613 w 8023328"/>
              <a:gd name="connsiteY3766" fmla="*/ 369330 h 2380521"/>
              <a:gd name="connsiteX3767" fmla="*/ 2511029 w 8023328"/>
              <a:gd name="connsiteY3767" fmla="*/ 383749 h 2380521"/>
              <a:gd name="connsiteX3768" fmla="*/ 2499361 w 8023328"/>
              <a:gd name="connsiteY3768" fmla="*/ 369330 h 2380521"/>
              <a:gd name="connsiteX3769" fmla="*/ 2511029 w 8023328"/>
              <a:gd name="connsiteY3769" fmla="*/ 354153 h 2380521"/>
              <a:gd name="connsiteX3770" fmla="*/ 2439946 w 8023328"/>
              <a:gd name="connsiteY3770" fmla="*/ 354153 h 2380521"/>
              <a:gd name="connsiteX3771" fmla="*/ 2454732 w 8023328"/>
              <a:gd name="connsiteY3771" fmla="*/ 369330 h 2380521"/>
              <a:gd name="connsiteX3772" fmla="*/ 2439946 w 8023328"/>
              <a:gd name="connsiteY3772" fmla="*/ 383749 h 2380521"/>
              <a:gd name="connsiteX3773" fmla="*/ 2425156 w 8023328"/>
              <a:gd name="connsiteY3773" fmla="*/ 369330 h 2380521"/>
              <a:gd name="connsiteX3774" fmla="*/ 2439946 w 8023328"/>
              <a:gd name="connsiteY3774" fmla="*/ 354153 h 2380521"/>
              <a:gd name="connsiteX3775" fmla="*/ 2369110 w 8023328"/>
              <a:gd name="connsiteY3775" fmla="*/ 354153 h 2380521"/>
              <a:gd name="connsiteX3776" fmla="*/ 2383899 w 8023328"/>
              <a:gd name="connsiteY3776" fmla="*/ 369330 h 2380521"/>
              <a:gd name="connsiteX3777" fmla="*/ 2369110 w 8023328"/>
              <a:gd name="connsiteY3777" fmla="*/ 383749 h 2380521"/>
              <a:gd name="connsiteX3778" fmla="*/ 2354319 w 8023328"/>
              <a:gd name="connsiteY3778" fmla="*/ 369330 h 2380521"/>
              <a:gd name="connsiteX3779" fmla="*/ 2369110 w 8023328"/>
              <a:gd name="connsiteY3779" fmla="*/ 354153 h 2380521"/>
              <a:gd name="connsiteX3780" fmla="*/ 2298280 w 8023328"/>
              <a:gd name="connsiteY3780" fmla="*/ 354153 h 2380521"/>
              <a:gd name="connsiteX3781" fmla="*/ 2313068 w 8023328"/>
              <a:gd name="connsiteY3781" fmla="*/ 369330 h 2380521"/>
              <a:gd name="connsiteX3782" fmla="*/ 2298280 w 8023328"/>
              <a:gd name="connsiteY3782" fmla="*/ 383749 h 2380521"/>
              <a:gd name="connsiteX3783" fmla="*/ 2283490 w 8023328"/>
              <a:gd name="connsiteY3783" fmla="*/ 369330 h 2380521"/>
              <a:gd name="connsiteX3784" fmla="*/ 2298280 w 8023328"/>
              <a:gd name="connsiteY3784" fmla="*/ 354153 h 2380521"/>
              <a:gd name="connsiteX3785" fmla="*/ 2226517 w 8023328"/>
              <a:gd name="connsiteY3785" fmla="*/ 354153 h 2380521"/>
              <a:gd name="connsiteX3786" fmla="*/ 2238914 w 8023328"/>
              <a:gd name="connsiteY3786" fmla="*/ 369330 h 2380521"/>
              <a:gd name="connsiteX3787" fmla="*/ 2226517 w 8023328"/>
              <a:gd name="connsiteY3787" fmla="*/ 383749 h 2380521"/>
              <a:gd name="connsiteX3788" fmla="*/ 2212658 w 8023328"/>
              <a:gd name="connsiteY3788" fmla="*/ 369330 h 2380521"/>
              <a:gd name="connsiteX3789" fmla="*/ 2226517 w 8023328"/>
              <a:gd name="connsiteY3789" fmla="*/ 354153 h 2380521"/>
              <a:gd name="connsiteX3790" fmla="*/ 2155683 w 8023328"/>
              <a:gd name="connsiteY3790" fmla="*/ 354153 h 2380521"/>
              <a:gd name="connsiteX3791" fmla="*/ 2168081 w 8023328"/>
              <a:gd name="connsiteY3791" fmla="*/ 369330 h 2380521"/>
              <a:gd name="connsiteX3792" fmla="*/ 2155683 w 8023328"/>
              <a:gd name="connsiteY3792" fmla="*/ 383749 h 2380521"/>
              <a:gd name="connsiteX3793" fmla="*/ 2141827 w 8023328"/>
              <a:gd name="connsiteY3793" fmla="*/ 369330 h 2380521"/>
              <a:gd name="connsiteX3794" fmla="*/ 2155683 w 8023328"/>
              <a:gd name="connsiteY3794" fmla="*/ 354153 h 2380521"/>
              <a:gd name="connsiteX3795" fmla="*/ 2084849 w 8023328"/>
              <a:gd name="connsiteY3795" fmla="*/ 354153 h 2380521"/>
              <a:gd name="connsiteX3796" fmla="*/ 2097248 w 8023328"/>
              <a:gd name="connsiteY3796" fmla="*/ 369330 h 2380521"/>
              <a:gd name="connsiteX3797" fmla="*/ 2084849 w 8023328"/>
              <a:gd name="connsiteY3797" fmla="*/ 383749 h 2380521"/>
              <a:gd name="connsiteX3798" fmla="*/ 2070994 w 8023328"/>
              <a:gd name="connsiteY3798" fmla="*/ 369330 h 2380521"/>
              <a:gd name="connsiteX3799" fmla="*/ 2084849 w 8023328"/>
              <a:gd name="connsiteY3799" fmla="*/ 354153 h 2380521"/>
              <a:gd name="connsiteX3800" fmla="*/ 2011835 w 8023328"/>
              <a:gd name="connsiteY3800" fmla="*/ 354153 h 2380521"/>
              <a:gd name="connsiteX3801" fmla="*/ 2026421 w 8023328"/>
              <a:gd name="connsiteY3801" fmla="*/ 369330 h 2380521"/>
              <a:gd name="connsiteX3802" fmla="*/ 2011835 w 8023328"/>
              <a:gd name="connsiteY3802" fmla="*/ 383749 h 2380521"/>
              <a:gd name="connsiteX3803" fmla="*/ 2000166 w 8023328"/>
              <a:gd name="connsiteY3803" fmla="*/ 369330 h 2380521"/>
              <a:gd name="connsiteX3804" fmla="*/ 2011835 w 8023328"/>
              <a:gd name="connsiteY3804" fmla="*/ 354153 h 2380521"/>
              <a:gd name="connsiteX3805" fmla="*/ 1938362 w 8023328"/>
              <a:gd name="connsiteY3805" fmla="*/ 354153 h 2380521"/>
              <a:gd name="connsiteX3806" fmla="*/ 1952222 w 8023328"/>
              <a:gd name="connsiteY3806" fmla="*/ 369330 h 2380521"/>
              <a:gd name="connsiteX3807" fmla="*/ 1938362 w 8023328"/>
              <a:gd name="connsiteY3807" fmla="*/ 383749 h 2380521"/>
              <a:gd name="connsiteX3808" fmla="*/ 1925968 w 8023328"/>
              <a:gd name="connsiteY3808" fmla="*/ 369330 h 2380521"/>
              <a:gd name="connsiteX3809" fmla="*/ 1938362 w 8023328"/>
              <a:gd name="connsiteY3809" fmla="*/ 354153 h 2380521"/>
              <a:gd name="connsiteX3810" fmla="*/ 1867527 w 8023328"/>
              <a:gd name="connsiteY3810" fmla="*/ 354153 h 2380521"/>
              <a:gd name="connsiteX3811" fmla="*/ 1881384 w 8023328"/>
              <a:gd name="connsiteY3811" fmla="*/ 369330 h 2380521"/>
              <a:gd name="connsiteX3812" fmla="*/ 1867527 w 8023328"/>
              <a:gd name="connsiteY3812" fmla="*/ 383749 h 2380521"/>
              <a:gd name="connsiteX3813" fmla="*/ 1855129 w 8023328"/>
              <a:gd name="connsiteY3813" fmla="*/ 369330 h 2380521"/>
              <a:gd name="connsiteX3814" fmla="*/ 1867527 w 8023328"/>
              <a:gd name="connsiteY3814" fmla="*/ 354153 h 2380521"/>
              <a:gd name="connsiteX3815" fmla="*/ 1225708 w 8023328"/>
              <a:gd name="connsiteY3815" fmla="*/ 284879 h 2380521"/>
              <a:gd name="connsiteX3816" fmla="*/ 1240493 w 8023328"/>
              <a:gd name="connsiteY3816" fmla="*/ 298111 h 2380521"/>
              <a:gd name="connsiteX3817" fmla="*/ 1225708 w 8023328"/>
              <a:gd name="connsiteY3817" fmla="*/ 312900 h 2380521"/>
              <a:gd name="connsiteX3818" fmla="*/ 1210931 w 8023328"/>
              <a:gd name="connsiteY3818" fmla="*/ 298111 h 2380521"/>
              <a:gd name="connsiteX3819" fmla="*/ 1225708 w 8023328"/>
              <a:gd name="connsiteY3819" fmla="*/ 284879 h 2380521"/>
              <a:gd name="connsiteX3820" fmla="*/ 3440686 w 8023328"/>
              <a:gd name="connsiteY3820" fmla="*/ 283322 h 2380521"/>
              <a:gd name="connsiteX3821" fmla="*/ 3453083 w 8023328"/>
              <a:gd name="connsiteY3821" fmla="*/ 297178 h 2380521"/>
              <a:gd name="connsiteX3822" fmla="*/ 3440686 w 8023328"/>
              <a:gd name="connsiteY3822" fmla="*/ 309576 h 2380521"/>
              <a:gd name="connsiteX3823" fmla="*/ 3426830 w 8023328"/>
              <a:gd name="connsiteY3823" fmla="*/ 297178 h 2380521"/>
              <a:gd name="connsiteX3824" fmla="*/ 3440686 w 8023328"/>
              <a:gd name="connsiteY3824" fmla="*/ 283322 h 2380521"/>
              <a:gd name="connsiteX3825" fmla="*/ 3369857 w 8023328"/>
              <a:gd name="connsiteY3825" fmla="*/ 283322 h 2380521"/>
              <a:gd name="connsiteX3826" fmla="*/ 3382254 w 8023328"/>
              <a:gd name="connsiteY3826" fmla="*/ 297178 h 2380521"/>
              <a:gd name="connsiteX3827" fmla="*/ 3369857 w 8023328"/>
              <a:gd name="connsiteY3827" fmla="*/ 309576 h 2380521"/>
              <a:gd name="connsiteX3828" fmla="*/ 3356001 w 8023328"/>
              <a:gd name="connsiteY3828" fmla="*/ 297178 h 2380521"/>
              <a:gd name="connsiteX3829" fmla="*/ 3369857 w 8023328"/>
              <a:gd name="connsiteY3829" fmla="*/ 283322 h 2380521"/>
              <a:gd name="connsiteX3830" fmla="*/ 3299100 w 8023328"/>
              <a:gd name="connsiteY3830" fmla="*/ 283322 h 2380521"/>
              <a:gd name="connsiteX3831" fmla="*/ 3311496 w 8023328"/>
              <a:gd name="connsiteY3831" fmla="*/ 297178 h 2380521"/>
              <a:gd name="connsiteX3832" fmla="*/ 3299100 w 8023328"/>
              <a:gd name="connsiteY3832" fmla="*/ 309576 h 2380521"/>
              <a:gd name="connsiteX3833" fmla="*/ 3285242 w 8023328"/>
              <a:gd name="connsiteY3833" fmla="*/ 297178 h 2380521"/>
              <a:gd name="connsiteX3834" fmla="*/ 3299100 w 8023328"/>
              <a:gd name="connsiteY3834" fmla="*/ 283322 h 2380521"/>
              <a:gd name="connsiteX3835" fmla="*/ 3226808 w 8023328"/>
              <a:gd name="connsiteY3835" fmla="*/ 283322 h 2380521"/>
              <a:gd name="connsiteX3836" fmla="*/ 3240664 w 8023328"/>
              <a:gd name="connsiteY3836" fmla="*/ 297178 h 2380521"/>
              <a:gd name="connsiteX3837" fmla="*/ 3226808 w 8023328"/>
              <a:gd name="connsiteY3837" fmla="*/ 309576 h 2380521"/>
              <a:gd name="connsiteX3838" fmla="*/ 3214410 w 8023328"/>
              <a:gd name="connsiteY3838" fmla="*/ 297178 h 2380521"/>
              <a:gd name="connsiteX3839" fmla="*/ 3226808 w 8023328"/>
              <a:gd name="connsiteY3839" fmla="*/ 283322 h 2380521"/>
              <a:gd name="connsiteX3840" fmla="*/ 3152605 w 8023328"/>
              <a:gd name="connsiteY3840" fmla="*/ 283322 h 2380521"/>
              <a:gd name="connsiteX3841" fmla="*/ 3166462 w 8023328"/>
              <a:gd name="connsiteY3841" fmla="*/ 297178 h 2380521"/>
              <a:gd name="connsiteX3842" fmla="*/ 3152605 w 8023328"/>
              <a:gd name="connsiteY3842" fmla="*/ 309576 h 2380521"/>
              <a:gd name="connsiteX3843" fmla="*/ 3140209 w 8023328"/>
              <a:gd name="connsiteY3843" fmla="*/ 297178 h 2380521"/>
              <a:gd name="connsiteX3844" fmla="*/ 3152605 w 8023328"/>
              <a:gd name="connsiteY3844" fmla="*/ 283322 h 2380521"/>
              <a:gd name="connsiteX3845" fmla="*/ 3081774 w 8023328"/>
              <a:gd name="connsiteY3845" fmla="*/ 283322 h 2380521"/>
              <a:gd name="connsiteX3846" fmla="*/ 3095628 w 8023328"/>
              <a:gd name="connsiteY3846" fmla="*/ 297178 h 2380521"/>
              <a:gd name="connsiteX3847" fmla="*/ 3081774 w 8023328"/>
              <a:gd name="connsiteY3847" fmla="*/ 309576 h 2380521"/>
              <a:gd name="connsiteX3848" fmla="*/ 3069375 w 8023328"/>
              <a:gd name="connsiteY3848" fmla="*/ 297178 h 2380521"/>
              <a:gd name="connsiteX3849" fmla="*/ 3081774 w 8023328"/>
              <a:gd name="connsiteY3849" fmla="*/ 283322 h 2380521"/>
              <a:gd name="connsiteX3850" fmla="*/ 3013717 w 8023328"/>
              <a:gd name="connsiteY3850" fmla="*/ 283322 h 2380521"/>
              <a:gd name="connsiteX3851" fmla="*/ 3028135 w 8023328"/>
              <a:gd name="connsiteY3851" fmla="*/ 297178 h 2380521"/>
              <a:gd name="connsiteX3852" fmla="*/ 3013717 w 8023328"/>
              <a:gd name="connsiteY3852" fmla="*/ 309576 h 2380521"/>
              <a:gd name="connsiteX3853" fmla="*/ 2998539 w 8023328"/>
              <a:gd name="connsiteY3853" fmla="*/ 297178 h 2380521"/>
              <a:gd name="connsiteX3854" fmla="*/ 3013717 w 8023328"/>
              <a:gd name="connsiteY3854" fmla="*/ 283322 h 2380521"/>
              <a:gd name="connsiteX3855" fmla="*/ 2942494 w 8023328"/>
              <a:gd name="connsiteY3855" fmla="*/ 283322 h 2380521"/>
              <a:gd name="connsiteX3856" fmla="*/ 2957288 w 8023328"/>
              <a:gd name="connsiteY3856" fmla="*/ 298111 h 2380521"/>
              <a:gd name="connsiteX3857" fmla="*/ 2942494 w 8023328"/>
              <a:gd name="connsiteY3857" fmla="*/ 312900 h 2380521"/>
              <a:gd name="connsiteX3858" fmla="*/ 2927711 w 8023328"/>
              <a:gd name="connsiteY3858" fmla="*/ 298111 h 2380521"/>
              <a:gd name="connsiteX3859" fmla="*/ 2942494 w 8023328"/>
              <a:gd name="connsiteY3859" fmla="*/ 283322 h 2380521"/>
              <a:gd name="connsiteX3860" fmla="*/ 2868293 w 8023328"/>
              <a:gd name="connsiteY3860" fmla="*/ 283322 h 2380521"/>
              <a:gd name="connsiteX3861" fmla="*/ 2883087 w 8023328"/>
              <a:gd name="connsiteY3861" fmla="*/ 298111 h 2380521"/>
              <a:gd name="connsiteX3862" fmla="*/ 2868293 w 8023328"/>
              <a:gd name="connsiteY3862" fmla="*/ 312900 h 2380521"/>
              <a:gd name="connsiteX3863" fmla="*/ 2853507 w 8023328"/>
              <a:gd name="connsiteY3863" fmla="*/ 298111 h 2380521"/>
              <a:gd name="connsiteX3864" fmla="*/ 2868293 w 8023328"/>
              <a:gd name="connsiteY3864" fmla="*/ 283322 h 2380521"/>
              <a:gd name="connsiteX3865" fmla="*/ 2796535 w 8023328"/>
              <a:gd name="connsiteY3865" fmla="*/ 283322 h 2380521"/>
              <a:gd name="connsiteX3866" fmla="*/ 2808934 w 8023328"/>
              <a:gd name="connsiteY3866" fmla="*/ 298111 h 2380521"/>
              <a:gd name="connsiteX3867" fmla="*/ 2796535 w 8023328"/>
              <a:gd name="connsiteY3867" fmla="*/ 312900 h 2380521"/>
              <a:gd name="connsiteX3868" fmla="*/ 2782678 w 8023328"/>
              <a:gd name="connsiteY3868" fmla="*/ 298111 h 2380521"/>
              <a:gd name="connsiteX3869" fmla="*/ 2796535 w 8023328"/>
              <a:gd name="connsiteY3869" fmla="*/ 283322 h 2380521"/>
              <a:gd name="connsiteX3870" fmla="*/ 2725698 w 8023328"/>
              <a:gd name="connsiteY3870" fmla="*/ 283322 h 2380521"/>
              <a:gd name="connsiteX3871" fmla="*/ 2738100 w 8023328"/>
              <a:gd name="connsiteY3871" fmla="*/ 298111 h 2380521"/>
              <a:gd name="connsiteX3872" fmla="*/ 2725698 w 8023328"/>
              <a:gd name="connsiteY3872" fmla="*/ 312900 h 2380521"/>
              <a:gd name="connsiteX3873" fmla="*/ 2711846 w 8023328"/>
              <a:gd name="connsiteY3873" fmla="*/ 298111 h 2380521"/>
              <a:gd name="connsiteX3874" fmla="*/ 2725698 w 8023328"/>
              <a:gd name="connsiteY3874" fmla="*/ 283322 h 2380521"/>
              <a:gd name="connsiteX3875" fmla="*/ 2653415 w 8023328"/>
              <a:gd name="connsiteY3875" fmla="*/ 283322 h 2380521"/>
              <a:gd name="connsiteX3876" fmla="*/ 2667270 w 8023328"/>
              <a:gd name="connsiteY3876" fmla="*/ 298111 h 2380521"/>
              <a:gd name="connsiteX3877" fmla="*/ 2653415 w 8023328"/>
              <a:gd name="connsiteY3877" fmla="*/ 312900 h 2380521"/>
              <a:gd name="connsiteX3878" fmla="*/ 2641021 w 8023328"/>
              <a:gd name="connsiteY3878" fmla="*/ 298111 h 2380521"/>
              <a:gd name="connsiteX3879" fmla="*/ 2653415 w 8023328"/>
              <a:gd name="connsiteY3879" fmla="*/ 283322 h 2380521"/>
              <a:gd name="connsiteX3880" fmla="*/ 2582583 w 8023328"/>
              <a:gd name="connsiteY3880" fmla="*/ 283322 h 2380521"/>
              <a:gd name="connsiteX3881" fmla="*/ 2596439 w 8023328"/>
              <a:gd name="connsiteY3881" fmla="*/ 298111 h 2380521"/>
              <a:gd name="connsiteX3882" fmla="*/ 2582583 w 8023328"/>
              <a:gd name="connsiteY3882" fmla="*/ 312900 h 2380521"/>
              <a:gd name="connsiteX3883" fmla="*/ 2570189 w 8023328"/>
              <a:gd name="connsiteY3883" fmla="*/ 298111 h 2380521"/>
              <a:gd name="connsiteX3884" fmla="*/ 2582583 w 8023328"/>
              <a:gd name="connsiteY3884" fmla="*/ 283322 h 2380521"/>
              <a:gd name="connsiteX3885" fmla="*/ 2511029 w 8023328"/>
              <a:gd name="connsiteY3885" fmla="*/ 283322 h 2380521"/>
              <a:gd name="connsiteX3886" fmla="*/ 2525613 w 8023328"/>
              <a:gd name="connsiteY3886" fmla="*/ 298111 h 2380521"/>
              <a:gd name="connsiteX3887" fmla="*/ 2511029 w 8023328"/>
              <a:gd name="connsiteY3887" fmla="*/ 312900 h 2380521"/>
              <a:gd name="connsiteX3888" fmla="*/ 2499361 w 8023328"/>
              <a:gd name="connsiteY3888" fmla="*/ 298111 h 2380521"/>
              <a:gd name="connsiteX3889" fmla="*/ 2511029 w 8023328"/>
              <a:gd name="connsiteY3889" fmla="*/ 283322 h 2380521"/>
              <a:gd name="connsiteX3890" fmla="*/ 2439946 w 8023328"/>
              <a:gd name="connsiteY3890" fmla="*/ 283322 h 2380521"/>
              <a:gd name="connsiteX3891" fmla="*/ 2454732 w 8023328"/>
              <a:gd name="connsiteY3891" fmla="*/ 298111 h 2380521"/>
              <a:gd name="connsiteX3892" fmla="*/ 2439946 w 8023328"/>
              <a:gd name="connsiteY3892" fmla="*/ 312900 h 2380521"/>
              <a:gd name="connsiteX3893" fmla="*/ 2425156 w 8023328"/>
              <a:gd name="connsiteY3893" fmla="*/ 298111 h 2380521"/>
              <a:gd name="connsiteX3894" fmla="*/ 2439946 w 8023328"/>
              <a:gd name="connsiteY3894" fmla="*/ 283322 h 2380521"/>
              <a:gd name="connsiteX3895" fmla="*/ 2369110 w 8023328"/>
              <a:gd name="connsiteY3895" fmla="*/ 283322 h 2380521"/>
              <a:gd name="connsiteX3896" fmla="*/ 2383899 w 8023328"/>
              <a:gd name="connsiteY3896" fmla="*/ 298111 h 2380521"/>
              <a:gd name="connsiteX3897" fmla="*/ 2369110 w 8023328"/>
              <a:gd name="connsiteY3897" fmla="*/ 312900 h 2380521"/>
              <a:gd name="connsiteX3898" fmla="*/ 2354319 w 8023328"/>
              <a:gd name="connsiteY3898" fmla="*/ 298111 h 2380521"/>
              <a:gd name="connsiteX3899" fmla="*/ 2369110 w 8023328"/>
              <a:gd name="connsiteY3899" fmla="*/ 283322 h 2380521"/>
              <a:gd name="connsiteX3900" fmla="*/ 2298280 w 8023328"/>
              <a:gd name="connsiteY3900" fmla="*/ 283322 h 2380521"/>
              <a:gd name="connsiteX3901" fmla="*/ 2313068 w 8023328"/>
              <a:gd name="connsiteY3901" fmla="*/ 298111 h 2380521"/>
              <a:gd name="connsiteX3902" fmla="*/ 2298280 w 8023328"/>
              <a:gd name="connsiteY3902" fmla="*/ 312900 h 2380521"/>
              <a:gd name="connsiteX3903" fmla="*/ 2283490 w 8023328"/>
              <a:gd name="connsiteY3903" fmla="*/ 298111 h 2380521"/>
              <a:gd name="connsiteX3904" fmla="*/ 2298280 w 8023328"/>
              <a:gd name="connsiteY3904" fmla="*/ 283322 h 2380521"/>
              <a:gd name="connsiteX3905" fmla="*/ 2226517 w 8023328"/>
              <a:gd name="connsiteY3905" fmla="*/ 283322 h 2380521"/>
              <a:gd name="connsiteX3906" fmla="*/ 2238914 w 8023328"/>
              <a:gd name="connsiteY3906" fmla="*/ 298111 h 2380521"/>
              <a:gd name="connsiteX3907" fmla="*/ 2226517 w 8023328"/>
              <a:gd name="connsiteY3907" fmla="*/ 312900 h 2380521"/>
              <a:gd name="connsiteX3908" fmla="*/ 2212658 w 8023328"/>
              <a:gd name="connsiteY3908" fmla="*/ 298111 h 2380521"/>
              <a:gd name="connsiteX3909" fmla="*/ 2226517 w 8023328"/>
              <a:gd name="connsiteY3909" fmla="*/ 283322 h 2380521"/>
              <a:gd name="connsiteX3910" fmla="*/ 2155683 w 8023328"/>
              <a:gd name="connsiteY3910" fmla="*/ 283322 h 2380521"/>
              <a:gd name="connsiteX3911" fmla="*/ 2168081 w 8023328"/>
              <a:gd name="connsiteY3911" fmla="*/ 298111 h 2380521"/>
              <a:gd name="connsiteX3912" fmla="*/ 2155683 w 8023328"/>
              <a:gd name="connsiteY3912" fmla="*/ 312900 h 2380521"/>
              <a:gd name="connsiteX3913" fmla="*/ 2141827 w 8023328"/>
              <a:gd name="connsiteY3913" fmla="*/ 298111 h 2380521"/>
              <a:gd name="connsiteX3914" fmla="*/ 2155683 w 8023328"/>
              <a:gd name="connsiteY3914" fmla="*/ 283322 h 2380521"/>
              <a:gd name="connsiteX3915" fmla="*/ 2084849 w 8023328"/>
              <a:gd name="connsiteY3915" fmla="*/ 283322 h 2380521"/>
              <a:gd name="connsiteX3916" fmla="*/ 2097248 w 8023328"/>
              <a:gd name="connsiteY3916" fmla="*/ 298111 h 2380521"/>
              <a:gd name="connsiteX3917" fmla="*/ 2084849 w 8023328"/>
              <a:gd name="connsiteY3917" fmla="*/ 312900 h 2380521"/>
              <a:gd name="connsiteX3918" fmla="*/ 2070994 w 8023328"/>
              <a:gd name="connsiteY3918" fmla="*/ 298111 h 2380521"/>
              <a:gd name="connsiteX3919" fmla="*/ 2084849 w 8023328"/>
              <a:gd name="connsiteY3919" fmla="*/ 283322 h 2380521"/>
              <a:gd name="connsiteX3920" fmla="*/ 2011835 w 8023328"/>
              <a:gd name="connsiteY3920" fmla="*/ 283322 h 2380521"/>
              <a:gd name="connsiteX3921" fmla="*/ 2026421 w 8023328"/>
              <a:gd name="connsiteY3921" fmla="*/ 298111 h 2380521"/>
              <a:gd name="connsiteX3922" fmla="*/ 2011835 w 8023328"/>
              <a:gd name="connsiteY3922" fmla="*/ 312900 h 2380521"/>
              <a:gd name="connsiteX3923" fmla="*/ 2000168 w 8023328"/>
              <a:gd name="connsiteY3923" fmla="*/ 298111 h 2380521"/>
              <a:gd name="connsiteX3924" fmla="*/ 2011835 w 8023328"/>
              <a:gd name="connsiteY3924" fmla="*/ 283322 h 2380521"/>
              <a:gd name="connsiteX3925" fmla="*/ 1938362 w 8023328"/>
              <a:gd name="connsiteY3925" fmla="*/ 283322 h 2380521"/>
              <a:gd name="connsiteX3926" fmla="*/ 1952222 w 8023328"/>
              <a:gd name="connsiteY3926" fmla="*/ 298111 h 2380521"/>
              <a:gd name="connsiteX3927" fmla="*/ 1938362 w 8023328"/>
              <a:gd name="connsiteY3927" fmla="*/ 312900 h 2380521"/>
              <a:gd name="connsiteX3928" fmla="*/ 1925968 w 8023328"/>
              <a:gd name="connsiteY3928" fmla="*/ 298111 h 2380521"/>
              <a:gd name="connsiteX3929" fmla="*/ 1938362 w 8023328"/>
              <a:gd name="connsiteY3929" fmla="*/ 283322 h 2380521"/>
              <a:gd name="connsiteX3930" fmla="*/ 1867527 w 8023328"/>
              <a:gd name="connsiteY3930" fmla="*/ 283322 h 2380521"/>
              <a:gd name="connsiteX3931" fmla="*/ 1881384 w 8023328"/>
              <a:gd name="connsiteY3931" fmla="*/ 298111 h 2380521"/>
              <a:gd name="connsiteX3932" fmla="*/ 1867527 w 8023328"/>
              <a:gd name="connsiteY3932" fmla="*/ 312900 h 2380521"/>
              <a:gd name="connsiteX3933" fmla="*/ 1855129 w 8023328"/>
              <a:gd name="connsiteY3933" fmla="*/ 298111 h 2380521"/>
              <a:gd name="connsiteX3934" fmla="*/ 1867527 w 8023328"/>
              <a:gd name="connsiteY3934" fmla="*/ 283322 h 2380521"/>
              <a:gd name="connsiteX3935" fmla="*/ 1799085 w 8023328"/>
              <a:gd name="connsiteY3935" fmla="*/ 283322 h 2380521"/>
              <a:gd name="connsiteX3936" fmla="*/ 1813876 w 8023328"/>
              <a:gd name="connsiteY3936" fmla="*/ 298111 h 2380521"/>
              <a:gd name="connsiteX3937" fmla="*/ 1799085 w 8023328"/>
              <a:gd name="connsiteY3937" fmla="*/ 312900 h 2380521"/>
              <a:gd name="connsiteX3938" fmla="*/ 1784300 w 8023328"/>
              <a:gd name="connsiteY3938" fmla="*/ 298111 h 2380521"/>
              <a:gd name="connsiteX3939" fmla="*/ 1799085 w 8023328"/>
              <a:gd name="connsiteY3939" fmla="*/ 283322 h 2380521"/>
              <a:gd name="connsiteX3940" fmla="*/ 1728262 w 8023328"/>
              <a:gd name="connsiteY3940" fmla="*/ 283322 h 2380521"/>
              <a:gd name="connsiteX3941" fmla="*/ 1743052 w 8023328"/>
              <a:gd name="connsiteY3941" fmla="*/ 298111 h 2380521"/>
              <a:gd name="connsiteX3942" fmla="*/ 1728262 w 8023328"/>
              <a:gd name="connsiteY3942" fmla="*/ 312900 h 2380521"/>
              <a:gd name="connsiteX3943" fmla="*/ 1713472 w 8023328"/>
              <a:gd name="connsiteY3943" fmla="*/ 298111 h 2380521"/>
              <a:gd name="connsiteX3944" fmla="*/ 1728262 w 8023328"/>
              <a:gd name="connsiteY3944" fmla="*/ 283322 h 2380521"/>
              <a:gd name="connsiteX3945" fmla="*/ 1656498 w 8023328"/>
              <a:gd name="connsiteY3945" fmla="*/ 283322 h 2380521"/>
              <a:gd name="connsiteX3946" fmla="*/ 1668897 w 8023328"/>
              <a:gd name="connsiteY3946" fmla="*/ 298111 h 2380521"/>
              <a:gd name="connsiteX3947" fmla="*/ 1656498 w 8023328"/>
              <a:gd name="connsiteY3947" fmla="*/ 312900 h 2380521"/>
              <a:gd name="connsiteX3948" fmla="*/ 1642650 w 8023328"/>
              <a:gd name="connsiteY3948" fmla="*/ 298111 h 2380521"/>
              <a:gd name="connsiteX3949" fmla="*/ 1656498 w 8023328"/>
              <a:gd name="connsiteY3949" fmla="*/ 283322 h 2380521"/>
              <a:gd name="connsiteX3950" fmla="*/ 1582299 w 8023328"/>
              <a:gd name="connsiteY3950" fmla="*/ 283322 h 2380521"/>
              <a:gd name="connsiteX3951" fmla="*/ 1594704 w 8023328"/>
              <a:gd name="connsiteY3951" fmla="*/ 298111 h 2380521"/>
              <a:gd name="connsiteX3952" fmla="*/ 1582299 w 8023328"/>
              <a:gd name="connsiteY3952" fmla="*/ 312900 h 2380521"/>
              <a:gd name="connsiteX3953" fmla="*/ 1568441 w 8023328"/>
              <a:gd name="connsiteY3953" fmla="*/ 298111 h 2380521"/>
              <a:gd name="connsiteX3954" fmla="*/ 1582299 w 8023328"/>
              <a:gd name="connsiteY3954" fmla="*/ 283322 h 2380521"/>
              <a:gd name="connsiteX3955" fmla="*/ 1512198 w 8023328"/>
              <a:gd name="connsiteY3955" fmla="*/ 283322 h 2380521"/>
              <a:gd name="connsiteX3956" fmla="*/ 1523865 w 8023328"/>
              <a:gd name="connsiteY3956" fmla="*/ 298111 h 2380521"/>
              <a:gd name="connsiteX3957" fmla="*/ 1512198 w 8023328"/>
              <a:gd name="connsiteY3957" fmla="*/ 312900 h 2380521"/>
              <a:gd name="connsiteX3958" fmla="*/ 1497612 w 8023328"/>
              <a:gd name="connsiteY3958" fmla="*/ 298111 h 2380521"/>
              <a:gd name="connsiteX3959" fmla="*/ 1512198 w 8023328"/>
              <a:gd name="connsiteY3959" fmla="*/ 283322 h 2380521"/>
              <a:gd name="connsiteX3960" fmla="*/ 1439173 w 8023328"/>
              <a:gd name="connsiteY3960" fmla="*/ 283322 h 2380521"/>
              <a:gd name="connsiteX3961" fmla="*/ 1453026 w 8023328"/>
              <a:gd name="connsiteY3961" fmla="*/ 298111 h 2380521"/>
              <a:gd name="connsiteX3962" fmla="*/ 1439173 w 8023328"/>
              <a:gd name="connsiteY3962" fmla="*/ 312900 h 2380521"/>
              <a:gd name="connsiteX3963" fmla="*/ 1426777 w 8023328"/>
              <a:gd name="connsiteY3963" fmla="*/ 298111 h 2380521"/>
              <a:gd name="connsiteX3964" fmla="*/ 1439173 w 8023328"/>
              <a:gd name="connsiteY3964" fmla="*/ 283322 h 2380521"/>
              <a:gd name="connsiteX3965" fmla="*/ 1368347 w 8023328"/>
              <a:gd name="connsiteY3965" fmla="*/ 283322 h 2380521"/>
              <a:gd name="connsiteX3966" fmla="*/ 1382200 w 8023328"/>
              <a:gd name="connsiteY3966" fmla="*/ 298111 h 2380521"/>
              <a:gd name="connsiteX3967" fmla="*/ 1368347 w 8023328"/>
              <a:gd name="connsiteY3967" fmla="*/ 312900 h 2380521"/>
              <a:gd name="connsiteX3968" fmla="*/ 1355949 w 8023328"/>
              <a:gd name="connsiteY3968" fmla="*/ 298111 h 2380521"/>
              <a:gd name="connsiteX3969" fmla="*/ 1368347 w 8023328"/>
              <a:gd name="connsiteY3969" fmla="*/ 283322 h 2380521"/>
              <a:gd name="connsiteX3970" fmla="*/ 1297518 w 8023328"/>
              <a:gd name="connsiteY3970" fmla="*/ 283322 h 2380521"/>
              <a:gd name="connsiteX3971" fmla="*/ 1311374 w 8023328"/>
              <a:gd name="connsiteY3971" fmla="*/ 298111 h 2380521"/>
              <a:gd name="connsiteX3972" fmla="*/ 1297518 w 8023328"/>
              <a:gd name="connsiteY3972" fmla="*/ 312900 h 2380521"/>
              <a:gd name="connsiteX3973" fmla="*/ 1285121 w 8023328"/>
              <a:gd name="connsiteY3973" fmla="*/ 298111 h 2380521"/>
              <a:gd name="connsiteX3974" fmla="*/ 1297518 w 8023328"/>
              <a:gd name="connsiteY3974" fmla="*/ 283322 h 2380521"/>
              <a:gd name="connsiteX3975" fmla="*/ 1154890 w 8023328"/>
              <a:gd name="connsiteY3975" fmla="*/ 283322 h 2380521"/>
              <a:gd name="connsiteX3976" fmla="*/ 1169683 w 8023328"/>
              <a:gd name="connsiteY3976" fmla="*/ 295719 h 2380521"/>
              <a:gd name="connsiteX3977" fmla="*/ 1154890 w 8023328"/>
              <a:gd name="connsiteY3977" fmla="*/ 309576 h 2380521"/>
              <a:gd name="connsiteX3978" fmla="*/ 1140101 w 8023328"/>
              <a:gd name="connsiteY3978" fmla="*/ 295719 h 2380521"/>
              <a:gd name="connsiteX3979" fmla="*/ 1154890 w 8023328"/>
              <a:gd name="connsiteY3979" fmla="*/ 283322 h 2380521"/>
              <a:gd name="connsiteX3980" fmla="*/ 1084059 w 8023328"/>
              <a:gd name="connsiteY3980" fmla="*/ 283322 h 2380521"/>
              <a:gd name="connsiteX3981" fmla="*/ 1098847 w 8023328"/>
              <a:gd name="connsiteY3981" fmla="*/ 295719 h 2380521"/>
              <a:gd name="connsiteX3982" fmla="*/ 1084059 w 8023328"/>
              <a:gd name="connsiteY3982" fmla="*/ 309576 h 2380521"/>
              <a:gd name="connsiteX3983" fmla="*/ 1069272 w 8023328"/>
              <a:gd name="connsiteY3983" fmla="*/ 295719 h 2380521"/>
              <a:gd name="connsiteX3984" fmla="*/ 1084059 w 8023328"/>
              <a:gd name="connsiteY3984" fmla="*/ 283322 h 2380521"/>
              <a:gd name="connsiteX3985" fmla="*/ 1013024 w 8023328"/>
              <a:gd name="connsiteY3985" fmla="*/ 283322 h 2380521"/>
              <a:gd name="connsiteX3986" fmla="*/ 1024691 w 8023328"/>
              <a:gd name="connsiteY3986" fmla="*/ 295719 h 2380521"/>
              <a:gd name="connsiteX3987" fmla="*/ 1013024 w 8023328"/>
              <a:gd name="connsiteY3987" fmla="*/ 309576 h 2380521"/>
              <a:gd name="connsiteX3988" fmla="*/ 998442 w 8023328"/>
              <a:gd name="connsiteY3988" fmla="*/ 295719 h 2380521"/>
              <a:gd name="connsiteX3989" fmla="*/ 1013024 w 8023328"/>
              <a:gd name="connsiteY3989" fmla="*/ 283322 h 2380521"/>
              <a:gd name="connsiteX3990" fmla="*/ 941467 w 8023328"/>
              <a:gd name="connsiteY3990" fmla="*/ 283322 h 2380521"/>
              <a:gd name="connsiteX3991" fmla="*/ 953869 w 8023328"/>
              <a:gd name="connsiteY3991" fmla="*/ 295719 h 2380521"/>
              <a:gd name="connsiteX3992" fmla="*/ 941467 w 8023328"/>
              <a:gd name="connsiteY3992" fmla="*/ 309576 h 2380521"/>
              <a:gd name="connsiteX3993" fmla="*/ 927612 w 8023328"/>
              <a:gd name="connsiteY3993" fmla="*/ 295719 h 2380521"/>
              <a:gd name="connsiteX3994" fmla="*/ 941467 w 8023328"/>
              <a:gd name="connsiteY3994" fmla="*/ 283322 h 2380521"/>
              <a:gd name="connsiteX3995" fmla="*/ 3299102 w 8023328"/>
              <a:gd name="connsiteY3995" fmla="*/ 212492 h 2380521"/>
              <a:gd name="connsiteX3996" fmla="*/ 3311499 w 8023328"/>
              <a:gd name="connsiteY3996" fmla="*/ 226348 h 2380521"/>
              <a:gd name="connsiteX3997" fmla="*/ 3299102 w 8023328"/>
              <a:gd name="connsiteY3997" fmla="*/ 238746 h 2380521"/>
              <a:gd name="connsiteX3998" fmla="*/ 3285245 w 8023328"/>
              <a:gd name="connsiteY3998" fmla="*/ 226348 h 2380521"/>
              <a:gd name="connsiteX3999" fmla="*/ 3299102 w 8023328"/>
              <a:gd name="connsiteY3999" fmla="*/ 212492 h 2380521"/>
              <a:gd name="connsiteX4000" fmla="*/ 3226811 w 8023328"/>
              <a:gd name="connsiteY4000" fmla="*/ 212492 h 2380521"/>
              <a:gd name="connsiteX4001" fmla="*/ 3240667 w 8023328"/>
              <a:gd name="connsiteY4001" fmla="*/ 226348 h 2380521"/>
              <a:gd name="connsiteX4002" fmla="*/ 3226811 w 8023328"/>
              <a:gd name="connsiteY4002" fmla="*/ 238746 h 2380521"/>
              <a:gd name="connsiteX4003" fmla="*/ 3214412 w 8023328"/>
              <a:gd name="connsiteY4003" fmla="*/ 226348 h 2380521"/>
              <a:gd name="connsiteX4004" fmla="*/ 3226811 w 8023328"/>
              <a:gd name="connsiteY4004" fmla="*/ 212492 h 2380521"/>
              <a:gd name="connsiteX4005" fmla="*/ 3152608 w 8023328"/>
              <a:gd name="connsiteY4005" fmla="*/ 212492 h 2380521"/>
              <a:gd name="connsiteX4006" fmla="*/ 3166462 w 8023328"/>
              <a:gd name="connsiteY4006" fmla="*/ 226348 h 2380521"/>
              <a:gd name="connsiteX4007" fmla="*/ 3152608 w 8023328"/>
              <a:gd name="connsiteY4007" fmla="*/ 238746 h 2380521"/>
              <a:gd name="connsiteX4008" fmla="*/ 3140211 w 8023328"/>
              <a:gd name="connsiteY4008" fmla="*/ 226348 h 2380521"/>
              <a:gd name="connsiteX4009" fmla="*/ 3152608 w 8023328"/>
              <a:gd name="connsiteY4009" fmla="*/ 212492 h 2380521"/>
              <a:gd name="connsiteX4010" fmla="*/ 3081775 w 8023328"/>
              <a:gd name="connsiteY4010" fmla="*/ 212492 h 2380521"/>
              <a:gd name="connsiteX4011" fmla="*/ 3095628 w 8023328"/>
              <a:gd name="connsiteY4011" fmla="*/ 226348 h 2380521"/>
              <a:gd name="connsiteX4012" fmla="*/ 3081775 w 8023328"/>
              <a:gd name="connsiteY4012" fmla="*/ 238746 h 2380521"/>
              <a:gd name="connsiteX4013" fmla="*/ 3069375 w 8023328"/>
              <a:gd name="connsiteY4013" fmla="*/ 226348 h 2380521"/>
              <a:gd name="connsiteX4014" fmla="*/ 3081775 w 8023328"/>
              <a:gd name="connsiteY4014" fmla="*/ 212492 h 2380521"/>
              <a:gd name="connsiteX4015" fmla="*/ 3013720 w 8023328"/>
              <a:gd name="connsiteY4015" fmla="*/ 212492 h 2380521"/>
              <a:gd name="connsiteX4016" fmla="*/ 3028140 w 8023328"/>
              <a:gd name="connsiteY4016" fmla="*/ 226348 h 2380521"/>
              <a:gd name="connsiteX4017" fmla="*/ 3013720 w 8023328"/>
              <a:gd name="connsiteY4017" fmla="*/ 238746 h 2380521"/>
              <a:gd name="connsiteX4018" fmla="*/ 2998542 w 8023328"/>
              <a:gd name="connsiteY4018" fmla="*/ 226348 h 2380521"/>
              <a:gd name="connsiteX4019" fmla="*/ 3013720 w 8023328"/>
              <a:gd name="connsiteY4019" fmla="*/ 212492 h 2380521"/>
              <a:gd name="connsiteX4020" fmla="*/ 2942497 w 8023328"/>
              <a:gd name="connsiteY4020" fmla="*/ 212492 h 2380521"/>
              <a:gd name="connsiteX4021" fmla="*/ 2957293 w 8023328"/>
              <a:gd name="connsiteY4021" fmla="*/ 226348 h 2380521"/>
              <a:gd name="connsiteX4022" fmla="*/ 2942497 w 8023328"/>
              <a:gd name="connsiteY4022" fmla="*/ 238746 h 2380521"/>
              <a:gd name="connsiteX4023" fmla="*/ 2927716 w 8023328"/>
              <a:gd name="connsiteY4023" fmla="*/ 226348 h 2380521"/>
              <a:gd name="connsiteX4024" fmla="*/ 2942497 w 8023328"/>
              <a:gd name="connsiteY4024" fmla="*/ 212492 h 2380521"/>
              <a:gd name="connsiteX4025" fmla="*/ 2867363 w 8023328"/>
              <a:gd name="connsiteY4025" fmla="*/ 212492 h 2380521"/>
              <a:gd name="connsiteX4026" fmla="*/ 2879765 w 8023328"/>
              <a:gd name="connsiteY4026" fmla="*/ 226348 h 2380521"/>
              <a:gd name="connsiteX4027" fmla="*/ 2867363 w 8023328"/>
              <a:gd name="connsiteY4027" fmla="*/ 238746 h 2380521"/>
              <a:gd name="connsiteX4028" fmla="*/ 2853510 w 8023328"/>
              <a:gd name="connsiteY4028" fmla="*/ 226348 h 2380521"/>
              <a:gd name="connsiteX4029" fmla="*/ 2867363 w 8023328"/>
              <a:gd name="connsiteY4029" fmla="*/ 212492 h 2380521"/>
              <a:gd name="connsiteX4030" fmla="*/ 2796538 w 8023328"/>
              <a:gd name="connsiteY4030" fmla="*/ 212492 h 2380521"/>
              <a:gd name="connsiteX4031" fmla="*/ 2808934 w 8023328"/>
              <a:gd name="connsiteY4031" fmla="*/ 226348 h 2380521"/>
              <a:gd name="connsiteX4032" fmla="*/ 2796538 w 8023328"/>
              <a:gd name="connsiteY4032" fmla="*/ 238746 h 2380521"/>
              <a:gd name="connsiteX4033" fmla="*/ 2782680 w 8023328"/>
              <a:gd name="connsiteY4033" fmla="*/ 226348 h 2380521"/>
              <a:gd name="connsiteX4034" fmla="*/ 2796538 w 8023328"/>
              <a:gd name="connsiteY4034" fmla="*/ 212492 h 2380521"/>
              <a:gd name="connsiteX4035" fmla="*/ 2725698 w 8023328"/>
              <a:gd name="connsiteY4035" fmla="*/ 212492 h 2380521"/>
              <a:gd name="connsiteX4036" fmla="*/ 2738102 w 8023328"/>
              <a:gd name="connsiteY4036" fmla="*/ 226348 h 2380521"/>
              <a:gd name="connsiteX4037" fmla="*/ 2725698 w 8023328"/>
              <a:gd name="connsiteY4037" fmla="*/ 238746 h 2380521"/>
              <a:gd name="connsiteX4038" fmla="*/ 2711852 w 8023328"/>
              <a:gd name="connsiteY4038" fmla="*/ 226348 h 2380521"/>
              <a:gd name="connsiteX4039" fmla="*/ 2725698 w 8023328"/>
              <a:gd name="connsiteY4039" fmla="*/ 212492 h 2380521"/>
              <a:gd name="connsiteX4040" fmla="*/ 2653420 w 8023328"/>
              <a:gd name="connsiteY4040" fmla="*/ 212492 h 2380521"/>
              <a:gd name="connsiteX4041" fmla="*/ 2667273 w 8023328"/>
              <a:gd name="connsiteY4041" fmla="*/ 226348 h 2380521"/>
              <a:gd name="connsiteX4042" fmla="*/ 2653420 w 8023328"/>
              <a:gd name="connsiteY4042" fmla="*/ 238746 h 2380521"/>
              <a:gd name="connsiteX4043" fmla="*/ 2641021 w 8023328"/>
              <a:gd name="connsiteY4043" fmla="*/ 226348 h 2380521"/>
              <a:gd name="connsiteX4044" fmla="*/ 2653420 w 8023328"/>
              <a:gd name="connsiteY4044" fmla="*/ 212492 h 2380521"/>
              <a:gd name="connsiteX4045" fmla="*/ 2582586 w 8023328"/>
              <a:gd name="connsiteY4045" fmla="*/ 212492 h 2380521"/>
              <a:gd name="connsiteX4046" fmla="*/ 2596439 w 8023328"/>
              <a:gd name="connsiteY4046" fmla="*/ 226348 h 2380521"/>
              <a:gd name="connsiteX4047" fmla="*/ 2582586 w 8023328"/>
              <a:gd name="connsiteY4047" fmla="*/ 238746 h 2380521"/>
              <a:gd name="connsiteX4048" fmla="*/ 2570189 w 8023328"/>
              <a:gd name="connsiteY4048" fmla="*/ 226348 h 2380521"/>
              <a:gd name="connsiteX4049" fmla="*/ 2582586 w 8023328"/>
              <a:gd name="connsiteY4049" fmla="*/ 212492 h 2380521"/>
              <a:gd name="connsiteX4050" fmla="*/ 2511029 w 8023328"/>
              <a:gd name="connsiteY4050" fmla="*/ 212492 h 2380521"/>
              <a:gd name="connsiteX4051" fmla="*/ 2525616 w 8023328"/>
              <a:gd name="connsiteY4051" fmla="*/ 226348 h 2380521"/>
              <a:gd name="connsiteX4052" fmla="*/ 2511029 w 8023328"/>
              <a:gd name="connsiteY4052" fmla="*/ 238746 h 2380521"/>
              <a:gd name="connsiteX4053" fmla="*/ 2499364 w 8023328"/>
              <a:gd name="connsiteY4053" fmla="*/ 226348 h 2380521"/>
              <a:gd name="connsiteX4054" fmla="*/ 2511029 w 8023328"/>
              <a:gd name="connsiteY4054" fmla="*/ 212492 h 2380521"/>
              <a:gd name="connsiteX4055" fmla="*/ 2439946 w 8023328"/>
              <a:gd name="connsiteY4055" fmla="*/ 212492 h 2380521"/>
              <a:gd name="connsiteX4056" fmla="*/ 2454732 w 8023328"/>
              <a:gd name="connsiteY4056" fmla="*/ 226348 h 2380521"/>
              <a:gd name="connsiteX4057" fmla="*/ 2439946 w 8023328"/>
              <a:gd name="connsiteY4057" fmla="*/ 238746 h 2380521"/>
              <a:gd name="connsiteX4058" fmla="*/ 2425156 w 8023328"/>
              <a:gd name="connsiteY4058" fmla="*/ 226348 h 2380521"/>
              <a:gd name="connsiteX4059" fmla="*/ 2439946 w 8023328"/>
              <a:gd name="connsiteY4059" fmla="*/ 212492 h 2380521"/>
              <a:gd name="connsiteX4060" fmla="*/ 2369110 w 8023328"/>
              <a:gd name="connsiteY4060" fmla="*/ 212492 h 2380521"/>
              <a:gd name="connsiteX4061" fmla="*/ 2383900 w 8023328"/>
              <a:gd name="connsiteY4061" fmla="*/ 226348 h 2380521"/>
              <a:gd name="connsiteX4062" fmla="*/ 2369110 w 8023328"/>
              <a:gd name="connsiteY4062" fmla="*/ 238746 h 2380521"/>
              <a:gd name="connsiteX4063" fmla="*/ 2354323 w 8023328"/>
              <a:gd name="connsiteY4063" fmla="*/ 226348 h 2380521"/>
              <a:gd name="connsiteX4064" fmla="*/ 2369110 w 8023328"/>
              <a:gd name="connsiteY4064" fmla="*/ 212492 h 2380521"/>
              <a:gd name="connsiteX4065" fmla="*/ 2298283 w 8023328"/>
              <a:gd name="connsiteY4065" fmla="*/ 212492 h 2380521"/>
              <a:gd name="connsiteX4066" fmla="*/ 2313070 w 8023328"/>
              <a:gd name="connsiteY4066" fmla="*/ 227280 h 2380521"/>
              <a:gd name="connsiteX4067" fmla="*/ 2298283 w 8023328"/>
              <a:gd name="connsiteY4067" fmla="*/ 242069 h 2380521"/>
              <a:gd name="connsiteX4068" fmla="*/ 2283493 w 8023328"/>
              <a:gd name="connsiteY4068" fmla="*/ 227280 h 2380521"/>
              <a:gd name="connsiteX4069" fmla="*/ 2298283 w 8023328"/>
              <a:gd name="connsiteY4069" fmla="*/ 212492 h 2380521"/>
              <a:gd name="connsiteX4070" fmla="*/ 2226517 w 8023328"/>
              <a:gd name="connsiteY4070" fmla="*/ 212492 h 2380521"/>
              <a:gd name="connsiteX4071" fmla="*/ 2238916 w 8023328"/>
              <a:gd name="connsiteY4071" fmla="*/ 227280 h 2380521"/>
              <a:gd name="connsiteX4072" fmla="*/ 2226517 w 8023328"/>
              <a:gd name="connsiteY4072" fmla="*/ 242069 h 2380521"/>
              <a:gd name="connsiteX4073" fmla="*/ 2212659 w 8023328"/>
              <a:gd name="connsiteY4073" fmla="*/ 227280 h 2380521"/>
              <a:gd name="connsiteX4074" fmla="*/ 2226517 w 8023328"/>
              <a:gd name="connsiteY4074" fmla="*/ 212492 h 2380521"/>
              <a:gd name="connsiteX4075" fmla="*/ 2155683 w 8023328"/>
              <a:gd name="connsiteY4075" fmla="*/ 212492 h 2380521"/>
              <a:gd name="connsiteX4076" fmla="*/ 2168081 w 8023328"/>
              <a:gd name="connsiteY4076" fmla="*/ 227280 h 2380521"/>
              <a:gd name="connsiteX4077" fmla="*/ 2155683 w 8023328"/>
              <a:gd name="connsiteY4077" fmla="*/ 242069 h 2380521"/>
              <a:gd name="connsiteX4078" fmla="*/ 2141827 w 8023328"/>
              <a:gd name="connsiteY4078" fmla="*/ 227280 h 2380521"/>
              <a:gd name="connsiteX4079" fmla="*/ 2155683 w 8023328"/>
              <a:gd name="connsiteY4079" fmla="*/ 212492 h 2380521"/>
              <a:gd name="connsiteX4080" fmla="*/ 2084851 w 8023328"/>
              <a:gd name="connsiteY4080" fmla="*/ 212492 h 2380521"/>
              <a:gd name="connsiteX4081" fmla="*/ 2097249 w 8023328"/>
              <a:gd name="connsiteY4081" fmla="*/ 227280 h 2380521"/>
              <a:gd name="connsiteX4082" fmla="*/ 2084851 w 8023328"/>
              <a:gd name="connsiteY4082" fmla="*/ 242069 h 2380521"/>
              <a:gd name="connsiteX4083" fmla="*/ 2070995 w 8023328"/>
              <a:gd name="connsiteY4083" fmla="*/ 227280 h 2380521"/>
              <a:gd name="connsiteX4084" fmla="*/ 2084851 w 8023328"/>
              <a:gd name="connsiteY4084" fmla="*/ 212492 h 2380521"/>
              <a:gd name="connsiteX4085" fmla="*/ 2011835 w 8023328"/>
              <a:gd name="connsiteY4085" fmla="*/ 212492 h 2380521"/>
              <a:gd name="connsiteX4086" fmla="*/ 2026421 w 8023328"/>
              <a:gd name="connsiteY4086" fmla="*/ 227280 h 2380521"/>
              <a:gd name="connsiteX4087" fmla="*/ 2011835 w 8023328"/>
              <a:gd name="connsiteY4087" fmla="*/ 242069 h 2380521"/>
              <a:gd name="connsiteX4088" fmla="*/ 2000168 w 8023328"/>
              <a:gd name="connsiteY4088" fmla="*/ 227280 h 2380521"/>
              <a:gd name="connsiteX4089" fmla="*/ 2011835 w 8023328"/>
              <a:gd name="connsiteY4089" fmla="*/ 212492 h 2380521"/>
              <a:gd name="connsiteX4090" fmla="*/ 1938362 w 8023328"/>
              <a:gd name="connsiteY4090" fmla="*/ 212492 h 2380521"/>
              <a:gd name="connsiteX4091" fmla="*/ 1952222 w 8023328"/>
              <a:gd name="connsiteY4091" fmla="*/ 227280 h 2380521"/>
              <a:gd name="connsiteX4092" fmla="*/ 1938362 w 8023328"/>
              <a:gd name="connsiteY4092" fmla="*/ 242069 h 2380521"/>
              <a:gd name="connsiteX4093" fmla="*/ 1925971 w 8023328"/>
              <a:gd name="connsiteY4093" fmla="*/ 227280 h 2380521"/>
              <a:gd name="connsiteX4094" fmla="*/ 1938362 w 8023328"/>
              <a:gd name="connsiteY4094" fmla="*/ 212492 h 2380521"/>
              <a:gd name="connsiteX4095" fmla="*/ 1867530 w 8023328"/>
              <a:gd name="connsiteY4095" fmla="*/ 212492 h 2380521"/>
              <a:gd name="connsiteX4096" fmla="*/ 1881387 w 8023328"/>
              <a:gd name="connsiteY4096" fmla="*/ 227280 h 2380521"/>
              <a:gd name="connsiteX4097" fmla="*/ 1867530 w 8023328"/>
              <a:gd name="connsiteY4097" fmla="*/ 242069 h 2380521"/>
              <a:gd name="connsiteX4098" fmla="*/ 1855129 w 8023328"/>
              <a:gd name="connsiteY4098" fmla="*/ 227280 h 2380521"/>
              <a:gd name="connsiteX4099" fmla="*/ 1867530 w 8023328"/>
              <a:gd name="connsiteY4099" fmla="*/ 212492 h 2380521"/>
              <a:gd name="connsiteX4100" fmla="*/ 1799087 w 8023328"/>
              <a:gd name="connsiteY4100" fmla="*/ 212492 h 2380521"/>
              <a:gd name="connsiteX4101" fmla="*/ 1813879 w 8023328"/>
              <a:gd name="connsiteY4101" fmla="*/ 227280 h 2380521"/>
              <a:gd name="connsiteX4102" fmla="*/ 1799087 w 8023328"/>
              <a:gd name="connsiteY4102" fmla="*/ 242069 h 2380521"/>
              <a:gd name="connsiteX4103" fmla="*/ 1784303 w 8023328"/>
              <a:gd name="connsiteY4103" fmla="*/ 227280 h 2380521"/>
              <a:gd name="connsiteX4104" fmla="*/ 1799087 w 8023328"/>
              <a:gd name="connsiteY4104" fmla="*/ 212492 h 2380521"/>
              <a:gd name="connsiteX4105" fmla="*/ 1728262 w 8023328"/>
              <a:gd name="connsiteY4105" fmla="*/ 212492 h 2380521"/>
              <a:gd name="connsiteX4106" fmla="*/ 1743052 w 8023328"/>
              <a:gd name="connsiteY4106" fmla="*/ 227280 h 2380521"/>
              <a:gd name="connsiteX4107" fmla="*/ 1728262 w 8023328"/>
              <a:gd name="connsiteY4107" fmla="*/ 242069 h 2380521"/>
              <a:gd name="connsiteX4108" fmla="*/ 1713472 w 8023328"/>
              <a:gd name="connsiteY4108" fmla="*/ 227280 h 2380521"/>
              <a:gd name="connsiteX4109" fmla="*/ 1728262 w 8023328"/>
              <a:gd name="connsiteY4109" fmla="*/ 212492 h 2380521"/>
              <a:gd name="connsiteX4110" fmla="*/ 1656498 w 8023328"/>
              <a:gd name="connsiteY4110" fmla="*/ 212492 h 2380521"/>
              <a:gd name="connsiteX4111" fmla="*/ 1668900 w 8023328"/>
              <a:gd name="connsiteY4111" fmla="*/ 227280 h 2380521"/>
              <a:gd name="connsiteX4112" fmla="*/ 1656498 w 8023328"/>
              <a:gd name="connsiteY4112" fmla="*/ 242069 h 2380521"/>
              <a:gd name="connsiteX4113" fmla="*/ 1642655 w 8023328"/>
              <a:gd name="connsiteY4113" fmla="*/ 227280 h 2380521"/>
              <a:gd name="connsiteX4114" fmla="*/ 1656498 w 8023328"/>
              <a:gd name="connsiteY4114" fmla="*/ 212492 h 2380521"/>
              <a:gd name="connsiteX4115" fmla="*/ 1582299 w 8023328"/>
              <a:gd name="connsiteY4115" fmla="*/ 212492 h 2380521"/>
              <a:gd name="connsiteX4116" fmla="*/ 1594704 w 8023328"/>
              <a:gd name="connsiteY4116" fmla="*/ 227280 h 2380521"/>
              <a:gd name="connsiteX4117" fmla="*/ 1582299 w 8023328"/>
              <a:gd name="connsiteY4117" fmla="*/ 242069 h 2380521"/>
              <a:gd name="connsiteX4118" fmla="*/ 1568441 w 8023328"/>
              <a:gd name="connsiteY4118" fmla="*/ 227280 h 2380521"/>
              <a:gd name="connsiteX4119" fmla="*/ 1582299 w 8023328"/>
              <a:gd name="connsiteY4119" fmla="*/ 212492 h 2380521"/>
              <a:gd name="connsiteX4120" fmla="*/ 1512198 w 8023328"/>
              <a:gd name="connsiteY4120" fmla="*/ 212492 h 2380521"/>
              <a:gd name="connsiteX4121" fmla="*/ 1523867 w 8023328"/>
              <a:gd name="connsiteY4121" fmla="*/ 227280 h 2380521"/>
              <a:gd name="connsiteX4122" fmla="*/ 1512198 w 8023328"/>
              <a:gd name="connsiteY4122" fmla="*/ 242069 h 2380521"/>
              <a:gd name="connsiteX4123" fmla="*/ 1497612 w 8023328"/>
              <a:gd name="connsiteY4123" fmla="*/ 227280 h 2380521"/>
              <a:gd name="connsiteX4124" fmla="*/ 1512198 w 8023328"/>
              <a:gd name="connsiteY4124" fmla="*/ 212492 h 2380521"/>
              <a:gd name="connsiteX4125" fmla="*/ 1439173 w 8023328"/>
              <a:gd name="connsiteY4125" fmla="*/ 212492 h 2380521"/>
              <a:gd name="connsiteX4126" fmla="*/ 1453026 w 8023328"/>
              <a:gd name="connsiteY4126" fmla="*/ 227280 h 2380521"/>
              <a:gd name="connsiteX4127" fmla="*/ 1439173 w 8023328"/>
              <a:gd name="connsiteY4127" fmla="*/ 242069 h 2380521"/>
              <a:gd name="connsiteX4128" fmla="*/ 1426777 w 8023328"/>
              <a:gd name="connsiteY4128" fmla="*/ 227280 h 2380521"/>
              <a:gd name="connsiteX4129" fmla="*/ 1439173 w 8023328"/>
              <a:gd name="connsiteY4129" fmla="*/ 212492 h 2380521"/>
              <a:gd name="connsiteX4130" fmla="*/ 1368349 w 8023328"/>
              <a:gd name="connsiteY4130" fmla="*/ 212492 h 2380521"/>
              <a:gd name="connsiteX4131" fmla="*/ 1382203 w 8023328"/>
              <a:gd name="connsiteY4131" fmla="*/ 227280 h 2380521"/>
              <a:gd name="connsiteX4132" fmla="*/ 1368349 w 8023328"/>
              <a:gd name="connsiteY4132" fmla="*/ 242069 h 2380521"/>
              <a:gd name="connsiteX4133" fmla="*/ 1355950 w 8023328"/>
              <a:gd name="connsiteY4133" fmla="*/ 227280 h 2380521"/>
              <a:gd name="connsiteX4134" fmla="*/ 1368349 w 8023328"/>
              <a:gd name="connsiteY4134" fmla="*/ 212492 h 2380521"/>
              <a:gd name="connsiteX4135" fmla="*/ 1297520 w 8023328"/>
              <a:gd name="connsiteY4135" fmla="*/ 212492 h 2380521"/>
              <a:gd name="connsiteX4136" fmla="*/ 1311374 w 8023328"/>
              <a:gd name="connsiteY4136" fmla="*/ 227280 h 2380521"/>
              <a:gd name="connsiteX4137" fmla="*/ 1297520 w 8023328"/>
              <a:gd name="connsiteY4137" fmla="*/ 242069 h 2380521"/>
              <a:gd name="connsiteX4138" fmla="*/ 1285121 w 8023328"/>
              <a:gd name="connsiteY4138" fmla="*/ 227280 h 2380521"/>
              <a:gd name="connsiteX4139" fmla="*/ 1297520 w 8023328"/>
              <a:gd name="connsiteY4139" fmla="*/ 212492 h 2380521"/>
              <a:gd name="connsiteX4140" fmla="*/ 1225708 w 8023328"/>
              <a:gd name="connsiteY4140" fmla="*/ 212492 h 2380521"/>
              <a:gd name="connsiteX4141" fmla="*/ 1240496 w 8023328"/>
              <a:gd name="connsiteY4141" fmla="*/ 227280 h 2380521"/>
              <a:gd name="connsiteX4142" fmla="*/ 1225708 w 8023328"/>
              <a:gd name="connsiteY4142" fmla="*/ 242069 h 2380521"/>
              <a:gd name="connsiteX4143" fmla="*/ 1210934 w 8023328"/>
              <a:gd name="connsiteY4143" fmla="*/ 227280 h 2380521"/>
              <a:gd name="connsiteX4144" fmla="*/ 1225708 w 8023328"/>
              <a:gd name="connsiteY4144" fmla="*/ 212492 h 2380521"/>
              <a:gd name="connsiteX4145" fmla="*/ 1154891 w 8023328"/>
              <a:gd name="connsiteY4145" fmla="*/ 212492 h 2380521"/>
              <a:gd name="connsiteX4146" fmla="*/ 1169683 w 8023328"/>
              <a:gd name="connsiteY4146" fmla="*/ 227280 h 2380521"/>
              <a:gd name="connsiteX4147" fmla="*/ 1154891 w 8023328"/>
              <a:gd name="connsiteY4147" fmla="*/ 242069 h 2380521"/>
              <a:gd name="connsiteX4148" fmla="*/ 1140105 w 8023328"/>
              <a:gd name="connsiteY4148" fmla="*/ 227280 h 2380521"/>
              <a:gd name="connsiteX4149" fmla="*/ 1154891 w 8023328"/>
              <a:gd name="connsiteY4149" fmla="*/ 212492 h 2380521"/>
              <a:gd name="connsiteX4150" fmla="*/ 1084063 w 8023328"/>
              <a:gd name="connsiteY4150" fmla="*/ 212492 h 2380521"/>
              <a:gd name="connsiteX4151" fmla="*/ 1098847 w 8023328"/>
              <a:gd name="connsiteY4151" fmla="*/ 227280 h 2380521"/>
              <a:gd name="connsiteX4152" fmla="*/ 1084063 w 8023328"/>
              <a:gd name="connsiteY4152" fmla="*/ 242069 h 2380521"/>
              <a:gd name="connsiteX4153" fmla="*/ 1069276 w 8023328"/>
              <a:gd name="connsiteY4153" fmla="*/ 227280 h 2380521"/>
              <a:gd name="connsiteX4154" fmla="*/ 1084063 w 8023328"/>
              <a:gd name="connsiteY4154" fmla="*/ 212492 h 2380521"/>
              <a:gd name="connsiteX4155" fmla="*/ 3013723 w 8023328"/>
              <a:gd name="connsiteY4155" fmla="*/ 141661 h 2380521"/>
              <a:gd name="connsiteX4156" fmla="*/ 3028140 w 8023328"/>
              <a:gd name="connsiteY4156" fmla="*/ 155517 h 2380521"/>
              <a:gd name="connsiteX4157" fmla="*/ 3013723 w 8023328"/>
              <a:gd name="connsiteY4157" fmla="*/ 167915 h 2380521"/>
              <a:gd name="connsiteX4158" fmla="*/ 2998545 w 8023328"/>
              <a:gd name="connsiteY4158" fmla="*/ 155517 h 2380521"/>
              <a:gd name="connsiteX4159" fmla="*/ 3013723 w 8023328"/>
              <a:gd name="connsiteY4159" fmla="*/ 141661 h 2380521"/>
              <a:gd name="connsiteX4160" fmla="*/ 2942497 w 8023328"/>
              <a:gd name="connsiteY4160" fmla="*/ 141661 h 2380521"/>
              <a:gd name="connsiteX4161" fmla="*/ 2957293 w 8023328"/>
              <a:gd name="connsiteY4161" fmla="*/ 155517 h 2380521"/>
              <a:gd name="connsiteX4162" fmla="*/ 2942497 w 8023328"/>
              <a:gd name="connsiteY4162" fmla="*/ 167915 h 2380521"/>
              <a:gd name="connsiteX4163" fmla="*/ 2927716 w 8023328"/>
              <a:gd name="connsiteY4163" fmla="*/ 155517 h 2380521"/>
              <a:gd name="connsiteX4164" fmla="*/ 2942497 w 8023328"/>
              <a:gd name="connsiteY4164" fmla="*/ 141661 h 2380521"/>
              <a:gd name="connsiteX4165" fmla="*/ 2867363 w 8023328"/>
              <a:gd name="connsiteY4165" fmla="*/ 141661 h 2380521"/>
              <a:gd name="connsiteX4166" fmla="*/ 2879765 w 8023328"/>
              <a:gd name="connsiteY4166" fmla="*/ 155517 h 2380521"/>
              <a:gd name="connsiteX4167" fmla="*/ 2867363 w 8023328"/>
              <a:gd name="connsiteY4167" fmla="*/ 167915 h 2380521"/>
              <a:gd name="connsiteX4168" fmla="*/ 2853510 w 8023328"/>
              <a:gd name="connsiteY4168" fmla="*/ 155517 h 2380521"/>
              <a:gd name="connsiteX4169" fmla="*/ 2867363 w 8023328"/>
              <a:gd name="connsiteY4169" fmla="*/ 141661 h 2380521"/>
              <a:gd name="connsiteX4170" fmla="*/ 2796538 w 8023328"/>
              <a:gd name="connsiteY4170" fmla="*/ 141661 h 2380521"/>
              <a:gd name="connsiteX4171" fmla="*/ 2808940 w 8023328"/>
              <a:gd name="connsiteY4171" fmla="*/ 155517 h 2380521"/>
              <a:gd name="connsiteX4172" fmla="*/ 2796538 w 8023328"/>
              <a:gd name="connsiteY4172" fmla="*/ 167915 h 2380521"/>
              <a:gd name="connsiteX4173" fmla="*/ 2782683 w 8023328"/>
              <a:gd name="connsiteY4173" fmla="*/ 155517 h 2380521"/>
              <a:gd name="connsiteX4174" fmla="*/ 2796538 w 8023328"/>
              <a:gd name="connsiteY4174" fmla="*/ 141661 h 2380521"/>
              <a:gd name="connsiteX4175" fmla="*/ 2725703 w 8023328"/>
              <a:gd name="connsiteY4175" fmla="*/ 141661 h 2380521"/>
              <a:gd name="connsiteX4176" fmla="*/ 2738105 w 8023328"/>
              <a:gd name="connsiteY4176" fmla="*/ 155517 h 2380521"/>
              <a:gd name="connsiteX4177" fmla="*/ 2725703 w 8023328"/>
              <a:gd name="connsiteY4177" fmla="*/ 167915 h 2380521"/>
              <a:gd name="connsiteX4178" fmla="*/ 2711852 w 8023328"/>
              <a:gd name="connsiteY4178" fmla="*/ 155517 h 2380521"/>
              <a:gd name="connsiteX4179" fmla="*/ 2725703 w 8023328"/>
              <a:gd name="connsiteY4179" fmla="*/ 141661 h 2380521"/>
              <a:gd name="connsiteX4180" fmla="*/ 2653420 w 8023328"/>
              <a:gd name="connsiteY4180" fmla="*/ 141661 h 2380521"/>
              <a:gd name="connsiteX4181" fmla="*/ 2667273 w 8023328"/>
              <a:gd name="connsiteY4181" fmla="*/ 155517 h 2380521"/>
              <a:gd name="connsiteX4182" fmla="*/ 2653420 w 8023328"/>
              <a:gd name="connsiteY4182" fmla="*/ 167915 h 2380521"/>
              <a:gd name="connsiteX4183" fmla="*/ 2641021 w 8023328"/>
              <a:gd name="connsiteY4183" fmla="*/ 155517 h 2380521"/>
              <a:gd name="connsiteX4184" fmla="*/ 2653420 w 8023328"/>
              <a:gd name="connsiteY4184" fmla="*/ 141661 h 2380521"/>
              <a:gd name="connsiteX4185" fmla="*/ 2582586 w 8023328"/>
              <a:gd name="connsiteY4185" fmla="*/ 141661 h 2380521"/>
              <a:gd name="connsiteX4186" fmla="*/ 2596442 w 8023328"/>
              <a:gd name="connsiteY4186" fmla="*/ 155517 h 2380521"/>
              <a:gd name="connsiteX4187" fmla="*/ 2582586 w 8023328"/>
              <a:gd name="connsiteY4187" fmla="*/ 167915 h 2380521"/>
              <a:gd name="connsiteX4188" fmla="*/ 2570189 w 8023328"/>
              <a:gd name="connsiteY4188" fmla="*/ 155517 h 2380521"/>
              <a:gd name="connsiteX4189" fmla="*/ 2582586 w 8023328"/>
              <a:gd name="connsiteY4189" fmla="*/ 141661 h 2380521"/>
              <a:gd name="connsiteX4190" fmla="*/ 2511034 w 8023328"/>
              <a:gd name="connsiteY4190" fmla="*/ 141661 h 2380521"/>
              <a:gd name="connsiteX4191" fmla="*/ 2525616 w 8023328"/>
              <a:gd name="connsiteY4191" fmla="*/ 155517 h 2380521"/>
              <a:gd name="connsiteX4192" fmla="*/ 2511034 w 8023328"/>
              <a:gd name="connsiteY4192" fmla="*/ 167915 h 2380521"/>
              <a:gd name="connsiteX4193" fmla="*/ 2499364 w 8023328"/>
              <a:gd name="connsiteY4193" fmla="*/ 155517 h 2380521"/>
              <a:gd name="connsiteX4194" fmla="*/ 2511034 w 8023328"/>
              <a:gd name="connsiteY4194" fmla="*/ 141661 h 2380521"/>
              <a:gd name="connsiteX4195" fmla="*/ 2439946 w 8023328"/>
              <a:gd name="connsiteY4195" fmla="*/ 141661 h 2380521"/>
              <a:gd name="connsiteX4196" fmla="*/ 2454734 w 8023328"/>
              <a:gd name="connsiteY4196" fmla="*/ 155517 h 2380521"/>
              <a:gd name="connsiteX4197" fmla="*/ 2439946 w 8023328"/>
              <a:gd name="connsiteY4197" fmla="*/ 167915 h 2380521"/>
              <a:gd name="connsiteX4198" fmla="*/ 2425159 w 8023328"/>
              <a:gd name="connsiteY4198" fmla="*/ 155517 h 2380521"/>
              <a:gd name="connsiteX4199" fmla="*/ 2439946 w 8023328"/>
              <a:gd name="connsiteY4199" fmla="*/ 141661 h 2380521"/>
              <a:gd name="connsiteX4200" fmla="*/ 2369114 w 8023328"/>
              <a:gd name="connsiteY4200" fmla="*/ 141661 h 2380521"/>
              <a:gd name="connsiteX4201" fmla="*/ 2383900 w 8023328"/>
              <a:gd name="connsiteY4201" fmla="*/ 155517 h 2380521"/>
              <a:gd name="connsiteX4202" fmla="*/ 2369114 w 8023328"/>
              <a:gd name="connsiteY4202" fmla="*/ 167915 h 2380521"/>
              <a:gd name="connsiteX4203" fmla="*/ 2354323 w 8023328"/>
              <a:gd name="connsiteY4203" fmla="*/ 155517 h 2380521"/>
              <a:gd name="connsiteX4204" fmla="*/ 2369114 w 8023328"/>
              <a:gd name="connsiteY4204" fmla="*/ 141661 h 2380521"/>
              <a:gd name="connsiteX4205" fmla="*/ 2298283 w 8023328"/>
              <a:gd name="connsiteY4205" fmla="*/ 141661 h 2380521"/>
              <a:gd name="connsiteX4206" fmla="*/ 2313070 w 8023328"/>
              <a:gd name="connsiteY4206" fmla="*/ 155517 h 2380521"/>
              <a:gd name="connsiteX4207" fmla="*/ 2298283 w 8023328"/>
              <a:gd name="connsiteY4207" fmla="*/ 167915 h 2380521"/>
              <a:gd name="connsiteX4208" fmla="*/ 2283493 w 8023328"/>
              <a:gd name="connsiteY4208" fmla="*/ 155517 h 2380521"/>
              <a:gd name="connsiteX4209" fmla="*/ 2298283 w 8023328"/>
              <a:gd name="connsiteY4209" fmla="*/ 141661 h 2380521"/>
              <a:gd name="connsiteX4210" fmla="*/ 2226517 w 8023328"/>
              <a:gd name="connsiteY4210" fmla="*/ 141661 h 2380521"/>
              <a:gd name="connsiteX4211" fmla="*/ 2238916 w 8023328"/>
              <a:gd name="connsiteY4211" fmla="*/ 155517 h 2380521"/>
              <a:gd name="connsiteX4212" fmla="*/ 2226517 w 8023328"/>
              <a:gd name="connsiteY4212" fmla="*/ 167915 h 2380521"/>
              <a:gd name="connsiteX4213" fmla="*/ 2212659 w 8023328"/>
              <a:gd name="connsiteY4213" fmla="*/ 155517 h 2380521"/>
              <a:gd name="connsiteX4214" fmla="*/ 2226517 w 8023328"/>
              <a:gd name="connsiteY4214" fmla="*/ 141661 h 2380521"/>
              <a:gd name="connsiteX4215" fmla="*/ 2155683 w 8023328"/>
              <a:gd name="connsiteY4215" fmla="*/ 141661 h 2380521"/>
              <a:gd name="connsiteX4216" fmla="*/ 2168084 w 8023328"/>
              <a:gd name="connsiteY4216" fmla="*/ 155517 h 2380521"/>
              <a:gd name="connsiteX4217" fmla="*/ 2155683 w 8023328"/>
              <a:gd name="connsiteY4217" fmla="*/ 167915 h 2380521"/>
              <a:gd name="connsiteX4218" fmla="*/ 2141827 w 8023328"/>
              <a:gd name="connsiteY4218" fmla="*/ 155517 h 2380521"/>
              <a:gd name="connsiteX4219" fmla="*/ 2155683 w 8023328"/>
              <a:gd name="connsiteY4219" fmla="*/ 141661 h 2380521"/>
              <a:gd name="connsiteX4220" fmla="*/ 2084851 w 8023328"/>
              <a:gd name="connsiteY4220" fmla="*/ 141661 h 2380521"/>
              <a:gd name="connsiteX4221" fmla="*/ 2097249 w 8023328"/>
              <a:gd name="connsiteY4221" fmla="*/ 155517 h 2380521"/>
              <a:gd name="connsiteX4222" fmla="*/ 2084851 w 8023328"/>
              <a:gd name="connsiteY4222" fmla="*/ 167915 h 2380521"/>
              <a:gd name="connsiteX4223" fmla="*/ 2070995 w 8023328"/>
              <a:gd name="connsiteY4223" fmla="*/ 155517 h 2380521"/>
              <a:gd name="connsiteX4224" fmla="*/ 2084851 w 8023328"/>
              <a:gd name="connsiteY4224" fmla="*/ 141661 h 2380521"/>
              <a:gd name="connsiteX4225" fmla="*/ 2011835 w 8023328"/>
              <a:gd name="connsiteY4225" fmla="*/ 141661 h 2380521"/>
              <a:gd name="connsiteX4226" fmla="*/ 2026421 w 8023328"/>
              <a:gd name="connsiteY4226" fmla="*/ 155517 h 2380521"/>
              <a:gd name="connsiteX4227" fmla="*/ 2011835 w 8023328"/>
              <a:gd name="connsiteY4227" fmla="*/ 167915 h 2380521"/>
              <a:gd name="connsiteX4228" fmla="*/ 2000168 w 8023328"/>
              <a:gd name="connsiteY4228" fmla="*/ 155517 h 2380521"/>
              <a:gd name="connsiteX4229" fmla="*/ 2011835 w 8023328"/>
              <a:gd name="connsiteY4229" fmla="*/ 141661 h 2380521"/>
              <a:gd name="connsiteX4230" fmla="*/ 1938365 w 8023328"/>
              <a:gd name="connsiteY4230" fmla="*/ 141661 h 2380521"/>
              <a:gd name="connsiteX4231" fmla="*/ 1952222 w 8023328"/>
              <a:gd name="connsiteY4231" fmla="*/ 155517 h 2380521"/>
              <a:gd name="connsiteX4232" fmla="*/ 1938365 w 8023328"/>
              <a:gd name="connsiteY4232" fmla="*/ 167915 h 2380521"/>
              <a:gd name="connsiteX4233" fmla="*/ 1925971 w 8023328"/>
              <a:gd name="connsiteY4233" fmla="*/ 155517 h 2380521"/>
              <a:gd name="connsiteX4234" fmla="*/ 1938365 w 8023328"/>
              <a:gd name="connsiteY4234" fmla="*/ 141661 h 2380521"/>
              <a:gd name="connsiteX4235" fmla="*/ 1869922 w 8023328"/>
              <a:gd name="connsiteY4235" fmla="*/ 141661 h 2380521"/>
              <a:gd name="connsiteX4236" fmla="*/ 1884712 w 8023328"/>
              <a:gd name="connsiteY4236" fmla="*/ 155517 h 2380521"/>
              <a:gd name="connsiteX4237" fmla="*/ 1869922 w 8023328"/>
              <a:gd name="connsiteY4237" fmla="*/ 167915 h 2380521"/>
              <a:gd name="connsiteX4238" fmla="*/ 1855131 w 8023328"/>
              <a:gd name="connsiteY4238" fmla="*/ 155517 h 2380521"/>
              <a:gd name="connsiteX4239" fmla="*/ 1869922 w 8023328"/>
              <a:gd name="connsiteY4239" fmla="*/ 141661 h 2380521"/>
              <a:gd name="connsiteX4240" fmla="*/ 1799087 w 8023328"/>
              <a:gd name="connsiteY4240" fmla="*/ 141661 h 2380521"/>
              <a:gd name="connsiteX4241" fmla="*/ 1813879 w 8023328"/>
              <a:gd name="connsiteY4241" fmla="*/ 155517 h 2380521"/>
              <a:gd name="connsiteX4242" fmla="*/ 1799087 w 8023328"/>
              <a:gd name="connsiteY4242" fmla="*/ 167915 h 2380521"/>
              <a:gd name="connsiteX4243" fmla="*/ 1784303 w 8023328"/>
              <a:gd name="connsiteY4243" fmla="*/ 155517 h 2380521"/>
              <a:gd name="connsiteX4244" fmla="*/ 1799087 w 8023328"/>
              <a:gd name="connsiteY4244" fmla="*/ 141661 h 2380521"/>
              <a:gd name="connsiteX4245" fmla="*/ 1728262 w 8023328"/>
              <a:gd name="connsiteY4245" fmla="*/ 141661 h 2380521"/>
              <a:gd name="connsiteX4246" fmla="*/ 1743052 w 8023328"/>
              <a:gd name="connsiteY4246" fmla="*/ 155517 h 2380521"/>
              <a:gd name="connsiteX4247" fmla="*/ 1728262 w 8023328"/>
              <a:gd name="connsiteY4247" fmla="*/ 167915 h 2380521"/>
              <a:gd name="connsiteX4248" fmla="*/ 1713474 w 8023328"/>
              <a:gd name="connsiteY4248" fmla="*/ 155517 h 2380521"/>
              <a:gd name="connsiteX4249" fmla="*/ 1728262 w 8023328"/>
              <a:gd name="connsiteY4249" fmla="*/ 141661 h 2380521"/>
              <a:gd name="connsiteX4250" fmla="*/ 1656501 w 8023328"/>
              <a:gd name="connsiteY4250" fmla="*/ 141661 h 2380521"/>
              <a:gd name="connsiteX4251" fmla="*/ 1668900 w 8023328"/>
              <a:gd name="connsiteY4251" fmla="*/ 156450 h 2380521"/>
              <a:gd name="connsiteX4252" fmla="*/ 1656501 w 8023328"/>
              <a:gd name="connsiteY4252" fmla="*/ 171239 h 2380521"/>
              <a:gd name="connsiteX4253" fmla="*/ 1642655 w 8023328"/>
              <a:gd name="connsiteY4253" fmla="*/ 156450 h 2380521"/>
              <a:gd name="connsiteX4254" fmla="*/ 1656501 w 8023328"/>
              <a:gd name="connsiteY4254" fmla="*/ 141661 h 2380521"/>
              <a:gd name="connsiteX4255" fmla="*/ 1582299 w 8023328"/>
              <a:gd name="connsiteY4255" fmla="*/ 141661 h 2380521"/>
              <a:gd name="connsiteX4256" fmla="*/ 1594704 w 8023328"/>
              <a:gd name="connsiteY4256" fmla="*/ 156450 h 2380521"/>
              <a:gd name="connsiteX4257" fmla="*/ 1582299 w 8023328"/>
              <a:gd name="connsiteY4257" fmla="*/ 171239 h 2380521"/>
              <a:gd name="connsiteX4258" fmla="*/ 1568444 w 8023328"/>
              <a:gd name="connsiteY4258" fmla="*/ 156450 h 2380521"/>
              <a:gd name="connsiteX4259" fmla="*/ 1582299 w 8023328"/>
              <a:gd name="connsiteY4259" fmla="*/ 141661 h 2380521"/>
              <a:gd name="connsiteX4260" fmla="*/ 1512199 w 8023328"/>
              <a:gd name="connsiteY4260" fmla="*/ 141661 h 2380521"/>
              <a:gd name="connsiteX4261" fmla="*/ 1523867 w 8023328"/>
              <a:gd name="connsiteY4261" fmla="*/ 156450 h 2380521"/>
              <a:gd name="connsiteX4262" fmla="*/ 1512199 w 8023328"/>
              <a:gd name="connsiteY4262" fmla="*/ 171239 h 2380521"/>
              <a:gd name="connsiteX4263" fmla="*/ 1497612 w 8023328"/>
              <a:gd name="connsiteY4263" fmla="*/ 156450 h 2380521"/>
              <a:gd name="connsiteX4264" fmla="*/ 1512199 w 8023328"/>
              <a:gd name="connsiteY4264" fmla="*/ 141661 h 2380521"/>
              <a:gd name="connsiteX4265" fmla="*/ 1439173 w 8023328"/>
              <a:gd name="connsiteY4265" fmla="*/ 141661 h 2380521"/>
              <a:gd name="connsiteX4266" fmla="*/ 1453026 w 8023328"/>
              <a:gd name="connsiteY4266" fmla="*/ 156450 h 2380521"/>
              <a:gd name="connsiteX4267" fmla="*/ 1439173 w 8023328"/>
              <a:gd name="connsiteY4267" fmla="*/ 171239 h 2380521"/>
              <a:gd name="connsiteX4268" fmla="*/ 1426777 w 8023328"/>
              <a:gd name="connsiteY4268" fmla="*/ 156450 h 2380521"/>
              <a:gd name="connsiteX4269" fmla="*/ 1439173 w 8023328"/>
              <a:gd name="connsiteY4269" fmla="*/ 141661 h 2380521"/>
              <a:gd name="connsiteX4270" fmla="*/ 1368349 w 8023328"/>
              <a:gd name="connsiteY4270" fmla="*/ 141661 h 2380521"/>
              <a:gd name="connsiteX4271" fmla="*/ 1382203 w 8023328"/>
              <a:gd name="connsiteY4271" fmla="*/ 156450 h 2380521"/>
              <a:gd name="connsiteX4272" fmla="*/ 1368349 w 8023328"/>
              <a:gd name="connsiteY4272" fmla="*/ 171239 h 2380521"/>
              <a:gd name="connsiteX4273" fmla="*/ 1355953 w 8023328"/>
              <a:gd name="connsiteY4273" fmla="*/ 156450 h 2380521"/>
              <a:gd name="connsiteX4274" fmla="*/ 1368349 w 8023328"/>
              <a:gd name="connsiteY4274" fmla="*/ 141661 h 2380521"/>
              <a:gd name="connsiteX4275" fmla="*/ 1297520 w 8023328"/>
              <a:gd name="connsiteY4275" fmla="*/ 141661 h 2380521"/>
              <a:gd name="connsiteX4276" fmla="*/ 1311374 w 8023328"/>
              <a:gd name="connsiteY4276" fmla="*/ 156450 h 2380521"/>
              <a:gd name="connsiteX4277" fmla="*/ 1297520 w 8023328"/>
              <a:gd name="connsiteY4277" fmla="*/ 171239 h 2380521"/>
              <a:gd name="connsiteX4278" fmla="*/ 1285121 w 8023328"/>
              <a:gd name="connsiteY4278" fmla="*/ 156450 h 2380521"/>
              <a:gd name="connsiteX4279" fmla="*/ 1297520 w 8023328"/>
              <a:gd name="connsiteY4279" fmla="*/ 141661 h 2380521"/>
              <a:gd name="connsiteX4280" fmla="*/ 2796538 w 8023328"/>
              <a:gd name="connsiteY4280" fmla="*/ 70831 h 2380521"/>
              <a:gd name="connsiteX4281" fmla="*/ 2808940 w 8023328"/>
              <a:gd name="connsiteY4281" fmla="*/ 84687 h 2380521"/>
              <a:gd name="connsiteX4282" fmla="*/ 2796538 w 8023328"/>
              <a:gd name="connsiteY4282" fmla="*/ 97085 h 2380521"/>
              <a:gd name="connsiteX4283" fmla="*/ 2782683 w 8023328"/>
              <a:gd name="connsiteY4283" fmla="*/ 84687 h 2380521"/>
              <a:gd name="connsiteX4284" fmla="*/ 2796538 w 8023328"/>
              <a:gd name="connsiteY4284" fmla="*/ 70831 h 2380521"/>
              <a:gd name="connsiteX4285" fmla="*/ 2725703 w 8023328"/>
              <a:gd name="connsiteY4285" fmla="*/ 70831 h 2380521"/>
              <a:gd name="connsiteX4286" fmla="*/ 2738105 w 8023328"/>
              <a:gd name="connsiteY4286" fmla="*/ 84687 h 2380521"/>
              <a:gd name="connsiteX4287" fmla="*/ 2725703 w 8023328"/>
              <a:gd name="connsiteY4287" fmla="*/ 97085 h 2380521"/>
              <a:gd name="connsiteX4288" fmla="*/ 2711852 w 8023328"/>
              <a:gd name="connsiteY4288" fmla="*/ 84687 h 2380521"/>
              <a:gd name="connsiteX4289" fmla="*/ 2725703 w 8023328"/>
              <a:gd name="connsiteY4289" fmla="*/ 70831 h 2380521"/>
              <a:gd name="connsiteX4290" fmla="*/ 2653420 w 8023328"/>
              <a:gd name="connsiteY4290" fmla="*/ 70831 h 2380521"/>
              <a:gd name="connsiteX4291" fmla="*/ 2667273 w 8023328"/>
              <a:gd name="connsiteY4291" fmla="*/ 84687 h 2380521"/>
              <a:gd name="connsiteX4292" fmla="*/ 2653420 w 8023328"/>
              <a:gd name="connsiteY4292" fmla="*/ 97085 h 2380521"/>
              <a:gd name="connsiteX4293" fmla="*/ 2641021 w 8023328"/>
              <a:gd name="connsiteY4293" fmla="*/ 84687 h 2380521"/>
              <a:gd name="connsiteX4294" fmla="*/ 2653420 w 8023328"/>
              <a:gd name="connsiteY4294" fmla="*/ 70831 h 2380521"/>
              <a:gd name="connsiteX4295" fmla="*/ 2582586 w 8023328"/>
              <a:gd name="connsiteY4295" fmla="*/ 70831 h 2380521"/>
              <a:gd name="connsiteX4296" fmla="*/ 2596442 w 8023328"/>
              <a:gd name="connsiteY4296" fmla="*/ 84687 h 2380521"/>
              <a:gd name="connsiteX4297" fmla="*/ 2582586 w 8023328"/>
              <a:gd name="connsiteY4297" fmla="*/ 97085 h 2380521"/>
              <a:gd name="connsiteX4298" fmla="*/ 2570189 w 8023328"/>
              <a:gd name="connsiteY4298" fmla="*/ 84687 h 2380521"/>
              <a:gd name="connsiteX4299" fmla="*/ 2582586 w 8023328"/>
              <a:gd name="connsiteY4299" fmla="*/ 70831 h 2380521"/>
              <a:gd name="connsiteX4300" fmla="*/ 2511034 w 8023328"/>
              <a:gd name="connsiteY4300" fmla="*/ 70831 h 2380521"/>
              <a:gd name="connsiteX4301" fmla="*/ 2525616 w 8023328"/>
              <a:gd name="connsiteY4301" fmla="*/ 84687 h 2380521"/>
              <a:gd name="connsiteX4302" fmla="*/ 2511034 w 8023328"/>
              <a:gd name="connsiteY4302" fmla="*/ 97085 h 2380521"/>
              <a:gd name="connsiteX4303" fmla="*/ 2499364 w 8023328"/>
              <a:gd name="connsiteY4303" fmla="*/ 84687 h 2380521"/>
              <a:gd name="connsiteX4304" fmla="*/ 2511034 w 8023328"/>
              <a:gd name="connsiteY4304" fmla="*/ 70831 h 2380521"/>
              <a:gd name="connsiteX4305" fmla="*/ 2439946 w 8023328"/>
              <a:gd name="connsiteY4305" fmla="*/ 70831 h 2380521"/>
              <a:gd name="connsiteX4306" fmla="*/ 2454737 w 8023328"/>
              <a:gd name="connsiteY4306" fmla="*/ 84687 h 2380521"/>
              <a:gd name="connsiteX4307" fmla="*/ 2439946 w 8023328"/>
              <a:gd name="connsiteY4307" fmla="*/ 97085 h 2380521"/>
              <a:gd name="connsiteX4308" fmla="*/ 2425159 w 8023328"/>
              <a:gd name="connsiteY4308" fmla="*/ 84687 h 2380521"/>
              <a:gd name="connsiteX4309" fmla="*/ 2439946 w 8023328"/>
              <a:gd name="connsiteY4309" fmla="*/ 70831 h 2380521"/>
              <a:gd name="connsiteX4310" fmla="*/ 2369114 w 8023328"/>
              <a:gd name="connsiteY4310" fmla="*/ 70831 h 2380521"/>
              <a:gd name="connsiteX4311" fmla="*/ 2383900 w 8023328"/>
              <a:gd name="connsiteY4311" fmla="*/ 84687 h 2380521"/>
              <a:gd name="connsiteX4312" fmla="*/ 2369114 w 8023328"/>
              <a:gd name="connsiteY4312" fmla="*/ 97085 h 2380521"/>
              <a:gd name="connsiteX4313" fmla="*/ 2354323 w 8023328"/>
              <a:gd name="connsiteY4313" fmla="*/ 84687 h 2380521"/>
              <a:gd name="connsiteX4314" fmla="*/ 2369114 w 8023328"/>
              <a:gd name="connsiteY4314" fmla="*/ 70831 h 2380521"/>
              <a:gd name="connsiteX4315" fmla="*/ 2298283 w 8023328"/>
              <a:gd name="connsiteY4315" fmla="*/ 70831 h 2380521"/>
              <a:gd name="connsiteX4316" fmla="*/ 2313070 w 8023328"/>
              <a:gd name="connsiteY4316" fmla="*/ 84687 h 2380521"/>
              <a:gd name="connsiteX4317" fmla="*/ 2298283 w 8023328"/>
              <a:gd name="connsiteY4317" fmla="*/ 97085 h 2380521"/>
              <a:gd name="connsiteX4318" fmla="*/ 2283493 w 8023328"/>
              <a:gd name="connsiteY4318" fmla="*/ 84687 h 2380521"/>
              <a:gd name="connsiteX4319" fmla="*/ 2298283 w 8023328"/>
              <a:gd name="connsiteY4319" fmla="*/ 70831 h 2380521"/>
              <a:gd name="connsiteX4320" fmla="*/ 2226517 w 8023328"/>
              <a:gd name="connsiteY4320" fmla="*/ 70831 h 2380521"/>
              <a:gd name="connsiteX4321" fmla="*/ 2238916 w 8023328"/>
              <a:gd name="connsiteY4321" fmla="*/ 84687 h 2380521"/>
              <a:gd name="connsiteX4322" fmla="*/ 2226517 w 8023328"/>
              <a:gd name="connsiteY4322" fmla="*/ 97085 h 2380521"/>
              <a:gd name="connsiteX4323" fmla="*/ 2212659 w 8023328"/>
              <a:gd name="connsiteY4323" fmla="*/ 84687 h 2380521"/>
              <a:gd name="connsiteX4324" fmla="*/ 2226517 w 8023328"/>
              <a:gd name="connsiteY4324" fmla="*/ 70831 h 2380521"/>
              <a:gd name="connsiteX4325" fmla="*/ 2155683 w 8023328"/>
              <a:gd name="connsiteY4325" fmla="*/ 70831 h 2380521"/>
              <a:gd name="connsiteX4326" fmla="*/ 2168084 w 8023328"/>
              <a:gd name="connsiteY4326" fmla="*/ 84687 h 2380521"/>
              <a:gd name="connsiteX4327" fmla="*/ 2155683 w 8023328"/>
              <a:gd name="connsiteY4327" fmla="*/ 97085 h 2380521"/>
              <a:gd name="connsiteX4328" fmla="*/ 2141827 w 8023328"/>
              <a:gd name="connsiteY4328" fmla="*/ 84687 h 2380521"/>
              <a:gd name="connsiteX4329" fmla="*/ 2155683 w 8023328"/>
              <a:gd name="connsiteY4329" fmla="*/ 70831 h 2380521"/>
              <a:gd name="connsiteX4330" fmla="*/ 2083393 w 8023328"/>
              <a:gd name="connsiteY4330" fmla="*/ 70831 h 2380521"/>
              <a:gd name="connsiteX4331" fmla="*/ 2097249 w 8023328"/>
              <a:gd name="connsiteY4331" fmla="*/ 84687 h 2380521"/>
              <a:gd name="connsiteX4332" fmla="*/ 2083393 w 8023328"/>
              <a:gd name="connsiteY4332" fmla="*/ 97085 h 2380521"/>
              <a:gd name="connsiteX4333" fmla="*/ 2070995 w 8023328"/>
              <a:gd name="connsiteY4333" fmla="*/ 84687 h 2380521"/>
              <a:gd name="connsiteX4334" fmla="*/ 2083393 w 8023328"/>
              <a:gd name="connsiteY4334" fmla="*/ 70831 h 2380521"/>
              <a:gd name="connsiteX4335" fmla="*/ 2011835 w 8023328"/>
              <a:gd name="connsiteY4335" fmla="*/ 70831 h 2380521"/>
              <a:gd name="connsiteX4336" fmla="*/ 2026421 w 8023328"/>
              <a:gd name="connsiteY4336" fmla="*/ 84687 h 2380521"/>
              <a:gd name="connsiteX4337" fmla="*/ 2011835 w 8023328"/>
              <a:gd name="connsiteY4337" fmla="*/ 97085 h 2380521"/>
              <a:gd name="connsiteX4338" fmla="*/ 2000168 w 8023328"/>
              <a:gd name="connsiteY4338" fmla="*/ 84687 h 2380521"/>
              <a:gd name="connsiteX4339" fmla="*/ 2011835 w 8023328"/>
              <a:gd name="connsiteY4339" fmla="*/ 70831 h 2380521"/>
              <a:gd name="connsiteX4340" fmla="*/ 1938365 w 8023328"/>
              <a:gd name="connsiteY4340" fmla="*/ 70831 h 2380521"/>
              <a:gd name="connsiteX4341" fmla="*/ 1952222 w 8023328"/>
              <a:gd name="connsiteY4341" fmla="*/ 84687 h 2380521"/>
              <a:gd name="connsiteX4342" fmla="*/ 1938365 w 8023328"/>
              <a:gd name="connsiteY4342" fmla="*/ 97085 h 2380521"/>
              <a:gd name="connsiteX4343" fmla="*/ 1925971 w 8023328"/>
              <a:gd name="connsiteY4343" fmla="*/ 84687 h 2380521"/>
              <a:gd name="connsiteX4344" fmla="*/ 1938365 w 8023328"/>
              <a:gd name="connsiteY4344" fmla="*/ 70831 h 2380521"/>
              <a:gd name="connsiteX4345" fmla="*/ 1869922 w 8023328"/>
              <a:gd name="connsiteY4345" fmla="*/ 70831 h 2380521"/>
              <a:gd name="connsiteX4346" fmla="*/ 1884712 w 8023328"/>
              <a:gd name="connsiteY4346" fmla="*/ 84687 h 2380521"/>
              <a:gd name="connsiteX4347" fmla="*/ 1869922 w 8023328"/>
              <a:gd name="connsiteY4347" fmla="*/ 97085 h 2380521"/>
              <a:gd name="connsiteX4348" fmla="*/ 1855131 w 8023328"/>
              <a:gd name="connsiteY4348" fmla="*/ 84687 h 2380521"/>
              <a:gd name="connsiteX4349" fmla="*/ 1869922 w 8023328"/>
              <a:gd name="connsiteY4349" fmla="*/ 70831 h 2380521"/>
              <a:gd name="connsiteX4350" fmla="*/ 1799087 w 8023328"/>
              <a:gd name="connsiteY4350" fmla="*/ 70831 h 2380521"/>
              <a:gd name="connsiteX4351" fmla="*/ 1813879 w 8023328"/>
              <a:gd name="connsiteY4351" fmla="*/ 84687 h 2380521"/>
              <a:gd name="connsiteX4352" fmla="*/ 1799087 w 8023328"/>
              <a:gd name="connsiteY4352" fmla="*/ 97085 h 2380521"/>
              <a:gd name="connsiteX4353" fmla="*/ 1784303 w 8023328"/>
              <a:gd name="connsiteY4353" fmla="*/ 84687 h 2380521"/>
              <a:gd name="connsiteX4354" fmla="*/ 1799087 w 8023328"/>
              <a:gd name="connsiteY4354" fmla="*/ 70831 h 2380521"/>
              <a:gd name="connsiteX4355" fmla="*/ 1728262 w 8023328"/>
              <a:gd name="connsiteY4355" fmla="*/ 70831 h 2380521"/>
              <a:gd name="connsiteX4356" fmla="*/ 1743052 w 8023328"/>
              <a:gd name="connsiteY4356" fmla="*/ 84687 h 2380521"/>
              <a:gd name="connsiteX4357" fmla="*/ 1728262 w 8023328"/>
              <a:gd name="connsiteY4357" fmla="*/ 97085 h 2380521"/>
              <a:gd name="connsiteX4358" fmla="*/ 1713474 w 8023328"/>
              <a:gd name="connsiteY4358" fmla="*/ 84687 h 2380521"/>
              <a:gd name="connsiteX4359" fmla="*/ 1728262 w 8023328"/>
              <a:gd name="connsiteY4359" fmla="*/ 70831 h 2380521"/>
              <a:gd name="connsiteX4360" fmla="*/ 1656501 w 8023328"/>
              <a:gd name="connsiteY4360" fmla="*/ 70831 h 2380521"/>
              <a:gd name="connsiteX4361" fmla="*/ 1668900 w 8023328"/>
              <a:gd name="connsiteY4361" fmla="*/ 84687 h 2380521"/>
              <a:gd name="connsiteX4362" fmla="*/ 1656501 w 8023328"/>
              <a:gd name="connsiteY4362" fmla="*/ 97085 h 2380521"/>
              <a:gd name="connsiteX4363" fmla="*/ 1642655 w 8023328"/>
              <a:gd name="connsiteY4363" fmla="*/ 84687 h 2380521"/>
              <a:gd name="connsiteX4364" fmla="*/ 1656501 w 8023328"/>
              <a:gd name="connsiteY4364" fmla="*/ 70831 h 2380521"/>
              <a:gd name="connsiteX4365" fmla="*/ 1582299 w 8023328"/>
              <a:gd name="connsiteY4365" fmla="*/ 70831 h 2380521"/>
              <a:gd name="connsiteX4366" fmla="*/ 1594704 w 8023328"/>
              <a:gd name="connsiteY4366" fmla="*/ 84687 h 2380521"/>
              <a:gd name="connsiteX4367" fmla="*/ 1582299 w 8023328"/>
              <a:gd name="connsiteY4367" fmla="*/ 97085 h 2380521"/>
              <a:gd name="connsiteX4368" fmla="*/ 1568444 w 8023328"/>
              <a:gd name="connsiteY4368" fmla="*/ 84687 h 2380521"/>
              <a:gd name="connsiteX4369" fmla="*/ 1582299 w 8023328"/>
              <a:gd name="connsiteY4369" fmla="*/ 70831 h 2380521"/>
              <a:gd name="connsiteX4370" fmla="*/ 2796538 w 8023328"/>
              <a:gd name="connsiteY4370" fmla="*/ 0 h 2380521"/>
              <a:gd name="connsiteX4371" fmla="*/ 2808940 w 8023328"/>
              <a:gd name="connsiteY4371" fmla="*/ 12397 h 2380521"/>
              <a:gd name="connsiteX4372" fmla="*/ 2796538 w 8023328"/>
              <a:gd name="connsiteY4372" fmla="*/ 26254 h 2380521"/>
              <a:gd name="connsiteX4373" fmla="*/ 2782683 w 8023328"/>
              <a:gd name="connsiteY4373" fmla="*/ 12397 h 2380521"/>
              <a:gd name="connsiteX4374" fmla="*/ 2796538 w 8023328"/>
              <a:gd name="connsiteY4374" fmla="*/ 0 h 2380521"/>
              <a:gd name="connsiteX4375" fmla="*/ 2725703 w 8023328"/>
              <a:gd name="connsiteY4375" fmla="*/ 0 h 2380521"/>
              <a:gd name="connsiteX4376" fmla="*/ 2738105 w 8023328"/>
              <a:gd name="connsiteY4376" fmla="*/ 12397 h 2380521"/>
              <a:gd name="connsiteX4377" fmla="*/ 2725703 w 8023328"/>
              <a:gd name="connsiteY4377" fmla="*/ 26254 h 2380521"/>
              <a:gd name="connsiteX4378" fmla="*/ 2711852 w 8023328"/>
              <a:gd name="connsiteY4378" fmla="*/ 12397 h 2380521"/>
              <a:gd name="connsiteX4379" fmla="*/ 2725703 w 8023328"/>
              <a:gd name="connsiteY4379" fmla="*/ 0 h 2380521"/>
              <a:gd name="connsiteX4380" fmla="*/ 2653420 w 8023328"/>
              <a:gd name="connsiteY4380" fmla="*/ 0 h 2380521"/>
              <a:gd name="connsiteX4381" fmla="*/ 2667273 w 8023328"/>
              <a:gd name="connsiteY4381" fmla="*/ 12397 h 2380521"/>
              <a:gd name="connsiteX4382" fmla="*/ 2653420 w 8023328"/>
              <a:gd name="connsiteY4382" fmla="*/ 26254 h 2380521"/>
              <a:gd name="connsiteX4383" fmla="*/ 2641021 w 8023328"/>
              <a:gd name="connsiteY4383" fmla="*/ 12397 h 2380521"/>
              <a:gd name="connsiteX4384" fmla="*/ 2653420 w 8023328"/>
              <a:gd name="connsiteY4384" fmla="*/ 0 h 2380521"/>
              <a:gd name="connsiteX4385" fmla="*/ 2582586 w 8023328"/>
              <a:gd name="connsiteY4385" fmla="*/ 0 h 2380521"/>
              <a:gd name="connsiteX4386" fmla="*/ 2596442 w 8023328"/>
              <a:gd name="connsiteY4386" fmla="*/ 12397 h 2380521"/>
              <a:gd name="connsiteX4387" fmla="*/ 2582586 w 8023328"/>
              <a:gd name="connsiteY4387" fmla="*/ 26254 h 2380521"/>
              <a:gd name="connsiteX4388" fmla="*/ 2570189 w 8023328"/>
              <a:gd name="connsiteY4388" fmla="*/ 12397 h 2380521"/>
              <a:gd name="connsiteX4389" fmla="*/ 2582586 w 8023328"/>
              <a:gd name="connsiteY4389" fmla="*/ 0 h 2380521"/>
              <a:gd name="connsiteX4390" fmla="*/ 2511034 w 8023328"/>
              <a:gd name="connsiteY4390" fmla="*/ 0 h 2380521"/>
              <a:gd name="connsiteX4391" fmla="*/ 2525616 w 8023328"/>
              <a:gd name="connsiteY4391" fmla="*/ 12397 h 2380521"/>
              <a:gd name="connsiteX4392" fmla="*/ 2511034 w 8023328"/>
              <a:gd name="connsiteY4392" fmla="*/ 26254 h 2380521"/>
              <a:gd name="connsiteX4393" fmla="*/ 2499364 w 8023328"/>
              <a:gd name="connsiteY4393" fmla="*/ 12397 h 2380521"/>
              <a:gd name="connsiteX4394" fmla="*/ 2511034 w 8023328"/>
              <a:gd name="connsiteY4394" fmla="*/ 0 h 2380521"/>
              <a:gd name="connsiteX4395" fmla="*/ 2439946 w 8023328"/>
              <a:gd name="connsiteY4395" fmla="*/ 0 h 2380521"/>
              <a:gd name="connsiteX4396" fmla="*/ 2454737 w 8023328"/>
              <a:gd name="connsiteY4396" fmla="*/ 12397 h 2380521"/>
              <a:gd name="connsiteX4397" fmla="*/ 2439946 w 8023328"/>
              <a:gd name="connsiteY4397" fmla="*/ 26254 h 2380521"/>
              <a:gd name="connsiteX4398" fmla="*/ 2425159 w 8023328"/>
              <a:gd name="connsiteY4398" fmla="*/ 12397 h 2380521"/>
              <a:gd name="connsiteX4399" fmla="*/ 2439946 w 8023328"/>
              <a:gd name="connsiteY4399" fmla="*/ 0 h 2380521"/>
              <a:gd name="connsiteX4400" fmla="*/ 2369114 w 8023328"/>
              <a:gd name="connsiteY4400" fmla="*/ 0 h 2380521"/>
              <a:gd name="connsiteX4401" fmla="*/ 2383900 w 8023328"/>
              <a:gd name="connsiteY4401" fmla="*/ 12397 h 2380521"/>
              <a:gd name="connsiteX4402" fmla="*/ 2369114 w 8023328"/>
              <a:gd name="connsiteY4402" fmla="*/ 26254 h 2380521"/>
              <a:gd name="connsiteX4403" fmla="*/ 2354323 w 8023328"/>
              <a:gd name="connsiteY4403" fmla="*/ 12397 h 2380521"/>
              <a:gd name="connsiteX4404" fmla="*/ 2369114 w 8023328"/>
              <a:gd name="connsiteY4404" fmla="*/ 0 h 2380521"/>
              <a:gd name="connsiteX4405" fmla="*/ 2298283 w 8023328"/>
              <a:gd name="connsiteY4405" fmla="*/ 0 h 2380521"/>
              <a:gd name="connsiteX4406" fmla="*/ 2313070 w 8023328"/>
              <a:gd name="connsiteY4406" fmla="*/ 12397 h 2380521"/>
              <a:gd name="connsiteX4407" fmla="*/ 2298283 w 8023328"/>
              <a:gd name="connsiteY4407" fmla="*/ 26254 h 2380521"/>
              <a:gd name="connsiteX4408" fmla="*/ 2283493 w 8023328"/>
              <a:gd name="connsiteY4408" fmla="*/ 12397 h 2380521"/>
              <a:gd name="connsiteX4409" fmla="*/ 2298283 w 8023328"/>
              <a:gd name="connsiteY4409" fmla="*/ 0 h 2380521"/>
              <a:gd name="connsiteX4410" fmla="*/ 2226517 w 8023328"/>
              <a:gd name="connsiteY4410" fmla="*/ 0 h 2380521"/>
              <a:gd name="connsiteX4411" fmla="*/ 2238916 w 8023328"/>
              <a:gd name="connsiteY4411" fmla="*/ 13856 h 2380521"/>
              <a:gd name="connsiteX4412" fmla="*/ 2226517 w 8023328"/>
              <a:gd name="connsiteY4412" fmla="*/ 26254 h 2380521"/>
              <a:gd name="connsiteX4413" fmla="*/ 2212659 w 8023328"/>
              <a:gd name="connsiteY4413" fmla="*/ 13856 h 2380521"/>
              <a:gd name="connsiteX4414" fmla="*/ 2226517 w 8023328"/>
              <a:gd name="connsiteY4414" fmla="*/ 0 h 2380521"/>
              <a:gd name="connsiteX4415" fmla="*/ 2155683 w 8023328"/>
              <a:gd name="connsiteY4415" fmla="*/ 0 h 2380521"/>
              <a:gd name="connsiteX4416" fmla="*/ 2168084 w 8023328"/>
              <a:gd name="connsiteY4416" fmla="*/ 13856 h 2380521"/>
              <a:gd name="connsiteX4417" fmla="*/ 2155683 w 8023328"/>
              <a:gd name="connsiteY4417" fmla="*/ 26254 h 2380521"/>
              <a:gd name="connsiteX4418" fmla="*/ 2141827 w 8023328"/>
              <a:gd name="connsiteY4418" fmla="*/ 13856 h 2380521"/>
              <a:gd name="connsiteX4419" fmla="*/ 2155683 w 8023328"/>
              <a:gd name="connsiteY4419" fmla="*/ 0 h 2380521"/>
              <a:gd name="connsiteX4420" fmla="*/ 2083393 w 8023328"/>
              <a:gd name="connsiteY4420" fmla="*/ 0 h 2380521"/>
              <a:gd name="connsiteX4421" fmla="*/ 2097249 w 8023328"/>
              <a:gd name="connsiteY4421" fmla="*/ 13856 h 2380521"/>
              <a:gd name="connsiteX4422" fmla="*/ 2083393 w 8023328"/>
              <a:gd name="connsiteY4422" fmla="*/ 26254 h 2380521"/>
              <a:gd name="connsiteX4423" fmla="*/ 2070995 w 8023328"/>
              <a:gd name="connsiteY4423" fmla="*/ 13856 h 2380521"/>
              <a:gd name="connsiteX4424" fmla="*/ 2083393 w 8023328"/>
              <a:gd name="connsiteY4424" fmla="*/ 0 h 2380521"/>
              <a:gd name="connsiteX4425" fmla="*/ 2011835 w 8023328"/>
              <a:gd name="connsiteY4425" fmla="*/ 0 h 2380521"/>
              <a:gd name="connsiteX4426" fmla="*/ 2026421 w 8023328"/>
              <a:gd name="connsiteY4426" fmla="*/ 13856 h 2380521"/>
              <a:gd name="connsiteX4427" fmla="*/ 2011835 w 8023328"/>
              <a:gd name="connsiteY4427" fmla="*/ 26254 h 2380521"/>
              <a:gd name="connsiteX4428" fmla="*/ 2000168 w 8023328"/>
              <a:gd name="connsiteY4428" fmla="*/ 13856 h 2380521"/>
              <a:gd name="connsiteX4429" fmla="*/ 2011835 w 8023328"/>
              <a:gd name="connsiteY4429" fmla="*/ 0 h 2380521"/>
              <a:gd name="connsiteX4430" fmla="*/ 1938365 w 8023328"/>
              <a:gd name="connsiteY4430" fmla="*/ 0 h 2380521"/>
              <a:gd name="connsiteX4431" fmla="*/ 1952222 w 8023328"/>
              <a:gd name="connsiteY4431" fmla="*/ 13856 h 2380521"/>
              <a:gd name="connsiteX4432" fmla="*/ 1938365 w 8023328"/>
              <a:gd name="connsiteY4432" fmla="*/ 26254 h 2380521"/>
              <a:gd name="connsiteX4433" fmla="*/ 1925971 w 8023328"/>
              <a:gd name="connsiteY4433" fmla="*/ 13856 h 2380521"/>
              <a:gd name="connsiteX4434" fmla="*/ 1938365 w 8023328"/>
              <a:gd name="connsiteY4434" fmla="*/ 0 h 2380521"/>
              <a:gd name="connsiteX4435" fmla="*/ 1869922 w 8023328"/>
              <a:gd name="connsiteY4435" fmla="*/ 0 h 2380521"/>
              <a:gd name="connsiteX4436" fmla="*/ 1884712 w 8023328"/>
              <a:gd name="connsiteY4436" fmla="*/ 13856 h 2380521"/>
              <a:gd name="connsiteX4437" fmla="*/ 1869922 w 8023328"/>
              <a:gd name="connsiteY4437" fmla="*/ 26254 h 2380521"/>
              <a:gd name="connsiteX4438" fmla="*/ 1855131 w 8023328"/>
              <a:gd name="connsiteY4438" fmla="*/ 13856 h 2380521"/>
              <a:gd name="connsiteX4439" fmla="*/ 1869922 w 8023328"/>
              <a:gd name="connsiteY4439" fmla="*/ 0 h 2380521"/>
              <a:gd name="connsiteX4440" fmla="*/ 1799087 w 8023328"/>
              <a:gd name="connsiteY4440" fmla="*/ 0 h 2380521"/>
              <a:gd name="connsiteX4441" fmla="*/ 1813879 w 8023328"/>
              <a:gd name="connsiteY4441" fmla="*/ 13856 h 2380521"/>
              <a:gd name="connsiteX4442" fmla="*/ 1799087 w 8023328"/>
              <a:gd name="connsiteY4442" fmla="*/ 26254 h 2380521"/>
              <a:gd name="connsiteX4443" fmla="*/ 1784303 w 8023328"/>
              <a:gd name="connsiteY4443" fmla="*/ 13856 h 2380521"/>
              <a:gd name="connsiteX4444" fmla="*/ 1799087 w 8023328"/>
              <a:gd name="connsiteY4444" fmla="*/ 0 h 2380521"/>
              <a:gd name="connsiteX4445" fmla="*/ 1728262 w 8023328"/>
              <a:gd name="connsiteY4445" fmla="*/ 0 h 2380521"/>
              <a:gd name="connsiteX4446" fmla="*/ 1743052 w 8023328"/>
              <a:gd name="connsiteY4446" fmla="*/ 13856 h 2380521"/>
              <a:gd name="connsiteX4447" fmla="*/ 1728262 w 8023328"/>
              <a:gd name="connsiteY4447" fmla="*/ 26254 h 2380521"/>
              <a:gd name="connsiteX4448" fmla="*/ 1713474 w 8023328"/>
              <a:gd name="connsiteY4448" fmla="*/ 13856 h 2380521"/>
              <a:gd name="connsiteX4449" fmla="*/ 1728262 w 8023328"/>
              <a:gd name="connsiteY4449" fmla="*/ 0 h 2380521"/>
              <a:gd name="connsiteX4450" fmla="*/ 1656501 w 8023328"/>
              <a:gd name="connsiteY4450" fmla="*/ 0 h 2380521"/>
              <a:gd name="connsiteX4451" fmla="*/ 1668900 w 8023328"/>
              <a:gd name="connsiteY4451" fmla="*/ 13856 h 2380521"/>
              <a:gd name="connsiteX4452" fmla="*/ 1656501 w 8023328"/>
              <a:gd name="connsiteY4452" fmla="*/ 26254 h 2380521"/>
              <a:gd name="connsiteX4453" fmla="*/ 1642655 w 8023328"/>
              <a:gd name="connsiteY4453" fmla="*/ 13856 h 2380521"/>
              <a:gd name="connsiteX4454" fmla="*/ 1656501 w 8023328"/>
              <a:gd name="connsiteY4454" fmla="*/ 0 h 2380521"/>
              <a:gd name="connsiteX4455" fmla="*/ 1582299 w 8023328"/>
              <a:gd name="connsiteY4455" fmla="*/ 0 h 2380521"/>
              <a:gd name="connsiteX4456" fmla="*/ 1594704 w 8023328"/>
              <a:gd name="connsiteY4456" fmla="*/ 13856 h 2380521"/>
              <a:gd name="connsiteX4457" fmla="*/ 1582299 w 8023328"/>
              <a:gd name="connsiteY4457" fmla="*/ 26254 h 2380521"/>
              <a:gd name="connsiteX4458" fmla="*/ 1568444 w 8023328"/>
              <a:gd name="connsiteY4458" fmla="*/ 13856 h 2380521"/>
              <a:gd name="connsiteX4459" fmla="*/ 1582299 w 8023328"/>
              <a:gd name="connsiteY4459" fmla="*/ 0 h 2380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Lst>
            <a:rect l="l" t="t" r="r" b="b"/>
            <a:pathLst>
              <a:path w="8023328" h="2380521">
                <a:moveTo>
                  <a:pt x="8010930" y="2354267"/>
                </a:moveTo>
                <a:cubicBezTo>
                  <a:pt x="8018223" y="2354267"/>
                  <a:pt x="8023328" y="2360101"/>
                  <a:pt x="8023328" y="2366665"/>
                </a:cubicBezTo>
                <a:cubicBezTo>
                  <a:pt x="8023328" y="2373958"/>
                  <a:pt x="8018223" y="2380521"/>
                  <a:pt x="8010930" y="2380521"/>
                </a:cubicBezTo>
                <a:cubicBezTo>
                  <a:pt x="8002908" y="2380521"/>
                  <a:pt x="7997074" y="2373958"/>
                  <a:pt x="7997074" y="2366665"/>
                </a:cubicBezTo>
                <a:cubicBezTo>
                  <a:pt x="7997074" y="2360101"/>
                  <a:pt x="8002908" y="2354267"/>
                  <a:pt x="8010930" y="2354267"/>
                </a:cubicBezTo>
                <a:close/>
                <a:moveTo>
                  <a:pt x="7940099" y="2354267"/>
                </a:moveTo>
                <a:cubicBezTo>
                  <a:pt x="7945933" y="2354267"/>
                  <a:pt x="7952497" y="2360101"/>
                  <a:pt x="7952497" y="2366665"/>
                </a:cubicBezTo>
                <a:cubicBezTo>
                  <a:pt x="7952497" y="2373958"/>
                  <a:pt x="7945933" y="2380521"/>
                  <a:pt x="7940099" y="2380521"/>
                </a:cubicBezTo>
                <a:cubicBezTo>
                  <a:pt x="7932077" y="2380521"/>
                  <a:pt x="7926243" y="2373958"/>
                  <a:pt x="7926243" y="2366665"/>
                </a:cubicBezTo>
                <a:cubicBezTo>
                  <a:pt x="7926243" y="2360101"/>
                  <a:pt x="7932077" y="2354267"/>
                  <a:pt x="7940099" y="2354267"/>
                </a:cubicBezTo>
                <a:close/>
                <a:moveTo>
                  <a:pt x="7869269" y="2354267"/>
                </a:moveTo>
                <a:cubicBezTo>
                  <a:pt x="7875833" y="2354267"/>
                  <a:pt x="7881667" y="2360101"/>
                  <a:pt x="7881667" y="2366665"/>
                </a:cubicBezTo>
                <a:cubicBezTo>
                  <a:pt x="7881667" y="2373958"/>
                  <a:pt x="7875833" y="2380521"/>
                  <a:pt x="7869269" y="2380521"/>
                </a:cubicBezTo>
                <a:cubicBezTo>
                  <a:pt x="7861976" y="2380521"/>
                  <a:pt x="7855413" y="2373958"/>
                  <a:pt x="7855413" y="2366665"/>
                </a:cubicBezTo>
                <a:cubicBezTo>
                  <a:pt x="7855413" y="2360101"/>
                  <a:pt x="7861976" y="2354267"/>
                  <a:pt x="7869269" y="2354267"/>
                </a:cubicBezTo>
                <a:close/>
                <a:moveTo>
                  <a:pt x="7796980" y="2354267"/>
                </a:moveTo>
                <a:cubicBezTo>
                  <a:pt x="7805002" y="2354267"/>
                  <a:pt x="7810836" y="2360101"/>
                  <a:pt x="7810836" y="2366665"/>
                </a:cubicBezTo>
                <a:cubicBezTo>
                  <a:pt x="7810836" y="2373958"/>
                  <a:pt x="7805002" y="2380521"/>
                  <a:pt x="7796980" y="2380521"/>
                </a:cubicBezTo>
                <a:cubicBezTo>
                  <a:pt x="7791145" y="2380521"/>
                  <a:pt x="7784582" y="2373958"/>
                  <a:pt x="7784582" y="2366665"/>
                </a:cubicBezTo>
                <a:cubicBezTo>
                  <a:pt x="7784582" y="2360101"/>
                  <a:pt x="7791145" y="2354267"/>
                  <a:pt x="7796980" y="2354267"/>
                </a:cubicBezTo>
                <a:close/>
                <a:moveTo>
                  <a:pt x="8010930" y="2283438"/>
                </a:moveTo>
                <a:cubicBezTo>
                  <a:pt x="8018223" y="2283438"/>
                  <a:pt x="8023328" y="2288543"/>
                  <a:pt x="8023328" y="2295835"/>
                </a:cubicBezTo>
                <a:cubicBezTo>
                  <a:pt x="8023328" y="2303857"/>
                  <a:pt x="8018223" y="2309691"/>
                  <a:pt x="8010930" y="2309691"/>
                </a:cubicBezTo>
                <a:cubicBezTo>
                  <a:pt x="8002908" y="2309691"/>
                  <a:pt x="7997074" y="2303857"/>
                  <a:pt x="7997074" y="2295835"/>
                </a:cubicBezTo>
                <a:cubicBezTo>
                  <a:pt x="7997074" y="2288543"/>
                  <a:pt x="8002908" y="2283438"/>
                  <a:pt x="8010930" y="2283438"/>
                </a:cubicBezTo>
                <a:close/>
                <a:moveTo>
                  <a:pt x="7940099" y="2283438"/>
                </a:moveTo>
                <a:cubicBezTo>
                  <a:pt x="7945933" y="2283438"/>
                  <a:pt x="7952497" y="2288543"/>
                  <a:pt x="7952497" y="2295835"/>
                </a:cubicBezTo>
                <a:cubicBezTo>
                  <a:pt x="7952497" y="2303857"/>
                  <a:pt x="7945933" y="2309691"/>
                  <a:pt x="7940099" y="2309691"/>
                </a:cubicBezTo>
                <a:cubicBezTo>
                  <a:pt x="7932077" y="2309691"/>
                  <a:pt x="7926243" y="2303857"/>
                  <a:pt x="7926243" y="2295835"/>
                </a:cubicBezTo>
                <a:cubicBezTo>
                  <a:pt x="7926243" y="2288543"/>
                  <a:pt x="7932077" y="2283438"/>
                  <a:pt x="7940099" y="2283438"/>
                </a:cubicBezTo>
                <a:close/>
                <a:moveTo>
                  <a:pt x="7869269" y="2283438"/>
                </a:moveTo>
                <a:cubicBezTo>
                  <a:pt x="7875833" y="2283438"/>
                  <a:pt x="7881667" y="2288543"/>
                  <a:pt x="7881667" y="2295835"/>
                </a:cubicBezTo>
                <a:cubicBezTo>
                  <a:pt x="7881667" y="2303857"/>
                  <a:pt x="7875833" y="2309691"/>
                  <a:pt x="7869269" y="2309691"/>
                </a:cubicBezTo>
                <a:cubicBezTo>
                  <a:pt x="7861976" y="2309691"/>
                  <a:pt x="7855413" y="2303857"/>
                  <a:pt x="7855413" y="2295835"/>
                </a:cubicBezTo>
                <a:cubicBezTo>
                  <a:pt x="7855413" y="2288543"/>
                  <a:pt x="7861976" y="2283438"/>
                  <a:pt x="7869269" y="2283438"/>
                </a:cubicBezTo>
                <a:close/>
                <a:moveTo>
                  <a:pt x="7796980" y="2283438"/>
                </a:moveTo>
                <a:cubicBezTo>
                  <a:pt x="7805002" y="2283438"/>
                  <a:pt x="7810836" y="2288543"/>
                  <a:pt x="7810836" y="2295835"/>
                </a:cubicBezTo>
                <a:cubicBezTo>
                  <a:pt x="7810836" y="2303857"/>
                  <a:pt x="7805002" y="2309691"/>
                  <a:pt x="7796980" y="2309691"/>
                </a:cubicBezTo>
                <a:cubicBezTo>
                  <a:pt x="7791145" y="2309691"/>
                  <a:pt x="7784582" y="2303857"/>
                  <a:pt x="7784582" y="2295835"/>
                </a:cubicBezTo>
                <a:cubicBezTo>
                  <a:pt x="7784582" y="2288543"/>
                  <a:pt x="7791145" y="2283438"/>
                  <a:pt x="7796980" y="2283438"/>
                </a:cubicBezTo>
                <a:close/>
                <a:moveTo>
                  <a:pt x="7726151" y="2283438"/>
                </a:moveTo>
                <a:cubicBezTo>
                  <a:pt x="7734173" y="2283438"/>
                  <a:pt x="7740007" y="2288543"/>
                  <a:pt x="7740007" y="2295835"/>
                </a:cubicBezTo>
                <a:cubicBezTo>
                  <a:pt x="7740007" y="2303857"/>
                  <a:pt x="7734173" y="2309691"/>
                  <a:pt x="7726151" y="2309691"/>
                </a:cubicBezTo>
                <a:cubicBezTo>
                  <a:pt x="7718858" y="2309691"/>
                  <a:pt x="7713753" y="2303857"/>
                  <a:pt x="7713753" y="2295835"/>
                </a:cubicBezTo>
                <a:cubicBezTo>
                  <a:pt x="7713753" y="2288543"/>
                  <a:pt x="7718858" y="2283438"/>
                  <a:pt x="7726151" y="2283438"/>
                </a:cubicBezTo>
                <a:close/>
                <a:moveTo>
                  <a:pt x="7940099" y="2209234"/>
                </a:moveTo>
                <a:cubicBezTo>
                  <a:pt x="7945933" y="2209234"/>
                  <a:pt x="7952497" y="2216239"/>
                  <a:pt x="7952497" y="2224022"/>
                </a:cubicBezTo>
                <a:cubicBezTo>
                  <a:pt x="7952497" y="2232584"/>
                  <a:pt x="7945933" y="2238810"/>
                  <a:pt x="7940099" y="2238810"/>
                </a:cubicBezTo>
                <a:cubicBezTo>
                  <a:pt x="7932077" y="2238810"/>
                  <a:pt x="7926243" y="2232584"/>
                  <a:pt x="7926243" y="2224022"/>
                </a:cubicBezTo>
                <a:cubicBezTo>
                  <a:pt x="7926243" y="2216239"/>
                  <a:pt x="7932077" y="2209234"/>
                  <a:pt x="7940099" y="2209234"/>
                </a:cubicBezTo>
                <a:close/>
                <a:moveTo>
                  <a:pt x="7867811" y="2209234"/>
                </a:moveTo>
                <a:cubicBezTo>
                  <a:pt x="7875833" y="2209234"/>
                  <a:pt x="7881667" y="2216239"/>
                  <a:pt x="7881667" y="2224022"/>
                </a:cubicBezTo>
                <a:cubicBezTo>
                  <a:pt x="7881667" y="2232584"/>
                  <a:pt x="7875833" y="2238810"/>
                  <a:pt x="7867811" y="2238810"/>
                </a:cubicBezTo>
                <a:cubicBezTo>
                  <a:pt x="7861976" y="2238810"/>
                  <a:pt x="7855413" y="2232584"/>
                  <a:pt x="7855413" y="2224022"/>
                </a:cubicBezTo>
                <a:cubicBezTo>
                  <a:pt x="7855413" y="2216239"/>
                  <a:pt x="7861976" y="2209234"/>
                  <a:pt x="7867811" y="2209234"/>
                </a:cubicBezTo>
                <a:close/>
                <a:moveTo>
                  <a:pt x="7796980" y="2209234"/>
                </a:moveTo>
                <a:cubicBezTo>
                  <a:pt x="7805002" y="2209234"/>
                  <a:pt x="7810836" y="2216239"/>
                  <a:pt x="7810836" y="2224022"/>
                </a:cubicBezTo>
                <a:cubicBezTo>
                  <a:pt x="7810836" y="2232584"/>
                  <a:pt x="7805002" y="2238810"/>
                  <a:pt x="7796980" y="2238810"/>
                </a:cubicBezTo>
                <a:cubicBezTo>
                  <a:pt x="7791145" y="2238810"/>
                  <a:pt x="7784582" y="2232584"/>
                  <a:pt x="7784582" y="2224022"/>
                </a:cubicBezTo>
                <a:cubicBezTo>
                  <a:pt x="7784582" y="2216239"/>
                  <a:pt x="7791145" y="2209234"/>
                  <a:pt x="7796980" y="2209234"/>
                </a:cubicBezTo>
                <a:close/>
                <a:moveTo>
                  <a:pt x="7726151" y="2209234"/>
                </a:moveTo>
                <a:cubicBezTo>
                  <a:pt x="7734173" y="2209234"/>
                  <a:pt x="7740007" y="2216239"/>
                  <a:pt x="7740007" y="2224022"/>
                </a:cubicBezTo>
                <a:cubicBezTo>
                  <a:pt x="7740007" y="2232584"/>
                  <a:pt x="7734173" y="2238810"/>
                  <a:pt x="7726151" y="2238810"/>
                </a:cubicBezTo>
                <a:cubicBezTo>
                  <a:pt x="7718858" y="2238810"/>
                  <a:pt x="7713753" y="2232584"/>
                  <a:pt x="7713753" y="2224022"/>
                </a:cubicBezTo>
                <a:cubicBezTo>
                  <a:pt x="7713753" y="2216239"/>
                  <a:pt x="7718858" y="2209234"/>
                  <a:pt x="7726151" y="2209234"/>
                </a:cubicBezTo>
                <a:close/>
                <a:moveTo>
                  <a:pt x="7940099" y="2138403"/>
                </a:moveTo>
                <a:cubicBezTo>
                  <a:pt x="7945933" y="2138403"/>
                  <a:pt x="7952497" y="2145408"/>
                  <a:pt x="7952497" y="2153192"/>
                </a:cubicBezTo>
                <a:cubicBezTo>
                  <a:pt x="7952497" y="2161754"/>
                  <a:pt x="7945933" y="2167981"/>
                  <a:pt x="7940099" y="2167981"/>
                </a:cubicBezTo>
                <a:cubicBezTo>
                  <a:pt x="7932077" y="2167981"/>
                  <a:pt x="7926243" y="2161754"/>
                  <a:pt x="7926243" y="2153192"/>
                </a:cubicBezTo>
                <a:cubicBezTo>
                  <a:pt x="7926243" y="2145408"/>
                  <a:pt x="7932077" y="2138403"/>
                  <a:pt x="7940099" y="2138403"/>
                </a:cubicBezTo>
                <a:close/>
                <a:moveTo>
                  <a:pt x="7867811" y="2138403"/>
                </a:moveTo>
                <a:cubicBezTo>
                  <a:pt x="7875833" y="2138403"/>
                  <a:pt x="7881667" y="2145408"/>
                  <a:pt x="7881667" y="2153192"/>
                </a:cubicBezTo>
                <a:cubicBezTo>
                  <a:pt x="7881667" y="2161754"/>
                  <a:pt x="7875833" y="2167981"/>
                  <a:pt x="7867811" y="2167981"/>
                </a:cubicBezTo>
                <a:cubicBezTo>
                  <a:pt x="7861976" y="2167981"/>
                  <a:pt x="7855413" y="2161754"/>
                  <a:pt x="7855413" y="2153192"/>
                </a:cubicBezTo>
                <a:cubicBezTo>
                  <a:pt x="7855413" y="2145408"/>
                  <a:pt x="7861976" y="2138403"/>
                  <a:pt x="7867811" y="2138403"/>
                </a:cubicBezTo>
                <a:close/>
                <a:moveTo>
                  <a:pt x="7796980" y="2138403"/>
                </a:moveTo>
                <a:cubicBezTo>
                  <a:pt x="7805002" y="2138403"/>
                  <a:pt x="7810836" y="2145408"/>
                  <a:pt x="7810836" y="2153192"/>
                </a:cubicBezTo>
                <a:cubicBezTo>
                  <a:pt x="7810836" y="2161754"/>
                  <a:pt x="7805002" y="2167981"/>
                  <a:pt x="7796980" y="2167981"/>
                </a:cubicBezTo>
                <a:cubicBezTo>
                  <a:pt x="7791145" y="2167981"/>
                  <a:pt x="7784582" y="2161754"/>
                  <a:pt x="7784582" y="2153192"/>
                </a:cubicBezTo>
                <a:cubicBezTo>
                  <a:pt x="7784582" y="2145408"/>
                  <a:pt x="7791145" y="2138403"/>
                  <a:pt x="7796980" y="2138403"/>
                </a:cubicBezTo>
                <a:close/>
                <a:moveTo>
                  <a:pt x="7726151" y="2138403"/>
                </a:moveTo>
                <a:cubicBezTo>
                  <a:pt x="7734173" y="2138403"/>
                  <a:pt x="7740007" y="2145408"/>
                  <a:pt x="7740007" y="2153192"/>
                </a:cubicBezTo>
                <a:cubicBezTo>
                  <a:pt x="7740007" y="2161754"/>
                  <a:pt x="7734173" y="2167981"/>
                  <a:pt x="7726151" y="2167981"/>
                </a:cubicBezTo>
                <a:cubicBezTo>
                  <a:pt x="7718858" y="2167981"/>
                  <a:pt x="7713753" y="2161754"/>
                  <a:pt x="7713753" y="2153192"/>
                </a:cubicBezTo>
                <a:cubicBezTo>
                  <a:pt x="7713753" y="2145408"/>
                  <a:pt x="7718858" y="2138403"/>
                  <a:pt x="7726151" y="2138403"/>
                </a:cubicBezTo>
                <a:close/>
                <a:moveTo>
                  <a:pt x="7654337" y="2138403"/>
                </a:moveTo>
                <a:cubicBezTo>
                  <a:pt x="7662899" y="2138403"/>
                  <a:pt x="7669126" y="2145408"/>
                  <a:pt x="7669126" y="2153192"/>
                </a:cubicBezTo>
                <a:cubicBezTo>
                  <a:pt x="7669126" y="2161754"/>
                  <a:pt x="7662899" y="2167981"/>
                  <a:pt x="7654337" y="2167981"/>
                </a:cubicBezTo>
                <a:cubicBezTo>
                  <a:pt x="7645776" y="2167981"/>
                  <a:pt x="7639549" y="2161754"/>
                  <a:pt x="7639549" y="2153192"/>
                </a:cubicBezTo>
                <a:cubicBezTo>
                  <a:pt x="7639549" y="2145408"/>
                  <a:pt x="7645776" y="2138403"/>
                  <a:pt x="7654337" y="2138403"/>
                </a:cubicBezTo>
                <a:close/>
                <a:moveTo>
                  <a:pt x="7867811" y="2067574"/>
                </a:moveTo>
                <a:cubicBezTo>
                  <a:pt x="7875833" y="2067574"/>
                  <a:pt x="7881667" y="2073800"/>
                  <a:pt x="7881667" y="2082362"/>
                </a:cubicBezTo>
                <a:cubicBezTo>
                  <a:pt x="7881667" y="2090924"/>
                  <a:pt x="7875833" y="2097150"/>
                  <a:pt x="7867811" y="2097150"/>
                </a:cubicBezTo>
                <a:cubicBezTo>
                  <a:pt x="7861976" y="2097150"/>
                  <a:pt x="7855413" y="2090924"/>
                  <a:pt x="7855413" y="2082362"/>
                </a:cubicBezTo>
                <a:cubicBezTo>
                  <a:pt x="7855413" y="2073800"/>
                  <a:pt x="7861976" y="2067574"/>
                  <a:pt x="7867811" y="2067574"/>
                </a:cubicBezTo>
                <a:close/>
                <a:moveTo>
                  <a:pt x="7796980" y="2067574"/>
                </a:moveTo>
                <a:cubicBezTo>
                  <a:pt x="7805002" y="2067574"/>
                  <a:pt x="7810836" y="2073800"/>
                  <a:pt x="7810836" y="2082362"/>
                </a:cubicBezTo>
                <a:cubicBezTo>
                  <a:pt x="7810836" y="2090924"/>
                  <a:pt x="7805002" y="2097150"/>
                  <a:pt x="7796980" y="2097150"/>
                </a:cubicBezTo>
                <a:cubicBezTo>
                  <a:pt x="7791145" y="2097150"/>
                  <a:pt x="7784582" y="2090924"/>
                  <a:pt x="7784582" y="2082362"/>
                </a:cubicBezTo>
                <a:cubicBezTo>
                  <a:pt x="7784582" y="2073800"/>
                  <a:pt x="7791145" y="2067574"/>
                  <a:pt x="7796980" y="2067574"/>
                </a:cubicBezTo>
                <a:close/>
                <a:moveTo>
                  <a:pt x="7726151" y="2067574"/>
                </a:moveTo>
                <a:cubicBezTo>
                  <a:pt x="7734173" y="2067574"/>
                  <a:pt x="7740007" y="2073800"/>
                  <a:pt x="7740007" y="2082362"/>
                </a:cubicBezTo>
                <a:cubicBezTo>
                  <a:pt x="7740007" y="2090924"/>
                  <a:pt x="7734173" y="2097150"/>
                  <a:pt x="7726151" y="2097150"/>
                </a:cubicBezTo>
                <a:cubicBezTo>
                  <a:pt x="7718858" y="2097150"/>
                  <a:pt x="7713753" y="2090924"/>
                  <a:pt x="7713753" y="2082362"/>
                </a:cubicBezTo>
                <a:cubicBezTo>
                  <a:pt x="7713753" y="2073800"/>
                  <a:pt x="7718858" y="2067574"/>
                  <a:pt x="7726151" y="2067574"/>
                </a:cubicBezTo>
                <a:close/>
                <a:moveTo>
                  <a:pt x="7654337" y="2067574"/>
                </a:moveTo>
                <a:cubicBezTo>
                  <a:pt x="7662899" y="2067574"/>
                  <a:pt x="7669126" y="2073800"/>
                  <a:pt x="7669126" y="2082362"/>
                </a:cubicBezTo>
                <a:cubicBezTo>
                  <a:pt x="7669126" y="2090924"/>
                  <a:pt x="7662899" y="2097150"/>
                  <a:pt x="7654337" y="2097150"/>
                </a:cubicBezTo>
                <a:cubicBezTo>
                  <a:pt x="7645776" y="2097150"/>
                  <a:pt x="7639549" y="2090924"/>
                  <a:pt x="7639549" y="2082362"/>
                </a:cubicBezTo>
                <a:cubicBezTo>
                  <a:pt x="7639549" y="2073800"/>
                  <a:pt x="7645776" y="2067574"/>
                  <a:pt x="7654337" y="2067574"/>
                </a:cubicBezTo>
                <a:close/>
                <a:moveTo>
                  <a:pt x="7583507" y="2067574"/>
                </a:moveTo>
                <a:cubicBezTo>
                  <a:pt x="7591291" y="2067574"/>
                  <a:pt x="7598297" y="2073800"/>
                  <a:pt x="7598297" y="2082362"/>
                </a:cubicBezTo>
                <a:cubicBezTo>
                  <a:pt x="7598297" y="2090924"/>
                  <a:pt x="7591291" y="2097150"/>
                  <a:pt x="7583507" y="2097150"/>
                </a:cubicBezTo>
                <a:cubicBezTo>
                  <a:pt x="7574945" y="2097150"/>
                  <a:pt x="7568718" y="2090924"/>
                  <a:pt x="7568718" y="2082362"/>
                </a:cubicBezTo>
                <a:cubicBezTo>
                  <a:pt x="7568718" y="2073800"/>
                  <a:pt x="7574945" y="2067574"/>
                  <a:pt x="7583507" y="2067574"/>
                </a:cubicBezTo>
                <a:close/>
                <a:moveTo>
                  <a:pt x="7867811" y="1996742"/>
                </a:moveTo>
                <a:cubicBezTo>
                  <a:pt x="7875833" y="1996742"/>
                  <a:pt x="7881667" y="2002576"/>
                  <a:pt x="7881667" y="2010598"/>
                </a:cubicBezTo>
                <a:cubicBezTo>
                  <a:pt x="7881667" y="2017891"/>
                  <a:pt x="7875833" y="2022995"/>
                  <a:pt x="7867811" y="2022995"/>
                </a:cubicBezTo>
                <a:cubicBezTo>
                  <a:pt x="7861976" y="2022995"/>
                  <a:pt x="7855413" y="2017891"/>
                  <a:pt x="7855413" y="2010598"/>
                </a:cubicBezTo>
                <a:cubicBezTo>
                  <a:pt x="7855413" y="2002576"/>
                  <a:pt x="7861976" y="1996742"/>
                  <a:pt x="7867811" y="1996742"/>
                </a:cubicBezTo>
                <a:close/>
                <a:moveTo>
                  <a:pt x="7796980" y="1996742"/>
                </a:moveTo>
                <a:cubicBezTo>
                  <a:pt x="7805002" y="1996742"/>
                  <a:pt x="7810836" y="2002576"/>
                  <a:pt x="7810836" y="2010598"/>
                </a:cubicBezTo>
                <a:cubicBezTo>
                  <a:pt x="7810836" y="2017891"/>
                  <a:pt x="7805002" y="2022995"/>
                  <a:pt x="7796980" y="2022995"/>
                </a:cubicBezTo>
                <a:cubicBezTo>
                  <a:pt x="7791145" y="2022995"/>
                  <a:pt x="7784582" y="2017891"/>
                  <a:pt x="7784582" y="2010598"/>
                </a:cubicBezTo>
                <a:cubicBezTo>
                  <a:pt x="7784582" y="2002576"/>
                  <a:pt x="7791145" y="1996742"/>
                  <a:pt x="7796980" y="1996742"/>
                </a:cubicBezTo>
                <a:close/>
                <a:moveTo>
                  <a:pt x="7726151" y="1996742"/>
                </a:moveTo>
                <a:cubicBezTo>
                  <a:pt x="7734173" y="1996742"/>
                  <a:pt x="7740007" y="2002576"/>
                  <a:pt x="7740007" y="2010598"/>
                </a:cubicBezTo>
                <a:cubicBezTo>
                  <a:pt x="7740007" y="2017891"/>
                  <a:pt x="7734173" y="2022995"/>
                  <a:pt x="7726151" y="2022995"/>
                </a:cubicBezTo>
                <a:cubicBezTo>
                  <a:pt x="7718858" y="2022995"/>
                  <a:pt x="7713753" y="2017891"/>
                  <a:pt x="7713753" y="2010598"/>
                </a:cubicBezTo>
                <a:cubicBezTo>
                  <a:pt x="7713753" y="2002576"/>
                  <a:pt x="7718858" y="1996742"/>
                  <a:pt x="7726151" y="1996742"/>
                </a:cubicBezTo>
                <a:close/>
                <a:moveTo>
                  <a:pt x="7654337" y="1996742"/>
                </a:moveTo>
                <a:cubicBezTo>
                  <a:pt x="7662899" y="1996742"/>
                  <a:pt x="7669126" y="2002576"/>
                  <a:pt x="7669126" y="2010598"/>
                </a:cubicBezTo>
                <a:cubicBezTo>
                  <a:pt x="7669126" y="2017891"/>
                  <a:pt x="7662899" y="2022995"/>
                  <a:pt x="7654337" y="2022995"/>
                </a:cubicBezTo>
                <a:cubicBezTo>
                  <a:pt x="7645776" y="2022995"/>
                  <a:pt x="7639549" y="2017891"/>
                  <a:pt x="7639549" y="2010598"/>
                </a:cubicBezTo>
                <a:cubicBezTo>
                  <a:pt x="7639549" y="2002576"/>
                  <a:pt x="7645776" y="1996742"/>
                  <a:pt x="7654337" y="1996742"/>
                </a:cubicBezTo>
                <a:close/>
                <a:moveTo>
                  <a:pt x="7583507" y="1996742"/>
                </a:moveTo>
                <a:cubicBezTo>
                  <a:pt x="7591291" y="1996742"/>
                  <a:pt x="7598297" y="2002576"/>
                  <a:pt x="7598297" y="2010598"/>
                </a:cubicBezTo>
                <a:cubicBezTo>
                  <a:pt x="7598297" y="2017891"/>
                  <a:pt x="7591291" y="2022995"/>
                  <a:pt x="7583507" y="2022995"/>
                </a:cubicBezTo>
                <a:cubicBezTo>
                  <a:pt x="7574945" y="2022995"/>
                  <a:pt x="7568718" y="2017891"/>
                  <a:pt x="7568718" y="2010598"/>
                </a:cubicBezTo>
                <a:cubicBezTo>
                  <a:pt x="7568718" y="2002576"/>
                  <a:pt x="7574945" y="1996742"/>
                  <a:pt x="7583507" y="1996742"/>
                </a:cubicBezTo>
                <a:close/>
                <a:moveTo>
                  <a:pt x="7512677" y="1996742"/>
                </a:moveTo>
                <a:cubicBezTo>
                  <a:pt x="7520461" y="1996742"/>
                  <a:pt x="7527466" y="2002576"/>
                  <a:pt x="7527466" y="2010598"/>
                </a:cubicBezTo>
                <a:cubicBezTo>
                  <a:pt x="7527466" y="2017891"/>
                  <a:pt x="7520461" y="2022995"/>
                  <a:pt x="7512677" y="2022995"/>
                </a:cubicBezTo>
                <a:cubicBezTo>
                  <a:pt x="7504115" y="2022995"/>
                  <a:pt x="7497889" y="2017891"/>
                  <a:pt x="7497889" y="2010598"/>
                </a:cubicBezTo>
                <a:cubicBezTo>
                  <a:pt x="7497889" y="2002576"/>
                  <a:pt x="7504115" y="1996742"/>
                  <a:pt x="7512677" y="1996742"/>
                </a:cubicBezTo>
                <a:close/>
                <a:moveTo>
                  <a:pt x="7796980" y="1925913"/>
                </a:moveTo>
                <a:cubicBezTo>
                  <a:pt x="7805002" y="1925913"/>
                  <a:pt x="7810836" y="1931747"/>
                  <a:pt x="7810836" y="1939769"/>
                </a:cubicBezTo>
                <a:cubicBezTo>
                  <a:pt x="7810836" y="1945603"/>
                  <a:pt x="7805002" y="1952166"/>
                  <a:pt x="7796980" y="1952166"/>
                </a:cubicBezTo>
                <a:cubicBezTo>
                  <a:pt x="7791145" y="1952166"/>
                  <a:pt x="7784582" y="1945603"/>
                  <a:pt x="7784582" y="1939769"/>
                </a:cubicBezTo>
                <a:cubicBezTo>
                  <a:pt x="7784582" y="1931747"/>
                  <a:pt x="7791145" y="1925913"/>
                  <a:pt x="7796980" y="1925913"/>
                </a:cubicBezTo>
                <a:close/>
                <a:moveTo>
                  <a:pt x="7726151" y="1925913"/>
                </a:moveTo>
                <a:cubicBezTo>
                  <a:pt x="7734173" y="1925913"/>
                  <a:pt x="7740007" y="1931747"/>
                  <a:pt x="7740007" y="1939769"/>
                </a:cubicBezTo>
                <a:cubicBezTo>
                  <a:pt x="7740007" y="1945603"/>
                  <a:pt x="7734173" y="1952166"/>
                  <a:pt x="7726151" y="1952166"/>
                </a:cubicBezTo>
                <a:cubicBezTo>
                  <a:pt x="7718858" y="1952166"/>
                  <a:pt x="7713753" y="1945603"/>
                  <a:pt x="7713753" y="1939769"/>
                </a:cubicBezTo>
                <a:cubicBezTo>
                  <a:pt x="7713753" y="1931747"/>
                  <a:pt x="7718858" y="1925913"/>
                  <a:pt x="7726151" y="1925913"/>
                </a:cubicBezTo>
                <a:close/>
                <a:moveTo>
                  <a:pt x="7654337" y="1925913"/>
                </a:moveTo>
                <a:cubicBezTo>
                  <a:pt x="7662899" y="1925913"/>
                  <a:pt x="7669126" y="1931747"/>
                  <a:pt x="7669126" y="1939769"/>
                </a:cubicBezTo>
                <a:cubicBezTo>
                  <a:pt x="7669126" y="1945603"/>
                  <a:pt x="7662899" y="1952166"/>
                  <a:pt x="7654337" y="1952166"/>
                </a:cubicBezTo>
                <a:cubicBezTo>
                  <a:pt x="7645776" y="1952166"/>
                  <a:pt x="7639549" y="1945603"/>
                  <a:pt x="7639549" y="1939769"/>
                </a:cubicBezTo>
                <a:cubicBezTo>
                  <a:pt x="7639549" y="1931747"/>
                  <a:pt x="7645776" y="1925913"/>
                  <a:pt x="7654337" y="1925913"/>
                </a:cubicBezTo>
                <a:close/>
                <a:moveTo>
                  <a:pt x="7583507" y="1925913"/>
                </a:moveTo>
                <a:cubicBezTo>
                  <a:pt x="7591291" y="1925913"/>
                  <a:pt x="7598297" y="1931747"/>
                  <a:pt x="7598297" y="1939769"/>
                </a:cubicBezTo>
                <a:cubicBezTo>
                  <a:pt x="7598297" y="1945603"/>
                  <a:pt x="7591291" y="1952166"/>
                  <a:pt x="7583507" y="1952166"/>
                </a:cubicBezTo>
                <a:cubicBezTo>
                  <a:pt x="7574945" y="1952166"/>
                  <a:pt x="7568718" y="1945603"/>
                  <a:pt x="7568718" y="1939769"/>
                </a:cubicBezTo>
                <a:cubicBezTo>
                  <a:pt x="7568718" y="1931747"/>
                  <a:pt x="7574945" y="1925913"/>
                  <a:pt x="7583507" y="1925913"/>
                </a:cubicBezTo>
                <a:close/>
                <a:moveTo>
                  <a:pt x="7512677" y="1925913"/>
                </a:moveTo>
                <a:cubicBezTo>
                  <a:pt x="7520461" y="1925913"/>
                  <a:pt x="7527466" y="1931747"/>
                  <a:pt x="7527466" y="1939769"/>
                </a:cubicBezTo>
                <a:cubicBezTo>
                  <a:pt x="7527466" y="1945603"/>
                  <a:pt x="7520461" y="1952166"/>
                  <a:pt x="7512677" y="1952166"/>
                </a:cubicBezTo>
                <a:cubicBezTo>
                  <a:pt x="7504115" y="1952166"/>
                  <a:pt x="7497889" y="1945603"/>
                  <a:pt x="7497889" y="1939769"/>
                </a:cubicBezTo>
                <a:cubicBezTo>
                  <a:pt x="7497889" y="1931747"/>
                  <a:pt x="7504115" y="1925913"/>
                  <a:pt x="7512677" y="1925913"/>
                </a:cubicBezTo>
                <a:close/>
                <a:moveTo>
                  <a:pt x="7440913" y="1925913"/>
                </a:moveTo>
                <a:cubicBezTo>
                  <a:pt x="7448206" y="1925913"/>
                  <a:pt x="7453310" y="1931747"/>
                  <a:pt x="7453310" y="1939769"/>
                </a:cubicBezTo>
                <a:cubicBezTo>
                  <a:pt x="7453310" y="1945603"/>
                  <a:pt x="7448206" y="1952166"/>
                  <a:pt x="7440913" y="1952166"/>
                </a:cubicBezTo>
                <a:cubicBezTo>
                  <a:pt x="7432891" y="1952166"/>
                  <a:pt x="7427057" y="1945603"/>
                  <a:pt x="7427057" y="1939769"/>
                </a:cubicBezTo>
                <a:cubicBezTo>
                  <a:pt x="7427057" y="1931747"/>
                  <a:pt x="7432891" y="1925913"/>
                  <a:pt x="7440913" y="1925913"/>
                </a:cubicBezTo>
                <a:close/>
                <a:moveTo>
                  <a:pt x="7726151" y="1855081"/>
                </a:moveTo>
                <a:cubicBezTo>
                  <a:pt x="7734173" y="1855081"/>
                  <a:pt x="7740007" y="1860915"/>
                  <a:pt x="7740007" y="1868937"/>
                </a:cubicBezTo>
                <a:cubicBezTo>
                  <a:pt x="7740007" y="1874771"/>
                  <a:pt x="7734173" y="1881334"/>
                  <a:pt x="7726151" y="1881334"/>
                </a:cubicBezTo>
                <a:cubicBezTo>
                  <a:pt x="7718858" y="1881334"/>
                  <a:pt x="7713753" y="1874771"/>
                  <a:pt x="7713753" y="1868937"/>
                </a:cubicBezTo>
                <a:cubicBezTo>
                  <a:pt x="7713753" y="1860915"/>
                  <a:pt x="7718858" y="1855081"/>
                  <a:pt x="7726151" y="1855081"/>
                </a:cubicBezTo>
                <a:close/>
                <a:moveTo>
                  <a:pt x="7654337" y="1855081"/>
                </a:moveTo>
                <a:cubicBezTo>
                  <a:pt x="7662899" y="1855081"/>
                  <a:pt x="7669126" y="1860915"/>
                  <a:pt x="7669126" y="1868937"/>
                </a:cubicBezTo>
                <a:cubicBezTo>
                  <a:pt x="7669126" y="1874771"/>
                  <a:pt x="7662899" y="1881334"/>
                  <a:pt x="7654337" y="1881334"/>
                </a:cubicBezTo>
                <a:cubicBezTo>
                  <a:pt x="7645776" y="1881334"/>
                  <a:pt x="7639549" y="1874771"/>
                  <a:pt x="7639549" y="1868937"/>
                </a:cubicBezTo>
                <a:cubicBezTo>
                  <a:pt x="7639549" y="1860915"/>
                  <a:pt x="7645776" y="1855081"/>
                  <a:pt x="7654337" y="1855081"/>
                </a:cubicBezTo>
                <a:close/>
                <a:moveTo>
                  <a:pt x="7583507" y="1855081"/>
                </a:moveTo>
                <a:cubicBezTo>
                  <a:pt x="7591291" y="1855081"/>
                  <a:pt x="7598297" y="1860915"/>
                  <a:pt x="7598297" y="1868937"/>
                </a:cubicBezTo>
                <a:cubicBezTo>
                  <a:pt x="7598297" y="1874771"/>
                  <a:pt x="7591291" y="1881334"/>
                  <a:pt x="7583507" y="1881334"/>
                </a:cubicBezTo>
                <a:cubicBezTo>
                  <a:pt x="7574945" y="1881334"/>
                  <a:pt x="7568718" y="1874771"/>
                  <a:pt x="7568718" y="1868937"/>
                </a:cubicBezTo>
                <a:cubicBezTo>
                  <a:pt x="7568718" y="1860915"/>
                  <a:pt x="7574945" y="1855081"/>
                  <a:pt x="7583507" y="1855081"/>
                </a:cubicBezTo>
                <a:close/>
                <a:moveTo>
                  <a:pt x="7512677" y="1855081"/>
                </a:moveTo>
                <a:cubicBezTo>
                  <a:pt x="7520461" y="1855081"/>
                  <a:pt x="7527466" y="1860915"/>
                  <a:pt x="7527466" y="1868937"/>
                </a:cubicBezTo>
                <a:cubicBezTo>
                  <a:pt x="7527466" y="1874771"/>
                  <a:pt x="7520461" y="1881334"/>
                  <a:pt x="7512677" y="1881334"/>
                </a:cubicBezTo>
                <a:cubicBezTo>
                  <a:pt x="7504115" y="1881334"/>
                  <a:pt x="7497889" y="1874771"/>
                  <a:pt x="7497889" y="1868937"/>
                </a:cubicBezTo>
                <a:cubicBezTo>
                  <a:pt x="7497889" y="1860915"/>
                  <a:pt x="7504115" y="1855081"/>
                  <a:pt x="7512677" y="1855081"/>
                </a:cubicBezTo>
                <a:close/>
                <a:moveTo>
                  <a:pt x="7440913" y="1855081"/>
                </a:moveTo>
                <a:cubicBezTo>
                  <a:pt x="7446747" y="1855081"/>
                  <a:pt x="7453310" y="1860915"/>
                  <a:pt x="7453310" y="1868937"/>
                </a:cubicBezTo>
                <a:cubicBezTo>
                  <a:pt x="7453310" y="1874771"/>
                  <a:pt x="7446747" y="1881334"/>
                  <a:pt x="7440913" y="1881334"/>
                </a:cubicBezTo>
                <a:cubicBezTo>
                  <a:pt x="7432891" y="1881334"/>
                  <a:pt x="7427057" y="1874771"/>
                  <a:pt x="7427057" y="1868937"/>
                </a:cubicBezTo>
                <a:cubicBezTo>
                  <a:pt x="7427057" y="1860915"/>
                  <a:pt x="7432891" y="1855081"/>
                  <a:pt x="7440913" y="1855081"/>
                </a:cubicBezTo>
                <a:close/>
                <a:moveTo>
                  <a:pt x="7654337" y="1780878"/>
                </a:moveTo>
                <a:cubicBezTo>
                  <a:pt x="7662899" y="1780878"/>
                  <a:pt x="7669126" y="1787441"/>
                  <a:pt x="7669126" y="1793275"/>
                </a:cubicBezTo>
                <a:cubicBezTo>
                  <a:pt x="7669126" y="1801297"/>
                  <a:pt x="7662899" y="1807131"/>
                  <a:pt x="7654337" y="1807131"/>
                </a:cubicBezTo>
                <a:cubicBezTo>
                  <a:pt x="7645776" y="1807131"/>
                  <a:pt x="7639549" y="1801297"/>
                  <a:pt x="7639549" y="1793275"/>
                </a:cubicBezTo>
                <a:cubicBezTo>
                  <a:pt x="7639549" y="1787441"/>
                  <a:pt x="7645776" y="1780878"/>
                  <a:pt x="7654337" y="1780878"/>
                </a:cubicBezTo>
                <a:close/>
                <a:moveTo>
                  <a:pt x="7583507" y="1780878"/>
                </a:moveTo>
                <a:cubicBezTo>
                  <a:pt x="7591291" y="1780878"/>
                  <a:pt x="7598297" y="1787441"/>
                  <a:pt x="7598297" y="1793275"/>
                </a:cubicBezTo>
                <a:cubicBezTo>
                  <a:pt x="7598297" y="1801297"/>
                  <a:pt x="7591291" y="1807131"/>
                  <a:pt x="7583507" y="1807131"/>
                </a:cubicBezTo>
                <a:cubicBezTo>
                  <a:pt x="7574945" y="1807131"/>
                  <a:pt x="7568718" y="1801297"/>
                  <a:pt x="7568718" y="1793275"/>
                </a:cubicBezTo>
                <a:cubicBezTo>
                  <a:pt x="7568718" y="1787441"/>
                  <a:pt x="7574945" y="1780878"/>
                  <a:pt x="7583507" y="1780878"/>
                </a:cubicBezTo>
                <a:close/>
                <a:moveTo>
                  <a:pt x="7511745" y="1780878"/>
                </a:moveTo>
                <a:cubicBezTo>
                  <a:pt x="7519038" y="1780878"/>
                  <a:pt x="7524143" y="1787441"/>
                  <a:pt x="7524143" y="1793275"/>
                </a:cubicBezTo>
                <a:cubicBezTo>
                  <a:pt x="7524143" y="1801297"/>
                  <a:pt x="7519038" y="1807131"/>
                  <a:pt x="7511745" y="1807131"/>
                </a:cubicBezTo>
                <a:cubicBezTo>
                  <a:pt x="7503723" y="1807131"/>
                  <a:pt x="7497889" y="1801297"/>
                  <a:pt x="7497889" y="1793275"/>
                </a:cubicBezTo>
                <a:cubicBezTo>
                  <a:pt x="7497889" y="1787441"/>
                  <a:pt x="7503723" y="1780878"/>
                  <a:pt x="7511745" y="1780878"/>
                </a:cubicBezTo>
                <a:close/>
                <a:moveTo>
                  <a:pt x="7440913" y="1780878"/>
                </a:moveTo>
                <a:cubicBezTo>
                  <a:pt x="7446747" y="1780878"/>
                  <a:pt x="7453310" y="1787441"/>
                  <a:pt x="7453310" y="1793275"/>
                </a:cubicBezTo>
                <a:cubicBezTo>
                  <a:pt x="7453310" y="1801297"/>
                  <a:pt x="7446747" y="1807131"/>
                  <a:pt x="7440913" y="1807131"/>
                </a:cubicBezTo>
                <a:cubicBezTo>
                  <a:pt x="7432891" y="1807131"/>
                  <a:pt x="7427057" y="1801297"/>
                  <a:pt x="7427057" y="1793275"/>
                </a:cubicBezTo>
                <a:cubicBezTo>
                  <a:pt x="7427057" y="1787441"/>
                  <a:pt x="7432891" y="1780878"/>
                  <a:pt x="7440913" y="1780878"/>
                </a:cubicBezTo>
                <a:close/>
                <a:moveTo>
                  <a:pt x="7370084" y="1780878"/>
                </a:moveTo>
                <a:cubicBezTo>
                  <a:pt x="7376647" y="1780878"/>
                  <a:pt x="7382481" y="1787441"/>
                  <a:pt x="7382481" y="1793275"/>
                </a:cubicBezTo>
                <a:cubicBezTo>
                  <a:pt x="7382481" y="1801297"/>
                  <a:pt x="7376647" y="1807131"/>
                  <a:pt x="7370084" y="1807131"/>
                </a:cubicBezTo>
                <a:cubicBezTo>
                  <a:pt x="7362791" y="1807131"/>
                  <a:pt x="7356228" y="1801297"/>
                  <a:pt x="7356228" y="1793275"/>
                </a:cubicBezTo>
                <a:cubicBezTo>
                  <a:pt x="7356228" y="1787441"/>
                  <a:pt x="7362791" y="1780878"/>
                  <a:pt x="7370084" y="1780878"/>
                </a:cubicBezTo>
                <a:close/>
                <a:moveTo>
                  <a:pt x="7294422" y="1780878"/>
                </a:moveTo>
                <a:cubicBezTo>
                  <a:pt x="7302444" y="1780878"/>
                  <a:pt x="7308278" y="1787441"/>
                  <a:pt x="7308278" y="1793275"/>
                </a:cubicBezTo>
                <a:cubicBezTo>
                  <a:pt x="7308278" y="1801297"/>
                  <a:pt x="7302444" y="1807131"/>
                  <a:pt x="7294422" y="1807131"/>
                </a:cubicBezTo>
                <a:cubicBezTo>
                  <a:pt x="7288588" y="1807131"/>
                  <a:pt x="7282025" y="1801297"/>
                  <a:pt x="7282025" y="1793275"/>
                </a:cubicBezTo>
                <a:cubicBezTo>
                  <a:pt x="7282025" y="1787441"/>
                  <a:pt x="7288588" y="1780878"/>
                  <a:pt x="7294422" y="1780878"/>
                </a:cubicBezTo>
                <a:close/>
                <a:moveTo>
                  <a:pt x="7654337" y="1710049"/>
                </a:moveTo>
                <a:cubicBezTo>
                  <a:pt x="7662899" y="1710049"/>
                  <a:pt x="7669126" y="1716612"/>
                  <a:pt x="7669126" y="1722446"/>
                </a:cubicBezTo>
                <a:cubicBezTo>
                  <a:pt x="7669126" y="1730468"/>
                  <a:pt x="7662899" y="1736302"/>
                  <a:pt x="7654337" y="1736302"/>
                </a:cubicBezTo>
                <a:cubicBezTo>
                  <a:pt x="7645776" y="1736302"/>
                  <a:pt x="7639549" y="1730468"/>
                  <a:pt x="7639549" y="1722446"/>
                </a:cubicBezTo>
                <a:cubicBezTo>
                  <a:pt x="7639549" y="1716612"/>
                  <a:pt x="7645776" y="1710049"/>
                  <a:pt x="7654337" y="1710049"/>
                </a:cubicBezTo>
                <a:close/>
                <a:moveTo>
                  <a:pt x="7583507" y="1710049"/>
                </a:moveTo>
                <a:cubicBezTo>
                  <a:pt x="7591291" y="1710049"/>
                  <a:pt x="7598297" y="1716612"/>
                  <a:pt x="7598297" y="1722446"/>
                </a:cubicBezTo>
                <a:cubicBezTo>
                  <a:pt x="7598297" y="1730468"/>
                  <a:pt x="7591291" y="1736302"/>
                  <a:pt x="7583507" y="1736302"/>
                </a:cubicBezTo>
                <a:cubicBezTo>
                  <a:pt x="7574945" y="1736302"/>
                  <a:pt x="7568718" y="1730468"/>
                  <a:pt x="7568718" y="1722446"/>
                </a:cubicBezTo>
                <a:cubicBezTo>
                  <a:pt x="7568718" y="1716612"/>
                  <a:pt x="7574945" y="1710049"/>
                  <a:pt x="7583507" y="1710049"/>
                </a:cubicBezTo>
                <a:close/>
                <a:moveTo>
                  <a:pt x="7511745" y="1710049"/>
                </a:moveTo>
                <a:cubicBezTo>
                  <a:pt x="7519038" y="1710049"/>
                  <a:pt x="7524143" y="1716612"/>
                  <a:pt x="7524143" y="1722446"/>
                </a:cubicBezTo>
                <a:cubicBezTo>
                  <a:pt x="7524143" y="1730468"/>
                  <a:pt x="7519038" y="1736302"/>
                  <a:pt x="7511745" y="1736302"/>
                </a:cubicBezTo>
                <a:cubicBezTo>
                  <a:pt x="7503723" y="1736302"/>
                  <a:pt x="7497889" y="1730468"/>
                  <a:pt x="7497889" y="1722446"/>
                </a:cubicBezTo>
                <a:cubicBezTo>
                  <a:pt x="7497889" y="1716612"/>
                  <a:pt x="7503723" y="1710049"/>
                  <a:pt x="7511745" y="1710049"/>
                </a:cubicBezTo>
                <a:close/>
                <a:moveTo>
                  <a:pt x="7440913" y="1710049"/>
                </a:moveTo>
                <a:cubicBezTo>
                  <a:pt x="7446747" y="1710049"/>
                  <a:pt x="7453310" y="1716612"/>
                  <a:pt x="7453310" y="1722446"/>
                </a:cubicBezTo>
                <a:cubicBezTo>
                  <a:pt x="7453310" y="1730468"/>
                  <a:pt x="7446747" y="1736302"/>
                  <a:pt x="7440913" y="1736302"/>
                </a:cubicBezTo>
                <a:cubicBezTo>
                  <a:pt x="7432891" y="1736302"/>
                  <a:pt x="7427057" y="1730468"/>
                  <a:pt x="7427057" y="1722446"/>
                </a:cubicBezTo>
                <a:cubicBezTo>
                  <a:pt x="7427057" y="1716612"/>
                  <a:pt x="7432891" y="1710049"/>
                  <a:pt x="7440913" y="1710049"/>
                </a:cubicBezTo>
                <a:close/>
                <a:moveTo>
                  <a:pt x="7370084" y="1710049"/>
                </a:moveTo>
                <a:cubicBezTo>
                  <a:pt x="7376647" y="1710049"/>
                  <a:pt x="7382481" y="1716612"/>
                  <a:pt x="7382481" y="1722446"/>
                </a:cubicBezTo>
                <a:cubicBezTo>
                  <a:pt x="7382481" y="1730468"/>
                  <a:pt x="7376647" y="1736302"/>
                  <a:pt x="7370084" y="1736302"/>
                </a:cubicBezTo>
                <a:cubicBezTo>
                  <a:pt x="7362791" y="1736302"/>
                  <a:pt x="7356228" y="1730468"/>
                  <a:pt x="7356228" y="1722446"/>
                </a:cubicBezTo>
                <a:cubicBezTo>
                  <a:pt x="7356228" y="1716612"/>
                  <a:pt x="7362791" y="1710049"/>
                  <a:pt x="7370084" y="1710049"/>
                </a:cubicBezTo>
                <a:close/>
                <a:moveTo>
                  <a:pt x="7294422" y="1710049"/>
                </a:moveTo>
                <a:cubicBezTo>
                  <a:pt x="7302444" y="1710049"/>
                  <a:pt x="7308278" y="1716612"/>
                  <a:pt x="7308278" y="1722446"/>
                </a:cubicBezTo>
                <a:cubicBezTo>
                  <a:pt x="7308278" y="1730468"/>
                  <a:pt x="7302444" y="1736302"/>
                  <a:pt x="7294422" y="1736302"/>
                </a:cubicBezTo>
                <a:cubicBezTo>
                  <a:pt x="7288588" y="1736302"/>
                  <a:pt x="7282025" y="1730468"/>
                  <a:pt x="7282025" y="1722446"/>
                </a:cubicBezTo>
                <a:cubicBezTo>
                  <a:pt x="7282025" y="1716612"/>
                  <a:pt x="7288588" y="1710049"/>
                  <a:pt x="7294422" y="1710049"/>
                </a:cubicBezTo>
                <a:close/>
                <a:moveTo>
                  <a:pt x="7223591" y="1710049"/>
                </a:moveTo>
                <a:cubicBezTo>
                  <a:pt x="7231613" y="1710049"/>
                  <a:pt x="7237447" y="1716612"/>
                  <a:pt x="7237447" y="1722446"/>
                </a:cubicBezTo>
                <a:cubicBezTo>
                  <a:pt x="7237447" y="1730468"/>
                  <a:pt x="7231613" y="1736302"/>
                  <a:pt x="7223591" y="1736302"/>
                </a:cubicBezTo>
                <a:cubicBezTo>
                  <a:pt x="7217757" y="1736302"/>
                  <a:pt x="7211194" y="1730468"/>
                  <a:pt x="7211194" y="1722446"/>
                </a:cubicBezTo>
                <a:cubicBezTo>
                  <a:pt x="7211194" y="1716612"/>
                  <a:pt x="7217757" y="1710049"/>
                  <a:pt x="7223591" y="1710049"/>
                </a:cubicBezTo>
                <a:close/>
                <a:moveTo>
                  <a:pt x="7583507" y="1639217"/>
                </a:moveTo>
                <a:cubicBezTo>
                  <a:pt x="7591291" y="1639217"/>
                  <a:pt x="7598297" y="1643592"/>
                  <a:pt x="7598297" y="1651614"/>
                </a:cubicBezTo>
                <a:cubicBezTo>
                  <a:pt x="7598297" y="1659636"/>
                  <a:pt x="7591291" y="1665470"/>
                  <a:pt x="7583507" y="1665470"/>
                </a:cubicBezTo>
                <a:cubicBezTo>
                  <a:pt x="7574945" y="1665470"/>
                  <a:pt x="7568718" y="1659636"/>
                  <a:pt x="7568718" y="1651614"/>
                </a:cubicBezTo>
                <a:cubicBezTo>
                  <a:pt x="7568718" y="1643592"/>
                  <a:pt x="7574945" y="1639217"/>
                  <a:pt x="7583507" y="1639217"/>
                </a:cubicBezTo>
                <a:close/>
                <a:moveTo>
                  <a:pt x="7511745" y="1639217"/>
                </a:moveTo>
                <a:cubicBezTo>
                  <a:pt x="7519038" y="1639217"/>
                  <a:pt x="7524143" y="1643592"/>
                  <a:pt x="7524143" y="1651614"/>
                </a:cubicBezTo>
                <a:cubicBezTo>
                  <a:pt x="7524143" y="1659636"/>
                  <a:pt x="7519038" y="1665470"/>
                  <a:pt x="7511745" y="1665470"/>
                </a:cubicBezTo>
                <a:cubicBezTo>
                  <a:pt x="7503723" y="1665470"/>
                  <a:pt x="7497889" y="1659636"/>
                  <a:pt x="7497889" y="1651614"/>
                </a:cubicBezTo>
                <a:cubicBezTo>
                  <a:pt x="7497889" y="1643592"/>
                  <a:pt x="7503723" y="1639217"/>
                  <a:pt x="7511745" y="1639217"/>
                </a:cubicBezTo>
                <a:close/>
                <a:moveTo>
                  <a:pt x="7440913" y="1639217"/>
                </a:moveTo>
                <a:cubicBezTo>
                  <a:pt x="7446747" y="1639217"/>
                  <a:pt x="7453310" y="1643592"/>
                  <a:pt x="7453310" y="1651614"/>
                </a:cubicBezTo>
                <a:cubicBezTo>
                  <a:pt x="7453310" y="1659636"/>
                  <a:pt x="7446747" y="1665470"/>
                  <a:pt x="7440913" y="1665470"/>
                </a:cubicBezTo>
                <a:cubicBezTo>
                  <a:pt x="7432891" y="1665470"/>
                  <a:pt x="7427057" y="1659636"/>
                  <a:pt x="7427057" y="1651614"/>
                </a:cubicBezTo>
                <a:cubicBezTo>
                  <a:pt x="7427057" y="1643592"/>
                  <a:pt x="7432891" y="1639217"/>
                  <a:pt x="7440913" y="1639217"/>
                </a:cubicBezTo>
                <a:close/>
                <a:moveTo>
                  <a:pt x="7370084" y="1639217"/>
                </a:moveTo>
                <a:cubicBezTo>
                  <a:pt x="7376647" y="1639217"/>
                  <a:pt x="7382481" y="1643592"/>
                  <a:pt x="7382481" y="1651614"/>
                </a:cubicBezTo>
                <a:cubicBezTo>
                  <a:pt x="7382481" y="1659636"/>
                  <a:pt x="7376647" y="1665470"/>
                  <a:pt x="7370084" y="1665470"/>
                </a:cubicBezTo>
                <a:cubicBezTo>
                  <a:pt x="7362791" y="1665470"/>
                  <a:pt x="7356228" y="1659636"/>
                  <a:pt x="7356228" y="1651614"/>
                </a:cubicBezTo>
                <a:cubicBezTo>
                  <a:pt x="7356228" y="1643592"/>
                  <a:pt x="7362791" y="1639217"/>
                  <a:pt x="7370084" y="1639217"/>
                </a:cubicBezTo>
                <a:close/>
                <a:moveTo>
                  <a:pt x="7294422" y="1639217"/>
                </a:moveTo>
                <a:cubicBezTo>
                  <a:pt x="7302444" y="1639217"/>
                  <a:pt x="7308278" y="1643592"/>
                  <a:pt x="7308278" y="1651614"/>
                </a:cubicBezTo>
                <a:cubicBezTo>
                  <a:pt x="7308278" y="1659636"/>
                  <a:pt x="7302444" y="1665470"/>
                  <a:pt x="7294422" y="1665470"/>
                </a:cubicBezTo>
                <a:cubicBezTo>
                  <a:pt x="7288588" y="1665470"/>
                  <a:pt x="7282025" y="1659636"/>
                  <a:pt x="7282025" y="1651614"/>
                </a:cubicBezTo>
                <a:cubicBezTo>
                  <a:pt x="7282025" y="1643592"/>
                  <a:pt x="7288588" y="1639217"/>
                  <a:pt x="7294422" y="1639217"/>
                </a:cubicBezTo>
                <a:close/>
                <a:moveTo>
                  <a:pt x="7223591" y="1639217"/>
                </a:moveTo>
                <a:cubicBezTo>
                  <a:pt x="7231613" y="1639217"/>
                  <a:pt x="7237447" y="1643592"/>
                  <a:pt x="7237447" y="1651614"/>
                </a:cubicBezTo>
                <a:cubicBezTo>
                  <a:pt x="7237447" y="1659636"/>
                  <a:pt x="7231613" y="1665470"/>
                  <a:pt x="7223591" y="1665470"/>
                </a:cubicBezTo>
                <a:cubicBezTo>
                  <a:pt x="7217757" y="1665470"/>
                  <a:pt x="7211194" y="1659636"/>
                  <a:pt x="7211194" y="1651614"/>
                </a:cubicBezTo>
                <a:cubicBezTo>
                  <a:pt x="7211194" y="1643592"/>
                  <a:pt x="7217757" y="1639217"/>
                  <a:pt x="7223591" y="1639217"/>
                </a:cubicBezTo>
                <a:close/>
                <a:moveTo>
                  <a:pt x="7152761" y="1639217"/>
                </a:moveTo>
                <a:cubicBezTo>
                  <a:pt x="7160783" y="1639217"/>
                  <a:pt x="7166617" y="1643592"/>
                  <a:pt x="7166617" y="1651614"/>
                </a:cubicBezTo>
                <a:cubicBezTo>
                  <a:pt x="7166617" y="1659636"/>
                  <a:pt x="7160783" y="1665470"/>
                  <a:pt x="7152761" y="1665470"/>
                </a:cubicBezTo>
                <a:cubicBezTo>
                  <a:pt x="7144739" y="1665470"/>
                  <a:pt x="7140364" y="1659636"/>
                  <a:pt x="7140364" y="1651614"/>
                </a:cubicBezTo>
                <a:cubicBezTo>
                  <a:pt x="7140364" y="1643592"/>
                  <a:pt x="7144739" y="1639217"/>
                  <a:pt x="7152761" y="1639217"/>
                </a:cubicBezTo>
                <a:close/>
                <a:moveTo>
                  <a:pt x="7511745" y="1568388"/>
                </a:moveTo>
                <a:cubicBezTo>
                  <a:pt x="7519038" y="1568388"/>
                  <a:pt x="7524143" y="1574614"/>
                  <a:pt x="7524143" y="1583176"/>
                </a:cubicBezTo>
                <a:cubicBezTo>
                  <a:pt x="7524143" y="1591738"/>
                  <a:pt x="7519038" y="1597964"/>
                  <a:pt x="7511745" y="1597964"/>
                </a:cubicBezTo>
                <a:cubicBezTo>
                  <a:pt x="7503723" y="1597964"/>
                  <a:pt x="7497889" y="1591738"/>
                  <a:pt x="7497889" y="1583176"/>
                </a:cubicBezTo>
                <a:cubicBezTo>
                  <a:pt x="7497889" y="1574614"/>
                  <a:pt x="7503723" y="1568388"/>
                  <a:pt x="7511745" y="1568388"/>
                </a:cubicBezTo>
                <a:close/>
                <a:moveTo>
                  <a:pt x="7440913" y="1568388"/>
                </a:moveTo>
                <a:cubicBezTo>
                  <a:pt x="7446747" y="1568388"/>
                  <a:pt x="7453310" y="1574614"/>
                  <a:pt x="7453310" y="1583176"/>
                </a:cubicBezTo>
                <a:cubicBezTo>
                  <a:pt x="7453310" y="1591738"/>
                  <a:pt x="7446747" y="1597964"/>
                  <a:pt x="7440913" y="1597964"/>
                </a:cubicBezTo>
                <a:cubicBezTo>
                  <a:pt x="7432891" y="1597964"/>
                  <a:pt x="7427057" y="1591738"/>
                  <a:pt x="7427057" y="1583176"/>
                </a:cubicBezTo>
                <a:cubicBezTo>
                  <a:pt x="7427057" y="1574614"/>
                  <a:pt x="7432891" y="1568388"/>
                  <a:pt x="7440913" y="1568388"/>
                </a:cubicBezTo>
                <a:close/>
                <a:moveTo>
                  <a:pt x="7370084" y="1568388"/>
                </a:moveTo>
                <a:cubicBezTo>
                  <a:pt x="7376647" y="1568388"/>
                  <a:pt x="7382481" y="1574614"/>
                  <a:pt x="7382481" y="1583176"/>
                </a:cubicBezTo>
                <a:cubicBezTo>
                  <a:pt x="7382481" y="1591738"/>
                  <a:pt x="7376647" y="1597964"/>
                  <a:pt x="7370084" y="1597964"/>
                </a:cubicBezTo>
                <a:cubicBezTo>
                  <a:pt x="7362791" y="1597964"/>
                  <a:pt x="7356228" y="1591738"/>
                  <a:pt x="7356228" y="1583176"/>
                </a:cubicBezTo>
                <a:cubicBezTo>
                  <a:pt x="7356228" y="1574614"/>
                  <a:pt x="7362791" y="1568388"/>
                  <a:pt x="7370084" y="1568388"/>
                </a:cubicBezTo>
                <a:close/>
                <a:moveTo>
                  <a:pt x="7294422" y="1568388"/>
                </a:moveTo>
                <a:cubicBezTo>
                  <a:pt x="7302444" y="1568388"/>
                  <a:pt x="7308278" y="1574614"/>
                  <a:pt x="7308278" y="1583176"/>
                </a:cubicBezTo>
                <a:cubicBezTo>
                  <a:pt x="7308278" y="1591738"/>
                  <a:pt x="7302444" y="1597964"/>
                  <a:pt x="7294422" y="1597964"/>
                </a:cubicBezTo>
                <a:cubicBezTo>
                  <a:pt x="7288588" y="1597964"/>
                  <a:pt x="7282025" y="1591738"/>
                  <a:pt x="7282025" y="1583176"/>
                </a:cubicBezTo>
                <a:cubicBezTo>
                  <a:pt x="7282025" y="1574614"/>
                  <a:pt x="7288588" y="1568388"/>
                  <a:pt x="7294422" y="1568388"/>
                </a:cubicBezTo>
                <a:close/>
                <a:moveTo>
                  <a:pt x="7223591" y="1568388"/>
                </a:moveTo>
                <a:cubicBezTo>
                  <a:pt x="7231613" y="1568388"/>
                  <a:pt x="7237447" y="1574614"/>
                  <a:pt x="7237447" y="1583176"/>
                </a:cubicBezTo>
                <a:cubicBezTo>
                  <a:pt x="7237447" y="1591738"/>
                  <a:pt x="7231613" y="1597964"/>
                  <a:pt x="7223591" y="1597964"/>
                </a:cubicBezTo>
                <a:cubicBezTo>
                  <a:pt x="7217757" y="1597964"/>
                  <a:pt x="7211194" y="1591738"/>
                  <a:pt x="7211194" y="1583176"/>
                </a:cubicBezTo>
                <a:cubicBezTo>
                  <a:pt x="7211194" y="1574614"/>
                  <a:pt x="7217757" y="1568388"/>
                  <a:pt x="7223591" y="1568388"/>
                </a:cubicBezTo>
                <a:close/>
                <a:moveTo>
                  <a:pt x="7152761" y="1568388"/>
                </a:moveTo>
                <a:cubicBezTo>
                  <a:pt x="7160783" y="1568388"/>
                  <a:pt x="7166617" y="1572763"/>
                  <a:pt x="7166617" y="1580785"/>
                </a:cubicBezTo>
                <a:cubicBezTo>
                  <a:pt x="7166617" y="1588807"/>
                  <a:pt x="7160783" y="1594641"/>
                  <a:pt x="7152761" y="1594641"/>
                </a:cubicBezTo>
                <a:cubicBezTo>
                  <a:pt x="7144739" y="1594641"/>
                  <a:pt x="7140364" y="1588807"/>
                  <a:pt x="7140364" y="1580785"/>
                </a:cubicBezTo>
                <a:cubicBezTo>
                  <a:pt x="7140364" y="1572763"/>
                  <a:pt x="7144739" y="1568388"/>
                  <a:pt x="7152761" y="1568388"/>
                </a:cubicBezTo>
                <a:close/>
                <a:moveTo>
                  <a:pt x="7084322" y="1568388"/>
                </a:moveTo>
                <a:cubicBezTo>
                  <a:pt x="7092106" y="1568388"/>
                  <a:pt x="7099111" y="1572763"/>
                  <a:pt x="7099111" y="1580785"/>
                </a:cubicBezTo>
                <a:cubicBezTo>
                  <a:pt x="7099111" y="1588807"/>
                  <a:pt x="7092106" y="1594641"/>
                  <a:pt x="7084322" y="1594641"/>
                </a:cubicBezTo>
                <a:cubicBezTo>
                  <a:pt x="7075760" y="1594641"/>
                  <a:pt x="7069533" y="1588807"/>
                  <a:pt x="7069533" y="1580785"/>
                </a:cubicBezTo>
                <a:cubicBezTo>
                  <a:pt x="7069533" y="1572763"/>
                  <a:pt x="7075760" y="1568388"/>
                  <a:pt x="7084322" y="1568388"/>
                </a:cubicBezTo>
                <a:close/>
                <a:moveTo>
                  <a:pt x="7440913" y="1494185"/>
                </a:moveTo>
                <a:cubicBezTo>
                  <a:pt x="7446747" y="1494185"/>
                  <a:pt x="7453310" y="1500411"/>
                  <a:pt x="7453310" y="1508973"/>
                </a:cubicBezTo>
                <a:cubicBezTo>
                  <a:pt x="7453310" y="1516756"/>
                  <a:pt x="7446747" y="1523761"/>
                  <a:pt x="7440913" y="1523761"/>
                </a:cubicBezTo>
                <a:cubicBezTo>
                  <a:pt x="7432891" y="1523761"/>
                  <a:pt x="7427057" y="1516756"/>
                  <a:pt x="7427057" y="1508973"/>
                </a:cubicBezTo>
                <a:cubicBezTo>
                  <a:pt x="7427057" y="1500411"/>
                  <a:pt x="7432891" y="1494185"/>
                  <a:pt x="7440913" y="1494185"/>
                </a:cubicBezTo>
                <a:close/>
                <a:moveTo>
                  <a:pt x="7370084" y="1494185"/>
                </a:moveTo>
                <a:cubicBezTo>
                  <a:pt x="7376647" y="1494185"/>
                  <a:pt x="7382481" y="1500411"/>
                  <a:pt x="7382481" y="1508973"/>
                </a:cubicBezTo>
                <a:cubicBezTo>
                  <a:pt x="7382481" y="1516756"/>
                  <a:pt x="7376647" y="1523761"/>
                  <a:pt x="7370084" y="1523761"/>
                </a:cubicBezTo>
                <a:cubicBezTo>
                  <a:pt x="7362791" y="1523761"/>
                  <a:pt x="7356228" y="1516756"/>
                  <a:pt x="7356228" y="1508973"/>
                </a:cubicBezTo>
                <a:cubicBezTo>
                  <a:pt x="7356228" y="1500411"/>
                  <a:pt x="7362791" y="1494185"/>
                  <a:pt x="7370084" y="1494185"/>
                </a:cubicBezTo>
                <a:close/>
                <a:moveTo>
                  <a:pt x="7294422" y="1494185"/>
                </a:moveTo>
                <a:cubicBezTo>
                  <a:pt x="7302444" y="1494185"/>
                  <a:pt x="7308278" y="1500411"/>
                  <a:pt x="7308278" y="1508973"/>
                </a:cubicBezTo>
                <a:cubicBezTo>
                  <a:pt x="7308278" y="1516756"/>
                  <a:pt x="7302444" y="1523761"/>
                  <a:pt x="7294422" y="1523761"/>
                </a:cubicBezTo>
                <a:cubicBezTo>
                  <a:pt x="7288588" y="1523761"/>
                  <a:pt x="7282025" y="1516756"/>
                  <a:pt x="7282025" y="1508973"/>
                </a:cubicBezTo>
                <a:cubicBezTo>
                  <a:pt x="7282025" y="1500411"/>
                  <a:pt x="7288588" y="1494185"/>
                  <a:pt x="7294422" y="1494185"/>
                </a:cubicBezTo>
                <a:close/>
                <a:moveTo>
                  <a:pt x="7223591" y="1494185"/>
                </a:moveTo>
                <a:cubicBezTo>
                  <a:pt x="7231613" y="1494185"/>
                  <a:pt x="7237447" y="1500411"/>
                  <a:pt x="7237447" y="1508973"/>
                </a:cubicBezTo>
                <a:cubicBezTo>
                  <a:pt x="7237447" y="1516756"/>
                  <a:pt x="7231613" y="1523761"/>
                  <a:pt x="7223591" y="1523761"/>
                </a:cubicBezTo>
                <a:cubicBezTo>
                  <a:pt x="7217757" y="1523761"/>
                  <a:pt x="7211194" y="1516756"/>
                  <a:pt x="7211194" y="1508973"/>
                </a:cubicBezTo>
                <a:cubicBezTo>
                  <a:pt x="7211194" y="1500411"/>
                  <a:pt x="7217757" y="1494185"/>
                  <a:pt x="7223591" y="1494185"/>
                </a:cubicBezTo>
                <a:close/>
                <a:moveTo>
                  <a:pt x="7152761" y="1494185"/>
                </a:moveTo>
                <a:cubicBezTo>
                  <a:pt x="7160783" y="1494185"/>
                  <a:pt x="7166617" y="1500411"/>
                  <a:pt x="7166617" y="1508973"/>
                </a:cubicBezTo>
                <a:cubicBezTo>
                  <a:pt x="7166617" y="1516756"/>
                  <a:pt x="7160783" y="1523761"/>
                  <a:pt x="7152761" y="1523761"/>
                </a:cubicBezTo>
                <a:cubicBezTo>
                  <a:pt x="7144739" y="1523761"/>
                  <a:pt x="7140364" y="1516756"/>
                  <a:pt x="7140364" y="1508973"/>
                </a:cubicBezTo>
                <a:cubicBezTo>
                  <a:pt x="7140364" y="1500411"/>
                  <a:pt x="7144739" y="1494185"/>
                  <a:pt x="7152761" y="1494185"/>
                </a:cubicBezTo>
                <a:close/>
                <a:moveTo>
                  <a:pt x="7084322" y="1494185"/>
                </a:moveTo>
                <a:cubicBezTo>
                  <a:pt x="7092106" y="1494185"/>
                  <a:pt x="7099111" y="1500411"/>
                  <a:pt x="7099111" y="1508973"/>
                </a:cubicBezTo>
                <a:cubicBezTo>
                  <a:pt x="7099111" y="1516756"/>
                  <a:pt x="7092106" y="1523761"/>
                  <a:pt x="7084322" y="1523761"/>
                </a:cubicBezTo>
                <a:cubicBezTo>
                  <a:pt x="7075760" y="1523761"/>
                  <a:pt x="7069533" y="1516756"/>
                  <a:pt x="7069533" y="1508973"/>
                </a:cubicBezTo>
                <a:cubicBezTo>
                  <a:pt x="7069533" y="1500411"/>
                  <a:pt x="7075760" y="1494185"/>
                  <a:pt x="7084322" y="1494185"/>
                </a:cubicBezTo>
                <a:close/>
                <a:moveTo>
                  <a:pt x="7013492" y="1494185"/>
                </a:moveTo>
                <a:cubicBezTo>
                  <a:pt x="7021275" y="1494185"/>
                  <a:pt x="7028280" y="1500411"/>
                  <a:pt x="7028280" y="1508973"/>
                </a:cubicBezTo>
                <a:cubicBezTo>
                  <a:pt x="7028280" y="1516756"/>
                  <a:pt x="7021275" y="1523761"/>
                  <a:pt x="7013492" y="1523761"/>
                </a:cubicBezTo>
                <a:cubicBezTo>
                  <a:pt x="7004930" y="1523761"/>
                  <a:pt x="6998704" y="1516756"/>
                  <a:pt x="6998704" y="1508973"/>
                </a:cubicBezTo>
                <a:cubicBezTo>
                  <a:pt x="6998704" y="1500411"/>
                  <a:pt x="7004930" y="1494185"/>
                  <a:pt x="7013492" y="1494185"/>
                </a:cubicBezTo>
                <a:close/>
                <a:moveTo>
                  <a:pt x="6939085" y="1494185"/>
                </a:moveTo>
                <a:cubicBezTo>
                  <a:pt x="6946378" y="1494185"/>
                  <a:pt x="6950753" y="1500411"/>
                  <a:pt x="6950753" y="1508973"/>
                </a:cubicBezTo>
                <a:cubicBezTo>
                  <a:pt x="6950753" y="1516756"/>
                  <a:pt x="6946378" y="1523761"/>
                  <a:pt x="6939085" y="1523761"/>
                </a:cubicBezTo>
                <a:cubicBezTo>
                  <a:pt x="6931063" y="1523761"/>
                  <a:pt x="6924500" y="1516756"/>
                  <a:pt x="6924500" y="1508973"/>
                </a:cubicBezTo>
                <a:cubicBezTo>
                  <a:pt x="6924500" y="1500411"/>
                  <a:pt x="6931063" y="1494185"/>
                  <a:pt x="6939085" y="1494185"/>
                </a:cubicBezTo>
                <a:close/>
                <a:moveTo>
                  <a:pt x="83229" y="1426727"/>
                </a:moveTo>
                <a:cubicBezTo>
                  <a:pt x="90521" y="1426727"/>
                  <a:pt x="97085" y="1431102"/>
                  <a:pt x="97085" y="1439124"/>
                </a:cubicBezTo>
                <a:cubicBezTo>
                  <a:pt x="97085" y="1446417"/>
                  <a:pt x="90521" y="1452980"/>
                  <a:pt x="83229" y="1452980"/>
                </a:cubicBezTo>
                <a:cubicBezTo>
                  <a:pt x="76665" y="1452980"/>
                  <a:pt x="70831" y="1446417"/>
                  <a:pt x="70831" y="1439124"/>
                </a:cubicBezTo>
                <a:cubicBezTo>
                  <a:pt x="70831" y="1432561"/>
                  <a:pt x="76665" y="1426727"/>
                  <a:pt x="83229" y="1426727"/>
                </a:cubicBezTo>
                <a:close/>
                <a:moveTo>
                  <a:pt x="11993" y="1426727"/>
                </a:moveTo>
                <a:cubicBezTo>
                  <a:pt x="20237" y="1426727"/>
                  <a:pt x="26234" y="1432561"/>
                  <a:pt x="26234" y="1439124"/>
                </a:cubicBezTo>
                <a:cubicBezTo>
                  <a:pt x="26234" y="1446417"/>
                  <a:pt x="20237" y="1452980"/>
                  <a:pt x="11993" y="1452980"/>
                </a:cubicBezTo>
                <a:cubicBezTo>
                  <a:pt x="5996" y="1452980"/>
                  <a:pt x="0" y="1446417"/>
                  <a:pt x="0" y="1439124"/>
                </a:cubicBezTo>
                <a:cubicBezTo>
                  <a:pt x="0" y="1432561"/>
                  <a:pt x="5996" y="1426727"/>
                  <a:pt x="11993" y="1426727"/>
                </a:cubicBezTo>
                <a:close/>
                <a:moveTo>
                  <a:pt x="7370084" y="1423353"/>
                </a:moveTo>
                <a:cubicBezTo>
                  <a:pt x="7376647" y="1423353"/>
                  <a:pt x="7382481" y="1429580"/>
                  <a:pt x="7382481" y="1438142"/>
                </a:cubicBezTo>
                <a:cubicBezTo>
                  <a:pt x="7382481" y="1445926"/>
                  <a:pt x="7376647" y="1452931"/>
                  <a:pt x="7370084" y="1452931"/>
                </a:cubicBezTo>
                <a:cubicBezTo>
                  <a:pt x="7362791" y="1452931"/>
                  <a:pt x="7356228" y="1445926"/>
                  <a:pt x="7356228" y="1438142"/>
                </a:cubicBezTo>
                <a:cubicBezTo>
                  <a:pt x="7356228" y="1429580"/>
                  <a:pt x="7362791" y="1423353"/>
                  <a:pt x="7370084" y="1423353"/>
                </a:cubicBezTo>
                <a:close/>
                <a:moveTo>
                  <a:pt x="7294422" y="1423353"/>
                </a:moveTo>
                <a:cubicBezTo>
                  <a:pt x="7302444" y="1423353"/>
                  <a:pt x="7308278" y="1429580"/>
                  <a:pt x="7308278" y="1438142"/>
                </a:cubicBezTo>
                <a:cubicBezTo>
                  <a:pt x="7308278" y="1445926"/>
                  <a:pt x="7302444" y="1452931"/>
                  <a:pt x="7294422" y="1452931"/>
                </a:cubicBezTo>
                <a:cubicBezTo>
                  <a:pt x="7288588" y="1452931"/>
                  <a:pt x="7282025" y="1445926"/>
                  <a:pt x="7282025" y="1438142"/>
                </a:cubicBezTo>
                <a:cubicBezTo>
                  <a:pt x="7282025" y="1429580"/>
                  <a:pt x="7288588" y="1423353"/>
                  <a:pt x="7294422" y="1423353"/>
                </a:cubicBezTo>
                <a:close/>
                <a:moveTo>
                  <a:pt x="7223591" y="1423353"/>
                </a:moveTo>
                <a:cubicBezTo>
                  <a:pt x="7231613" y="1423353"/>
                  <a:pt x="7237447" y="1429580"/>
                  <a:pt x="7237447" y="1438142"/>
                </a:cubicBezTo>
                <a:cubicBezTo>
                  <a:pt x="7237447" y="1445926"/>
                  <a:pt x="7231613" y="1452931"/>
                  <a:pt x="7223591" y="1452931"/>
                </a:cubicBezTo>
                <a:cubicBezTo>
                  <a:pt x="7217757" y="1452931"/>
                  <a:pt x="7211194" y="1445926"/>
                  <a:pt x="7211194" y="1438142"/>
                </a:cubicBezTo>
                <a:cubicBezTo>
                  <a:pt x="7211194" y="1429580"/>
                  <a:pt x="7215569" y="1423353"/>
                  <a:pt x="7223591" y="1423353"/>
                </a:cubicBezTo>
                <a:close/>
                <a:moveTo>
                  <a:pt x="7155152" y="1423353"/>
                </a:moveTo>
                <a:cubicBezTo>
                  <a:pt x="7163714" y="1423353"/>
                  <a:pt x="7169940" y="1429580"/>
                  <a:pt x="7169940" y="1438142"/>
                </a:cubicBezTo>
                <a:cubicBezTo>
                  <a:pt x="7169940" y="1445926"/>
                  <a:pt x="7163714" y="1452931"/>
                  <a:pt x="7155152" y="1452931"/>
                </a:cubicBezTo>
                <a:cubicBezTo>
                  <a:pt x="7146590" y="1452931"/>
                  <a:pt x="7141920" y="1445926"/>
                  <a:pt x="7141920" y="1438142"/>
                </a:cubicBezTo>
                <a:cubicBezTo>
                  <a:pt x="7140364" y="1429580"/>
                  <a:pt x="7146590" y="1423353"/>
                  <a:pt x="7155152" y="1423353"/>
                </a:cubicBezTo>
                <a:close/>
                <a:moveTo>
                  <a:pt x="7084322" y="1423353"/>
                </a:moveTo>
                <a:cubicBezTo>
                  <a:pt x="7092106" y="1423353"/>
                  <a:pt x="7099111" y="1429580"/>
                  <a:pt x="7099111" y="1438142"/>
                </a:cubicBezTo>
                <a:cubicBezTo>
                  <a:pt x="7099111" y="1445926"/>
                  <a:pt x="7092106" y="1452931"/>
                  <a:pt x="7084322" y="1452931"/>
                </a:cubicBezTo>
                <a:cubicBezTo>
                  <a:pt x="7075760" y="1452931"/>
                  <a:pt x="7069533" y="1445926"/>
                  <a:pt x="7069533" y="1438142"/>
                </a:cubicBezTo>
                <a:cubicBezTo>
                  <a:pt x="7069533" y="1429580"/>
                  <a:pt x="7075760" y="1423353"/>
                  <a:pt x="7084322" y="1423353"/>
                </a:cubicBezTo>
                <a:close/>
                <a:moveTo>
                  <a:pt x="7013492" y="1423353"/>
                </a:moveTo>
                <a:cubicBezTo>
                  <a:pt x="7021275" y="1423353"/>
                  <a:pt x="7028280" y="1429580"/>
                  <a:pt x="7028280" y="1438142"/>
                </a:cubicBezTo>
                <a:cubicBezTo>
                  <a:pt x="7028280" y="1445926"/>
                  <a:pt x="7021275" y="1452931"/>
                  <a:pt x="7013492" y="1452931"/>
                </a:cubicBezTo>
                <a:cubicBezTo>
                  <a:pt x="7004930" y="1452931"/>
                  <a:pt x="6998704" y="1445926"/>
                  <a:pt x="6998704" y="1438142"/>
                </a:cubicBezTo>
                <a:cubicBezTo>
                  <a:pt x="6998704" y="1429580"/>
                  <a:pt x="7004930" y="1423353"/>
                  <a:pt x="7013492" y="1423353"/>
                </a:cubicBezTo>
                <a:close/>
                <a:moveTo>
                  <a:pt x="6939085" y="1423353"/>
                </a:moveTo>
                <a:cubicBezTo>
                  <a:pt x="6946378" y="1423353"/>
                  <a:pt x="6950753" y="1429580"/>
                  <a:pt x="6950753" y="1438142"/>
                </a:cubicBezTo>
                <a:cubicBezTo>
                  <a:pt x="6950753" y="1445926"/>
                  <a:pt x="6946378" y="1452931"/>
                  <a:pt x="6939085" y="1452931"/>
                </a:cubicBezTo>
                <a:cubicBezTo>
                  <a:pt x="6931063" y="1452931"/>
                  <a:pt x="6924500" y="1445926"/>
                  <a:pt x="6924500" y="1438142"/>
                </a:cubicBezTo>
                <a:cubicBezTo>
                  <a:pt x="6924500" y="1429580"/>
                  <a:pt x="6931063" y="1423353"/>
                  <a:pt x="6939085" y="1423353"/>
                </a:cubicBezTo>
                <a:close/>
                <a:moveTo>
                  <a:pt x="6867525" y="1423353"/>
                </a:moveTo>
                <a:cubicBezTo>
                  <a:pt x="6874088" y="1423353"/>
                  <a:pt x="6879922" y="1429580"/>
                  <a:pt x="6879922" y="1438142"/>
                </a:cubicBezTo>
                <a:cubicBezTo>
                  <a:pt x="6879922" y="1445926"/>
                  <a:pt x="6874088" y="1452931"/>
                  <a:pt x="6867525" y="1452931"/>
                </a:cubicBezTo>
                <a:cubicBezTo>
                  <a:pt x="6860232" y="1452931"/>
                  <a:pt x="6853669" y="1445926"/>
                  <a:pt x="6853669" y="1438142"/>
                </a:cubicBezTo>
                <a:cubicBezTo>
                  <a:pt x="6853669" y="1429580"/>
                  <a:pt x="6860232" y="1423353"/>
                  <a:pt x="6867525" y="1423353"/>
                </a:cubicBezTo>
                <a:close/>
                <a:moveTo>
                  <a:pt x="6796696" y="1423353"/>
                </a:moveTo>
                <a:cubicBezTo>
                  <a:pt x="6803259" y="1423353"/>
                  <a:pt x="6809093" y="1429580"/>
                  <a:pt x="6809093" y="1438142"/>
                </a:cubicBezTo>
                <a:cubicBezTo>
                  <a:pt x="6809093" y="1445926"/>
                  <a:pt x="6803259" y="1452931"/>
                  <a:pt x="6796696" y="1452931"/>
                </a:cubicBezTo>
                <a:cubicBezTo>
                  <a:pt x="6789403" y="1452931"/>
                  <a:pt x="6782840" y="1445926"/>
                  <a:pt x="6782840" y="1438142"/>
                </a:cubicBezTo>
                <a:cubicBezTo>
                  <a:pt x="6782840" y="1429580"/>
                  <a:pt x="6789403" y="1423353"/>
                  <a:pt x="6796696" y="1423353"/>
                </a:cubicBezTo>
                <a:close/>
                <a:moveTo>
                  <a:pt x="155518" y="1355896"/>
                </a:moveTo>
                <a:cubicBezTo>
                  <a:pt x="161352" y="1355896"/>
                  <a:pt x="167916" y="1360271"/>
                  <a:pt x="167916" y="1368293"/>
                </a:cubicBezTo>
                <a:cubicBezTo>
                  <a:pt x="167916" y="1375586"/>
                  <a:pt x="161352" y="1382149"/>
                  <a:pt x="155518" y="1382149"/>
                </a:cubicBezTo>
                <a:cubicBezTo>
                  <a:pt x="147496" y="1382149"/>
                  <a:pt x="141662" y="1375586"/>
                  <a:pt x="141662" y="1368293"/>
                </a:cubicBezTo>
                <a:cubicBezTo>
                  <a:pt x="141662" y="1360271"/>
                  <a:pt x="147496" y="1355896"/>
                  <a:pt x="155518" y="1355896"/>
                </a:cubicBezTo>
                <a:close/>
                <a:moveTo>
                  <a:pt x="83230" y="1355896"/>
                </a:moveTo>
                <a:cubicBezTo>
                  <a:pt x="90523" y="1355896"/>
                  <a:pt x="97086" y="1360271"/>
                  <a:pt x="97086" y="1368293"/>
                </a:cubicBezTo>
                <a:cubicBezTo>
                  <a:pt x="97086" y="1375586"/>
                  <a:pt x="90523" y="1382149"/>
                  <a:pt x="83230" y="1382149"/>
                </a:cubicBezTo>
                <a:cubicBezTo>
                  <a:pt x="76667" y="1382149"/>
                  <a:pt x="70832" y="1375586"/>
                  <a:pt x="70832" y="1368293"/>
                </a:cubicBezTo>
                <a:cubicBezTo>
                  <a:pt x="70832" y="1360271"/>
                  <a:pt x="76667" y="1355896"/>
                  <a:pt x="83230" y="1355896"/>
                </a:cubicBezTo>
                <a:close/>
                <a:moveTo>
                  <a:pt x="11994" y="1355896"/>
                </a:moveTo>
                <a:cubicBezTo>
                  <a:pt x="20239" y="1355896"/>
                  <a:pt x="26235" y="1360271"/>
                  <a:pt x="26235" y="1368293"/>
                </a:cubicBezTo>
                <a:cubicBezTo>
                  <a:pt x="26235" y="1375586"/>
                  <a:pt x="20239" y="1382149"/>
                  <a:pt x="11994" y="1382149"/>
                </a:cubicBezTo>
                <a:cubicBezTo>
                  <a:pt x="5998" y="1382149"/>
                  <a:pt x="2" y="1375586"/>
                  <a:pt x="2" y="1368293"/>
                </a:cubicBezTo>
                <a:cubicBezTo>
                  <a:pt x="2" y="1360271"/>
                  <a:pt x="5998" y="1355896"/>
                  <a:pt x="11994" y="1355896"/>
                </a:cubicBezTo>
                <a:close/>
                <a:moveTo>
                  <a:pt x="7294422" y="1352524"/>
                </a:moveTo>
                <a:cubicBezTo>
                  <a:pt x="7302444" y="1352524"/>
                  <a:pt x="7308278" y="1359087"/>
                  <a:pt x="7308278" y="1367109"/>
                </a:cubicBezTo>
                <a:cubicBezTo>
                  <a:pt x="7308278" y="1374402"/>
                  <a:pt x="7302444" y="1378777"/>
                  <a:pt x="7294422" y="1378777"/>
                </a:cubicBezTo>
                <a:cubicBezTo>
                  <a:pt x="7288588" y="1378777"/>
                  <a:pt x="7282025" y="1374402"/>
                  <a:pt x="7282025" y="1367109"/>
                </a:cubicBezTo>
                <a:cubicBezTo>
                  <a:pt x="7282025" y="1359087"/>
                  <a:pt x="7288588" y="1352524"/>
                  <a:pt x="7294422" y="1352524"/>
                </a:cubicBezTo>
                <a:close/>
                <a:moveTo>
                  <a:pt x="7223591" y="1352524"/>
                </a:moveTo>
                <a:cubicBezTo>
                  <a:pt x="7231613" y="1352524"/>
                  <a:pt x="7237447" y="1359087"/>
                  <a:pt x="7237447" y="1367109"/>
                </a:cubicBezTo>
                <a:cubicBezTo>
                  <a:pt x="7237447" y="1374402"/>
                  <a:pt x="7231613" y="1378777"/>
                  <a:pt x="7223591" y="1378777"/>
                </a:cubicBezTo>
                <a:cubicBezTo>
                  <a:pt x="7215569" y="1378777"/>
                  <a:pt x="7211194" y="1374402"/>
                  <a:pt x="7211194" y="1367109"/>
                </a:cubicBezTo>
                <a:cubicBezTo>
                  <a:pt x="7211194" y="1359087"/>
                  <a:pt x="7215569" y="1352524"/>
                  <a:pt x="7223591" y="1352524"/>
                </a:cubicBezTo>
                <a:close/>
                <a:moveTo>
                  <a:pt x="7155152" y="1352524"/>
                </a:moveTo>
                <a:cubicBezTo>
                  <a:pt x="7163714" y="1352524"/>
                  <a:pt x="7169940" y="1359087"/>
                  <a:pt x="7169940" y="1367109"/>
                </a:cubicBezTo>
                <a:cubicBezTo>
                  <a:pt x="7169940" y="1374402"/>
                  <a:pt x="7163714" y="1378777"/>
                  <a:pt x="7155152" y="1378777"/>
                </a:cubicBezTo>
                <a:cubicBezTo>
                  <a:pt x="7146590" y="1378777"/>
                  <a:pt x="7140364" y="1374402"/>
                  <a:pt x="7140364" y="1367109"/>
                </a:cubicBezTo>
                <a:cubicBezTo>
                  <a:pt x="7140364" y="1359087"/>
                  <a:pt x="7146590" y="1352524"/>
                  <a:pt x="7155152" y="1352524"/>
                </a:cubicBezTo>
                <a:close/>
                <a:moveTo>
                  <a:pt x="7084322" y="1352524"/>
                </a:moveTo>
                <a:cubicBezTo>
                  <a:pt x="7092106" y="1352524"/>
                  <a:pt x="7099111" y="1359087"/>
                  <a:pt x="7099111" y="1367109"/>
                </a:cubicBezTo>
                <a:cubicBezTo>
                  <a:pt x="7099111" y="1374402"/>
                  <a:pt x="7092106" y="1378777"/>
                  <a:pt x="7084322" y="1378777"/>
                </a:cubicBezTo>
                <a:cubicBezTo>
                  <a:pt x="7075760" y="1378777"/>
                  <a:pt x="7069533" y="1374402"/>
                  <a:pt x="7069533" y="1367109"/>
                </a:cubicBezTo>
                <a:cubicBezTo>
                  <a:pt x="7069533" y="1359087"/>
                  <a:pt x="7075760" y="1352524"/>
                  <a:pt x="7084322" y="1352524"/>
                </a:cubicBezTo>
                <a:close/>
                <a:moveTo>
                  <a:pt x="7013492" y="1352524"/>
                </a:moveTo>
                <a:cubicBezTo>
                  <a:pt x="7021275" y="1352524"/>
                  <a:pt x="7028280" y="1359087"/>
                  <a:pt x="7028280" y="1367109"/>
                </a:cubicBezTo>
                <a:cubicBezTo>
                  <a:pt x="7028280" y="1374402"/>
                  <a:pt x="7021275" y="1378777"/>
                  <a:pt x="7013492" y="1378777"/>
                </a:cubicBezTo>
                <a:cubicBezTo>
                  <a:pt x="7004930" y="1378777"/>
                  <a:pt x="6998704" y="1374402"/>
                  <a:pt x="6998704" y="1367109"/>
                </a:cubicBezTo>
                <a:cubicBezTo>
                  <a:pt x="6998704" y="1359087"/>
                  <a:pt x="7004930" y="1352524"/>
                  <a:pt x="7013492" y="1352524"/>
                </a:cubicBezTo>
                <a:close/>
                <a:moveTo>
                  <a:pt x="6939085" y="1352524"/>
                </a:moveTo>
                <a:cubicBezTo>
                  <a:pt x="6946378" y="1352524"/>
                  <a:pt x="6950753" y="1359354"/>
                  <a:pt x="6950753" y="1367701"/>
                </a:cubicBezTo>
                <a:cubicBezTo>
                  <a:pt x="6950753" y="1375290"/>
                  <a:pt x="6946378" y="1382120"/>
                  <a:pt x="6939085" y="1382120"/>
                </a:cubicBezTo>
                <a:cubicBezTo>
                  <a:pt x="6931063" y="1382120"/>
                  <a:pt x="6924500" y="1375290"/>
                  <a:pt x="6924500" y="1367701"/>
                </a:cubicBezTo>
                <a:cubicBezTo>
                  <a:pt x="6924500" y="1359354"/>
                  <a:pt x="6931063" y="1352524"/>
                  <a:pt x="6939085" y="1352524"/>
                </a:cubicBezTo>
                <a:close/>
                <a:moveTo>
                  <a:pt x="6867525" y="1352524"/>
                </a:moveTo>
                <a:cubicBezTo>
                  <a:pt x="6874088" y="1352524"/>
                  <a:pt x="6879922" y="1359354"/>
                  <a:pt x="6879922" y="1367701"/>
                </a:cubicBezTo>
                <a:cubicBezTo>
                  <a:pt x="6879922" y="1375290"/>
                  <a:pt x="6874088" y="1382120"/>
                  <a:pt x="6867525" y="1382120"/>
                </a:cubicBezTo>
                <a:cubicBezTo>
                  <a:pt x="6860232" y="1382120"/>
                  <a:pt x="6853669" y="1375290"/>
                  <a:pt x="6853669" y="1367701"/>
                </a:cubicBezTo>
                <a:cubicBezTo>
                  <a:pt x="6853669" y="1359354"/>
                  <a:pt x="6860232" y="1352524"/>
                  <a:pt x="6867525" y="1352524"/>
                </a:cubicBezTo>
                <a:close/>
                <a:moveTo>
                  <a:pt x="6796696" y="1352524"/>
                </a:moveTo>
                <a:cubicBezTo>
                  <a:pt x="6803259" y="1352524"/>
                  <a:pt x="6809093" y="1359354"/>
                  <a:pt x="6809093" y="1367701"/>
                </a:cubicBezTo>
                <a:cubicBezTo>
                  <a:pt x="6809093" y="1375290"/>
                  <a:pt x="6803259" y="1382120"/>
                  <a:pt x="6796696" y="1382120"/>
                </a:cubicBezTo>
                <a:cubicBezTo>
                  <a:pt x="6789403" y="1382120"/>
                  <a:pt x="6782840" y="1375290"/>
                  <a:pt x="6782840" y="1367701"/>
                </a:cubicBezTo>
                <a:cubicBezTo>
                  <a:pt x="6782840" y="1359354"/>
                  <a:pt x="6789403" y="1352524"/>
                  <a:pt x="6796696" y="1352524"/>
                </a:cubicBezTo>
                <a:close/>
                <a:moveTo>
                  <a:pt x="6724405" y="1352524"/>
                </a:moveTo>
                <a:cubicBezTo>
                  <a:pt x="6732427" y="1352524"/>
                  <a:pt x="6738261" y="1359354"/>
                  <a:pt x="6738261" y="1367701"/>
                </a:cubicBezTo>
                <a:cubicBezTo>
                  <a:pt x="6738261" y="1375290"/>
                  <a:pt x="6732427" y="1382120"/>
                  <a:pt x="6724405" y="1382120"/>
                </a:cubicBezTo>
                <a:cubicBezTo>
                  <a:pt x="6718571" y="1382120"/>
                  <a:pt x="6712008" y="1375290"/>
                  <a:pt x="6712008" y="1367701"/>
                </a:cubicBezTo>
                <a:cubicBezTo>
                  <a:pt x="6712008" y="1359354"/>
                  <a:pt x="6718571" y="1352524"/>
                  <a:pt x="6724405" y="1352524"/>
                </a:cubicBezTo>
                <a:close/>
                <a:moveTo>
                  <a:pt x="6653576" y="1352524"/>
                </a:moveTo>
                <a:cubicBezTo>
                  <a:pt x="6660869" y="1352524"/>
                  <a:pt x="6667432" y="1359354"/>
                  <a:pt x="6667432" y="1367701"/>
                </a:cubicBezTo>
                <a:cubicBezTo>
                  <a:pt x="6667432" y="1375290"/>
                  <a:pt x="6660869" y="1382120"/>
                  <a:pt x="6653576" y="1382120"/>
                </a:cubicBezTo>
                <a:cubicBezTo>
                  <a:pt x="6647013" y="1382120"/>
                  <a:pt x="6641179" y="1375290"/>
                  <a:pt x="6641179" y="1367701"/>
                </a:cubicBezTo>
                <a:cubicBezTo>
                  <a:pt x="6641179" y="1359354"/>
                  <a:pt x="6647013" y="1352524"/>
                  <a:pt x="6653576" y="1352524"/>
                </a:cubicBezTo>
                <a:close/>
                <a:moveTo>
                  <a:pt x="7223591" y="1281693"/>
                </a:moveTo>
                <a:cubicBezTo>
                  <a:pt x="7231613" y="1281693"/>
                  <a:pt x="7237447" y="1288256"/>
                  <a:pt x="7237447" y="1295549"/>
                </a:cubicBezTo>
                <a:cubicBezTo>
                  <a:pt x="7237447" y="1302112"/>
                  <a:pt x="7231613" y="1307946"/>
                  <a:pt x="7223591" y="1307946"/>
                </a:cubicBezTo>
                <a:cubicBezTo>
                  <a:pt x="7215569" y="1307946"/>
                  <a:pt x="7211194" y="1302112"/>
                  <a:pt x="7211194" y="1295549"/>
                </a:cubicBezTo>
                <a:cubicBezTo>
                  <a:pt x="7211194" y="1288256"/>
                  <a:pt x="7215569" y="1281693"/>
                  <a:pt x="7223591" y="1281693"/>
                </a:cubicBezTo>
                <a:close/>
                <a:moveTo>
                  <a:pt x="7155152" y="1281693"/>
                </a:moveTo>
                <a:cubicBezTo>
                  <a:pt x="7163714" y="1281693"/>
                  <a:pt x="7169940" y="1288256"/>
                  <a:pt x="7169940" y="1295549"/>
                </a:cubicBezTo>
                <a:cubicBezTo>
                  <a:pt x="7169940" y="1302112"/>
                  <a:pt x="7163714" y="1307946"/>
                  <a:pt x="7155152" y="1307946"/>
                </a:cubicBezTo>
                <a:cubicBezTo>
                  <a:pt x="7146590" y="1307946"/>
                  <a:pt x="7140364" y="1302112"/>
                  <a:pt x="7140364" y="1295549"/>
                </a:cubicBezTo>
                <a:cubicBezTo>
                  <a:pt x="7140364" y="1288256"/>
                  <a:pt x="7146590" y="1281693"/>
                  <a:pt x="7155152" y="1281693"/>
                </a:cubicBezTo>
                <a:close/>
                <a:moveTo>
                  <a:pt x="7084322" y="1281693"/>
                </a:moveTo>
                <a:cubicBezTo>
                  <a:pt x="7092106" y="1281693"/>
                  <a:pt x="7099111" y="1288256"/>
                  <a:pt x="7099111" y="1295549"/>
                </a:cubicBezTo>
                <a:cubicBezTo>
                  <a:pt x="7099111" y="1302112"/>
                  <a:pt x="7092106" y="1307946"/>
                  <a:pt x="7084322" y="1307946"/>
                </a:cubicBezTo>
                <a:cubicBezTo>
                  <a:pt x="7075760" y="1307946"/>
                  <a:pt x="7069533" y="1303571"/>
                  <a:pt x="7069533" y="1295549"/>
                </a:cubicBezTo>
                <a:cubicBezTo>
                  <a:pt x="7069533" y="1288256"/>
                  <a:pt x="7075760" y="1281693"/>
                  <a:pt x="7084322" y="1281693"/>
                </a:cubicBezTo>
                <a:close/>
                <a:moveTo>
                  <a:pt x="7013492" y="1281693"/>
                </a:moveTo>
                <a:cubicBezTo>
                  <a:pt x="7021275" y="1281693"/>
                  <a:pt x="7028280" y="1288256"/>
                  <a:pt x="7028280" y="1295549"/>
                </a:cubicBezTo>
                <a:cubicBezTo>
                  <a:pt x="7028280" y="1303571"/>
                  <a:pt x="7021275" y="1307946"/>
                  <a:pt x="7013492" y="1307946"/>
                </a:cubicBezTo>
                <a:cubicBezTo>
                  <a:pt x="7004930" y="1307946"/>
                  <a:pt x="6998704" y="1303571"/>
                  <a:pt x="6998704" y="1295549"/>
                </a:cubicBezTo>
                <a:cubicBezTo>
                  <a:pt x="6998704" y="1288256"/>
                  <a:pt x="7004930" y="1281693"/>
                  <a:pt x="7013492" y="1281693"/>
                </a:cubicBezTo>
                <a:close/>
                <a:moveTo>
                  <a:pt x="6939085" y="1281693"/>
                </a:moveTo>
                <a:cubicBezTo>
                  <a:pt x="6946378" y="1281693"/>
                  <a:pt x="6950753" y="1288256"/>
                  <a:pt x="6950753" y="1295549"/>
                </a:cubicBezTo>
                <a:cubicBezTo>
                  <a:pt x="6950753" y="1303571"/>
                  <a:pt x="6946378" y="1307946"/>
                  <a:pt x="6939085" y="1307946"/>
                </a:cubicBezTo>
                <a:cubicBezTo>
                  <a:pt x="6931063" y="1307946"/>
                  <a:pt x="6924500" y="1303571"/>
                  <a:pt x="6924500" y="1295549"/>
                </a:cubicBezTo>
                <a:cubicBezTo>
                  <a:pt x="6924500" y="1288256"/>
                  <a:pt x="6931063" y="1281693"/>
                  <a:pt x="6939085" y="1281693"/>
                </a:cubicBezTo>
                <a:close/>
                <a:moveTo>
                  <a:pt x="6867525" y="1281693"/>
                </a:moveTo>
                <a:cubicBezTo>
                  <a:pt x="6874088" y="1281693"/>
                  <a:pt x="6879922" y="1288256"/>
                  <a:pt x="6879922" y="1295549"/>
                </a:cubicBezTo>
                <a:cubicBezTo>
                  <a:pt x="6879922" y="1303571"/>
                  <a:pt x="6874088" y="1307946"/>
                  <a:pt x="6867525" y="1307946"/>
                </a:cubicBezTo>
                <a:cubicBezTo>
                  <a:pt x="6860232" y="1307946"/>
                  <a:pt x="6853669" y="1303571"/>
                  <a:pt x="6853669" y="1295549"/>
                </a:cubicBezTo>
                <a:cubicBezTo>
                  <a:pt x="6853669" y="1288256"/>
                  <a:pt x="6860232" y="1281693"/>
                  <a:pt x="6867525" y="1281693"/>
                </a:cubicBezTo>
                <a:close/>
                <a:moveTo>
                  <a:pt x="6796696" y="1281693"/>
                </a:moveTo>
                <a:cubicBezTo>
                  <a:pt x="6803259" y="1281693"/>
                  <a:pt x="6809093" y="1288256"/>
                  <a:pt x="6809093" y="1295549"/>
                </a:cubicBezTo>
                <a:cubicBezTo>
                  <a:pt x="6809093" y="1303571"/>
                  <a:pt x="6803259" y="1307946"/>
                  <a:pt x="6796696" y="1307946"/>
                </a:cubicBezTo>
                <a:cubicBezTo>
                  <a:pt x="6789403" y="1307946"/>
                  <a:pt x="6782840" y="1303571"/>
                  <a:pt x="6782840" y="1295549"/>
                </a:cubicBezTo>
                <a:cubicBezTo>
                  <a:pt x="6782840" y="1288256"/>
                  <a:pt x="6789403" y="1281693"/>
                  <a:pt x="6796696" y="1281693"/>
                </a:cubicBezTo>
                <a:close/>
                <a:moveTo>
                  <a:pt x="6724405" y="1281693"/>
                </a:moveTo>
                <a:cubicBezTo>
                  <a:pt x="6732427" y="1281693"/>
                  <a:pt x="6738261" y="1288256"/>
                  <a:pt x="6738261" y="1295549"/>
                </a:cubicBezTo>
                <a:cubicBezTo>
                  <a:pt x="6738261" y="1303571"/>
                  <a:pt x="6732427" y="1307946"/>
                  <a:pt x="6724405" y="1307946"/>
                </a:cubicBezTo>
                <a:cubicBezTo>
                  <a:pt x="6718571" y="1307946"/>
                  <a:pt x="6712008" y="1303571"/>
                  <a:pt x="6712008" y="1295549"/>
                </a:cubicBezTo>
                <a:cubicBezTo>
                  <a:pt x="6712008" y="1288256"/>
                  <a:pt x="6718571" y="1281693"/>
                  <a:pt x="6724405" y="1281693"/>
                </a:cubicBezTo>
                <a:close/>
                <a:moveTo>
                  <a:pt x="6653576" y="1281693"/>
                </a:moveTo>
                <a:cubicBezTo>
                  <a:pt x="6660869" y="1281693"/>
                  <a:pt x="6667432" y="1288256"/>
                  <a:pt x="6667432" y="1295549"/>
                </a:cubicBezTo>
                <a:cubicBezTo>
                  <a:pt x="6667432" y="1303571"/>
                  <a:pt x="6660869" y="1307946"/>
                  <a:pt x="6653576" y="1307946"/>
                </a:cubicBezTo>
                <a:cubicBezTo>
                  <a:pt x="6647013" y="1307946"/>
                  <a:pt x="6641179" y="1303571"/>
                  <a:pt x="6641179" y="1295549"/>
                </a:cubicBezTo>
                <a:cubicBezTo>
                  <a:pt x="6641179" y="1288256"/>
                  <a:pt x="6647013" y="1281693"/>
                  <a:pt x="6653576" y="1281693"/>
                </a:cubicBezTo>
                <a:close/>
                <a:moveTo>
                  <a:pt x="6582745" y="1281693"/>
                </a:moveTo>
                <a:cubicBezTo>
                  <a:pt x="6590038" y="1281693"/>
                  <a:pt x="6596601" y="1288256"/>
                  <a:pt x="6596601" y="1295549"/>
                </a:cubicBezTo>
                <a:cubicBezTo>
                  <a:pt x="6596601" y="1303571"/>
                  <a:pt x="6590038" y="1307946"/>
                  <a:pt x="6582745" y="1307946"/>
                </a:cubicBezTo>
                <a:cubicBezTo>
                  <a:pt x="6574723" y="1307946"/>
                  <a:pt x="6570348" y="1303571"/>
                  <a:pt x="6570348" y="1295549"/>
                </a:cubicBezTo>
                <a:cubicBezTo>
                  <a:pt x="6570348" y="1288256"/>
                  <a:pt x="6574723" y="1281693"/>
                  <a:pt x="6582745" y="1281693"/>
                </a:cubicBezTo>
                <a:close/>
                <a:moveTo>
                  <a:pt x="6510933" y="1281693"/>
                </a:moveTo>
                <a:cubicBezTo>
                  <a:pt x="6518717" y="1281693"/>
                  <a:pt x="6525722" y="1288256"/>
                  <a:pt x="6525722" y="1295549"/>
                </a:cubicBezTo>
                <a:cubicBezTo>
                  <a:pt x="6525722" y="1303571"/>
                  <a:pt x="6518717" y="1307946"/>
                  <a:pt x="6510933" y="1307946"/>
                </a:cubicBezTo>
                <a:cubicBezTo>
                  <a:pt x="6502371" y="1307946"/>
                  <a:pt x="6496144" y="1303571"/>
                  <a:pt x="6496144" y="1295549"/>
                </a:cubicBezTo>
                <a:cubicBezTo>
                  <a:pt x="6496144" y="1288256"/>
                  <a:pt x="6502371" y="1281693"/>
                  <a:pt x="6510933" y="1281693"/>
                </a:cubicBezTo>
                <a:close/>
                <a:moveTo>
                  <a:pt x="6440492" y="1281693"/>
                </a:moveTo>
                <a:cubicBezTo>
                  <a:pt x="6448081" y="1281693"/>
                  <a:pt x="6454911" y="1288256"/>
                  <a:pt x="6454911" y="1295549"/>
                </a:cubicBezTo>
                <a:cubicBezTo>
                  <a:pt x="6454911" y="1303571"/>
                  <a:pt x="6448081" y="1307946"/>
                  <a:pt x="6440492" y="1307946"/>
                </a:cubicBezTo>
                <a:cubicBezTo>
                  <a:pt x="6432145" y="1307946"/>
                  <a:pt x="6425315" y="1303571"/>
                  <a:pt x="6425315" y="1295549"/>
                </a:cubicBezTo>
                <a:cubicBezTo>
                  <a:pt x="6425315" y="1288256"/>
                  <a:pt x="6432145" y="1281693"/>
                  <a:pt x="6440492" y="1281693"/>
                </a:cubicBezTo>
                <a:close/>
                <a:moveTo>
                  <a:pt x="6369273" y="1281693"/>
                </a:moveTo>
                <a:cubicBezTo>
                  <a:pt x="6377835" y="1281693"/>
                  <a:pt x="6384062" y="1288698"/>
                  <a:pt x="6384062" y="1296482"/>
                </a:cubicBezTo>
                <a:cubicBezTo>
                  <a:pt x="6384062" y="1305044"/>
                  <a:pt x="6377835" y="1311271"/>
                  <a:pt x="6369273" y="1311271"/>
                </a:cubicBezTo>
                <a:cubicBezTo>
                  <a:pt x="6361489" y="1311271"/>
                  <a:pt x="6354484" y="1305044"/>
                  <a:pt x="6354484" y="1296482"/>
                </a:cubicBezTo>
                <a:cubicBezTo>
                  <a:pt x="6354484" y="1288698"/>
                  <a:pt x="6361489" y="1281693"/>
                  <a:pt x="6369273" y="1281693"/>
                </a:cubicBezTo>
                <a:close/>
                <a:moveTo>
                  <a:pt x="5799257" y="1281693"/>
                </a:moveTo>
                <a:cubicBezTo>
                  <a:pt x="5807819" y="1281693"/>
                  <a:pt x="5814045" y="1288698"/>
                  <a:pt x="5814045" y="1296482"/>
                </a:cubicBezTo>
                <a:cubicBezTo>
                  <a:pt x="5814045" y="1305044"/>
                  <a:pt x="5807819" y="1311271"/>
                  <a:pt x="5799257" y="1311271"/>
                </a:cubicBezTo>
                <a:cubicBezTo>
                  <a:pt x="5791474" y="1311271"/>
                  <a:pt x="5784469" y="1305044"/>
                  <a:pt x="5784469" y="1296482"/>
                </a:cubicBezTo>
                <a:cubicBezTo>
                  <a:pt x="5784469" y="1288698"/>
                  <a:pt x="5791474" y="1281693"/>
                  <a:pt x="5799257" y="1281693"/>
                </a:cubicBezTo>
                <a:close/>
                <a:moveTo>
                  <a:pt x="5724122" y="1281693"/>
                </a:moveTo>
                <a:cubicBezTo>
                  <a:pt x="5732144" y="1281693"/>
                  <a:pt x="5736519" y="1288698"/>
                  <a:pt x="5736519" y="1296482"/>
                </a:cubicBezTo>
                <a:cubicBezTo>
                  <a:pt x="5736519" y="1305044"/>
                  <a:pt x="5732144" y="1311271"/>
                  <a:pt x="5724122" y="1311271"/>
                </a:cubicBezTo>
                <a:cubicBezTo>
                  <a:pt x="5716100" y="1311271"/>
                  <a:pt x="5710266" y="1305044"/>
                  <a:pt x="5710266" y="1296482"/>
                </a:cubicBezTo>
                <a:cubicBezTo>
                  <a:pt x="5710266" y="1288698"/>
                  <a:pt x="5716100" y="1281693"/>
                  <a:pt x="5724122" y="1281693"/>
                </a:cubicBezTo>
                <a:close/>
                <a:moveTo>
                  <a:pt x="5653291" y="1281693"/>
                </a:moveTo>
                <a:cubicBezTo>
                  <a:pt x="5659125" y="1281693"/>
                  <a:pt x="5665688" y="1288698"/>
                  <a:pt x="5665688" y="1296482"/>
                </a:cubicBezTo>
                <a:cubicBezTo>
                  <a:pt x="5665688" y="1305044"/>
                  <a:pt x="5659125" y="1311271"/>
                  <a:pt x="5653291" y="1311271"/>
                </a:cubicBezTo>
                <a:cubicBezTo>
                  <a:pt x="5645269" y="1311271"/>
                  <a:pt x="5639435" y="1305044"/>
                  <a:pt x="5639435" y="1296482"/>
                </a:cubicBezTo>
                <a:cubicBezTo>
                  <a:pt x="5639435" y="1288698"/>
                  <a:pt x="5645269" y="1281693"/>
                  <a:pt x="5653291" y="1281693"/>
                </a:cubicBezTo>
                <a:close/>
                <a:moveTo>
                  <a:pt x="5582461" y="1281693"/>
                </a:moveTo>
                <a:cubicBezTo>
                  <a:pt x="5588295" y="1281693"/>
                  <a:pt x="5594858" y="1288698"/>
                  <a:pt x="5594858" y="1296482"/>
                </a:cubicBezTo>
                <a:cubicBezTo>
                  <a:pt x="5594858" y="1305044"/>
                  <a:pt x="5588295" y="1311271"/>
                  <a:pt x="5582461" y="1311271"/>
                </a:cubicBezTo>
                <a:cubicBezTo>
                  <a:pt x="5574439" y="1311271"/>
                  <a:pt x="5568605" y="1305044"/>
                  <a:pt x="5568605" y="1296482"/>
                </a:cubicBezTo>
                <a:cubicBezTo>
                  <a:pt x="5568605" y="1288698"/>
                  <a:pt x="5574439" y="1281693"/>
                  <a:pt x="5582461" y="1281693"/>
                </a:cubicBezTo>
                <a:close/>
                <a:moveTo>
                  <a:pt x="5510171" y="1281693"/>
                </a:moveTo>
                <a:cubicBezTo>
                  <a:pt x="5517464" y="1281693"/>
                  <a:pt x="5524027" y="1288698"/>
                  <a:pt x="5524027" y="1296482"/>
                </a:cubicBezTo>
                <a:cubicBezTo>
                  <a:pt x="5524027" y="1305044"/>
                  <a:pt x="5517464" y="1311271"/>
                  <a:pt x="5510171" y="1311271"/>
                </a:cubicBezTo>
                <a:cubicBezTo>
                  <a:pt x="5503608" y="1311271"/>
                  <a:pt x="5497774" y="1305044"/>
                  <a:pt x="5497774" y="1296482"/>
                </a:cubicBezTo>
                <a:cubicBezTo>
                  <a:pt x="5497774" y="1288698"/>
                  <a:pt x="5503608" y="1281693"/>
                  <a:pt x="5510171" y="1281693"/>
                </a:cubicBezTo>
                <a:close/>
                <a:moveTo>
                  <a:pt x="5438937" y="1281693"/>
                </a:moveTo>
                <a:cubicBezTo>
                  <a:pt x="5447182" y="1281693"/>
                  <a:pt x="5453178" y="1288698"/>
                  <a:pt x="5453178" y="1296482"/>
                </a:cubicBezTo>
                <a:cubicBezTo>
                  <a:pt x="5453178" y="1305044"/>
                  <a:pt x="5447182" y="1311271"/>
                  <a:pt x="5438937" y="1311271"/>
                </a:cubicBezTo>
                <a:cubicBezTo>
                  <a:pt x="5432941" y="1311271"/>
                  <a:pt x="5426945" y="1305044"/>
                  <a:pt x="5426945" y="1296482"/>
                </a:cubicBezTo>
                <a:cubicBezTo>
                  <a:pt x="5426945" y="1288698"/>
                  <a:pt x="5432941" y="1281693"/>
                  <a:pt x="5438937" y="1281693"/>
                </a:cubicBezTo>
                <a:close/>
                <a:moveTo>
                  <a:pt x="5368510" y="1281693"/>
                </a:moveTo>
                <a:cubicBezTo>
                  <a:pt x="5376532" y="1281693"/>
                  <a:pt x="5382366" y="1288698"/>
                  <a:pt x="5382366" y="1296482"/>
                </a:cubicBezTo>
                <a:cubicBezTo>
                  <a:pt x="5382366" y="1305044"/>
                  <a:pt x="5376532" y="1311271"/>
                  <a:pt x="5368510" y="1311271"/>
                </a:cubicBezTo>
                <a:cubicBezTo>
                  <a:pt x="5361218" y="1311271"/>
                  <a:pt x="5356113" y="1305044"/>
                  <a:pt x="5356113" y="1296482"/>
                </a:cubicBezTo>
                <a:cubicBezTo>
                  <a:pt x="5356113" y="1288698"/>
                  <a:pt x="5361218" y="1281693"/>
                  <a:pt x="5368510" y="1281693"/>
                </a:cubicBezTo>
                <a:close/>
                <a:moveTo>
                  <a:pt x="5296699" y="1281693"/>
                </a:moveTo>
                <a:cubicBezTo>
                  <a:pt x="5305261" y="1281693"/>
                  <a:pt x="5311488" y="1288698"/>
                  <a:pt x="5311488" y="1296482"/>
                </a:cubicBezTo>
                <a:cubicBezTo>
                  <a:pt x="5311488" y="1305044"/>
                  <a:pt x="5305261" y="1311271"/>
                  <a:pt x="5296699" y="1311271"/>
                </a:cubicBezTo>
                <a:cubicBezTo>
                  <a:pt x="5288915" y="1311271"/>
                  <a:pt x="5281910" y="1305044"/>
                  <a:pt x="5281910" y="1296482"/>
                </a:cubicBezTo>
                <a:cubicBezTo>
                  <a:pt x="5281910" y="1288698"/>
                  <a:pt x="5288915" y="1281693"/>
                  <a:pt x="5296699" y="1281693"/>
                </a:cubicBezTo>
                <a:close/>
                <a:moveTo>
                  <a:pt x="5225869" y="1281693"/>
                </a:moveTo>
                <a:cubicBezTo>
                  <a:pt x="5234431" y="1281693"/>
                  <a:pt x="5240657" y="1288698"/>
                  <a:pt x="5240657" y="1296482"/>
                </a:cubicBezTo>
                <a:cubicBezTo>
                  <a:pt x="5240657" y="1305044"/>
                  <a:pt x="5234431" y="1311271"/>
                  <a:pt x="5225869" y="1311271"/>
                </a:cubicBezTo>
                <a:cubicBezTo>
                  <a:pt x="5217307" y="1311271"/>
                  <a:pt x="5211081" y="1305044"/>
                  <a:pt x="5211081" y="1296482"/>
                </a:cubicBezTo>
                <a:cubicBezTo>
                  <a:pt x="5211081" y="1288698"/>
                  <a:pt x="5217307" y="1281693"/>
                  <a:pt x="5225869" y="1281693"/>
                </a:cubicBezTo>
                <a:close/>
                <a:moveTo>
                  <a:pt x="5154105" y="1281693"/>
                </a:moveTo>
                <a:cubicBezTo>
                  <a:pt x="5162127" y="1281693"/>
                  <a:pt x="5166502" y="1288698"/>
                  <a:pt x="5166502" y="1296482"/>
                </a:cubicBezTo>
                <a:cubicBezTo>
                  <a:pt x="5166502" y="1305044"/>
                  <a:pt x="5162127" y="1311271"/>
                  <a:pt x="5154105" y="1311271"/>
                </a:cubicBezTo>
                <a:cubicBezTo>
                  <a:pt x="5146083" y="1311271"/>
                  <a:pt x="5140249" y="1305044"/>
                  <a:pt x="5140249" y="1296482"/>
                </a:cubicBezTo>
                <a:cubicBezTo>
                  <a:pt x="5140249" y="1288698"/>
                  <a:pt x="5146083" y="1281693"/>
                  <a:pt x="5154105" y="1281693"/>
                </a:cubicBezTo>
                <a:close/>
                <a:moveTo>
                  <a:pt x="5083276" y="1281693"/>
                </a:moveTo>
                <a:cubicBezTo>
                  <a:pt x="5089110" y="1281693"/>
                  <a:pt x="5095673" y="1288698"/>
                  <a:pt x="5095673" y="1296482"/>
                </a:cubicBezTo>
                <a:cubicBezTo>
                  <a:pt x="5095673" y="1305044"/>
                  <a:pt x="5089110" y="1311271"/>
                  <a:pt x="5083276" y="1311271"/>
                </a:cubicBezTo>
                <a:cubicBezTo>
                  <a:pt x="5075254" y="1311271"/>
                  <a:pt x="5069420" y="1305044"/>
                  <a:pt x="5069420" y="1296482"/>
                </a:cubicBezTo>
                <a:cubicBezTo>
                  <a:pt x="5069420" y="1288698"/>
                  <a:pt x="5075254" y="1281693"/>
                  <a:pt x="5083276" y="1281693"/>
                </a:cubicBezTo>
                <a:close/>
                <a:moveTo>
                  <a:pt x="5012445" y="1281693"/>
                </a:moveTo>
                <a:cubicBezTo>
                  <a:pt x="5018279" y="1281693"/>
                  <a:pt x="5024842" y="1288698"/>
                  <a:pt x="5024842" y="1296482"/>
                </a:cubicBezTo>
                <a:cubicBezTo>
                  <a:pt x="5024842" y="1305044"/>
                  <a:pt x="5018279" y="1311271"/>
                  <a:pt x="5012445" y="1311271"/>
                </a:cubicBezTo>
                <a:cubicBezTo>
                  <a:pt x="5004423" y="1311271"/>
                  <a:pt x="4998589" y="1305044"/>
                  <a:pt x="4998589" y="1296482"/>
                </a:cubicBezTo>
                <a:cubicBezTo>
                  <a:pt x="4998589" y="1288698"/>
                  <a:pt x="5004423" y="1281693"/>
                  <a:pt x="5012445" y="1281693"/>
                </a:cubicBezTo>
                <a:close/>
                <a:moveTo>
                  <a:pt x="4940157" y="1281693"/>
                </a:moveTo>
                <a:cubicBezTo>
                  <a:pt x="4948179" y="1281693"/>
                  <a:pt x="4954013" y="1288698"/>
                  <a:pt x="4954013" y="1296482"/>
                </a:cubicBezTo>
                <a:cubicBezTo>
                  <a:pt x="4954013" y="1305044"/>
                  <a:pt x="4948179" y="1311271"/>
                  <a:pt x="4940157" y="1311271"/>
                </a:cubicBezTo>
                <a:cubicBezTo>
                  <a:pt x="4934323" y="1311271"/>
                  <a:pt x="4927760" y="1305044"/>
                  <a:pt x="4927760" y="1296482"/>
                </a:cubicBezTo>
                <a:cubicBezTo>
                  <a:pt x="4927760" y="1288698"/>
                  <a:pt x="4934323" y="1281693"/>
                  <a:pt x="4940157" y="1281693"/>
                </a:cubicBezTo>
                <a:close/>
                <a:moveTo>
                  <a:pt x="4865953" y="1281693"/>
                </a:moveTo>
                <a:cubicBezTo>
                  <a:pt x="4873975" y="1281693"/>
                  <a:pt x="4879809" y="1288698"/>
                  <a:pt x="4879809" y="1296482"/>
                </a:cubicBezTo>
                <a:cubicBezTo>
                  <a:pt x="4879809" y="1305044"/>
                  <a:pt x="4873975" y="1311271"/>
                  <a:pt x="4865953" y="1311271"/>
                </a:cubicBezTo>
                <a:cubicBezTo>
                  <a:pt x="4860119" y="1311271"/>
                  <a:pt x="4853556" y="1305044"/>
                  <a:pt x="4853556" y="1296482"/>
                </a:cubicBezTo>
                <a:cubicBezTo>
                  <a:pt x="4853556" y="1288698"/>
                  <a:pt x="4860119" y="1281693"/>
                  <a:pt x="4865953" y="1281693"/>
                </a:cubicBezTo>
                <a:close/>
                <a:moveTo>
                  <a:pt x="4795122" y="1281693"/>
                </a:moveTo>
                <a:cubicBezTo>
                  <a:pt x="4803144" y="1281693"/>
                  <a:pt x="4808978" y="1288698"/>
                  <a:pt x="4808978" y="1296482"/>
                </a:cubicBezTo>
                <a:cubicBezTo>
                  <a:pt x="4808978" y="1305044"/>
                  <a:pt x="4803144" y="1311271"/>
                  <a:pt x="4795122" y="1311271"/>
                </a:cubicBezTo>
                <a:cubicBezTo>
                  <a:pt x="4787830" y="1311271"/>
                  <a:pt x="4782725" y="1305044"/>
                  <a:pt x="4782725" y="1296482"/>
                </a:cubicBezTo>
                <a:cubicBezTo>
                  <a:pt x="4782725" y="1288698"/>
                  <a:pt x="4787830" y="1281693"/>
                  <a:pt x="4795122" y="1281693"/>
                </a:cubicBezTo>
                <a:close/>
                <a:moveTo>
                  <a:pt x="4726684" y="1281693"/>
                </a:moveTo>
                <a:cubicBezTo>
                  <a:pt x="4735246" y="1281693"/>
                  <a:pt x="4741472" y="1288698"/>
                  <a:pt x="4741472" y="1296482"/>
                </a:cubicBezTo>
                <a:cubicBezTo>
                  <a:pt x="4741472" y="1305044"/>
                  <a:pt x="4735246" y="1311271"/>
                  <a:pt x="4726684" y="1311271"/>
                </a:cubicBezTo>
                <a:cubicBezTo>
                  <a:pt x="4718122" y="1311271"/>
                  <a:pt x="4711896" y="1305044"/>
                  <a:pt x="4711896" y="1296482"/>
                </a:cubicBezTo>
                <a:cubicBezTo>
                  <a:pt x="4711896" y="1288698"/>
                  <a:pt x="4718122" y="1281693"/>
                  <a:pt x="4726684" y="1281693"/>
                </a:cubicBezTo>
                <a:close/>
                <a:moveTo>
                  <a:pt x="4655853" y="1281693"/>
                </a:moveTo>
                <a:cubicBezTo>
                  <a:pt x="4663637" y="1281693"/>
                  <a:pt x="4670642" y="1286798"/>
                  <a:pt x="4670642" y="1294090"/>
                </a:cubicBezTo>
                <a:cubicBezTo>
                  <a:pt x="4670642" y="1302112"/>
                  <a:pt x="4663637" y="1307946"/>
                  <a:pt x="4655853" y="1307946"/>
                </a:cubicBezTo>
                <a:cubicBezTo>
                  <a:pt x="4647291" y="1307946"/>
                  <a:pt x="4641064" y="1302112"/>
                  <a:pt x="4641064" y="1294090"/>
                </a:cubicBezTo>
                <a:cubicBezTo>
                  <a:pt x="4641064" y="1286798"/>
                  <a:pt x="4647291" y="1281693"/>
                  <a:pt x="4655853" y="1281693"/>
                </a:cubicBezTo>
                <a:close/>
                <a:moveTo>
                  <a:pt x="4585023" y="1281693"/>
                </a:moveTo>
                <a:cubicBezTo>
                  <a:pt x="4592806" y="1281693"/>
                  <a:pt x="4599811" y="1286798"/>
                  <a:pt x="4599811" y="1294090"/>
                </a:cubicBezTo>
                <a:cubicBezTo>
                  <a:pt x="4599811" y="1302112"/>
                  <a:pt x="4592806" y="1307946"/>
                  <a:pt x="4585023" y="1307946"/>
                </a:cubicBezTo>
                <a:cubicBezTo>
                  <a:pt x="4576461" y="1307946"/>
                  <a:pt x="4570235" y="1302112"/>
                  <a:pt x="4570235" y="1294090"/>
                </a:cubicBezTo>
                <a:cubicBezTo>
                  <a:pt x="4570235" y="1286798"/>
                  <a:pt x="4576461" y="1281693"/>
                  <a:pt x="4585023" y="1281693"/>
                </a:cubicBezTo>
                <a:close/>
                <a:moveTo>
                  <a:pt x="226355" y="1281693"/>
                </a:moveTo>
                <a:cubicBezTo>
                  <a:pt x="232189" y="1281693"/>
                  <a:pt x="238753" y="1288523"/>
                  <a:pt x="238753" y="1296871"/>
                </a:cubicBezTo>
                <a:cubicBezTo>
                  <a:pt x="238753" y="1304461"/>
                  <a:pt x="232189" y="1311291"/>
                  <a:pt x="226355" y="1311291"/>
                </a:cubicBezTo>
                <a:cubicBezTo>
                  <a:pt x="218333" y="1311291"/>
                  <a:pt x="212499" y="1304461"/>
                  <a:pt x="212499" y="1296871"/>
                </a:cubicBezTo>
                <a:cubicBezTo>
                  <a:pt x="212499" y="1288523"/>
                  <a:pt x="218333" y="1281693"/>
                  <a:pt x="226355" y="1281693"/>
                </a:cubicBezTo>
                <a:close/>
                <a:moveTo>
                  <a:pt x="155522" y="1281693"/>
                </a:moveTo>
                <a:cubicBezTo>
                  <a:pt x="161356" y="1281693"/>
                  <a:pt x="167919" y="1288523"/>
                  <a:pt x="167919" y="1296871"/>
                </a:cubicBezTo>
                <a:cubicBezTo>
                  <a:pt x="167919" y="1304461"/>
                  <a:pt x="161356" y="1311291"/>
                  <a:pt x="155522" y="1311291"/>
                </a:cubicBezTo>
                <a:cubicBezTo>
                  <a:pt x="147500" y="1311291"/>
                  <a:pt x="141666" y="1304461"/>
                  <a:pt x="141666" y="1296871"/>
                </a:cubicBezTo>
                <a:cubicBezTo>
                  <a:pt x="141666" y="1288523"/>
                  <a:pt x="147500" y="1281693"/>
                  <a:pt x="155522" y="1281693"/>
                </a:cubicBezTo>
                <a:close/>
                <a:moveTo>
                  <a:pt x="83234" y="1281693"/>
                </a:moveTo>
                <a:cubicBezTo>
                  <a:pt x="90526" y="1281693"/>
                  <a:pt x="97090" y="1288523"/>
                  <a:pt x="97090" y="1296871"/>
                </a:cubicBezTo>
                <a:cubicBezTo>
                  <a:pt x="97090" y="1304461"/>
                  <a:pt x="90526" y="1311291"/>
                  <a:pt x="83234" y="1311291"/>
                </a:cubicBezTo>
                <a:cubicBezTo>
                  <a:pt x="76670" y="1311291"/>
                  <a:pt x="70836" y="1304461"/>
                  <a:pt x="70836" y="1296871"/>
                </a:cubicBezTo>
                <a:cubicBezTo>
                  <a:pt x="70836" y="1288523"/>
                  <a:pt x="76670" y="1281693"/>
                  <a:pt x="83234" y="1281693"/>
                </a:cubicBezTo>
                <a:close/>
                <a:moveTo>
                  <a:pt x="11998" y="1281693"/>
                </a:moveTo>
                <a:cubicBezTo>
                  <a:pt x="20243" y="1281693"/>
                  <a:pt x="26239" y="1288523"/>
                  <a:pt x="26239" y="1296871"/>
                </a:cubicBezTo>
                <a:cubicBezTo>
                  <a:pt x="26239" y="1304461"/>
                  <a:pt x="20243" y="1311291"/>
                  <a:pt x="11998" y="1311291"/>
                </a:cubicBezTo>
                <a:cubicBezTo>
                  <a:pt x="6002" y="1311291"/>
                  <a:pt x="5" y="1304461"/>
                  <a:pt x="5" y="1296871"/>
                </a:cubicBezTo>
                <a:cubicBezTo>
                  <a:pt x="5" y="1288523"/>
                  <a:pt x="4503" y="1281693"/>
                  <a:pt x="11998" y="1281693"/>
                </a:cubicBezTo>
                <a:close/>
                <a:moveTo>
                  <a:pt x="7084322" y="1210863"/>
                </a:moveTo>
                <a:cubicBezTo>
                  <a:pt x="7092106" y="1210863"/>
                  <a:pt x="7099111" y="1217426"/>
                  <a:pt x="7099111" y="1224719"/>
                </a:cubicBezTo>
                <a:cubicBezTo>
                  <a:pt x="7099111" y="1231282"/>
                  <a:pt x="7092106" y="1237116"/>
                  <a:pt x="7084322" y="1237116"/>
                </a:cubicBezTo>
                <a:cubicBezTo>
                  <a:pt x="7075760" y="1237116"/>
                  <a:pt x="7069533" y="1231282"/>
                  <a:pt x="7069533" y="1224719"/>
                </a:cubicBezTo>
                <a:cubicBezTo>
                  <a:pt x="7069533" y="1217426"/>
                  <a:pt x="7075760" y="1210863"/>
                  <a:pt x="7084322" y="1210863"/>
                </a:cubicBezTo>
                <a:close/>
                <a:moveTo>
                  <a:pt x="7013492" y="1210863"/>
                </a:moveTo>
                <a:cubicBezTo>
                  <a:pt x="7021275" y="1210863"/>
                  <a:pt x="7028280" y="1217426"/>
                  <a:pt x="7028280" y="1224719"/>
                </a:cubicBezTo>
                <a:cubicBezTo>
                  <a:pt x="7028280" y="1231282"/>
                  <a:pt x="7021275" y="1237116"/>
                  <a:pt x="7013492" y="1237116"/>
                </a:cubicBezTo>
                <a:cubicBezTo>
                  <a:pt x="7004930" y="1237116"/>
                  <a:pt x="6998704" y="1231282"/>
                  <a:pt x="6998704" y="1224719"/>
                </a:cubicBezTo>
                <a:cubicBezTo>
                  <a:pt x="6998704" y="1217426"/>
                  <a:pt x="7004930" y="1210863"/>
                  <a:pt x="7013492" y="1210863"/>
                </a:cubicBezTo>
                <a:close/>
                <a:moveTo>
                  <a:pt x="6939085" y="1210863"/>
                </a:moveTo>
                <a:cubicBezTo>
                  <a:pt x="6946378" y="1210863"/>
                  <a:pt x="6950753" y="1217426"/>
                  <a:pt x="6950753" y="1224719"/>
                </a:cubicBezTo>
                <a:cubicBezTo>
                  <a:pt x="6950753" y="1231282"/>
                  <a:pt x="6946378" y="1237116"/>
                  <a:pt x="6939085" y="1237116"/>
                </a:cubicBezTo>
                <a:cubicBezTo>
                  <a:pt x="6931063" y="1237116"/>
                  <a:pt x="6924500" y="1231282"/>
                  <a:pt x="6924500" y="1224719"/>
                </a:cubicBezTo>
                <a:cubicBezTo>
                  <a:pt x="6924500" y="1217426"/>
                  <a:pt x="6931063" y="1210863"/>
                  <a:pt x="6939085" y="1210863"/>
                </a:cubicBezTo>
                <a:close/>
                <a:moveTo>
                  <a:pt x="6867525" y="1210863"/>
                </a:moveTo>
                <a:cubicBezTo>
                  <a:pt x="6874088" y="1210863"/>
                  <a:pt x="6879922" y="1217426"/>
                  <a:pt x="6879922" y="1224719"/>
                </a:cubicBezTo>
                <a:cubicBezTo>
                  <a:pt x="6879922" y="1231282"/>
                  <a:pt x="6874088" y="1237116"/>
                  <a:pt x="6867525" y="1237116"/>
                </a:cubicBezTo>
                <a:cubicBezTo>
                  <a:pt x="6860232" y="1237116"/>
                  <a:pt x="6853669" y="1231282"/>
                  <a:pt x="6853669" y="1224719"/>
                </a:cubicBezTo>
                <a:cubicBezTo>
                  <a:pt x="6853669" y="1217426"/>
                  <a:pt x="6860232" y="1210863"/>
                  <a:pt x="6867525" y="1210863"/>
                </a:cubicBezTo>
                <a:close/>
                <a:moveTo>
                  <a:pt x="6796696" y="1210863"/>
                </a:moveTo>
                <a:cubicBezTo>
                  <a:pt x="6803259" y="1210863"/>
                  <a:pt x="6809093" y="1217426"/>
                  <a:pt x="6809093" y="1224719"/>
                </a:cubicBezTo>
                <a:cubicBezTo>
                  <a:pt x="6809093" y="1231282"/>
                  <a:pt x="6803259" y="1237116"/>
                  <a:pt x="6796696" y="1237116"/>
                </a:cubicBezTo>
                <a:cubicBezTo>
                  <a:pt x="6789403" y="1237116"/>
                  <a:pt x="6782840" y="1231282"/>
                  <a:pt x="6782840" y="1224719"/>
                </a:cubicBezTo>
                <a:cubicBezTo>
                  <a:pt x="6782840" y="1217426"/>
                  <a:pt x="6789403" y="1210863"/>
                  <a:pt x="6796696" y="1210863"/>
                </a:cubicBezTo>
                <a:close/>
                <a:moveTo>
                  <a:pt x="6724405" y="1210863"/>
                </a:moveTo>
                <a:cubicBezTo>
                  <a:pt x="6732427" y="1210863"/>
                  <a:pt x="6738261" y="1217426"/>
                  <a:pt x="6738261" y="1224719"/>
                </a:cubicBezTo>
                <a:cubicBezTo>
                  <a:pt x="6738261" y="1231282"/>
                  <a:pt x="6732427" y="1237116"/>
                  <a:pt x="6724405" y="1237116"/>
                </a:cubicBezTo>
                <a:cubicBezTo>
                  <a:pt x="6718571" y="1237116"/>
                  <a:pt x="6712008" y="1231282"/>
                  <a:pt x="6712008" y="1224719"/>
                </a:cubicBezTo>
                <a:cubicBezTo>
                  <a:pt x="6712008" y="1217426"/>
                  <a:pt x="6718571" y="1210863"/>
                  <a:pt x="6724405" y="1210863"/>
                </a:cubicBezTo>
                <a:close/>
                <a:moveTo>
                  <a:pt x="6653576" y="1210863"/>
                </a:moveTo>
                <a:cubicBezTo>
                  <a:pt x="6660869" y="1210863"/>
                  <a:pt x="6667432" y="1217426"/>
                  <a:pt x="6667432" y="1224719"/>
                </a:cubicBezTo>
                <a:cubicBezTo>
                  <a:pt x="6667432" y="1231282"/>
                  <a:pt x="6660869" y="1237116"/>
                  <a:pt x="6653576" y="1237116"/>
                </a:cubicBezTo>
                <a:cubicBezTo>
                  <a:pt x="6647013" y="1237116"/>
                  <a:pt x="6641179" y="1231282"/>
                  <a:pt x="6641179" y="1224719"/>
                </a:cubicBezTo>
                <a:cubicBezTo>
                  <a:pt x="6641179" y="1217426"/>
                  <a:pt x="6647013" y="1210863"/>
                  <a:pt x="6653576" y="1210863"/>
                </a:cubicBezTo>
                <a:close/>
                <a:moveTo>
                  <a:pt x="6582745" y="1210863"/>
                </a:moveTo>
                <a:cubicBezTo>
                  <a:pt x="6590038" y="1210863"/>
                  <a:pt x="6596601" y="1217426"/>
                  <a:pt x="6596601" y="1224719"/>
                </a:cubicBezTo>
                <a:cubicBezTo>
                  <a:pt x="6596601" y="1231282"/>
                  <a:pt x="6590038" y="1237116"/>
                  <a:pt x="6582745" y="1237116"/>
                </a:cubicBezTo>
                <a:cubicBezTo>
                  <a:pt x="6574723" y="1237116"/>
                  <a:pt x="6570348" y="1231282"/>
                  <a:pt x="6570348" y="1224719"/>
                </a:cubicBezTo>
                <a:cubicBezTo>
                  <a:pt x="6570348" y="1217426"/>
                  <a:pt x="6574723" y="1210863"/>
                  <a:pt x="6582745" y="1210863"/>
                </a:cubicBezTo>
                <a:close/>
                <a:moveTo>
                  <a:pt x="6510933" y="1210863"/>
                </a:moveTo>
                <a:cubicBezTo>
                  <a:pt x="6518717" y="1210863"/>
                  <a:pt x="6525722" y="1217426"/>
                  <a:pt x="6525722" y="1224719"/>
                </a:cubicBezTo>
                <a:cubicBezTo>
                  <a:pt x="6525722" y="1231282"/>
                  <a:pt x="6518717" y="1237116"/>
                  <a:pt x="6510933" y="1237116"/>
                </a:cubicBezTo>
                <a:cubicBezTo>
                  <a:pt x="6502371" y="1237116"/>
                  <a:pt x="6496144" y="1231282"/>
                  <a:pt x="6496144" y="1224719"/>
                </a:cubicBezTo>
                <a:cubicBezTo>
                  <a:pt x="6496144" y="1217426"/>
                  <a:pt x="6502371" y="1210863"/>
                  <a:pt x="6510933" y="1210863"/>
                </a:cubicBezTo>
                <a:close/>
                <a:moveTo>
                  <a:pt x="6440492" y="1210863"/>
                </a:moveTo>
                <a:cubicBezTo>
                  <a:pt x="6448081" y="1210863"/>
                  <a:pt x="6454911" y="1217426"/>
                  <a:pt x="6454911" y="1224719"/>
                </a:cubicBezTo>
                <a:cubicBezTo>
                  <a:pt x="6454911" y="1231282"/>
                  <a:pt x="6448081" y="1237116"/>
                  <a:pt x="6440492" y="1237116"/>
                </a:cubicBezTo>
                <a:cubicBezTo>
                  <a:pt x="6432145" y="1237116"/>
                  <a:pt x="6425315" y="1232741"/>
                  <a:pt x="6425315" y="1224719"/>
                </a:cubicBezTo>
                <a:cubicBezTo>
                  <a:pt x="6425315" y="1217426"/>
                  <a:pt x="6432145" y="1210863"/>
                  <a:pt x="6440492" y="1210863"/>
                </a:cubicBezTo>
                <a:close/>
                <a:moveTo>
                  <a:pt x="6368340" y="1210863"/>
                </a:moveTo>
                <a:cubicBezTo>
                  <a:pt x="6376362" y="1210863"/>
                  <a:pt x="6380737" y="1217426"/>
                  <a:pt x="6380737" y="1224719"/>
                </a:cubicBezTo>
                <a:cubicBezTo>
                  <a:pt x="6380737" y="1232741"/>
                  <a:pt x="6376362" y="1237116"/>
                  <a:pt x="6368340" y="1237116"/>
                </a:cubicBezTo>
                <a:cubicBezTo>
                  <a:pt x="6361047" y="1237116"/>
                  <a:pt x="6354484" y="1232741"/>
                  <a:pt x="6354484" y="1224719"/>
                </a:cubicBezTo>
                <a:cubicBezTo>
                  <a:pt x="6354484" y="1217426"/>
                  <a:pt x="6361047" y="1210863"/>
                  <a:pt x="6368340" y="1210863"/>
                </a:cubicBezTo>
                <a:close/>
                <a:moveTo>
                  <a:pt x="6297511" y="1210863"/>
                </a:moveTo>
                <a:cubicBezTo>
                  <a:pt x="6304074" y="1210863"/>
                  <a:pt x="6309908" y="1217426"/>
                  <a:pt x="6309908" y="1224719"/>
                </a:cubicBezTo>
                <a:cubicBezTo>
                  <a:pt x="6309908" y="1232741"/>
                  <a:pt x="6304074" y="1237116"/>
                  <a:pt x="6297511" y="1237116"/>
                </a:cubicBezTo>
                <a:cubicBezTo>
                  <a:pt x="6290218" y="1237116"/>
                  <a:pt x="6283655" y="1232741"/>
                  <a:pt x="6283655" y="1224719"/>
                </a:cubicBezTo>
                <a:cubicBezTo>
                  <a:pt x="6283655" y="1217426"/>
                  <a:pt x="6290218" y="1210863"/>
                  <a:pt x="6297511" y="1210863"/>
                </a:cubicBezTo>
                <a:close/>
                <a:moveTo>
                  <a:pt x="6226679" y="1210863"/>
                </a:moveTo>
                <a:cubicBezTo>
                  <a:pt x="6233242" y="1210863"/>
                  <a:pt x="6239076" y="1217426"/>
                  <a:pt x="6239076" y="1224719"/>
                </a:cubicBezTo>
                <a:cubicBezTo>
                  <a:pt x="6239076" y="1232741"/>
                  <a:pt x="6233242" y="1237116"/>
                  <a:pt x="6226679" y="1237116"/>
                </a:cubicBezTo>
                <a:cubicBezTo>
                  <a:pt x="6219386" y="1237116"/>
                  <a:pt x="6212823" y="1232741"/>
                  <a:pt x="6212823" y="1224719"/>
                </a:cubicBezTo>
                <a:cubicBezTo>
                  <a:pt x="6212823" y="1217426"/>
                  <a:pt x="6219386" y="1210863"/>
                  <a:pt x="6226679" y="1210863"/>
                </a:cubicBezTo>
                <a:close/>
                <a:moveTo>
                  <a:pt x="6154391" y="1210863"/>
                </a:moveTo>
                <a:cubicBezTo>
                  <a:pt x="6161684" y="1210863"/>
                  <a:pt x="6168247" y="1217426"/>
                  <a:pt x="6168247" y="1224719"/>
                </a:cubicBezTo>
                <a:cubicBezTo>
                  <a:pt x="6168247" y="1232741"/>
                  <a:pt x="6161684" y="1237116"/>
                  <a:pt x="6154391" y="1237116"/>
                </a:cubicBezTo>
                <a:cubicBezTo>
                  <a:pt x="6147828" y="1237116"/>
                  <a:pt x="6141994" y="1232741"/>
                  <a:pt x="6141994" y="1224719"/>
                </a:cubicBezTo>
                <a:cubicBezTo>
                  <a:pt x="6141994" y="1217426"/>
                  <a:pt x="6147828" y="1210863"/>
                  <a:pt x="6154391" y="1210863"/>
                </a:cubicBezTo>
                <a:close/>
                <a:moveTo>
                  <a:pt x="6083559" y="1210863"/>
                </a:moveTo>
                <a:cubicBezTo>
                  <a:pt x="6090852" y="1210863"/>
                  <a:pt x="6097415" y="1217426"/>
                  <a:pt x="6097415" y="1224719"/>
                </a:cubicBezTo>
                <a:cubicBezTo>
                  <a:pt x="6097415" y="1232741"/>
                  <a:pt x="6090852" y="1237116"/>
                  <a:pt x="6083559" y="1237116"/>
                </a:cubicBezTo>
                <a:cubicBezTo>
                  <a:pt x="6076996" y="1237116"/>
                  <a:pt x="6071162" y="1232741"/>
                  <a:pt x="6071162" y="1224719"/>
                </a:cubicBezTo>
                <a:cubicBezTo>
                  <a:pt x="6071162" y="1217426"/>
                  <a:pt x="6076996" y="1210863"/>
                  <a:pt x="6083559" y="1210863"/>
                </a:cubicBezTo>
                <a:close/>
                <a:moveTo>
                  <a:pt x="6009356" y="1210863"/>
                </a:moveTo>
                <a:cubicBezTo>
                  <a:pt x="6016649" y="1210863"/>
                  <a:pt x="6023212" y="1217426"/>
                  <a:pt x="6023212" y="1224719"/>
                </a:cubicBezTo>
                <a:cubicBezTo>
                  <a:pt x="6023212" y="1232741"/>
                  <a:pt x="6016649" y="1237116"/>
                  <a:pt x="6009356" y="1237116"/>
                </a:cubicBezTo>
                <a:cubicBezTo>
                  <a:pt x="6001334" y="1237116"/>
                  <a:pt x="5996959" y="1232741"/>
                  <a:pt x="5996959" y="1224719"/>
                </a:cubicBezTo>
                <a:cubicBezTo>
                  <a:pt x="5996959" y="1217426"/>
                  <a:pt x="6001334" y="1210863"/>
                  <a:pt x="6009356" y="1210863"/>
                </a:cubicBezTo>
                <a:close/>
                <a:moveTo>
                  <a:pt x="5940548" y="1210863"/>
                </a:moveTo>
                <a:cubicBezTo>
                  <a:pt x="5948896" y="1210863"/>
                  <a:pt x="5955726" y="1217426"/>
                  <a:pt x="5955726" y="1224719"/>
                </a:cubicBezTo>
                <a:cubicBezTo>
                  <a:pt x="5955726" y="1232741"/>
                  <a:pt x="5948896" y="1237116"/>
                  <a:pt x="5940548" y="1237116"/>
                </a:cubicBezTo>
                <a:cubicBezTo>
                  <a:pt x="5932960" y="1237116"/>
                  <a:pt x="5926130" y="1232741"/>
                  <a:pt x="5926130" y="1224719"/>
                </a:cubicBezTo>
                <a:cubicBezTo>
                  <a:pt x="5926130" y="1217426"/>
                  <a:pt x="5932960" y="1210863"/>
                  <a:pt x="5940548" y="1210863"/>
                </a:cubicBezTo>
                <a:close/>
                <a:moveTo>
                  <a:pt x="5870088" y="1210863"/>
                </a:moveTo>
                <a:cubicBezTo>
                  <a:pt x="5878650" y="1210863"/>
                  <a:pt x="5884877" y="1217426"/>
                  <a:pt x="5884877" y="1224719"/>
                </a:cubicBezTo>
                <a:cubicBezTo>
                  <a:pt x="5884877" y="1232741"/>
                  <a:pt x="5878650" y="1237116"/>
                  <a:pt x="5870088" y="1237116"/>
                </a:cubicBezTo>
                <a:cubicBezTo>
                  <a:pt x="5862304" y="1237116"/>
                  <a:pt x="5855299" y="1232741"/>
                  <a:pt x="5855299" y="1224719"/>
                </a:cubicBezTo>
                <a:cubicBezTo>
                  <a:pt x="5855299" y="1217426"/>
                  <a:pt x="5862304" y="1210863"/>
                  <a:pt x="5870088" y="1210863"/>
                </a:cubicBezTo>
                <a:close/>
                <a:moveTo>
                  <a:pt x="5799257" y="1210863"/>
                </a:moveTo>
                <a:cubicBezTo>
                  <a:pt x="5807819" y="1210863"/>
                  <a:pt x="5814045" y="1217426"/>
                  <a:pt x="5814045" y="1224719"/>
                </a:cubicBezTo>
                <a:cubicBezTo>
                  <a:pt x="5814045" y="1232741"/>
                  <a:pt x="5807819" y="1237116"/>
                  <a:pt x="5799257" y="1237116"/>
                </a:cubicBezTo>
                <a:cubicBezTo>
                  <a:pt x="5791474" y="1237116"/>
                  <a:pt x="5784469" y="1232741"/>
                  <a:pt x="5784469" y="1224719"/>
                </a:cubicBezTo>
                <a:cubicBezTo>
                  <a:pt x="5784469" y="1217426"/>
                  <a:pt x="5791474" y="1210863"/>
                  <a:pt x="5799257" y="1210863"/>
                </a:cubicBezTo>
                <a:close/>
                <a:moveTo>
                  <a:pt x="5724122" y="1210863"/>
                </a:moveTo>
                <a:cubicBezTo>
                  <a:pt x="5732144" y="1210863"/>
                  <a:pt x="5736519" y="1217868"/>
                  <a:pt x="5736519" y="1225651"/>
                </a:cubicBezTo>
                <a:cubicBezTo>
                  <a:pt x="5736519" y="1234213"/>
                  <a:pt x="5732144" y="1240439"/>
                  <a:pt x="5724122" y="1240439"/>
                </a:cubicBezTo>
                <a:cubicBezTo>
                  <a:pt x="5716100" y="1240439"/>
                  <a:pt x="5710266" y="1234213"/>
                  <a:pt x="5710266" y="1225651"/>
                </a:cubicBezTo>
                <a:cubicBezTo>
                  <a:pt x="5710266" y="1217868"/>
                  <a:pt x="5716100" y="1210863"/>
                  <a:pt x="5724122" y="1210863"/>
                </a:cubicBezTo>
                <a:close/>
                <a:moveTo>
                  <a:pt x="5653291" y="1210863"/>
                </a:moveTo>
                <a:cubicBezTo>
                  <a:pt x="5659125" y="1210863"/>
                  <a:pt x="5665688" y="1217868"/>
                  <a:pt x="5665688" y="1225651"/>
                </a:cubicBezTo>
                <a:cubicBezTo>
                  <a:pt x="5665688" y="1234213"/>
                  <a:pt x="5659125" y="1240439"/>
                  <a:pt x="5653291" y="1240439"/>
                </a:cubicBezTo>
                <a:cubicBezTo>
                  <a:pt x="5645269" y="1240439"/>
                  <a:pt x="5639435" y="1234213"/>
                  <a:pt x="5639435" y="1225651"/>
                </a:cubicBezTo>
                <a:cubicBezTo>
                  <a:pt x="5639435" y="1217868"/>
                  <a:pt x="5645269" y="1210863"/>
                  <a:pt x="5653291" y="1210863"/>
                </a:cubicBezTo>
                <a:close/>
                <a:moveTo>
                  <a:pt x="5582461" y="1210863"/>
                </a:moveTo>
                <a:cubicBezTo>
                  <a:pt x="5588295" y="1210863"/>
                  <a:pt x="5594858" y="1217868"/>
                  <a:pt x="5594858" y="1225651"/>
                </a:cubicBezTo>
                <a:cubicBezTo>
                  <a:pt x="5594858" y="1234213"/>
                  <a:pt x="5588295" y="1240439"/>
                  <a:pt x="5582461" y="1240439"/>
                </a:cubicBezTo>
                <a:cubicBezTo>
                  <a:pt x="5574439" y="1240439"/>
                  <a:pt x="5568605" y="1234213"/>
                  <a:pt x="5568605" y="1225651"/>
                </a:cubicBezTo>
                <a:cubicBezTo>
                  <a:pt x="5568605" y="1217868"/>
                  <a:pt x="5574439" y="1210863"/>
                  <a:pt x="5582461" y="1210863"/>
                </a:cubicBezTo>
                <a:close/>
                <a:moveTo>
                  <a:pt x="5510171" y="1210863"/>
                </a:moveTo>
                <a:cubicBezTo>
                  <a:pt x="5517464" y="1210863"/>
                  <a:pt x="5524027" y="1217868"/>
                  <a:pt x="5524027" y="1225651"/>
                </a:cubicBezTo>
                <a:cubicBezTo>
                  <a:pt x="5524027" y="1234213"/>
                  <a:pt x="5517464" y="1240439"/>
                  <a:pt x="5510171" y="1240439"/>
                </a:cubicBezTo>
                <a:cubicBezTo>
                  <a:pt x="5503608" y="1240439"/>
                  <a:pt x="5497774" y="1234213"/>
                  <a:pt x="5497774" y="1225651"/>
                </a:cubicBezTo>
                <a:cubicBezTo>
                  <a:pt x="5497774" y="1217868"/>
                  <a:pt x="5503608" y="1210863"/>
                  <a:pt x="5510171" y="1210863"/>
                </a:cubicBezTo>
                <a:close/>
                <a:moveTo>
                  <a:pt x="5438937" y="1210863"/>
                </a:moveTo>
                <a:cubicBezTo>
                  <a:pt x="5447182" y="1210863"/>
                  <a:pt x="5453178" y="1217868"/>
                  <a:pt x="5453178" y="1225651"/>
                </a:cubicBezTo>
                <a:cubicBezTo>
                  <a:pt x="5453178" y="1234213"/>
                  <a:pt x="5447182" y="1240439"/>
                  <a:pt x="5438937" y="1240439"/>
                </a:cubicBezTo>
                <a:cubicBezTo>
                  <a:pt x="5431442" y="1240439"/>
                  <a:pt x="5426945" y="1234213"/>
                  <a:pt x="5426945" y="1225651"/>
                </a:cubicBezTo>
                <a:cubicBezTo>
                  <a:pt x="5426945" y="1217868"/>
                  <a:pt x="5431442" y="1210863"/>
                  <a:pt x="5438937" y="1210863"/>
                </a:cubicBezTo>
                <a:close/>
                <a:moveTo>
                  <a:pt x="5367530" y="1210863"/>
                </a:moveTo>
                <a:cubicBezTo>
                  <a:pt x="5376092" y="1210863"/>
                  <a:pt x="5382318" y="1217868"/>
                  <a:pt x="5382318" y="1225651"/>
                </a:cubicBezTo>
                <a:cubicBezTo>
                  <a:pt x="5382318" y="1234213"/>
                  <a:pt x="5376092" y="1240439"/>
                  <a:pt x="5367530" y="1240439"/>
                </a:cubicBezTo>
                <a:cubicBezTo>
                  <a:pt x="5359747" y="1240439"/>
                  <a:pt x="5352742" y="1234213"/>
                  <a:pt x="5352742" y="1225651"/>
                </a:cubicBezTo>
                <a:cubicBezTo>
                  <a:pt x="5352742" y="1217868"/>
                  <a:pt x="5359747" y="1210863"/>
                  <a:pt x="5367530" y="1210863"/>
                </a:cubicBezTo>
                <a:close/>
                <a:moveTo>
                  <a:pt x="5296699" y="1210863"/>
                </a:moveTo>
                <a:cubicBezTo>
                  <a:pt x="5305261" y="1210863"/>
                  <a:pt x="5311488" y="1217868"/>
                  <a:pt x="5311488" y="1225651"/>
                </a:cubicBezTo>
                <a:cubicBezTo>
                  <a:pt x="5311488" y="1234213"/>
                  <a:pt x="5305261" y="1240439"/>
                  <a:pt x="5296699" y="1240439"/>
                </a:cubicBezTo>
                <a:cubicBezTo>
                  <a:pt x="5288915" y="1240439"/>
                  <a:pt x="5281910" y="1234213"/>
                  <a:pt x="5281910" y="1225651"/>
                </a:cubicBezTo>
                <a:cubicBezTo>
                  <a:pt x="5281910" y="1217868"/>
                  <a:pt x="5288915" y="1210863"/>
                  <a:pt x="5296699" y="1210863"/>
                </a:cubicBezTo>
                <a:close/>
                <a:moveTo>
                  <a:pt x="5225869" y="1210863"/>
                </a:moveTo>
                <a:cubicBezTo>
                  <a:pt x="5234431" y="1210863"/>
                  <a:pt x="5240657" y="1217868"/>
                  <a:pt x="5240657" y="1225651"/>
                </a:cubicBezTo>
                <a:cubicBezTo>
                  <a:pt x="5240657" y="1234213"/>
                  <a:pt x="5234431" y="1240439"/>
                  <a:pt x="5225869" y="1240439"/>
                </a:cubicBezTo>
                <a:cubicBezTo>
                  <a:pt x="5217307" y="1240439"/>
                  <a:pt x="5211081" y="1234213"/>
                  <a:pt x="5211081" y="1225651"/>
                </a:cubicBezTo>
                <a:cubicBezTo>
                  <a:pt x="5211081" y="1217868"/>
                  <a:pt x="5217307" y="1210863"/>
                  <a:pt x="5225869" y="1210863"/>
                </a:cubicBezTo>
                <a:close/>
                <a:moveTo>
                  <a:pt x="5154105" y="1210863"/>
                </a:moveTo>
                <a:cubicBezTo>
                  <a:pt x="5162127" y="1210863"/>
                  <a:pt x="5166502" y="1217868"/>
                  <a:pt x="5166502" y="1225651"/>
                </a:cubicBezTo>
                <a:cubicBezTo>
                  <a:pt x="5166502" y="1234213"/>
                  <a:pt x="5162127" y="1240439"/>
                  <a:pt x="5154105" y="1240439"/>
                </a:cubicBezTo>
                <a:cubicBezTo>
                  <a:pt x="5146083" y="1240439"/>
                  <a:pt x="5140249" y="1234213"/>
                  <a:pt x="5140249" y="1225651"/>
                </a:cubicBezTo>
                <a:cubicBezTo>
                  <a:pt x="5140249" y="1217868"/>
                  <a:pt x="5146083" y="1210863"/>
                  <a:pt x="5154105" y="1210863"/>
                </a:cubicBezTo>
                <a:close/>
                <a:moveTo>
                  <a:pt x="5083276" y="1210863"/>
                </a:moveTo>
                <a:cubicBezTo>
                  <a:pt x="5089110" y="1210863"/>
                  <a:pt x="5095673" y="1217868"/>
                  <a:pt x="5095673" y="1225651"/>
                </a:cubicBezTo>
                <a:cubicBezTo>
                  <a:pt x="5095673" y="1234213"/>
                  <a:pt x="5089110" y="1240439"/>
                  <a:pt x="5083276" y="1240439"/>
                </a:cubicBezTo>
                <a:cubicBezTo>
                  <a:pt x="5075254" y="1240439"/>
                  <a:pt x="5069420" y="1234213"/>
                  <a:pt x="5069420" y="1225651"/>
                </a:cubicBezTo>
                <a:cubicBezTo>
                  <a:pt x="5069420" y="1217868"/>
                  <a:pt x="5075254" y="1210863"/>
                  <a:pt x="5083276" y="1210863"/>
                </a:cubicBezTo>
                <a:close/>
                <a:moveTo>
                  <a:pt x="5012445" y="1210863"/>
                </a:moveTo>
                <a:cubicBezTo>
                  <a:pt x="5018279" y="1210863"/>
                  <a:pt x="5024842" y="1217868"/>
                  <a:pt x="5024842" y="1225651"/>
                </a:cubicBezTo>
                <a:cubicBezTo>
                  <a:pt x="5024842" y="1234213"/>
                  <a:pt x="5018279" y="1240439"/>
                  <a:pt x="5012445" y="1240439"/>
                </a:cubicBezTo>
                <a:cubicBezTo>
                  <a:pt x="5004423" y="1240439"/>
                  <a:pt x="4998589" y="1234213"/>
                  <a:pt x="4998589" y="1225651"/>
                </a:cubicBezTo>
                <a:cubicBezTo>
                  <a:pt x="4998589" y="1217868"/>
                  <a:pt x="5004423" y="1210863"/>
                  <a:pt x="5012445" y="1210863"/>
                </a:cubicBezTo>
                <a:close/>
                <a:moveTo>
                  <a:pt x="4940157" y="1210863"/>
                </a:moveTo>
                <a:cubicBezTo>
                  <a:pt x="4948179" y="1210863"/>
                  <a:pt x="4954013" y="1217868"/>
                  <a:pt x="4954013" y="1225651"/>
                </a:cubicBezTo>
                <a:cubicBezTo>
                  <a:pt x="4954013" y="1234213"/>
                  <a:pt x="4948179" y="1240439"/>
                  <a:pt x="4940157" y="1240439"/>
                </a:cubicBezTo>
                <a:cubicBezTo>
                  <a:pt x="4934323" y="1240439"/>
                  <a:pt x="4927760" y="1234213"/>
                  <a:pt x="4927760" y="1225651"/>
                </a:cubicBezTo>
                <a:cubicBezTo>
                  <a:pt x="4927760" y="1217868"/>
                  <a:pt x="4934323" y="1210863"/>
                  <a:pt x="4940157" y="1210863"/>
                </a:cubicBezTo>
                <a:close/>
                <a:moveTo>
                  <a:pt x="4865953" y="1210863"/>
                </a:moveTo>
                <a:cubicBezTo>
                  <a:pt x="4873975" y="1210863"/>
                  <a:pt x="4879809" y="1217868"/>
                  <a:pt x="4879809" y="1225651"/>
                </a:cubicBezTo>
                <a:cubicBezTo>
                  <a:pt x="4879809" y="1234213"/>
                  <a:pt x="4873975" y="1240439"/>
                  <a:pt x="4865953" y="1240439"/>
                </a:cubicBezTo>
                <a:cubicBezTo>
                  <a:pt x="4860119" y="1240439"/>
                  <a:pt x="4853556" y="1234213"/>
                  <a:pt x="4853556" y="1225651"/>
                </a:cubicBezTo>
                <a:cubicBezTo>
                  <a:pt x="4853556" y="1217868"/>
                  <a:pt x="4860119" y="1210863"/>
                  <a:pt x="4865953" y="1210863"/>
                </a:cubicBezTo>
                <a:close/>
                <a:moveTo>
                  <a:pt x="4795122" y="1210863"/>
                </a:moveTo>
                <a:cubicBezTo>
                  <a:pt x="4803144" y="1210863"/>
                  <a:pt x="4808978" y="1217868"/>
                  <a:pt x="4808978" y="1225651"/>
                </a:cubicBezTo>
                <a:cubicBezTo>
                  <a:pt x="4808978" y="1234213"/>
                  <a:pt x="4803144" y="1240439"/>
                  <a:pt x="4795122" y="1240439"/>
                </a:cubicBezTo>
                <a:cubicBezTo>
                  <a:pt x="4787830" y="1240439"/>
                  <a:pt x="4782725" y="1234213"/>
                  <a:pt x="4782725" y="1225651"/>
                </a:cubicBezTo>
                <a:cubicBezTo>
                  <a:pt x="4782725" y="1217868"/>
                  <a:pt x="4787830" y="1210863"/>
                  <a:pt x="4795122" y="1210863"/>
                </a:cubicBezTo>
                <a:close/>
                <a:moveTo>
                  <a:pt x="4726684" y="1210863"/>
                </a:moveTo>
                <a:cubicBezTo>
                  <a:pt x="4735246" y="1210863"/>
                  <a:pt x="4741472" y="1217868"/>
                  <a:pt x="4741472" y="1225651"/>
                </a:cubicBezTo>
                <a:cubicBezTo>
                  <a:pt x="4741472" y="1234213"/>
                  <a:pt x="4735246" y="1240439"/>
                  <a:pt x="4726684" y="1240439"/>
                </a:cubicBezTo>
                <a:cubicBezTo>
                  <a:pt x="4718122" y="1240439"/>
                  <a:pt x="4711896" y="1234213"/>
                  <a:pt x="4711896" y="1225651"/>
                </a:cubicBezTo>
                <a:cubicBezTo>
                  <a:pt x="4711896" y="1217868"/>
                  <a:pt x="4718122" y="1210863"/>
                  <a:pt x="4726684" y="1210863"/>
                </a:cubicBezTo>
                <a:close/>
                <a:moveTo>
                  <a:pt x="4655853" y="1210863"/>
                </a:moveTo>
                <a:cubicBezTo>
                  <a:pt x="4663637" y="1210863"/>
                  <a:pt x="4670642" y="1217868"/>
                  <a:pt x="4670642" y="1225651"/>
                </a:cubicBezTo>
                <a:cubicBezTo>
                  <a:pt x="4670642" y="1234213"/>
                  <a:pt x="4663637" y="1240439"/>
                  <a:pt x="4655853" y="1240439"/>
                </a:cubicBezTo>
                <a:cubicBezTo>
                  <a:pt x="4647291" y="1240439"/>
                  <a:pt x="4641064" y="1234213"/>
                  <a:pt x="4641064" y="1225651"/>
                </a:cubicBezTo>
                <a:cubicBezTo>
                  <a:pt x="4641064" y="1217868"/>
                  <a:pt x="4647291" y="1210863"/>
                  <a:pt x="4655853" y="1210863"/>
                </a:cubicBezTo>
                <a:close/>
                <a:moveTo>
                  <a:pt x="4585023" y="1210863"/>
                </a:moveTo>
                <a:cubicBezTo>
                  <a:pt x="4592806" y="1210863"/>
                  <a:pt x="4599811" y="1217868"/>
                  <a:pt x="4599811" y="1225651"/>
                </a:cubicBezTo>
                <a:cubicBezTo>
                  <a:pt x="4599811" y="1234213"/>
                  <a:pt x="4592806" y="1240439"/>
                  <a:pt x="4585023" y="1240439"/>
                </a:cubicBezTo>
                <a:cubicBezTo>
                  <a:pt x="4576461" y="1240439"/>
                  <a:pt x="4570235" y="1234213"/>
                  <a:pt x="4570235" y="1225651"/>
                </a:cubicBezTo>
                <a:cubicBezTo>
                  <a:pt x="4570235" y="1217868"/>
                  <a:pt x="4576461" y="1210863"/>
                  <a:pt x="4585023" y="1210863"/>
                </a:cubicBezTo>
                <a:close/>
                <a:moveTo>
                  <a:pt x="4513260" y="1210863"/>
                </a:moveTo>
                <a:cubicBezTo>
                  <a:pt x="4520553" y="1210863"/>
                  <a:pt x="4525657" y="1217868"/>
                  <a:pt x="4525657" y="1225651"/>
                </a:cubicBezTo>
                <a:cubicBezTo>
                  <a:pt x="4525657" y="1234213"/>
                  <a:pt x="4520553" y="1240439"/>
                  <a:pt x="4513260" y="1240439"/>
                </a:cubicBezTo>
                <a:cubicBezTo>
                  <a:pt x="4505238" y="1240439"/>
                  <a:pt x="4499404" y="1234213"/>
                  <a:pt x="4499404" y="1225651"/>
                </a:cubicBezTo>
                <a:cubicBezTo>
                  <a:pt x="4499404" y="1217868"/>
                  <a:pt x="4505238" y="1210863"/>
                  <a:pt x="4513260" y="1210863"/>
                </a:cubicBezTo>
                <a:close/>
                <a:moveTo>
                  <a:pt x="4439056" y="1210863"/>
                </a:moveTo>
                <a:cubicBezTo>
                  <a:pt x="4445619" y="1210863"/>
                  <a:pt x="4451453" y="1217868"/>
                  <a:pt x="4451453" y="1225651"/>
                </a:cubicBezTo>
                <a:cubicBezTo>
                  <a:pt x="4451453" y="1234213"/>
                  <a:pt x="4445619" y="1240439"/>
                  <a:pt x="4439056" y="1240439"/>
                </a:cubicBezTo>
                <a:cubicBezTo>
                  <a:pt x="4431763" y="1240439"/>
                  <a:pt x="4425200" y="1234213"/>
                  <a:pt x="4425200" y="1225651"/>
                </a:cubicBezTo>
                <a:cubicBezTo>
                  <a:pt x="4425200" y="1217868"/>
                  <a:pt x="4431763" y="1210863"/>
                  <a:pt x="4439056" y="1210863"/>
                </a:cubicBezTo>
                <a:close/>
                <a:moveTo>
                  <a:pt x="4366768" y="1210863"/>
                </a:moveTo>
                <a:cubicBezTo>
                  <a:pt x="4374790" y="1210863"/>
                  <a:pt x="4380624" y="1217868"/>
                  <a:pt x="4380624" y="1225651"/>
                </a:cubicBezTo>
                <a:cubicBezTo>
                  <a:pt x="4380624" y="1234213"/>
                  <a:pt x="4374790" y="1240439"/>
                  <a:pt x="4366768" y="1240439"/>
                </a:cubicBezTo>
                <a:cubicBezTo>
                  <a:pt x="4360934" y="1240439"/>
                  <a:pt x="4354371" y="1234213"/>
                  <a:pt x="4354371" y="1225651"/>
                </a:cubicBezTo>
                <a:cubicBezTo>
                  <a:pt x="4354371" y="1217868"/>
                  <a:pt x="4360934" y="1210863"/>
                  <a:pt x="4366768" y="1210863"/>
                </a:cubicBezTo>
                <a:close/>
                <a:moveTo>
                  <a:pt x="4295937" y="1210863"/>
                </a:moveTo>
                <a:cubicBezTo>
                  <a:pt x="4303959" y="1210863"/>
                  <a:pt x="4309793" y="1217868"/>
                  <a:pt x="4309793" y="1225651"/>
                </a:cubicBezTo>
                <a:cubicBezTo>
                  <a:pt x="4309793" y="1234213"/>
                  <a:pt x="4303959" y="1240439"/>
                  <a:pt x="4295937" y="1240439"/>
                </a:cubicBezTo>
                <a:cubicBezTo>
                  <a:pt x="4290103" y="1240439"/>
                  <a:pt x="4283540" y="1234213"/>
                  <a:pt x="4283540" y="1225651"/>
                </a:cubicBezTo>
                <a:cubicBezTo>
                  <a:pt x="4283540" y="1217868"/>
                  <a:pt x="4290103" y="1210863"/>
                  <a:pt x="4295937" y="1210863"/>
                </a:cubicBezTo>
                <a:close/>
                <a:moveTo>
                  <a:pt x="368953" y="1210863"/>
                </a:moveTo>
                <a:cubicBezTo>
                  <a:pt x="377515" y="1210863"/>
                  <a:pt x="383742" y="1217868"/>
                  <a:pt x="383742" y="1225651"/>
                </a:cubicBezTo>
                <a:cubicBezTo>
                  <a:pt x="383742" y="1234213"/>
                  <a:pt x="377515" y="1240439"/>
                  <a:pt x="368953" y="1240439"/>
                </a:cubicBezTo>
                <a:cubicBezTo>
                  <a:pt x="361170" y="1240439"/>
                  <a:pt x="354165" y="1234213"/>
                  <a:pt x="354165" y="1225651"/>
                </a:cubicBezTo>
                <a:cubicBezTo>
                  <a:pt x="354165" y="1217868"/>
                  <a:pt x="361170" y="1210863"/>
                  <a:pt x="368953" y="1210863"/>
                </a:cubicBezTo>
                <a:close/>
                <a:moveTo>
                  <a:pt x="297189" y="1210863"/>
                </a:moveTo>
                <a:cubicBezTo>
                  <a:pt x="305211" y="1210863"/>
                  <a:pt x="309586" y="1217868"/>
                  <a:pt x="309586" y="1225651"/>
                </a:cubicBezTo>
                <a:cubicBezTo>
                  <a:pt x="309586" y="1234213"/>
                  <a:pt x="305211" y="1240439"/>
                  <a:pt x="297189" y="1240439"/>
                </a:cubicBezTo>
                <a:cubicBezTo>
                  <a:pt x="289897" y="1240439"/>
                  <a:pt x="283334" y="1234213"/>
                  <a:pt x="283334" y="1225651"/>
                </a:cubicBezTo>
                <a:cubicBezTo>
                  <a:pt x="283334" y="1217868"/>
                  <a:pt x="289897" y="1210863"/>
                  <a:pt x="297189" y="1210863"/>
                </a:cubicBezTo>
                <a:close/>
                <a:moveTo>
                  <a:pt x="226361" y="1210863"/>
                </a:moveTo>
                <a:cubicBezTo>
                  <a:pt x="232195" y="1210863"/>
                  <a:pt x="238759" y="1217868"/>
                  <a:pt x="238759" y="1225651"/>
                </a:cubicBezTo>
                <a:cubicBezTo>
                  <a:pt x="238759" y="1234213"/>
                  <a:pt x="232195" y="1240439"/>
                  <a:pt x="226361" y="1240439"/>
                </a:cubicBezTo>
                <a:cubicBezTo>
                  <a:pt x="218338" y="1240439"/>
                  <a:pt x="212504" y="1234213"/>
                  <a:pt x="212504" y="1225651"/>
                </a:cubicBezTo>
                <a:cubicBezTo>
                  <a:pt x="212504" y="1217868"/>
                  <a:pt x="218338" y="1210863"/>
                  <a:pt x="226361" y="1210863"/>
                </a:cubicBezTo>
                <a:close/>
                <a:moveTo>
                  <a:pt x="155527" y="1210863"/>
                </a:moveTo>
                <a:cubicBezTo>
                  <a:pt x="161361" y="1210863"/>
                  <a:pt x="167924" y="1217868"/>
                  <a:pt x="167924" y="1225651"/>
                </a:cubicBezTo>
                <a:cubicBezTo>
                  <a:pt x="167924" y="1234213"/>
                  <a:pt x="161361" y="1240439"/>
                  <a:pt x="155527" y="1240439"/>
                </a:cubicBezTo>
                <a:cubicBezTo>
                  <a:pt x="147505" y="1240439"/>
                  <a:pt x="141671" y="1234213"/>
                  <a:pt x="141671" y="1225651"/>
                </a:cubicBezTo>
                <a:cubicBezTo>
                  <a:pt x="141671" y="1217868"/>
                  <a:pt x="147505" y="1210863"/>
                  <a:pt x="155527" y="1210863"/>
                </a:cubicBezTo>
                <a:close/>
                <a:moveTo>
                  <a:pt x="83239" y="1210863"/>
                </a:moveTo>
                <a:cubicBezTo>
                  <a:pt x="90531" y="1210863"/>
                  <a:pt x="97095" y="1217868"/>
                  <a:pt x="97095" y="1225651"/>
                </a:cubicBezTo>
                <a:cubicBezTo>
                  <a:pt x="97095" y="1234213"/>
                  <a:pt x="90531" y="1240439"/>
                  <a:pt x="83239" y="1240439"/>
                </a:cubicBezTo>
                <a:cubicBezTo>
                  <a:pt x="76675" y="1240439"/>
                  <a:pt x="70841" y="1234213"/>
                  <a:pt x="70841" y="1225651"/>
                </a:cubicBezTo>
                <a:cubicBezTo>
                  <a:pt x="70841" y="1217868"/>
                  <a:pt x="76675" y="1210863"/>
                  <a:pt x="83239" y="1210863"/>
                </a:cubicBezTo>
                <a:close/>
                <a:moveTo>
                  <a:pt x="12003" y="1210863"/>
                </a:moveTo>
                <a:cubicBezTo>
                  <a:pt x="20248" y="1210863"/>
                  <a:pt x="26244" y="1217868"/>
                  <a:pt x="26244" y="1225651"/>
                </a:cubicBezTo>
                <a:cubicBezTo>
                  <a:pt x="26244" y="1234213"/>
                  <a:pt x="20248" y="1240439"/>
                  <a:pt x="12003" y="1240439"/>
                </a:cubicBezTo>
                <a:cubicBezTo>
                  <a:pt x="4508" y="1240439"/>
                  <a:pt x="10" y="1234213"/>
                  <a:pt x="10" y="1225651"/>
                </a:cubicBezTo>
                <a:cubicBezTo>
                  <a:pt x="10" y="1217868"/>
                  <a:pt x="4508" y="1210863"/>
                  <a:pt x="12003" y="1210863"/>
                </a:cubicBezTo>
                <a:close/>
                <a:moveTo>
                  <a:pt x="7013492" y="1140032"/>
                </a:moveTo>
                <a:cubicBezTo>
                  <a:pt x="7021275" y="1140032"/>
                  <a:pt x="7028280" y="1146595"/>
                  <a:pt x="7028280" y="1152429"/>
                </a:cubicBezTo>
                <a:cubicBezTo>
                  <a:pt x="7028280" y="1160451"/>
                  <a:pt x="7021275" y="1166286"/>
                  <a:pt x="7013492" y="1166286"/>
                </a:cubicBezTo>
                <a:cubicBezTo>
                  <a:pt x="7004930" y="1166286"/>
                  <a:pt x="6998704" y="1160451"/>
                  <a:pt x="6998704" y="1152429"/>
                </a:cubicBezTo>
                <a:cubicBezTo>
                  <a:pt x="6998704" y="1146595"/>
                  <a:pt x="7004930" y="1140032"/>
                  <a:pt x="7013492" y="1140032"/>
                </a:cubicBezTo>
                <a:close/>
                <a:moveTo>
                  <a:pt x="6939085" y="1140032"/>
                </a:moveTo>
                <a:cubicBezTo>
                  <a:pt x="6946378" y="1140032"/>
                  <a:pt x="6950753" y="1146595"/>
                  <a:pt x="6950753" y="1152429"/>
                </a:cubicBezTo>
                <a:cubicBezTo>
                  <a:pt x="6950753" y="1160451"/>
                  <a:pt x="6946378" y="1166286"/>
                  <a:pt x="6939085" y="1166286"/>
                </a:cubicBezTo>
                <a:cubicBezTo>
                  <a:pt x="6931063" y="1166286"/>
                  <a:pt x="6924500" y="1160451"/>
                  <a:pt x="6924500" y="1152429"/>
                </a:cubicBezTo>
                <a:cubicBezTo>
                  <a:pt x="6924500" y="1146595"/>
                  <a:pt x="6931063" y="1140032"/>
                  <a:pt x="6939085" y="1140032"/>
                </a:cubicBezTo>
                <a:close/>
                <a:moveTo>
                  <a:pt x="6867525" y="1140032"/>
                </a:moveTo>
                <a:cubicBezTo>
                  <a:pt x="6874088" y="1140032"/>
                  <a:pt x="6879922" y="1146595"/>
                  <a:pt x="6879922" y="1153888"/>
                </a:cubicBezTo>
                <a:cubicBezTo>
                  <a:pt x="6879922" y="1160451"/>
                  <a:pt x="6874088" y="1166286"/>
                  <a:pt x="6867525" y="1166286"/>
                </a:cubicBezTo>
                <a:cubicBezTo>
                  <a:pt x="6860232" y="1166286"/>
                  <a:pt x="6853669" y="1160451"/>
                  <a:pt x="6853669" y="1153888"/>
                </a:cubicBezTo>
                <a:cubicBezTo>
                  <a:pt x="6853669" y="1146595"/>
                  <a:pt x="6860232" y="1140032"/>
                  <a:pt x="6867525" y="1140032"/>
                </a:cubicBezTo>
                <a:close/>
                <a:moveTo>
                  <a:pt x="6796696" y="1140032"/>
                </a:moveTo>
                <a:cubicBezTo>
                  <a:pt x="6803259" y="1140032"/>
                  <a:pt x="6809093" y="1146595"/>
                  <a:pt x="6809093" y="1153888"/>
                </a:cubicBezTo>
                <a:cubicBezTo>
                  <a:pt x="6809093" y="1160451"/>
                  <a:pt x="6803259" y="1166286"/>
                  <a:pt x="6796696" y="1166286"/>
                </a:cubicBezTo>
                <a:cubicBezTo>
                  <a:pt x="6789403" y="1166286"/>
                  <a:pt x="6782840" y="1160451"/>
                  <a:pt x="6782840" y="1153888"/>
                </a:cubicBezTo>
                <a:cubicBezTo>
                  <a:pt x="6782840" y="1146595"/>
                  <a:pt x="6789403" y="1140032"/>
                  <a:pt x="6796696" y="1140032"/>
                </a:cubicBezTo>
                <a:close/>
                <a:moveTo>
                  <a:pt x="6724405" y="1140032"/>
                </a:moveTo>
                <a:cubicBezTo>
                  <a:pt x="6732427" y="1140032"/>
                  <a:pt x="6738261" y="1146595"/>
                  <a:pt x="6738261" y="1153888"/>
                </a:cubicBezTo>
                <a:cubicBezTo>
                  <a:pt x="6738261" y="1160451"/>
                  <a:pt x="6732427" y="1166286"/>
                  <a:pt x="6724405" y="1166286"/>
                </a:cubicBezTo>
                <a:cubicBezTo>
                  <a:pt x="6718571" y="1166286"/>
                  <a:pt x="6712008" y="1160451"/>
                  <a:pt x="6712008" y="1153888"/>
                </a:cubicBezTo>
                <a:cubicBezTo>
                  <a:pt x="6712008" y="1146595"/>
                  <a:pt x="6718571" y="1140032"/>
                  <a:pt x="6724405" y="1140032"/>
                </a:cubicBezTo>
                <a:close/>
                <a:moveTo>
                  <a:pt x="6653576" y="1140032"/>
                </a:moveTo>
                <a:cubicBezTo>
                  <a:pt x="6660869" y="1140032"/>
                  <a:pt x="6667432" y="1146595"/>
                  <a:pt x="6667432" y="1153888"/>
                </a:cubicBezTo>
                <a:cubicBezTo>
                  <a:pt x="6667432" y="1160451"/>
                  <a:pt x="6660869" y="1166286"/>
                  <a:pt x="6653576" y="1166286"/>
                </a:cubicBezTo>
                <a:cubicBezTo>
                  <a:pt x="6645554" y="1166286"/>
                  <a:pt x="6641179" y="1160451"/>
                  <a:pt x="6641179" y="1153888"/>
                </a:cubicBezTo>
                <a:cubicBezTo>
                  <a:pt x="6641179" y="1146595"/>
                  <a:pt x="6645554" y="1140032"/>
                  <a:pt x="6653576" y="1140032"/>
                </a:cubicBezTo>
                <a:close/>
                <a:moveTo>
                  <a:pt x="6581764" y="1140032"/>
                </a:moveTo>
                <a:cubicBezTo>
                  <a:pt x="6589547" y="1140032"/>
                  <a:pt x="6596552" y="1146595"/>
                  <a:pt x="6596552" y="1153888"/>
                </a:cubicBezTo>
                <a:cubicBezTo>
                  <a:pt x="6596552" y="1160451"/>
                  <a:pt x="6589547" y="1166286"/>
                  <a:pt x="6581764" y="1166286"/>
                </a:cubicBezTo>
                <a:cubicBezTo>
                  <a:pt x="6573202" y="1166286"/>
                  <a:pt x="6566976" y="1160451"/>
                  <a:pt x="6566976" y="1153888"/>
                </a:cubicBezTo>
                <a:cubicBezTo>
                  <a:pt x="6566976" y="1146595"/>
                  <a:pt x="6573202" y="1140032"/>
                  <a:pt x="6581764" y="1140032"/>
                </a:cubicBezTo>
                <a:close/>
                <a:moveTo>
                  <a:pt x="6510933" y="1140032"/>
                </a:moveTo>
                <a:cubicBezTo>
                  <a:pt x="6518717" y="1140032"/>
                  <a:pt x="6525722" y="1146595"/>
                  <a:pt x="6525722" y="1153888"/>
                </a:cubicBezTo>
                <a:cubicBezTo>
                  <a:pt x="6525722" y="1160451"/>
                  <a:pt x="6518717" y="1166286"/>
                  <a:pt x="6510933" y="1166286"/>
                </a:cubicBezTo>
                <a:cubicBezTo>
                  <a:pt x="6502371" y="1166286"/>
                  <a:pt x="6496144" y="1160451"/>
                  <a:pt x="6496144" y="1153888"/>
                </a:cubicBezTo>
                <a:cubicBezTo>
                  <a:pt x="6496144" y="1146595"/>
                  <a:pt x="6502371" y="1140032"/>
                  <a:pt x="6510933" y="1140032"/>
                </a:cubicBezTo>
                <a:close/>
                <a:moveTo>
                  <a:pt x="6440492" y="1140032"/>
                </a:moveTo>
                <a:cubicBezTo>
                  <a:pt x="6448081" y="1140032"/>
                  <a:pt x="6454911" y="1146595"/>
                  <a:pt x="6454911" y="1153888"/>
                </a:cubicBezTo>
                <a:cubicBezTo>
                  <a:pt x="6454911" y="1160451"/>
                  <a:pt x="6448081" y="1166286"/>
                  <a:pt x="6440492" y="1166286"/>
                </a:cubicBezTo>
                <a:cubicBezTo>
                  <a:pt x="6432145" y="1166286"/>
                  <a:pt x="6425315" y="1160451"/>
                  <a:pt x="6425315" y="1153888"/>
                </a:cubicBezTo>
                <a:cubicBezTo>
                  <a:pt x="6425315" y="1146595"/>
                  <a:pt x="6432145" y="1140032"/>
                  <a:pt x="6440492" y="1140032"/>
                </a:cubicBezTo>
                <a:close/>
                <a:moveTo>
                  <a:pt x="6368340" y="1140032"/>
                </a:moveTo>
                <a:cubicBezTo>
                  <a:pt x="6376362" y="1140032"/>
                  <a:pt x="6380737" y="1146595"/>
                  <a:pt x="6380737" y="1153888"/>
                </a:cubicBezTo>
                <a:cubicBezTo>
                  <a:pt x="6380737" y="1160451"/>
                  <a:pt x="6376362" y="1166286"/>
                  <a:pt x="6368340" y="1166286"/>
                </a:cubicBezTo>
                <a:cubicBezTo>
                  <a:pt x="6361047" y="1166286"/>
                  <a:pt x="6354484" y="1160451"/>
                  <a:pt x="6354484" y="1153888"/>
                </a:cubicBezTo>
                <a:cubicBezTo>
                  <a:pt x="6354484" y="1146595"/>
                  <a:pt x="6361047" y="1140032"/>
                  <a:pt x="6368340" y="1140032"/>
                </a:cubicBezTo>
                <a:close/>
                <a:moveTo>
                  <a:pt x="6297511" y="1140032"/>
                </a:moveTo>
                <a:cubicBezTo>
                  <a:pt x="6304074" y="1140032"/>
                  <a:pt x="6309908" y="1146595"/>
                  <a:pt x="6309908" y="1153888"/>
                </a:cubicBezTo>
                <a:cubicBezTo>
                  <a:pt x="6309908" y="1160451"/>
                  <a:pt x="6304074" y="1166286"/>
                  <a:pt x="6297511" y="1166286"/>
                </a:cubicBezTo>
                <a:cubicBezTo>
                  <a:pt x="6290218" y="1166286"/>
                  <a:pt x="6283655" y="1160451"/>
                  <a:pt x="6283655" y="1153888"/>
                </a:cubicBezTo>
                <a:cubicBezTo>
                  <a:pt x="6283655" y="1146595"/>
                  <a:pt x="6290218" y="1140032"/>
                  <a:pt x="6297511" y="1140032"/>
                </a:cubicBezTo>
                <a:close/>
                <a:moveTo>
                  <a:pt x="6226679" y="1140032"/>
                </a:moveTo>
                <a:cubicBezTo>
                  <a:pt x="6233242" y="1140032"/>
                  <a:pt x="6239076" y="1146595"/>
                  <a:pt x="6239076" y="1153888"/>
                </a:cubicBezTo>
                <a:cubicBezTo>
                  <a:pt x="6239076" y="1160451"/>
                  <a:pt x="6233242" y="1166286"/>
                  <a:pt x="6226679" y="1166286"/>
                </a:cubicBezTo>
                <a:cubicBezTo>
                  <a:pt x="6219386" y="1166286"/>
                  <a:pt x="6212823" y="1160451"/>
                  <a:pt x="6212823" y="1153888"/>
                </a:cubicBezTo>
                <a:cubicBezTo>
                  <a:pt x="6212823" y="1146595"/>
                  <a:pt x="6219386" y="1140032"/>
                  <a:pt x="6226679" y="1140032"/>
                </a:cubicBezTo>
                <a:close/>
                <a:moveTo>
                  <a:pt x="6154391" y="1140032"/>
                </a:moveTo>
                <a:cubicBezTo>
                  <a:pt x="6161684" y="1140032"/>
                  <a:pt x="6168247" y="1146595"/>
                  <a:pt x="6168247" y="1153888"/>
                </a:cubicBezTo>
                <a:cubicBezTo>
                  <a:pt x="6168247" y="1160451"/>
                  <a:pt x="6161684" y="1166286"/>
                  <a:pt x="6154391" y="1166286"/>
                </a:cubicBezTo>
                <a:cubicBezTo>
                  <a:pt x="6147828" y="1166286"/>
                  <a:pt x="6141994" y="1160451"/>
                  <a:pt x="6141994" y="1153888"/>
                </a:cubicBezTo>
                <a:cubicBezTo>
                  <a:pt x="6141994" y="1146595"/>
                  <a:pt x="6147828" y="1140032"/>
                  <a:pt x="6154391" y="1140032"/>
                </a:cubicBezTo>
                <a:close/>
                <a:moveTo>
                  <a:pt x="6083559" y="1140032"/>
                </a:moveTo>
                <a:cubicBezTo>
                  <a:pt x="6090852" y="1140032"/>
                  <a:pt x="6097415" y="1146595"/>
                  <a:pt x="6097415" y="1153888"/>
                </a:cubicBezTo>
                <a:cubicBezTo>
                  <a:pt x="6097415" y="1160451"/>
                  <a:pt x="6090852" y="1166286"/>
                  <a:pt x="6083559" y="1166286"/>
                </a:cubicBezTo>
                <a:cubicBezTo>
                  <a:pt x="6076996" y="1166286"/>
                  <a:pt x="6071162" y="1160451"/>
                  <a:pt x="6071162" y="1153888"/>
                </a:cubicBezTo>
                <a:cubicBezTo>
                  <a:pt x="6071162" y="1146595"/>
                  <a:pt x="6076996" y="1140032"/>
                  <a:pt x="6083559" y="1140032"/>
                </a:cubicBezTo>
                <a:close/>
                <a:moveTo>
                  <a:pt x="6009356" y="1140032"/>
                </a:moveTo>
                <a:cubicBezTo>
                  <a:pt x="6016649" y="1140032"/>
                  <a:pt x="6023212" y="1146595"/>
                  <a:pt x="6023212" y="1153888"/>
                </a:cubicBezTo>
                <a:cubicBezTo>
                  <a:pt x="6023212" y="1160451"/>
                  <a:pt x="6016649" y="1166286"/>
                  <a:pt x="6009356" y="1166286"/>
                </a:cubicBezTo>
                <a:cubicBezTo>
                  <a:pt x="6001334" y="1166286"/>
                  <a:pt x="5996959" y="1160451"/>
                  <a:pt x="5996959" y="1153888"/>
                </a:cubicBezTo>
                <a:cubicBezTo>
                  <a:pt x="5996959" y="1146595"/>
                  <a:pt x="6001334" y="1140032"/>
                  <a:pt x="6009356" y="1140032"/>
                </a:cubicBezTo>
                <a:close/>
                <a:moveTo>
                  <a:pt x="5940548" y="1140032"/>
                </a:moveTo>
                <a:cubicBezTo>
                  <a:pt x="5948896" y="1140032"/>
                  <a:pt x="5955726" y="1146595"/>
                  <a:pt x="5955726" y="1153888"/>
                </a:cubicBezTo>
                <a:cubicBezTo>
                  <a:pt x="5955726" y="1160451"/>
                  <a:pt x="5948896" y="1166286"/>
                  <a:pt x="5940548" y="1166286"/>
                </a:cubicBezTo>
                <a:cubicBezTo>
                  <a:pt x="5932960" y="1166286"/>
                  <a:pt x="5926130" y="1160451"/>
                  <a:pt x="5926130" y="1153888"/>
                </a:cubicBezTo>
                <a:cubicBezTo>
                  <a:pt x="5926130" y="1146595"/>
                  <a:pt x="5932960" y="1140032"/>
                  <a:pt x="5940548" y="1140032"/>
                </a:cubicBezTo>
                <a:close/>
                <a:moveTo>
                  <a:pt x="5870088" y="1140032"/>
                </a:moveTo>
                <a:cubicBezTo>
                  <a:pt x="5878650" y="1140032"/>
                  <a:pt x="5884877" y="1146595"/>
                  <a:pt x="5884877" y="1153888"/>
                </a:cubicBezTo>
                <a:cubicBezTo>
                  <a:pt x="5884877" y="1160451"/>
                  <a:pt x="5878650" y="1166286"/>
                  <a:pt x="5870088" y="1166286"/>
                </a:cubicBezTo>
                <a:cubicBezTo>
                  <a:pt x="5862304" y="1166286"/>
                  <a:pt x="5855299" y="1161910"/>
                  <a:pt x="5855299" y="1153888"/>
                </a:cubicBezTo>
                <a:cubicBezTo>
                  <a:pt x="5855299" y="1146595"/>
                  <a:pt x="5862304" y="1140032"/>
                  <a:pt x="5870088" y="1140032"/>
                </a:cubicBezTo>
                <a:close/>
                <a:moveTo>
                  <a:pt x="5799257" y="1140032"/>
                </a:moveTo>
                <a:cubicBezTo>
                  <a:pt x="5807819" y="1140032"/>
                  <a:pt x="5814045" y="1146595"/>
                  <a:pt x="5814045" y="1153888"/>
                </a:cubicBezTo>
                <a:cubicBezTo>
                  <a:pt x="5814045" y="1161910"/>
                  <a:pt x="5807819" y="1166286"/>
                  <a:pt x="5799257" y="1166286"/>
                </a:cubicBezTo>
                <a:cubicBezTo>
                  <a:pt x="5791474" y="1166286"/>
                  <a:pt x="5784469" y="1161910"/>
                  <a:pt x="5784469" y="1153888"/>
                </a:cubicBezTo>
                <a:cubicBezTo>
                  <a:pt x="5784469" y="1146595"/>
                  <a:pt x="5791474" y="1140032"/>
                  <a:pt x="5799257" y="1140032"/>
                </a:cubicBezTo>
                <a:close/>
                <a:moveTo>
                  <a:pt x="5724122" y="1140032"/>
                </a:moveTo>
                <a:cubicBezTo>
                  <a:pt x="5732144" y="1140032"/>
                  <a:pt x="5736519" y="1146595"/>
                  <a:pt x="5736519" y="1153888"/>
                </a:cubicBezTo>
                <a:cubicBezTo>
                  <a:pt x="5736519" y="1161910"/>
                  <a:pt x="5732144" y="1166286"/>
                  <a:pt x="5724122" y="1166286"/>
                </a:cubicBezTo>
                <a:cubicBezTo>
                  <a:pt x="5716100" y="1166286"/>
                  <a:pt x="5710266" y="1161910"/>
                  <a:pt x="5710266" y="1153888"/>
                </a:cubicBezTo>
                <a:cubicBezTo>
                  <a:pt x="5710266" y="1146595"/>
                  <a:pt x="5716100" y="1140032"/>
                  <a:pt x="5724122" y="1140032"/>
                </a:cubicBezTo>
                <a:close/>
                <a:moveTo>
                  <a:pt x="5653291" y="1140032"/>
                </a:moveTo>
                <a:cubicBezTo>
                  <a:pt x="5659125" y="1140032"/>
                  <a:pt x="5665688" y="1146595"/>
                  <a:pt x="5665688" y="1153888"/>
                </a:cubicBezTo>
                <a:cubicBezTo>
                  <a:pt x="5665688" y="1161910"/>
                  <a:pt x="5659125" y="1166286"/>
                  <a:pt x="5653291" y="1166286"/>
                </a:cubicBezTo>
                <a:cubicBezTo>
                  <a:pt x="5645269" y="1166286"/>
                  <a:pt x="5639435" y="1161910"/>
                  <a:pt x="5639435" y="1153888"/>
                </a:cubicBezTo>
                <a:cubicBezTo>
                  <a:pt x="5639435" y="1146595"/>
                  <a:pt x="5645269" y="1140032"/>
                  <a:pt x="5653291" y="1140032"/>
                </a:cubicBezTo>
                <a:close/>
                <a:moveTo>
                  <a:pt x="5581002" y="1140032"/>
                </a:moveTo>
                <a:cubicBezTo>
                  <a:pt x="5588295" y="1140032"/>
                  <a:pt x="5594858" y="1146595"/>
                  <a:pt x="5594858" y="1153888"/>
                </a:cubicBezTo>
                <a:cubicBezTo>
                  <a:pt x="5594858" y="1161910"/>
                  <a:pt x="5588295" y="1166286"/>
                  <a:pt x="5581002" y="1166286"/>
                </a:cubicBezTo>
                <a:cubicBezTo>
                  <a:pt x="5574439" y="1166286"/>
                  <a:pt x="5568605" y="1161910"/>
                  <a:pt x="5568605" y="1153888"/>
                </a:cubicBezTo>
                <a:cubicBezTo>
                  <a:pt x="5568605" y="1146595"/>
                  <a:pt x="5574439" y="1140032"/>
                  <a:pt x="5581002" y="1140032"/>
                </a:cubicBezTo>
                <a:close/>
                <a:moveTo>
                  <a:pt x="5510171" y="1140032"/>
                </a:moveTo>
                <a:cubicBezTo>
                  <a:pt x="5517464" y="1140032"/>
                  <a:pt x="5524027" y="1146595"/>
                  <a:pt x="5524027" y="1153888"/>
                </a:cubicBezTo>
                <a:cubicBezTo>
                  <a:pt x="5524027" y="1161910"/>
                  <a:pt x="5517464" y="1166286"/>
                  <a:pt x="5510171" y="1166286"/>
                </a:cubicBezTo>
                <a:cubicBezTo>
                  <a:pt x="5503608" y="1166286"/>
                  <a:pt x="5497774" y="1161910"/>
                  <a:pt x="5497774" y="1153888"/>
                </a:cubicBezTo>
                <a:cubicBezTo>
                  <a:pt x="5497774" y="1146595"/>
                  <a:pt x="5503608" y="1140032"/>
                  <a:pt x="5510171" y="1140032"/>
                </a:cubicBezTo>
                <a:close/>
                <a:moveTo>
                  <a:pt x="5438937" y="1140032"/>
                </a:moveTo>
                <a:cubicBezTo>
                  <a:pt x="5447182" y="1140032"/>
                  <a:pt x="5453178" y="1146595"/>
                  <a:pt x="5453178" y="1153888"/>
                </a:cubicBezTo>
                <a:cubicBezTo>
                  <a:pt x="5453178" y="1161910"/>
                  <a:pt x="5447182" y="1166286"/>
                  <a:pt x="5438937" y="1166286"/>
                </a:cubicBezTo>
                <a:cubicBezTo>
                  <a:pt x="5431442" y="1166286"/>
                  <a:pt x="5426945" y="1161910"/>
                  <a:pt x="5426945" y="1153888"/>
                </a:cubicBezTo>
                <a:cubicBezTo>
                  <a:pt x="5426945" y="1146595"/>
                  <a:pt x="5431442" y="1140032"/>
                  <a:pt x="5438937" y="1140032"/>
                </a:cubicBezTo>
                <a:close/>
                <a:moveTo>
                  <a:pt x="5367530" y="1140032"/>
                </a:moveTo>
                <a:cubicBezTo>
                  <a:pt x="5376092" y="1140032"/>
                  <a:pt x="5382318" y="1146595"/>
                  <a:pt x="5382318" y="1153888"/>
                </a:cubicBezTo>
                <a:cubicBezTo>
                  <a:pt x="5382318" y="1161910"/>
                  <a:pt x="5376092" y="1166286"/>
                  <a:pt x="5367530" y="1166286"/>
                </a:cubicBezTo>
                <a:cubicBezTo>
                  <a:pt x="5359747" y="1166286"/>
                  <a:pt x="5352742" y="1161910"/>
                  <a:pt x="5352742" y="1153888"/>
                </a:cubicBezTo>
                <a:cubicBezTo>
                  <a:pt x="5352742" y="1146595"/>
                  <a:pt x="5359747" y="1140032"/>
                  <a:pt x="5367530" y="1140032"/>
                </a:cubicBezTo>
                <a:close/>
                <a:moveTo>
                  <a:pt x="5296699" y="1140032"/>
                </a:moveTo>
                <a:cubicBezTo>
                  <a:pt x="5305261" y="1140032"/>
                  <a:pt x="5311488" y="1146595"/>
                  <a:pt x="5311488" y="1153888"/>
                </a:cubicBezTo>
                <a:cubicBezTo>
                  <a:pt x="5311488" y="1161910"/>
                  <a:pt x="5305261" y="1166286"/>
                  <a:pt x="5296699" y="1166286"/>
                </a:cubicBezTo>
                <a:cubicBezTo>
                  <a:pt x="5288915" y="1166286"/>
                  <a:pt x="5281910" y="1161910"/>
                  <a:pt x="5281910" y="1153888"/>
                </a:cubicBezTo>
                <a:cubicBezTo>
                  <a:pt x="5281910" y="1146595"/>
                  <a:pt x="5288915" y="1140032"/>
                  <a:pt x="5296699" y="1140032"/>
                </a:cubicBezTo>
                <a:close/>
                <a:moveTo>
                  <a:pt x="5225869" y="1140032"/>
                </a:moveTo>
                <a:cubicBezTo>
                  <a:pt x="5234431" y="1140032"/>
                  <a:pt x="5240657" y="1146595"/>
                  <a:pt x="5240657" y="1153888"/>
                </a:cubicBezTo>
                <a:cubicBezTo>
                  <a:pt x="5240657" y="1161910"/>
                  <a:pt x="5234431" y="1166286"/>
                  <a:pt x="5225869" y="1166286"/>
                </a:cubicBezTo>
                <a:cubicBezTo>
                  <a:pt x="5217307" y="1166286"/>
                  <a:pt x="5211081" y="1161910"/>
                  <a:pt x="5211081" y="1153888"/>
                </a:cubicBezTo>
                <a:cubicBezTo>
                  <a:pt x="5211081" y="1146595"/>
                  <a:pt x="5217307" y="1140032"/>
                  <a:pt x="5225869" y="1140032"/>
                </a:cubicBezTo>
                <a:close/>
                <a:moveTo>
                  <a:pt x="5154105" y="1140032"/>
                </a:moveTo>
                <a:cubicBezTo>
                  <a:pt x="5162127" y="1140032"/>
                  <a:pt x="5166502" y="1147037"/>
                  <a:pt x="5166502" y="1154821"/>
                </a:cubicBezTo>
                <a:cubicBezTo>
                  <a:pt x="5166502" y="1163383"/>
                  <a:pt x="5162127" y="1169610"/>
                  <a:pt x="5154105" y="1169610"/>
                </a:cubicBezTo>
                <a:cubicBezTo>
                  <a:pt x="5146083" y="1169610"/>
                  <a:pt x="5140249" y="1163383"/>
                  <a:pt x="5140249" y="1154821"/>
                </a:cubicBezTo>
                <a:cubicBezTo>
                  <a:pt x="5140249" y="1147037"/>
                  <a:pt x="5146083" y="1140032"/>
                  <a:pt x="5154105" y="1140032"/>
                </a:cubicBezTo>
                <a:close/>
                <a:moveTo>
                  <a:pt x="5083276" y="1140032"/>
                </a:moveTo>
                <a:cubicBezTo>
                  <a:pt x="5089110" y="1140032"/>
                  <a:pt x="5095673" y="1147037"/>
                  <a:pt x="5095673" y="1154821"/>
                </a:cubicBezTo>
                <a:cubicBezTo>
                  <a:pt x="5095673" y="1163383"/>
                  <a:pt x="5089110" y="1169610"/>
                  <a:pt x="5083276" y="1169610"/>
                </a:cubicBezTo>
                <a:cubicBezTo>
                  <a:pt x="5075254" y="1169610"/>
                  <a:pt x="5069420" y="1163383"/>
                  <a:pt x="5069420" y="1154821"/>
                </a:cubicBezTo>
                <a:cubicBezTo>
                  <a:pt x="5069420" y="1147037"/>
                  <a:pt x="5075254" y="1140032"/>
                  <a:pt x="5083276" y="1140032"/>
                </a:cubicBezTo>
                <a:close/>
                <a:moveTo>
                  <a:pt x="5012445" y="1140032"/>
                </a:moveTo>
                <a:cubicBezTo>
                  <a:pt x="5018279" y="1140032"/>
                  <a:pt x="5024842" y="1147037"/>
                  <a:pt x="5024842" y="1154821"/>
                </a:cubicBezTo>
                <a:cubicBezTo>
                  <a:pt x="5024842" y="1163383"/>
                  <a:pt x="5018279" y="1169610"/>
                  <a:pt x="5012445" y="1169610"/>
                </a:cubicBezTo>
                <a:cubicBezTo>
                  <a:pt x="5004423" y="1169610"/>
                  <a:pt x="4998589" y="1163383"/>
                  <a:pt x="4998589" y="1154821"/>
                </a:cubicBezTo>
                <a:cubicBezTo>
                  <a:pt x="4998589" y="1147037"/>
                  <a:pt x="5004423" y="1140032"/>
                  <a:pt x="5012445" y="1140032"/>
                </a:cubicBezTo>
                <a:close/>
                <a:moveTo>
                  <a:pt x="4940157" y="1140032"/>
                </a:moveTo>
                <a:cubicBezTo>
                  <a:pt x="4948179" y="1140032"/>
                  <a:pt x="4954013" y="1147037"/>
                  <a:pt x="4954013" y="1154821"/>
                </a:cubicBezTo>
                <a:cubicBezTo>
                  <a:pt x="4954013" y="1163383"/>
                  <a:pt x="4948179" y="1169610"/>
                  <a:pt x="4940157" y="1169610"/>
                </a:cubicBezTo>
                <a:cubicBezTo>
                  <a:pt x="4934323" y="1169610"/>
                  <a:pt x="4927760" y="1163383"/>
                  <a:pt x="4927760" y="1154821"/>
                </a:cubicBezTo>
                <a:cubicBezTo>
                  <a:pt x="4927760" y="1147037"/>
                  <a:pt x="4934323" y="1140032"/>
                  <a:pt x="4940157" y="1140032"/>
                </a:cubicBezTo>
                <a:close/>
                <a:moveTo>
                  <a:pt x="4865953" y="1140032"/>
                </a:moveTo>
                <a:cubicBezTo>
                  <a:pt x="4873975" y="1140032"/>
                  <a:pt x="4879809" y="1147037"/>
                  <a:pt x="4879809" y="1154821"/>
                </a:cubicBezTo>
                <a:cubicBezTo>
                  <a:pt x="4879809" y="1163383"/>
                  <a:pt x="4873975" y="1169610"/>
                  <a:pt x="4865953" y="1169610"/>
                </a:cubicBezTo>
                <a:cubicBezTo>
                  <a:pt x="4860119" y="1169610"/>
                  <a:pt x="4853556" y="1163383"/>
                  <a:pt x="4853556" y="1154821"/>
                </a:cubicBezTo>
                <a:cubicBezTo>
                  <a:pt x="4853556" y="1147037"/>
                  <a:pt x="4860119" y="1140032"/>
                  <a:pt x="4865953" y="1140032"/>
                </a:cubicBezTo>
                <a:close/>
                <a:moveTo>
                  <a:pt x="4795122" y="1140032"/>
                </a:moveTo>
                <a:cubicBezTo>
                  <a:pt x="4803144" y="1140032"/>
                  <a:pt x="4808978" y="1147037"/>
                  <a:pt x="4808978" y="1154821"/>
                </a:cubicBezTo>
                <a:cubicBezTo>
                  <a:pt x="4808978" y="1163383"/>
                  <a:pt x="4803144" y="1169610"/>
                  <a:pt x="4795122" y="1169610"/>
                </a:cubicBezTo>
                <a:cubicBezTo>
                  <a:pt x="4787830" y="1169610"/>
                  <a:pt x="4782725" y="1163383"/>
                  <a:pt x="4782725" y="1154821"/>
                </a:cubicBezTo>
                <a:cubicBezTo>
                  <a:pt x="4782725" y="1147037"/>
                  <a:pt x="4787830" y="1140032"/>
                  <a:pt x="4795122" y="1140032"/>
                </a:cubicBezTo>
                <a:close/>
                <a:moveTo>
                  <a:pt x="4726684" y="1140032"/>
                </a:moveTo>
                <a:cubicBezTo>
                  <a:pt x="4735246" y="1140032"/>
                  <a:pt x="4741472" y="1147037"/>
                  <a:pt x="4741472" y="1154821"/>
                </a:cubicBezTo>
                <a:cubicBezTo>
                  <a:pt x="4741472" y="1163383"/>
                  <a:pt x="4735246" y="1169610"/>
                  <a:pt x="4726684" y="1169610"/>
                </a:cubicBezTo>
                <a:cubicBezTo>
                  <a:pt x="4718122" y="1169610"/>
                  <a:pt x="4711896" y="1163383"/>
                  <a:pt x="4711896" y="1154821"/>
                </a:cubicBezTo>
                <a:cubicBezTo>
                  <a:pt x="4711896" y="1147037"/>
                  <a:pt x="4718122" y="1140032"/>
                  <a:pt x="4726684" y="1140032"/>
                </a:cubicBezTo>
                <a:close/>
                <a:moveTo>
                  <a:pt x="4655853" y="1140032"/>
                </a:moveTo>
                <a:cubicBezTo>
                  <a:pt x="4663637" y="1140032"/>
                  <a:pt x="4670642" y="1147037"/>
                  <a:pt x="4670642" y="1154821"/>
                </a:cubicBezTo>
                <a:cubicBezTo>
                  <a:pt x="4670642" y="1163383"/>
                  <a:pt x="4663637" y="1169610"/>
                  <a:pt x="4655853" y="1169610"/>
                </a:cubicBezTo>
                <a:cubicBezTo>
                  <a:pt x="4647291" y="1169610"/>
                  <a:pt x="4641064" y="1163383"/>
                  <a:pt x="4641064" y="1154821"/>
                </a:cubicBezTo>
                <a:cubicBezTo>
                  <a:pt x="4641064" y="1147037"/>
                  <a:pt x="4647291" y="1140032"/>
                  <a:pt x="4655853" y="1140032"/>
                </a:cubicBezTo>
                <a:close/>
                <a:moveTo>
                  <a:pt x="4585023" y="1140032"/>
                </a:moveTo>
                <a:cubicBezTo>
                  <a:pt x="4592806" y="1140032"/>
                  <a:pt x="4599811" y="1147037"/>
                  <a:pt x="4599811" y="1154821"/>
                </a:cubicBezTo>
                <a:cubicBezTo>
                  <a:pt x="4599811" y="1163383"/>
                  <a:pt x="4592806" y="1169610"/>
                  <a:pt x="4585023" y="1169610"/>
                </a:cubicBezTo>
                <a:cubicBezTo>
                  <a:pt x="4576461" y="1169610"/>
                  <a:pt x="4570235" y="1163383"/>
                  <a:pt x="4570235" y="1154821"/>
                </a:cubicBezTo>
                <a:cubicBezTo>
                  <a:pt x="4570235" y="1147037"/>
                  <a:pt x="4576461" y="1140032"/>
                  <a:pt x="4585023" y="1140032"/>
                </a:cubicBezTo>
                <a:close/>
                <a:moveTo>
                  <a:pt x="4513260" y="1140032"/>
                </a:moveTo>
                <a:cubicBezTo>
                  <a:pt x="4520553" y="1140032"/>
                  <a:pt x="4525657" y="1147037"/>
                  <a:pt x="4525657" y="1154821"/>
                </a:cubicBezTo>
                <a:cubicBezTo>
                  <a:pt x="4525657" y="1163383"/>
                  <a:pt x="4520553" y="1169610"/>
                  <a:pt x="4513260" y="1169610"/>
                </a:cubicBezTo>
                <a:cubicBezTo>
                  <a:pt x="4505238" y="1169610"/>
                  <a:pt x="4499404" y="1163383"/>
                  <a:pt x="4499404" y="1154821"/>
                </a:cubicBezTo>
                <a:cubicBezTo>
                  <a:pt x="4499404" y="1147037"/>
                  <a:pt x="4505238" y="1140032"/>
                  <a:pt x="4513260" y="1140032"/>
                </a:cubicBezTo>
                <a:close/>
                <a:moveTo>
                  <a:pt x="4439056" y="1140032"/>
                </a:moveTo>
                <a:cubicBezTo>
                  <a:pt x="4445619" y="1140032"/>
                  <a:pt x="4451453" y="1147037"/>
                  <a:pt x="4451453" y="1154821"/>
                </a:cubicBezTo>
                <a:cubicBezTo>
                  <a:pt x="4451453" y="1163383"/>
                  <a:pt x="4445619" y="1169610"/>
                  <a:pt x="4439056" y="1169610"/>
                </a:cubicBezTo>
                <a:cubicBezTo>
                  <a:pt x="4431763" y="1169610"/>
                  <a:pt x="4425200" y="1163383"/>
                  <a:pt x="4425200" y="1154821"/>
                </a:cubicBezTo>
                <a:cubicBezTo>
                  <a:pt x="4425200" y="1147037"/>
                  <a:pt x="4431763" y="1140032"/>
                  <a:pt x="4439056" y="1140032"/>
                </a:cubicBezTo>
                <a:close/>
                <a:moveTo>
                  <a:pt x="4366768" y="1140032"/>
                </a:moveTo>
                <a:cubicBezTo>
                  <a:pt x="4374790" y="1140032"/>
                  <a:pt x="4380624" y="1147037"/>
                  <a:pt x="4380624" y="1154821"/>
                </a:cubicBezTo>
                <a:cubicBezTo>
                  <a:pt x="4380624" y="1163383"/>
                  <a:pt x="4374790" y="1169610"/>
                  <a:pt x="4366768" y="1169610"/>
                </a:cubicBezTo>
                <a:cubicBezTo>
                  <a:pt x="4360934" y="1169610"/>
                  <a:pt x="4354371" y="1163383"/>
                  <a:pt x="4354371" y="1154821"/>
                </a:cubicBezTo>
                <a:cubicBezTo>
                  <a:pt x="4354371" y="1147037"/>
                  <a:pt x="4360934" y="1140032"/>
                  <a:pt x="4366768" y="1140032"/>
                </a:cubicBezTo>
                <a:close/>
                <a:moveTo>
                  <a:pt x="4295937" y="1140032"/>
                </a:moveTo>
                <a:cubicBezTo>
                  <a:pt x="4303959" y="1140032"/>
                  <a:pt x="4309793" y="1147037"/>
                  <a:pt x="4309793" y="1154821"/>
                </a:cubicBezTo>
                <a:cubicBezTo>
                  <a:pt x="4309793" y="1163383"/>
                  <a:pt x="4303959" y="1169610"/>
                  <a:pt x="4295937" y="1169610"/>
                </a:cubicBezTo>
                <a:cubicBezTo>
                  <a:pt x="4290103" y="1169610"/>
                  <a:pt x="4283540" y="1163383"/>
                  <a:pt x="4283540" y="1154821"/>
                </a:cubicBezTo>
                <a:cubicBezTo>
                  <a:pt x="4283540" y="1147037"/>
                  <a:pt x="4290103" y="1140032"/>
                  <a:pt x="4295937" y="1140032"/>
                </a:cubicBezTo>
                <a:close/>
                <a:moveTo>
                  <a:pt x="4225107" y="1140032"/>
                </a:moveTo>
                <a:cubicBezTo>
                  <a:pt x="4233129" y="1140032"/>
                  <a:pt x="4238963" y="1147037"/>
                  <a:pt x="4238963" y="1154821"/>
                </a:cubicBezTo>
                <a:cubicBezTo>
                  <a:pt x="4238963" y="1163383"/>
                  <a:pt x="4233129" y="1169610"/>
                  <a:pt x="4225107" y="1169610"/>
                </a:cubicBezTo>
                <a:cubicBezTo>
                  <a:pt x="4217085" y="1169610"/>
                  <a:pt x="4212710" y="1163383"/>
                  <a:pt x="4212710" y="1154821"/>
                </a:cubicBezTo>
                <a:cubicBezTo>
                  <a:pt x="4212710" y="1147037"/>
                  <a:pt x="4217085" y="1140032"/>
                  <a:pt x="4225107" y="1140032"/>
                </a:cubicBezTo>
                <a:close/>
                <a:moveTo>
                  <a:pt x="4153295" y="1140032"/>
                </a:moveTo>
                <a:cubicBezTo>
                  <a:pt x="4161078" y="1140032"/>
                  <a:pt x="4168083" y="1147037"/>
                  <a:pt x="4168083" y="1154821"/>
                </a:cubicBezTo>
                <a:cubicBezTo>
                  <a:pt x="4168083" y="1163383"/>
                  <a:pt x="4161078" y="1169610"/>
                  <a:pt x="4153295" y="1169610"/>
                </a:cubicBezTo>
                <a:cubicBezTo>
                  <a:pt x="4144733" y="1169610"/>
                  <a:pt x="4138507" y="1163383"/>
                  <a:pt x="4138507" y="1154821"/>
                </a:cubicBezTo>
                <a:cubicBezTo>
                  <a:pt x="4138507" y="1147037"/>
                  <a:pt x="4144733" y="1140032"/>
                  <a:pt x="4153295" y="1140032"/>
                </a:cubicBezTo>
                <a:close/>
                <a:moveTo>
                  <a:pt x="4082465" y="1140032"/>
                </a:moveTo>
                <a:cubicBezTo>
                  <a:pt x="4090249" y="1140032"/>
                  <a:pt x="4097254" y="1147037"/>
                  <a:pt x="4097254" y="1154821"/>
                </a:cubicBezTo>
                <a:cubicBezTo>
                  <a:pt x="4097254" y="1163383"/>
                  <a:pt x="4090249" y="1169610"/>
                  <a:pt x="4082465" y="1169610"/>
                </a:cubicBezTo>
                <a:cubicBezTo>
                  <a:pt x="4073903" y="1169610"/>
                  <a:pt x="4067676" y="1163383"/>
                  <a:pt x="4067676" y="1154821"/>
                </a:cubicBezTo>
                <a:cubicBezTo>
                  <a:pt x="4067676" y="1147037"/>
                  <a:pt x="4073903" y="1140032"/>
                  <a:pt x="4082465" y="1140032"/>
                </a:cubicBezTo>
                <a:close/>
                <a:moveTo>
                  <a:pt x="439789" y="1140032"/>
                </a:moveTo>
                <a:cubicBezTo>
                  <a:pt x="448351" y="1140032"/>
                  <a:pt x="454579" y="1146595"/>
                  <a:pt x="454579" y="1153888"/>
                </a:cubicBezTo>
                <a:cubicBezTo>
                  <a:pt x="454579" y="1161910"/>
                  <a:pt x="448351" y="1166286"/>
                  <a:pt x="439789" y="1166286"/>
                </a:cubicBezTo>
                <a:cubicBezTo>
                  <a:pt x="432006" y="1166286"/>
                  <a:pt x="425001" y="1161910"/>
                  <a:pt x="425001" y="1153888"/>
                </a:cubicBezTo>
                <a:cubicBezTo>
                  <a:pt x="425001" y="1146595"/>
                  <a:pt x="432006" y="1140032"/>
                  <a:pt x="439789" y="1140032"/>
                </a:cubicBezTo>
                <a:close/>
                <a:moveTo>
                  <a:pt x="368960" y="1140032"/>
                </a:moveTo>
                <a:cubicBezTo>
                  <a:pt x="377521" y="1140032"/>
                  <a:pt x="383747" y="1146595"/>
                  <a:pt x="383747" y="1153888"/>
                </a:cubicBezTo>
                <a:cubicBezTo>
                  <a:pt x="383747" y="1161910"/>
                  <a:pt x="377521" y="1166286"/>
                  <a:pt x="368960" y="1166286"/>
                </a:cubicBezTo>
                <a:cubicBezTo>
                  <a:pt x="361176" y="1166286"/>
                  <a:pt x="354172" y="1161910"/>
                  <a:pt x="354172" y="1153888"/>
                </a:cubicBezTo>
                <a:cubicBezTo>
                  <a:pt x="354172" y="1146595"/>
                  <a:pt x="361176" y="1140032"/>
                  <a:pt x="368960" y="1140032"/>
                </a:cubicBezTo>
                <a:close/>
                <a:moveTo>
                  <a:pt x="297194" y="1140032"/>
                </a:moveTo>
                <a:cubicBezTo>
                  <a:pt x="305217" y="1140032"/>
                  <a:pt x="309592" y="1146595"/>
                  <a:pt x="309592" y="1153888"/>
                </a:cubicBezTo>
                <a:cubicBezTo>
                  <a:pt x="309592" y="1161910"/>
                  <a:pt x="305217" y="1166286"/>
                  <a:pt x="297194" y="1166286"/>
                </a:cubicBezTo>
                <a:cubicBezTo>
                  <a:pt x="289902" y="1166286"/>
                  <a:pt x="283339" y="1161910"/>
                  <a:pt x="283339" y="1153888"/>
                </a:cubicBezTo>
                <a:cubicBezTo>
                  <a:pt x="283339" y="1146595"/>
                  <a:pt x="289902" y="1140032"/>
                  <a:pt x="297194" y="1140032"/>
                </a:cubicBezTo>
                <a:close/>
                <a:moveTo>
                  <a:pt x="226366" y="1140032"/>
                </a:moveTo>
                <a:cubicBezTo>
                  <a:pt x="232201" y="1140032"/>
                  <a:pt x="238764" y="1146595"/>
                  <a:pt x="238764" y="1153888"/>
                </a:cubicBezTo>
                <a:cubicBezTo>
                  <a:pt x="238764" y="1161910"/>
                  <a:pt x="232201" y="1166286"/>
                  <a:pt x="226366" y="1166286"/>
                </a:cubicBezTo>
                <a:cubicBezTo>
                  <a:pt x="218344" y="1166286"/>
                  <a:pt x="212510" y="1161910"/>
                  <a:pt x="212510" y="1153888"/>
                </a:cubicBezTo>
                <a:cubicBezTo>
                  <a:pt x="212510" y="1146595"/>
                  <a:pt x="218344" y="1140032"/>
                  <a:pt x="226366" y="1140032"/>
                </a:cubicBezTo>
                <a:close/>
                <a:moveTo>
                  <a:pt x="155532" y="1140032"/>
                </a:moveTo>
                <a:cubicBezTo>
                  <a:pt x="161366" y="1140032"/>
                  <a:pt x="167930" y="1146595"/>
                  <a:pt x="167930" y="1153888"/>
                </a:cubicBezTo>
                <a:cubicBezTo>
                  <a:pt x="167930" y="1161910"/>
                  <a:pt x="161366" y="1166286"/>
                  <a:pt x="155532" y="1166286"/>
                </a:cubicBezTo>
                <a:cubicBezTo>
                  <a:pt x="147510" y="1166286"/>
                  <a:pt x="141676" y="1161910"/>
                  <a:pt x="141676" y="1153888"/>
                </a:cubicBezTo>
                <a:cubicBezTo>
                  <a:pt x="141676" y="1146595"/>
                  <a:pt x="147510" y="1140032"/>
                  <a:pt x="155532" y="1140032"/>
                </a:cubicBezTo>
                <a:close/>
                <a:moveTo>
                  <a:pt x="83244" y="1140032"/>
                </a:moveTo>
                <a:cubicBezTo>
                  <a:pt x="90536" y="1140032"/>
                  <a:pt x="97100" y="1146595"/>
                  <a:pt x="97100" y="1153888"/>
                </a:cubicBezTo>
                <a:cubicBezTo>
                  <a:pt x="97100" y="1161910"/>
                  <a:pt x="90536" y="1166286"/>
                  <a:pt x="83244" y="1166286"/>
                </a:cubicBezTo>
                <a:cubicBezTo>
                  <a:pt x="76680" y="1166286"/>
                  <a:pt x="70846" y="1161910"/>
                  <a:pt x="70846" y="1153888"/>
                </a:cubicBezTo>
                <a:cubicBezTo>
                  <a:pt x="70846" y="1146595"/>
                  <a:pt x="76680" y="1140032"/>
                  <a:pt x="83244" y="1140032"/>
                </a:cubicBezTo>
                <a:close/>
                <a:moveTo>
                  <a:pt x="12008" y="1140032"/>
                </a:moveTo>
                <a:cubicBezTo>
                  <a:pt x="20253" y="1140032"/>
                  <a:pt x="26249" y="1146595"/>
                  <a:pt x="26249" y="1153888"/>
                </a:cubicBezTo>
                <a:cubicBezTo>
                  <a:pt x="26249" y="1161910"/>
                  <a:pt x="20253" y="1166286"/>
                  <a:pt x="12008" y="1166286"/>
                </a:cubicBezTo>
                <a:cubicBezTo>
                  <a:pt x="4513" y="1166286"/>
                  <a:pt x="16" y="1161910"/>
                  <a:pt x="16" y="1153888"/>
                </a:cubicBezTo>
                <a:cubicBezTo>
                  <a:pt x="16" y="1146595"/>
                  <a:pt x="4513" y="1140032"/>
                  <a:pt x="12008" y="1140032"/>
                </a:cubicBezTo>
                <a:close/>
                <a:moveTo>
                  <a:pt x="6867525" y="1069203"/>
                </a:moveTo>
                <a:cubicBezTo>
                  <a:pt x="6874088" y="1069203"/>
                  <a:pt x="6879922" y="1075037"/>
                  <a:pt x="6879922" y="1081600"/>
                </a:cubicBezTo>
                <a:cubicBezTo>
                  <a:pt x="6879922" y="1088893"/>
                  <a:pt x="6874088" y="1095457"/>
                  <a:pt x="6867525" y="1095457"/>
                </a:cubicBezTo>
                <a:cubicBezTo>
                  <a:pt x="6860232" y="1095457"/>
                  <a:pt x="6853669" y="1088893"/>
                  <a:pt x="6853669" y="1081600"/>
                </a:cubicBezTo>
                <a:cubicBezTo>
                  <a:pt x="6853669" y="1075037"/>
                  <a:pt x="6860232" y="1069203"/>
                  <a:pt x="6867525" y="1069203"/>
                </a:cubicBezTo>
                <a:close/>
                <a:moveTo>
                  <a:pt x="6795237" y="1069203"/>
                </a:moveTo>
                <a:cubicBezTo>
                  <a:pt x="6803259" y="1069203"/>
                  <a:pt x="6809093" y="1075037"/>
                  <a:pt x="6809093" y="1081600"/>
                </a:cubicBezTo>
                <a:cubicBezTo>
                  <a:pt x="6809093" y="1088893"/>
                  <a:pt x="6803259" y="1095457"/>
                  <a:pt x="6796696" y="1095457"/>
                </a:cubicBezTo>
                <a:cubicBezTo>
                  <a:pt x="6789403" y="1095457"/>
                  <a:pt x="6782840" y="1088893"/>
                  <a:pt x="6782840" y="1081600"/>
                </a:cubicBezTo>
                <a:cubicBezTo>
                  <a:pt x="6782840" y="1075037"/>
                  <a:pt x="6789403" y="1069203"/>
                  <a:pt x="6795237" y="1069203"/>
                </a:cubicBezTo>
                <a:close/>
                <a:moveTo>
                  <a:pt x="6724405" y="1069203"/>
                </a:moveTo>
                <a:cubicBezTo>
                  <a:pt x="6732427" y="1069203"/>
                  <a:pt x="6738261" y="1075037"/>
                  <a:pt x="6738261" y="1081600"/>
                </a:cubicBezTo>
                <a:cubicBezTo>
                  <a:pt x="6738261" y="1088893"/>
                  <a:pt x="6732427" y="1095457"/>
                  <a:pt x="6724405" y="1095457"/>
                </a:cubicBezTo>
                <a:cubicBezTo>
                  <a:pt x="6718571" y="1095457"/>
                  <a:pt x="6712008" y="1088893"/>
                  <a:pt x="6712008" y="1081600"/>
                </a:cubicBezTo>
                <a:cubicBezTo>
                  <a:pt x="6712008" y="1075037"/>
                  <a:pt x="6718571" y="1069203"/>
                  <a:pt x="6724405" y="1069203"/>
                </a:cubicBezTo>
                <a:close/>
                <a:moveTo>
                  <a:pt x="6653576" y="1069203"/>
                </a:moveTo>
                <a:cubicBezTo>
                  <a:pt x="6660869" y="1069203"/>
                  <a:pt x="6667432" y="1075037"/>
                  <a:pt x="6667432" y="1081600"/>
                </a:cubicBezTo>
                <a:cubicBezTo>
                  <a:pt x="6667432" y="1088893"/>
                  <a:pt x="6660869" y="1095457"/>
                  <a:pt x="6653576" y="1095457"/>
                </a:cubicBezTo>
                <a:cubicBezTo>
                  <a:pt x="6645554" y="1095457"/>
                  <a:pt x="6641179" y="1088893"/>
                  <a:pt x="6641179" y="1081600"/>
                </a:cubicBezTo>
                <a:cubicBezTo>
                  <a:pt x="6641179" y="1075037"/>
                  <a:pt x="6645554" y="1069203"/>
                  <a:pt x="6653576" y="1069203"/>
                </a:cubicBezTo>
                <a:close/>
                <a:moveTo>
                  <a:pt x="6581764" y="1069203"/>
                </a:moveTo>
                <a:cubicBezTo>
                  <a:pt x="6589547" y="1069203"/>
                  <a:pt x="6596552" y="1075037"/>
                  <a:pt x="6596552" y="1081600"/>
                </a:cubicBezTo>
                <a:cubicBezTo>
                  <a:pt x="6596552" y="1088893"/>
                  <a:pt x="6589547" y="1095457"/>
                  <a:pt x="6581764" y="1095457"/>
                </a:cubicBezTo>
                <a:cubicBezTo>
                  <a:pt x="6573202" y="1095457"/>
                  <a:pt x="6566976" y="1088893"/>
                  <a:pt x="6566976" y="1081600"/>
                </a:cubicBezTo>
                <a:cubicBezTo>
                  <a:pt x="6566976" y="1075037"/>
                  <a:pt x="6573202" y="1069203"/>
                  <a:pt x="6581764" y="1069203"/>
                </a:cubicBezTo>
                <a:close/>
                <a:moveTo>
                  <a:pt x="6510933" y="1069203"/>
                </a:moveTo>
                <a:cubicBezTo>
                  <a:pt x="6518717" y="1069203"/>
                  <a:pt x="6525722" y="1075037"/>
                  <a:pt x="6525722" y="1081600"/>
                </a:cubicBezTo>
                <a:cubicBezTo>
                  <a:pt x="6525722" y="1088893"/>
                  <a:pt x="6518717" y="1095457"/>
                  <a:pt x="6510933" y="1095457"/>
                </a:cubicBezTo>
                <a:cubicBezTo>
                  <a:pt x="6502371" y="1095457"/>
                  <a:pt x="6496144" y="1088893"/>
                  <a:pt x="6496144" y="1081600"/>
                </a:cubicBezTo>
                <a:cubicBezTo>
                  <a:pt x="6496144" y="1075037"/>
                  <a:pt x="6502371" y="1069203"/>
                  <a:pt x="6510933" y="1069203"/>
                </a:cubicBezTo>
                <a:close/>
                <a:moveTo>
                  <a:pt x="6440492" y="1069203"/>
                </a:moveTo>
                <a:cubicBezTo>
                  <a:pt x="6448081" y="1069203"/>
                  <a:pt x="6454911" y="1075037"/>
                  <a:pt x="6454911" y="1081600"/>
                </a:cubicBezTo>
                <a:cubicBezTo>
                  <a:pt x="6454911" y="1088893"/>
                  <a:pt x="6448081" y="1095457"/>
                  <a:pt x="6440492" y="1095457"/>
                </a:cubicBezTo>
                <a:cubicBezTo>
                  <a:pt x="6432145" y="1095457"/>
                  <a:pt x="6425315" y="1088893"/>
                  <a:pt x="6425315" y="1081600"/>
                </a:cubicBezTo>
                <a:cubicBezTo>
                  <a:pt x="6425315" y="1075037"/>
                  <a:pt x="6432145" y="1069203"/>
                  <a:pt x="6440492" y="1069203"/>
                </a:cubicBezTo>
                <a:close/>
                <a:moveTo>
                  <a:pt x="6368340" y="1069203"/>
                </a:moveTo>
                <a:cubicBezTo>
                  <a:pt x="6376362" y="1069203"/>
                  <a:pt x="6380737" y="1075037"/>
                  <a:pt x="6380737" y="1081600"/>
                </a:cubicBezTo>
                <a:cubicBezTo>
                  <a:pt x="6380737" y="1088893"/>
                  <a:pt x="6376362" y="1095457"/>
                  <a:pt x="6368340" y="1095457"/>
                </a:cubicBezTo>
                <a:cubicBezTo>
                  <a:pt x="6361047" y="1095457"/>
                  <a:pt x="6354484" y="1088893"/>
                  <a:pt x="6354484" y="1081600"/>
                </a:cubicBezTo>
                <a:cubicBezTo>
                  <a:pt x="6354484" y="1075037"/>
                  <a:pt x="6361047" y="1069203"/>
                  <a:pt x="6368340" y="1069203"/>
                </a:cubicBezTo>
                <a:close/>
                <a:moveTo>
                  <a:pt x="6297511" y="1069203"/>
                </a:moveTo>
                <a:cubicBezTo>
                  <a:pt x="6304074" y="1069203"/>
                  <a:pt x="6309908" y="1075037"/>
                  <a:pt x="6309908" y="1081600"/>
                </a:cubicBezTo>
                <a:cubicBezTo>
                  <a:pt x="6309908" y="1088893"/>
                  <a:pt x="6304074" y="1095457"/>
                  <a:pt x="6297511" y="1095457"/>
                </a:cubicBezTo>
                <a:cubicBezTo>
                  <a:pt x="6290218" y="1095457"/>
                  <a:pt x="6283655" y="1088893"/>
                  <a:pt x="6283655" y="1081600"/>
                </a:cubicBezTo>
                <a:cubicBezTo>
                  <a:pt x="6283655" y="1075037"/>
                  <a:pt x="6290218" y="1069203"/>
                  <a:pt x="6297511" y="1069203"/>
                </a:cubicBezTo>
                <a:close/>
                <a:moveTo>
                  <a:pt x="6226679" y="1069203"/>
                </a:moveTo>
                <a:cubicBezTo>
                  <a:pt x="6233242" y="1069203"/>
                  <a:pt x="6239076" y="1075037"/>
                  <a:pt x="6239076" y="1081600"/>
                </a:cubicBezTo>
                <a:cubicBezTo>
                  <a:pt x="6239076" y="1088893"/>
                  <a:pt x="6233242" y="1095457"/>
                  <a:pt x="6226679" y="1095457"/>
                </a:cubicBezTo>
                <a:cubicBezTo>
                  <a:pt x="6219386" y="1095457"/>
                  <a:pt x="6212823" y="1088893"/>
                  <a:pt x="6212823" y="1083059"/>
                </a:cubicBezTo>
                <a:cubicBezTo>
                  <a:pt x="6212823" y="1075037"/>
                  <a:pt x="6219386" y="1069203"/>
                  <a:pt x="6226679" y="1069203"/>
                </a:cubicBezTo>
                <a:close/>
                <a:moveTo>
                  <a:pt x="6154391" y="1069203"/>
                </a:moveTo>
                <a:cubicBezTo>
                  <a:pt x="6161684" y="1069203"/>
                  <a:pt x="6168247" y="1075037"/>
                  <a:pt x="6168247" y="1083059"/>
                </a:cubicBezTo>
                <a:cubicBezTo>
                  <a:pt x="6168247" y="1088893"/>
                  <a:pt x="6161684" y="1095457"/>
                  <a:pt x="6154391" y="1095457"/>
                </a:cubicBezTo>
                <a:cubicBezTo>
                  <a:pt x="6147828" y="1095457"/>
                  <a:pt x="6141994" y="1088893"/>
                  <a:pt x="6141994" y="1083059"/>
                </a:cubicBezTo>
                <a:cubicBezTo>
                  <a:pt x="6141994" y="1075037"/>
                  <a:pt x="6147828" y="1069203"/>
                  <a:pt x="6154391" y="1069203"/>
                </a:cubicBezTo>
                <a:close/>
                <a:moveTo>
                  <a:pt x="6083559" y="1069203"/>
                </a:moveTo>
                <a:cubicBezTo>
                  <a:pt x="6090852" y="1069203"/>
                  <a:pt x="6097415" y="1075037"/>
                  <a:pt x="6097415" y="1083059"/>
                </a:cubicBezTo>
                <a:cubicBezTo>
                  <a:pt x="6097415" y="1088893"/>
                  <a:pt x="6090852" y="1095457"/>
                  <a:pt x="6083559" y="1095457"/>
                </a:cubicBezTo>
                <a:cubicBezTo>
                  <a:pt x="6076996" y="1095457"/>
                  <a:pt x="6071162" y="1088893"/>
                  <a:pt x="6071162" y="1083059"/>
                </a:cubicBezTo>
                <a:cubicBezTo>
                  <a:pt x="6071162" y="1075037"/>
                  <a:pt x="6076996" y="1069203"/>
                  <a:pt x="6083559" y="1069203"/>
                </a:cubicBezTo>
                <a:close/>
                <a:moveTo>
                  <a:pt x="6009356" y="1069203"/>
                </a:moveTo>
                <a:cubicBezTo>
                  <a:pt x="6016649" y="1069203"/>
                  <a:pt x="6023212" y="1075037"/>
                  <a:pt x="6023212" y="1083059"/>
                </a:cubicBezTo>
                <a:cubicBezTo>
                  <a:pt x="6023212" y="1088893"/>
                  <a:pt x="6016649" y="1095457"/>
                  <a:pt x="6009356" y="1095457"/>
                </a:cubicBezTo>
                <a:cubicBezTo>
                  <a:pt x="6001334" y="1095457"/>
                  <a:pt x="5996959" y="1088893"/>
                  <a:pt x="5996959" y="1083059"/>
                </a:cubicBezTo>
                <a:cubicBezTo>
                  <a:pt x="5996959" y="1075037"/>
                  <a:pt x="6001334" y="1069203"/>
                  <a:pt x="6009356" y="1069203"/>
                </a:cubicBezTo>
                <a:close/>
                <a:moveTo>
                  <a:pt x="5940548" y="1069203"/>
                </a:moveTo>
                <a:cubicBezTo>
                  <a:pt x="5948896" y="1069203"/>
                  <a:pt x="5955726" y="1075037"/>
                  <a:pt x="5955726" y="1083059"/>
                </a:cubicBezTo>
                <a:cubicBezTo>
                  <a:pt x="5955726" y="1088893"/>
                  <a:pt x="5948896" y="1095457"/>
                  <a:pt x="5940548" y="1095457"/>
                </a:cubicBezTo>
                <a:cubicBezTo>
                  <a:pt x="5932960" y="1095457"/>
                  <a:pt x="5926130" y="1088893"/>
                  <a:pt x="5926130" y="1083059"/>
                </a:cubicBezTo>
                <a:cubicBezTo>
                  <a:pt x="5926130" y="1075037"/>
                  <a:pt x="5932960" y="1069203"/>
                  <a:pt x="5940548" y="1069203"/>
                </a:cubicBezTo>
                <a:close/>
                <a:moveTo>
                  <a:pt x="5870088" y="1069203"/>
                </a:moveTo>
                <a:cubicBezTo>
                  <a:pt x="5878650" y="1069203"/>
                  <a:pt x="5884877" y="1075037"/>
                  <a:pt x="5884877" y="1083059"/>
                </a:cubicBezTo>
                <a:cubicBezTo>
                  <a:pt x="5884877" y="1088893"/>
                  <a:pt x="5878650" y="1095457"/>
                  <a:pt x="5870088" y="1095457"/>
                </a:cubicBezTo>
                <a:cubicBezTo>
                  <a:pt x="5862304" y="1095457"/>
                  <a:pt x="5855299" y="1088893"/>
                  <a:pt x="5855299" y="1083059"/>
                </a:cubicBezTo>
                <a:cubicBezTo>
                  <a:pt x="5855299" y="1075037"/>
                  <a:pt x="5862304" y="1069203"/>
                  <a:pt x="5870088" y="1069203"/>
                </a:cubicBezTo>
                <a:close/>
                <a:moveTo>
                  <a:pt x="5799257" y="1069203"/>
                </a:moveTo>
                <a:cubicBezTo>
                  <a:pt x="5807819" y="1069203"/>
                  <a:pt x="5814045" y="1075037"/>
                  <a:pt x="5814045" y="1083059"/>
                </a:cubicBezTo>
                <a:cubicBezTo>
                  <a:pt x="5814045" y="1088893"/>
                  <a:pt x="5807819" y="1095457"/>
                  <a:pt x="5799257" y="1095457"/>
                </a:cubicBezTo>
                <a:cubicBezTo>
                  <a:pt x="5791474" y="1095457"/>
                  <a:pt x="5784469" y="1088893"/>
                  <a:pt x="5784469" y="1083059"/>
                </a:cubicBezTo>
                <a:cubicBezTo>
                  <a:pt x="5784469" y="1075037"/>
                  <a:pt x="5791474" y="1069203"/>
                  <a:pt x="5799257" y="1069203"/>
                </a:cubicBezTo>
                <a:close/>
                <a:moveTo>
                  <a:pt x="5724122" y="1069203"/>
                </a:moveTo>
                <a:cubicBezTo>
                  <a:pt x="5732144" y="1069203"/>
                  <a:pt x="5736519" y="1075037"/>
                  <a:pt x="5736519" y="1083059"/>
                </a:cubicBezTo>
                <a:cubicBezTo>
                  <a:pt x="5736519" y="1088893"/>
                  <a:pt x="5732144" y="1095457"/>
                  <a:pt x="5724122" y="1095457"/>
                </a:cubicBezTo>
                <a:cubicBezTo>
                  <a:pt x="5716100" y="1095457"/>
                  <a:pt x="5710266" y="1088893"/>
                  <a:pt x="5710266" y="1083059"/>
                </a:cubicBezTo>
                <a:cubicBezTo>
                  <a:pt x="5710266" y="1075037"/>
                  <a:pt x="5716100" y="1069203"/>
                  <a:pt x="5724122" y="1069203"/>
                </a:cubicBezTo>
                <a:close/>
                <a:moveTo>
                  <a:pt x="5653291" y="1069203"/>
                </a:moveTo>
                <a:cubicBezTo>
                  <a:pt x="5659125" y="1069203"/>
                  <a:pt x="5665688" y="1075037"/>
                  <a:pt x="5665688" y="1083059"/>
                </a:cubicBezTo>
                <a:cubicBezTo>
                  <a:pt x="5665688" y="1088893"/>
                  <a:pt x="5659125" y="1095457"/>
                  <a:pt x="5653291" y="1095457"/>
                </a:cubicBezTo>
                <a:cubicBezTo>
                  <a:pt x="5645269" y="1095457"/>
                  <a:pt x="5639435" y="1088893"/>
                  <a:pt x="5639435" y="1083059"/>
                </a:cubicBezTo>
                <a:cubicBezTo>
                  <a:pt x="5639435" y="1075037"/>
                  <a:pt x="5645269" y="1069203"/>
                  <a:pt x="5653291" y="1069203"/>
                </a:cubicBezTo>
                <a:close/>
                <a:moveTo>
                  <a:pt x="5581002" y="1069203"/>
                </a:moveTo>
                <a:cubicBezTo>
                  <a:pt x="5588295" y="1069203"/>
                  <a:pt x="5594858" y="1075037"/>
                  <a:pt x="5594858" y="1083059"/>
                </a:cubicBezTo>
                <a:cubicBezTo>
                  <a:pt x="5594858" y="1088893"/>
                  <a:pt x="5588295" y="1095457"/>
                  <a:pt x="5581002" y="1095457"/>
                </a:cubicBezTo>
                <a:cubicBezTo>
                  <a:pt x="5574439" y="1095457"/>
                  <a:pt x="5568605" y="1088893"/>
                  <a:pt x="5568605" y="1083059"/>
                </a:cubicBezTo>
                <a:cubicBezTo>
                  <a:pt x="5568605" y="1075037"/>
                  <a:pt x="5574439" y="1069203"/>
                  <a:pt x="5581002" y="1069203"/>
                </a:cubicBezTo>
                <a:close/>
                <a:moveTo>
                  <a:pt x="5510171" y="1069203"/>
                </a:moveTo>
                <a:cubicBezTo>
                  <a:pt x="5517464" y="1069203"/>
                  <a:pt x="5524027" y="1075037"/>
                  <a:pt x="5524027" y="1083059"/>
                </a:cubicBezTo>
                <a:cubicBezTo>
                  <a:pt x="5524027" y="1088893"/>
                  <a:pt x="5517464" y="1095457"/>
                  <a:pt x="5510171" y="1095457"/>
                </a:cubicBezTo>
                <a:cubicBezTo>
                  <a:pt x="5503608" y="1095457"/>
                  <a:pt x="5497774" y="1088893"/>
                  <a:pt x="5497774" y="1083059"/>
                </a:cubicBezTo>
                <a:cubicBezTo>
                  <a:pt x="5497774" y="1075037"/>
                  <a:pt x="5503608" y="1069203"/>
                  <a:pt x="5510171" y="1069203"/>
                </a:cubicBezTo>
                <a:close/>
                <a:moveTo>
                  <a:pt x="5438937" y="1069203"/>
                </a:moveTo>
                <a:cubicBezTo>
                  <a:pt x="5447182" y="1069203"/>
                  <a:pt x="5453178" y="1075037"/>
                  <a:pt x="5453178" y="1083059"/>
                </a:cubicBezTo>
                <a:cubicBezTo>
                  <a:pt x="5453178" y="1088893"/>
                  <a:pt x="5447182" y="1095457"/>
                  <a:pt x="5438937" y="1095457"/>
                </a:cubicBezTo>
                <a:cubicBezTo>
                  <a:pt x="5431442" y="1095457"/>
                  <a:pt x="5426945" y="1088893"/>
                  <a:pt x="5426945" y="1083059"/>
                </a:cubicBezTo>
                <a:cubicBezTo>
                  <a:pt x="5426945" y="1075037"/>
                  <a:pt x="5431442" y="1069203"/>
                  <a:pt x="5438937" y="1069203"/>
                </a:cubicBezTo>
                <a:close/>
                <a:moveTo>
                  <a:pt x="5367530" y="1069203"/>
                </a:moveTo>
                <a:cubicBezTo>
                  <a:pt x="5376092" y="1069203"/>
                  <a:pt x="5382318" y="1075037"/>
                  <a:pt x="5382318" y="1083059"/>
                </a:cubicBezTo>
                <a:cubicBezTo>
                  <a:pt x="5382318" y="1088893"/>
                  <a:pt x="5376092" y="1095457"/>
                  <a:pt x="5367530" y="1095457"/>
                </a:cubicBezTo>
                <a:cubicBezTo>
                  <a:pt x="5359747" y="1095457"/>
                  <a:pt x="5352742" y="1088893"/>
                  <a:pt x="5352742" y="1083059"/>
                </a:cubicBezTo>
                <a:cubicBezTo>
                  <a:pt x="5352742" y="1075037"/>
                  <a:pt x="5359747" y="1069203"/>
                  <a:pt x="5367530" y="1069203"/>
                </a:cubicBezTo>
                <a:close/>
                <a:moveTo>
                  <a:pt x="5296699" y="1069203"/>
                </a:moveTo>
                <a:cubicBezTo>
                  <a:pt x="5305261" y="1069203"/>
                  <a:pt x="5311488" y="1075037"/>
                  <a:pt x="5311488" y="1083059"/>
                </a:cubicBezTo>
                <a:cubicBezTo>
                  <a:pt x="5311488" y="1088893"/>
                  <a:pt x="5305261" y="1095457"/>
                  <a:pt x="5296699" y="1095457"/>
                </a:cubicBezTo>
                <a:cubicBezTo>
                  <a:pt x="5288915" y="1095457"/>
                  <a:pt x="5281910" y="1088893"/>
                  <a:pt x="5281910" y="1083059"/>
                </a:cubicBezTo>
                <a:cubicBezTo>
                  <a:pt x="5281910" y="1075037"/>
                  <a:pt x="5288915" y="1069203"/>
                  <a:pt x="5296699" y="1069203"/>
                </a:cubicBezTo>
                <a:close/>
                <a:moveTo>
                  <a:pt x="5225869" y="1069203"/>
                </a:moveTo>
                <a:cubicBezTo>
                  <a:pt x="5234431" y="1069203"/>
                  <a:pt x="5240657" y="1075037"/>
                  <a:pt x="5240657" y="1083059"/>
                </a:cubicBezTo>
                <a:cubicBezTo>
                  <a:pt x="5240657" y="1088893"/>
                  <a:pt x="5234431" y="1095457"/>
                  <a:pt x="5225869" y="1095457"/>
                </a:cubicBezTo>
                <a:cubicBezTo>
                  <a:pt x="5217307" y="1095457"/>
                  <a:pt x="5211081" y="1088893"/>
                  <a:pt x="5211081" y="1083059"/>
                </a:cubicBezTo>
                <a:cubicBezTo>
                  <a:pt x="5211081" y="1075037"/>
                  <a:pt x="5217307" y="1069203"/>
                  <a:pt x="5225869" y="1069203"/>
                </a:cubicBezTo>
                <a:close/>
                <a:moveTo>
                  <a:pt x="5154105" y="1069203"/>
                </a:moveTo>
                <a:cubicBezTo>
                  <a:pt x="5162127" y="1069203"/>
                  <a:pt x="5166502" y="1075037"/>
                  <a:pt x="5166502" y="1083059"/>
                </a:cubicBezTo>
                <a:cubicBezTo>
                  <a:pt x="5166502" y="1091081"/>
                  <a:pt x="5162127" y="1095457"/>
                  <a:pt x="5154105" y="1095457"/>
                </a:cubicBezTo>
                <a:cubicBezTo>
                  <a:pt x="5146083" y="1095457"/>
                  <a:pt x="5140249" y="1091081"/>
                  <a:pt x="5140249" y="1083059"/>
                </a:cubicBezTo>
                <a:cubicBezTo>
                  <a:pt x="5140249" y="1075037"/>
                  <a:pt x="5146083" y="1069203"/>
                  <a:pt x="5154105" y="1069203"/>
                </a:cubicBezTo>
                <a:close/>
                <a:moveTo>
                  <a:pt x="5083276" y="1069203"/>
                </a:moveTo>
                <a:cubicBezTo>
                  <a:pt x="5089110" y="1069203"/>
                  <a:pt x="5095673" y="1075037"/>
                  <a:pt x="5095673" y="1083059"/>
                </a:cubicBezTo>
                <a:cubicBezTo>
                  <a:pt x="5095673" y="1091081"/>
                  <a:pt x="5089110" y="1095457"/>
                  <a:pt x="5083276" y="1095457"/>
                </a:cubicBezTo>
                <a:cubicBezTo>
                  <a:pt x="5075254" y="1095457"/>
                  <a:pt x="5069420" y="1091081"/>
                  <a:pt x="5069420" y="1083059"/>
                </a:cubicBezTo>
                <a:cubicBezTo>
                  <a:pt x="5069420" y="1075037"/>
                  <a:pt x="5075254" y="1069203"/>
                  <a:pt x="5083276" y="1069203"/>
                </a:cubicBezTo>
                <a:close/>
                <a:moveTo>
                  <a:pt x="5012445" y="1069203"/>
                </a:moveTo>
                <a:cubicBezTo>
                  <a:pt x="5018279" y="1069203"/>
                  <a:pt x="5024842" y="1075037"/>
                  <a:pt x="5024842" y="1083059"/>
                </a:cubicBezTo>
                <a:cubicBezTo>
                  <a:pt x="5024842" y="1091081"/>
                  <a:pt x="5018279" y="1095457"/>
                  <a:pt x="5012445" y="1095457"/>
                </a:cubicBezTo>
                <a:cubicBezTo>
                  <a:pt x="5004423" y="1095457"/>
                  <a:pt x="4998589" y="1091081"/>
                  <a:pt x="4998589" y="1083059"/>
                </a:cubicBezTo>
                <a:cubicBezTo>
                  <a:pt x="4998589" y="1075037"/>
                  <a:pt x="5004423" y="1069203"/>
                  <a:pt x="5012445" y="1069203"/>
                </a:cubicBezTo>
                <a:close/>
                <a:moveTo>
                  <a:pt x="4940157" y="1069203"/>
                </a:moveTo>
                <a:cubicBezTo>
                  <a:pt x="4948179" y="1069203"/>
                  <a:pt x="4954013" y="1075037"/>
                  <a:pt x="4954013" y="1083059"/>
                </a:cubicBezTo>
                <a:cubicBezTo>
                  <a:pt x="4954013" y="1091081"/>
                  <a:pt x="4948179" y="1095457"/>
                  <a:pt x="4940157" y="1095457"/>
                </a:cubicBezTo>
                <a:cubicBezTo>
                  <a:pt x="4934323" y="1095457"/>
                  <a:pt x="4927760" y="1091081"/>
                  <a:pt x="4927760" y="1083059"/>
                </a:cubicBezTo>
                <a:cubicBezTo>
                  <a:pt x="4927760" y="1075037"/>
                  <a:pt x="4934323" y="1069203"/>
                  <a:pt x="4940157" y="1069203"/>
                </a:cubicBezTo>
                <a:close/>
                <a:moveTo>
                  <a:pt x="4865953" y="1069203"/>
                </a:moveTo>
                <a:cubicBezTo>
                  <a:pt x="4873975" y="1069203"/>
                  <a:pt x="4879809" y="1075037"/>
                  <a:pt x="4879809" y="1083059"/>
                </a:cubicBezTo>
                <a:cubicBezTo>
                  <a:pt x="4879809" y="1091081"/>
                  <a:pt x="4873975" y="1095457"/>
                  <a:pt x="4865953" y="1095457"/>
                </a:cubicBezTo>
                <a:cubicBezTo>
                  <a:pt x="4860119" y="1095457"/>
                  <a:pt x="4853556" y="1091081"/>
                  <a:pt x="4853556" y="1083059"/>
                </a:cubicBezTo>
                <a:cubicBezTo>
                  <a:pt x="4853556" y="1075037"/>
                  <a:pt x="4860119" y="1069203"/>
                  <a:pt x="4865953" y="1069203"/>
                </a:cubicBezTo>
                <a:close/>
                <a:moveTo>
                  <a:pt x="4795122" y="1069203"/>
                </a:moveTo>
                <a:cubicBezTo>
                  <a:pt x="4803144" y="1069203"/>
                  <a:pt x="4808978" y="1075037"/>
                  <a:pt x="4808978" y="1083059"/>
                </a:cubicBezTo>
                <a:cubicBezTo>
                  <a:pt x="4808978" y="1091081"/>
                  <a:pt x="4803144" y="1095457"/>
                  <a:pt x="4795122" y="1095457"/>
                </a:cubicBezTo>
                <a:cubicBezTo>
                  <a:pt x="4787830" y="1095457"/>
                  <a:pt x="4782725" y="1091081"/>
                  <a:pt x="4782725" y="1083059"/>
                </a:cubicBezTo>
                <a:cubicBezTo>
                  <a:pt x="4782725" y="1075037"/>
                  <a:pt x="4787830" y="1069203"/>
                  <a:pt x="4795122" y="1069203"/>
                </a:cubicBezTo>
                <a:close/>
                <a:moveTo>
                  <a:pt x="4726684" y="1069203"/>
                </a:moveTo>
                <a:cubicBezTo>
                  <a:pt x="4735246" y="1069203"/>
                  <a:pt x="4741472" y="1075037"/>
                  <a:pt x="4741472" y="1083059"/>
                </a:cubicBezTo>
                <a:cubicBezTo>
                  <a:pt x="4741472" y="1091081"/>
                  <a:pt x="4735246" y="1095457"/>
                  <a:pt x="4726684" y="1095457"/>
                </a:cubicBezTo>
                <a:cubicBezTo>
                  <a:pt x="4718122" y="1095457"/>
                  <a:pt x="4711896" y="1091081"/>
                  <a:pt x="4711896" y="1083059"/>
                </a:cubicBezTo>
                <a:cubicBezTo>
                  <a:pt x="4711896" y="1075037"/>
                  <a:pt x="4718122" y="1069203"/>
                  <a:pt x="4726684" y="1069203"/>
                </a:cubicBezTo>
                <a:close/>
                <a:moveTo>
                  <a:pt x="4655853" y="1069203"/>
                </a:moveTo>
                <a:cubicBezTo>
                  <a:pt x="4663637" y="1069203"/>
                  <a:pt x="4670642" y="1075037"/>
                  <a:pt x="4670642" y="1083059"/>
                </a:cubicBezTo>
                <a:cubicBezTo>
                  <a:pt x="4670642" y="1091081"/>
                  <a:pt x="4663637" y="1095457"/>
                  <a:pt x="4655853" y="1095457"/>
                </a:cubicBezTo>
                <a:cubicBezTo>
                  <a:pt x="4647291" y="1095457"/>
                  <a:pt x="4641064" y="1091081"/>
                  <a:pt x="4641064" y="1083059"/>
                </a:cubicBezTo>
                <a:cubicBezTo>
                  <a:pt x="4641064" y="1075037"/>
                  <a:pt x="4647291" y="1069203"/>
                  <a:pt x="4655853" y="1069203"/>
                </a:cubicBezTo>
                <a:close/>
                <a:moveTo>
                  <a:pt x="4585023" y="1069203"/>
                </a:moveTo>
                <a:cubicBezTo>
                  <a:pt x="4592806" y="1069203"/>
                  <a:pt x="4599811" y="1075037"/>
                  <a:pt x="4599811" y="1083059"/>
                </a:cubicBezTo>
                <a:cubicBezTo>
                  <a:pt x="4599811" y="1091081"/>
                  <a:pt x="4592806" y="1095457"/>
                  <a:pt x="4585023" y="1095457"/>
                </a:cubicBezTo>
                <a:cubicBezTo>
                  <a:pt x="4576461" y="1095457"/>
                  <a:pt x="4570235" y="1091081"/>
                  <a:pt x="4570235" y="1083059"/>
                </a:cubicBezTo>
                <a:cubicBezTo>
                  <a:pt x="4570235" y="1075037"/>
                  <a:pt x="4576461" y="1069203"/>
                  <a:pt x="4585023" y="1069203"/>
                </a:cubicBezTo>
                <a:close/>
                <a:moveTo>
                  <a:pt x="4513260" y="1069203"/>
                </a:moveTo>
                <a:cubicBezTo>
                  <a:pt x="4519094" y="1069203"/>
                  <a:pt x="4525657" y="1075430"/>
                  <a:pt x="4525657" y="1083991"/>
                </a:cubicBezTo>
                <a:cubicBezTo>
                  <a:pt x="4525657" y="1092553"/>
                  <a:pt x="4519094" y="1098780"/>
                  <a:pt x="4513260" y="1098780"/>
                </a:cubicBezTo>
                <a:cubicBezTo>
                  <a:pt x="4505238" y="1098780"/>
                  <a:pt x="4499404" y="1092553"/>
                  <a:pt x="4499404" y="1083991"/>
                </a:cubicBezTo>
                <a:cubicBezTo>
                  <a:pt x="4499404" y="1075430"/>
                  <a:pt x="4505238" y="1069203"/>
                  <a:pt x="4513260" y="1069203"/>
                </a:cubicBezTo>
                <a:close/>
                <a:moveTo>
                  <a:pt x="4439056" y="1069203"/>
                </a:moveTo>
                <a:cubicBezTo>
                  <a:pt x="4445619" y="1069203"/>
                  <a:pt x="4451453" y="1075430"/>
                  <a:pt x="4451453" y="1083991"/>
                </a:cubicBezTo>
                <a:cubicBezTo>
                  <a:pt x="4451453" y="1092553"/>
                  <a:pt x="4445619" y="1098780"/>
                  <a:pt x="4439056" y="1098780"/>
                </a:cubicBezTo>
                <a:cubicBezTo>
                  <a:pt x="4431763" y="1098780"/>
                  <a:pt x="4425200" y="1092553"/>
                  <a:pt x="4425200" y="1083991"/>
                </a:cubicBezTo>
                <a:cubicBezTo>
                  <a:pt x="4425200" y="1075430"/>
                  <a:pt x="4431763" y="1069203"/>
                  <a:pt x="4439056" y="1069203"/>
                </a:cubicBezTo>
                <a:close/>
                <a:moveTo>
                  <a:pt x="4366768" y="1069203"/>
                </a:moveTo>
                <a:cubicBezTo>
                  <a:pt x="4374790" y="1069203"/>
                  <a:pt x="4380624" y="1075430"/>
                  <a:pt x="4380624" y="1083991"/>
                </a:cubicBezTo>
                <a:cubicBezTo>
                  <a:pt x="4380624" y="1092553"/>
                  <a:pt x="4374790" y="1098780"/>
                  <a:pt x="4366768" y="1098780"/>
                </a:cubicBezTo>
                <a:cubicBezTo>
                  <a:pt x="4360934" y="1098780"/>
                  <a:pt x="4354371" y="1092553"/>
                  <a:pt x="4354371" y="1083991"/>
                </a:cubicBezTo>
                <a:cubicBezTo>
                  <a:pt x="4354371" y="1075430"/>
                  <a:pt x="4360934" y="1069203"/>
                  <a:pt x="4366768" y="1069203"/>
                </a:cubicBezTo>
                <a:close/>
                <a:moveTo>
                  <a:pt x="4295937" y="1069203"/>
                </a:moveTo>
                <a:cubicBezTo>
                  <a:pt x="4303959" y="1069203"/>
                  <a:pt x="4309793" y="1075430"/>
                  <a:pt x="4309793" y="1083991"/>
                </a:cubicBezTo>
                <a:cubicBezTo>
                  <a:pt x="4309793" y="1092553"/>
                  <a:pt x="4303959" y="1098780"/>
                  <a:pt x="4295937" y="1098780"/>
                </a:cubicBezTo>
                <a:cubicBezTo>
                  <a:pt x="4290103" y="1098780"/>
                  <a:pt x="4283540" y="1092553"/>
                  <a:pt x="4283540" y="1083991"/>
                </a:cubicBezTo>
                <a:cubicBezTo>
                  <a:pt x="4283540" y="1075430"/>
                  <a:pt x="4290103" y="1069203"/>
                  <a:pt x="4295937" y="1069203"/>
                </a:cubicBezTo>
                <a:close/>
                <a:moveTo>
                  <a:pt x="4225107" y="1069203"/>
                </a:moveTo>
                <a:cubicBezTo>
                  <a:pt x="4233129" y="1069203"/>
                  <a:pt x="4238963" y="1075430"/>
                  <a:pt x="4238963" y="1083991"/>
                </a:cubicBezTo>
                <a:cubicBezTo>
                  <a:pt x="4238963" y="1092553"/>
                  <a:pt x="4233129" y="1098780"/>
                  <a:pt x="4225107" y="1098780"/>
                </a:cubicBezTo>
                <a:cubicBezTo>
                  <a:pt x="4217085" y="1098780"/>
                  <a:pt x="4212710" y="1092553"/>
                  <a:pt x="4212710" y="1083991"/>
                </a:cubicBezTo>
                <a:cubicBezTo>
                  <a:pt x="4212710" y="1075430"/>
                  <a:pt x="4217085" y="1069203"/>
                  <a:pt x="4225107" y="1069203"/>
                </a:cubicBezTo>
                <a:close/>
                <a:moveTo>
                  <a:pt x="4153295" y="1069203"/>
                </a:moveTo>
                <a:cubicBezTo>
                  <a:pt x="4161078" y="1069203"/>
                  <a:pt x="4168083" y="1075430"/>
                  <a:pt x="4168083" y="1083991"/>
                </a:cubicBezTo>
                <a:cubicBezTo>
                  <a:pt x="4168083" y="1092553"/>
                  <a:pt x="4161078" y="1098780"/>
                  <a:pt x="4153295" y="1098780"/>
                </a:cubicBezTo>
                <a:cubicBezTo>
                  <a:pt x="4144733" y="1098780"/>
                  <a:pt x="4138507" y="1092553"/>
                  <a:pt x="4138507" y="1083991"/>
                </a:cubicBezTo>
                <a:cubicBezTo>
                  <a:pt x="4138507" y="1075430"/>
                  <a:pt x="4144733" y="1069203"/>
                  <a:pt x="4153295" y="1069203"/>
                </a:cubicBezTo>
                <a:close/>
                <a:moveTo>
                  <a:pt x="4082465" y="1069203"/>
                </a:moveTo>
                <a:cubicBezTo>
                  <a:pt x="4090249" y="1069203"/>
                  <a:pt x="4097254" y="1075430"/>
                  <a:pt x="4097254" y="1083991"/>
                </a:cubicBezTo>
                <a:cubicBezTo>
                  <a:pt x="4097254" y="1092553"/>
                  <a:pt x="4090249" y="1098780"/>
                  <a:pt x="4082465" y="1098780"/>
                </a:cubicBezTo>
                <a:cubicBezTo>
                  <a:pt x="4073903" y="1098780"/>
                  <a:pt x="4067676" y="1092553"/>
                  <a:pt x="4067676" y="1083991"/>
                </a:cubicBezTo>
                <a:cubicBezTo>
                  <a:pt x="4067676" y="1075430"/>
                  <a:pt x="4073903" y="1069203"/>
                  <a:pt x="4082465" y="1069203"/>
                </a:cubicBezTo>
                <a:close/>
                <a:moveTo>
                  <a:pt x="4011635" y="1069203"/>
                </a:moveTo>
                <a:cubicBezTo>
                  <a:pt x="4019418" y="1069203"/>
                  <a:pt x="4026423" y="1075430"/>
                  <a:pt x="4026423" y="1083991"/>
                </a:cubicBezTo>
                <a:cubicBezTo>
                  <a:pt x="4026423" y="1092553"/>
                  <a:pt x="4019418" y="1098780"/>
                  <a:pt x="4011635" y="1098780"/>
                </a:cubicBezTo>
                <a:cubicBezTo>
                  <a:pt x="4003073" y="1098780"/>
                  <a:pt x="3996847" y="1092553"/>
                  <a:pt x="3996847" y="1083991"/>
                </a:cubicBezTo>
                <a:cubicBezTo>
                  <a:pt x="3996847" y="1075430"/>
                  <a:pt x="4003073" y="1069203"/>
                  <a:pt x="4011635" y="1069203"/>
                </a:cubicBezTo>
                <a:close/>
                <a:moveTo>
                  <a:pt x="3939871" y="1069203"/>
                </a:moveTo>
                <a:cubicBezTo>
                  <a:pt x="3947893" y="1069203"/>
                  <a:pt x="3952268" y="1075430"/>
                  <a:pt x="3952268" y="1083991"/>
                </a:cubicBezTo>
                <a:cubicBezTo>
                  <a:pt x="3952268" y="1092553"/>
                  <a:pt x="3947893" y="1098780"/>
                  <a:pt x="3939871" y="1098780"/>
                </a:cubicBezTo>
                <a:cubicBezTo>
                  <a:pt x="3932578" y="1098780"/>
                  <a:pt x="3926015" y="1092553"/>
                  <a:pt x="3926015" y="1083991"/>
                </a:cubicBezTo>
                <a:cubicBezTo>
                  <a:pt x="3926015" y="1075430"/>
                  <a:pt x="3932578" y="1069203"/>
                  <a:pt x="3939871" y="1069203"/>
                </a:cubicBezTo>
                <a:close/>
                <a:moveTo>
                  <a:pt x="582439" y="1069203"/>
                </a:moveTo>
                <a:cubicBezTo>
                  <a:pt x="589732" y="1069203"/>
                  <a:pt x="596295" y="1075766"/>
                  <a:pt x="596295" y="1083059"/>
                </a:cubicBezTo>
                <a:cubicBezTo>
                  <a:pt x="596295" y="1089622"/>
                  <a:pt x="589732" y="1095457"/>
                  <a:pt x="582439" y="1095457"/>
                </a:cubicBezTo>
                <a:cubicBezTo>
                  <a:pt x="574416" y="1095457"/>
                  <a:pt x="570041" y="1089622"/>
                  <a:pt x="570041" y="1083059"/>
                </a:cubicBezTo>
                <a:cubicBezTo>
                  <a:pt x="570041" y="1075766"/>
                  <a:pt x="574416" y="1069203"/>
                  <a:pt x="582439" y="1069203"/>
                </a:cubicBezTo>
                <a:close/>
                <a:moveTo>
                  <a:pt x="513628" y="1069203"/>
                </a:moveTo>
                <a:cubicBezTo>
                  <a:pt x="521977" y="1069203"/>
                  <a:pt x="528807" y="1075766"/>
                  <a:pt x="528807" y="1083059"/>
                </a:cubicBezTo>
                <a:cubicBezTo>
                  <a:pt x="528807" y="1089622"/>
                  <a:pt x="521977" y="1095457"/>
                  <a:pt x="513628" y="1095457"/>
                </a:cubicBezTo>
                <a:cubicBezTo>
                  <a:pt x="506040" y="1095457"/>
                  <a:pt x="499209" y="1089622"/>
                  <a:pt x="499209" y="1083059"/>
                </a:cubicBezTo>
                <a:cubicBezTo>
                  <a:pt x="499209" y="1075766"/>
                  <a:pt x="506040" y="1069203"/>
                  <a:pt x="513628" y="1069203"/>
                </a:cubicBezTo>
                <a:close/>
                <a:moveTo>
                  <a:pt x="439795" y="1069203"/>
                </a:moveTo>
                <a:cubicBezTo>
                  <a:pt x="448358" y="1069203"/>
                  <a:pt x="454585" y="1075766"/>
                  <a:pt x="454585" y="1083059"/>
                </a:cubicBezTo>
                <a:cubicBezTo>
                  <a:pt x="454585" y="1089622"/>
                  <a:pt x="448358" y="1095457"/>
                  <a:pt x="439795" y="1095457"/>
                </a:cubicBezTo>
                <a:cubicBezTo>
                  <a:pt x="432012" y="1095457"/>
                  <a:pt x="425007" y="1089622"/>
                  <a:pt x="425007" y="1083059"/>
                </a:cubicBezTo>
                <a:cubicBezTo>
                  <a:pt x="425007" y="1075766"/>
                  <a:pt x="432012" y="1069203"/>
                  <a:pt x="439795" y="1069203"/>
                </a:cubicBezTo>
                <a:close/>
                <a:moveTo>
                  <a:pt x="368965" y="1069203"/>
                </a:moveTo>
                <a:cubicBezTo>
                  <a:pt x="377527" y="1069203"/>
                  <a:pt x="383754" y="1075766"/>
                  <a:pt x="383754" y="1083059"/>
                </a:cubicBezTo>
                <a:cubicBezTo>
                  <a:pt x="383754" y="1089622"/>
                  <a:pt x="377527" y="1095457"/>
                  <a:pt x="368965" y="1095457"/>
                </a:cubicBezTo>
                <a:cubicBezTo>
                  <a:pt x="361182" y="1095457"/>
                  <a:pt x="354177" y="1089622"/>
                  <a:pt x="354177" y="1083059"/>
                </a:cubicBezTo>
                <a:cubicBezTo>
                  <a:pt x="354177" y="1075766"/>
                  <a:pt x="361182" y="1069203"/>
                  <a:pt x="368965" y="1069203"/>
                </a:cubicBezTo>
                <a:close/>
                <a:moveTo>
                  <a:pt x="297201" y="1069203"/>
                </a:moveTo>
                <a:cubicBezTo>
                  <a:pt x="305223" y="1069203"/>
                  <a:pt x="309599" y="1075766"/>
                  <a:pt x="309599" y="1083059"/>
                </a:cubicBezTo>
                <a:cubicBezTo>
                  <a:pt x="309599" y="1089622"/>
                  <a:pt x="305223" y="1095457"/>
                  <a:pt x="297201" y="1095457"/>
                </a:cubicBezTo>
                <a:cubicBezTo>
                  <a:pt x="289909" y="1095457"/>
                  <a:pt x="283346" y="1089622"/>
                  <a:pt x="283346" y="1083059"/>
                </a:cubicBezTo>
                <a:cubicBezTo>
                  <a:pt x="283346" y="1075766"/>
                  <a:pt x="289909" y="1069203"/>
                  <a:pt x="297201" y="1069203"/>
                </a:cubicBezTo>
                <a:close/>
                <a:moveTo>
                  <a:pt x="226372" y="1069203"/>
                </a:moveTo>
                <a:cubicBezTo>
                  <a:pt x="232207" y="1069203"/>
                  <a:pt x="238771" y="1075766"/>
                  <a:pt x="238771" y="1083059"/>
                </a:cubicBezTo>
                <a:cubicBezTo>
                  <a:pt x="238771" y="1089622"/>
                  <a:pt x="232207" y="1095457"/>
                  <a:pt x="226372" y="1095457"/>
                </a:cubicBezTo>
                <a:cubicBezTo>
                  <a:pt x="218350" y="1095457"/>
                  <a:pt x="212516" y="1089622"/>
                  <a:pt x="212516" y="1083059"/>
                </a:cubicBezTo>
                <a:cubicBezTo>
                  <a:pt x="212516" y="1075766"/>
                  <a:pt x="218350" y="1069203"/>
                  <a:pt x="226372" y="1069203"/>
                </a:cubicBezTo>
                <a:close/>
                <a:moveTo>
                  <a:pt x="154079" y="1069203"/>
                </a:moveTo>
                <a:cubicBezTo>
                  <a:pt x="161372" y="1069203"/>
                  <a:pt x="167935" y="1075766"/>
                  <a:pt x="167935" y="1083059"/>
                </a:cubicBezTo>
                <a:cubicBezTo>
                  <a:pt x="167935" y="1089622"/>
                  <a:pt x="161372" y="1095457"/>
                  <a:pt x="154079" y="1095457"/>
                </a:cubicBezTo>
                <a:cubicBezTo>
                  <a:pt x="147516" y="1095457"/>
                  <a:pt x="141682" y="1089622"/>
                  <a:pt x="141682" y="1083059"/>
                </a:cubicBezTo>
                <a:cubicBezTo>
                  <a:pt x="141682" y="1075766"/>
                  <a:pt x="147516" y="1069203"/>
                  <a:pt x="154079" y="1069203"/>
                </a:cubicBezTo>
                <a:close/>
                <a:moveTo>
                  <a:pt x="83249" y="1069203"/>
                </a:moveTo>
                <a:cubicBezTo>
                  <a:pt x="90542" y="1069203"/>
                  <a:pt x="97105" y="1075766"/>
                  <a:pt x="97105" y="1083059"/>
                </a:cubicBezTo>
                <a:cubicBezTo>
                  <a:pt x="97105" y="1089622"/>
                  <a:pt x="90542" y="1095457"/>
                  <a:pt x="83249" y="1095457"/>
                </a:cubicBezTo>
                <a:cubicBezTo>
                  <a:pt x="76686" y="1095457"/>
                  <a:pt x="70852" y="1089622"/>
                  <a:pt x="70852" y="1083059"/>
                </a:cubicBezTo>
                <a:cubicBezTo>
                  <a:pt x="70852" y="1075766"/>
                  <a:pt x="76686" y="1069203"/>
                  <a:pt x="83249" y="1069203"/>
                </a:cubicBezTo>
                <a:close/>
                <a:moveTo>
                  <a:pt x="12014" y="1069203"/>
                </a:moveTo>
                <a:cubicBezTo>
                  <a:pt x="20258" y="1069203"/>
                  <a:pt x="26255" y="1075766"/>
                  <a:pt x="26255" y="1083059"/>
                </a:cubicBezTo>
                <a:cubicBezTo>
                  <a:pt x="26255" y="1091081"/>
                  <a:pt x="20258" y="1095457"/>
                  <a:pt x="12014" y="1095457"/>
                </a:cubicBezTo>
                <a:cubicBezTo>
                  <a:pt x="4518" y="1095457"/>
                  <a:pt x="21" y="1091081"/>
                  <a:pt x="21" y="1083059"/>
                </a:cubicBezTo>
                <a:cubicBezTo>
                  <a:pt x="21" y="1075766"/>
                  <a:pt x="4518" y="1069203"/>
                  <a:pt x="12014" y="1069203"/>
                </a:cubicBezTo>
                <a:close/>
                <a:moveTo>
                  <a:pt x="6724405" y="998371"/>
                </a:moveTo>
                <a:cubicBezTo>
                  <a:pt x="6732427" y="998371"/>
                  <a:pt x="6738261" y="1004205"/>
                  <a:pt x="6738261" y="1010768"/>
                </a:cubicBezTo>
                <a:cubicBezTo>
                  <a:pt x="6738261" y="1018061"/>
                  <a:pt x="6732427" y="1024625"/>
                  <a:pt x="6724405" y="1024625"/>
                </a:cubicBezTo>
                <a:cubicBezTo>
                  <a:pt x="6718571" y="1024625"/>
                  <a:pt x="6712008" y="1018061"/>
                  <a:pt x="6712008" y="1010768"/>
                </a:cubicBezTo>
                <a:cubicBezTo>
                  <a:pt x="6712008" y="1004205"/>
                  <a:pt x="6718571" y="998371"/>
                  <a:pt x="6724405" y="998371"/>
                </a:cubicBezTo>
                <a:close/>
                <a:moveTo>
                  <a:pt x="6653576" y="998371"/>
                </a:moveTo>
                <a:cubicBezTo>
                  <a:pt x="6660869" y="998371"/>
                  <a:pt x="6667432" y="1004205"/>
                  <a:pt x="6667432" y="1010768"/>
                </a:cubicBezTo>
                <a:cubicBezTo>
                  <a:pt x="6667432" y="1018061"/>
                  <a:pt x="6660869" y="1024625"/>
                  <a:pt x="6653576" y="1024625"/>
                </a:cubicBezTo>
                <a:cubicBezTo>
                  <a:pt x="6645554" y="1024625"/>
                  <a:pt x="6641179" y="1018061"/>
                  <a:pt x="6641179" y="1010768"/>
                </a:cubicBezTo>
                <a:cubicBezTo>
                  <a:pt x="6641179" y="1004205"/>
                  <a:pt x="6645554" y="998371"/>
                  <a:pt x="6653576" y="998371"/>
                </a:cubicBezTo>
                <a:close/>
                <a:moveTo>
                  <a:pt x="6581764" y="998371"/>
                </a:moveTo>
                <a:cubicBezTo>
                  <a:pt x="6589547" y="998371"/>
                  <a:pt x="6596552" y="1004205"/>
                  <a:pt x="6596552" y="1010768"/>
                </a:cubicBezTo>
                <a:cubicBezTo>
                  <a:pt x="6596552" y="1018061"/>
                  <a:pt x="6589547" y="1024625"/>
                  <a:pt x="6581764" y="1024625"/>
                </a:cubicBezTo>
                <a:cubicBezTo>
                  <a:pt x="6573202" y="1024625"/>
                  <a:pt x="6566976" y="1018061"/>
                  <a:pt x="6566976" y="1010768"/>
                </a:cubicBezTo>
                <a:cubicBezTo>
                  <a:pt x="6566976" y="1004205"/>
                  <a:pt x="6573202" y="998371"/>
                  <a:pt x="6581764" y="998371"/>
                </a:cubicBezTo>
                <a:close/>
                <a:moveTo>
                  <a:pt x="6510933" y="998371"/>
                </a:moveTo>
                <a:cubicBezTo>
                  <a:pt x="6518717" y="998371"/>
                  <a:pt x="6525722" y="1004205"/>
                  <a:pt x="6525722" y="1010768"/>
                </a:cubicBezTo>
                <a:cubicBezTo>
                  <a:pt x="6525722" y="1018061"/>
                  <a:pt x="6518717" y="1024625"/>
                  <a:pt x="6510933" y="1024625"/>
                </a:cubicBezTo>
                <a:cubicBezTo>
                  <a:pt x="6502371" y="1024625"/>
                  <a:pt x="6496144" y="1018061"/>
                  <a:pt x="6496144" y="1010768"/>
                </a:cubicBezTo>
                <a:cubicBezTo>
                  <a:pt x="6496144" y="1004205"/>
                  <a:pt x="6502371" y="998371"/>
                  <a:pt x="6510933" y="998371"/>
                </a:cubicBezTo>
                <a:close/>
                <a:moveTo>
                  <a:pt x="6440492" y="998371"/>
                </a:moveTo>
                <a:cubicBezTo>
                  <a:pt x="6448081" y="998371"/>
                  <a:pt x="6454911" y="1004205"/>
                  <a:pt x="6454911" y="1010768"/>
                </a:cubicBezTo>
                <a:cubicBezTo>
                  <a:pt x="6454911" y="1018061"/>
                  <a:pt x="6448081" y="1024625"/>
                  <a:pt x="6440492" y="1024625"/>
                </a:cubicBezTo>
                <a:cubicBezTo>
                  <a:pt x="6432145" y="1024625"/>
                  <a:pt x="6425315" y="1018061"/>
                  <a:pt x="6425315" y="1010768"/>
                </a:cubicBezTo>
                <a:cubicBezTo>
                  <a:pt x="6425315" y="1004205"/>
                  <a:pt x="6432145" y="998371"/>
                  <a:pt x="6440492" y="998371"/>
                </a:cubicBezTo>
                <a:close/>
                <a:moveTo>
                  <a:pt x="6368340" y="998371"/>
                </a:moveTo>
                <a:cubicBezTo>
                  <a:pt x="6376362" y="998371"/>
                  <a:pt x="6380737" y="1004205"/>
                  <a:pt x="6380737" y="1010768"/>
                </a:cubicBezTo>
                <a:cubicBezTo>
                  <a:pt x="6380737" y="1018061"/>
                  <a:pt x="6376362" y="1024625"/>
                  <a:pt x="6368340" y="1024625"/>
                </a:cubicBezTo>
                <a:cubicBezTo>
                  <a:pt x="6361047" y="1024625"/>
                  <a:pt x="6354484" y="1018061"/>
                  <a:pt x="6354484" y="1010768"/>
                </a:cubicBezTo>
                <a:cubicBezTo>
                  <a:pt x="6354484" y="1004205"/>
                  <a:pt x="6361047" y="998371"/>
                  <a:pt x="6368340" y="998371"/>
                </a:cubicBezTo>
                <a:close/>
                <a:moveTo>
                  <a:pt x="6297511" y="998371"/>
                </a:moveTo>
                <a:cubicBezTo>
                  <a:pt x="6304074" y="998371"/>
                  <a:pt x="6309908" y="1004205"/>
                  <a:pt x="6309908" y="1010768"/>
                </a:cubicBezTo>
                <a:cubicBezTo>
                  <a:pt x="6309908" y="1018061"/>
                  <a:pt x="6304074" y="1024625"/>
                  <a:pt x="6297511" y="1024625"/>
                </a:cubicBezTo>
                <a:cubicBezTo>
                  <a:pt x="6290218" y="1024625"/>
                  <a:pt x="6283655" y="1018061"/>
                  <a:pt x="6283655" y="1010768"/>
                </a:cubicBezTo>
                <a:cubicBezTo>
                  <a:pt x="6283655" y="1004205"/>
                  <a:pt x="6290218" y="998371"/>
                  <a:pt x="6297511" y="998371"/>
                </a:cubicBezTo>
                <a:close/>
                <a:moveTo>
                  <a:pt x="6226679" y="998371"/>
                </a:moveTo>
                <a:cubicBezTo>
                  <a:pt x="6233242" y="998371"/>
                  <a:pt x="6239076" y="1004205"/>
                  <a:pt x="6239076" y="1010768"/>
                </a:cubicBezTo>
                <a:cubicBezTo>
                  <a:pt x="6239076" y="1018061"/>
                  <a:pt x="6233242" y="1024625"/>
                  <a:pt x="6226679" y="1024625"/>
                </a:cubicBezTo>
                <a:cubicBezTo>
                  <a:pt x="6219386" y="1024625"/>
                  <a:pt x="6212823" y="1018061"/>
                  <a:pt x="6212823" y="1010768"/>
                </a:cubicBezTo>
                <a:cubicBezTo>
                  <a:pt x="6212823" y="1004205"/>
                  <a:pt x="6219386" y="998371"/>
                  <a:pt x="6226679" y="998371"/>
                </a:cubicBezTo>
                <a:close/>
                <a:moveTo>
                  <a:pt x="6154391" y="998371"/>
                </a:moveTo>
                <a:cubicBezTo>
                  <a:pt x="6161684" y="998371"/>
                  <a:pt x="6168247" y="1004205"/>
                  <a:pt x="6168247" y="1010768"/>
                </a:cubicBezTo>
                <a:cubicBezTo>
                  <a:pt x="6168247" y="1018061"/>
                  <a:pt x="6161684" y="1024625"/>
                  <a:pt x="6154391" y="1024625"/>
                </a:cubicBezTo>
                <a:cubicBezTo>
                  <a:pt x="6147828" y="1024625"/>
                  <a:pt x="6141994" y="1018061"/>
                  <a:pt x="6141994" y="1010768"/>
                </a:cubicBezTo>
                <a:cubicBezTo>
                  <a:pt x="6141994" y="1004205"/>
                  <a:pt x="6147828" y="998371"/>
                  <a:pt x="6154391" y="998371"/>
                </a:cubicBezTo>
                <a:close/>
                <a:moveTo>
                  <a:pt x="6083559" y="998371"/>
                </a:moveTo>
                <a:cubicBezTo>
                  <a:pt x="6090852" y="998371"/>
                  <a:pt x="6097415" y="1004205"/>
                  <a:pt x="6097415" y="1010768"/>
                </a:cubicBezTo>
                <a:cubicBezTo>
                  <a:pt x="6097415" y="1018061"/>
                  <a:pt x="6090852" y="1024625"/>
                  <a:pt x="6083559" y="1024625"/>
                </a:cubicBezTo>
                <a:cubicBezTo>
                  <a:pt x="6076996" y="1024625"/>
                  <a:pt x="6071162" y="1018061"/>
                  <a:pt x="6071162" y="1010768"/>
                </a:cubicBezTo>
                <a:cubicBezTo>
                  <a:pt x="6071162" y="1004205"/>
                  <a:pt x="6076996" y="998371"/>
                  <a:pt x="6083559" y="998371"/>
                </a:cubicBezTo>
                <a:close/>
                <a:moveTo>
                  <a:pt x="6009356" y="998371"/>
                </a:moveTo>
                <a:cubicBezTo>
                  <a:pt x="6016649" y="998371"/>
                  <a:pt x="6023212" y="1004205"/>
                  <a:pt x="6023212" y="1010768"/>
                </a:cubicBezTo>
                <a:cubicBezTo>
                  <a:pt x="6023212" y="1018061"/>
                  <a:pt x="6016649" y="1024625"/>
                  <a:pt x="6009356" y="1024625"/>
                </a:cubicBezTo>
                <a:cubicBezTo>
                  <a:pt x="6001334" y="1024625"/>
                  <a:pt x="5996959" y="1018061"/>
                  <a:pt x="5996959" y="1010768"/>
                </a:cubicBezTo>
                <a:cubicBezTo>
                  <a:pt x="5996959" y="1004205"/>
                  <a:pt x="6001334" y="998371"/>
                  <a:pt x="6009356" y="998371"/>
                </a:cubicBezTo>
                <a:close/>
                <a:moveTo>
                  <a:pt x="5940548" y="998371"/>
                </a:moveTo>
                <a:cubicBezTo>
                  <a:pt x="5948896" y="998371"/>
                  <a:pt x="5955726" y="1004205"/>
                  <a:pt x="5955726" y="1010768"/>
                </a:cubicBezTo>
                <a:cubicBezTo>
                  <a:pt x="5955726" y="1018061"/>
                  <a:pt x="5948896" y="1024625"/>
                  <a:pt x="5940548" y="1024625"/>
                </a:cubicBezTo>
                <a:cubicBezTo>
                  <a:pt x="5932960" y="1024625"/>
                  <a:pt x="5926130" y="1018061"/>
                  <a:pt x="5926130" y="1010768"/>
                </a:cubicBezTo>
                <a:cubicBezTo>
                  <a:pt x="5926130" y="1004205"/>
                  <a:pt x="5932960" y="998371"/>
                  <a:pt x="5940548" y="998371"/>
                </a:cubicBezTo>
                <a:close/>
                <a:moveTo>
                  <a:pt x="5870088" y="998371"/>
                </a:moveTo>
                <a:cubicBezTo>
                  <a:pt x="5878650" y="998371"/>
                  <a:pt x="5884877" y="1004205"/>
                  <a:pt x="5884877" y="1010768"/>
                </a:cubicBezTo>
                <a:cubicBezTo>
                  <a:pt x="5884877" y="1018061"/>
                  <a:pt x="5878650" y="1024625"/>
                  <a:pt x="5870088" y="1024625"/>
                </a:cubicBezTo>
                <a:cubicBezTo>
                  <a:pt x="5862304" y="1024625"/>
                  <a:pt x="5855299" y="1018061"/>
                  <a:pt x="5855299" y="1010768"/>
                </a:cubicBezTo>
                <a:cubicBezTo>
                  <a:pt x="5855299" y="1004205"/>
                  <a:pt x="5862304" y="998371"/>
                  <a:pt x="5870088" y="998371"/>
                </a:cubicBezTo>
                <a:close/>
                <a:moveTo>
                  <a:pt x="5799257" y="998371"/>
                </a:moveTo>
                <a:cubicBezTo>
                  <a:pt x="5807819" y="998371"/>
                  <a:pt x="5814045" y="1004205"/>
                  <a:pt x="5814045" y="1010768"/>
                </a:cubicBezTo>
                <a:cubicBezTo>
                  <a:pt x="5814045" y="1018061"/>
                  <a:pt x="5807819" y="1024625"/>
                  <a:pt x="5799257" y="1024625"/>
                </a:cubicBezTo>
                <a:cubicBezTo>
                  <a:pt x="5791474" y="1024625"/>
                  <a:pt x="5784469" y="1018061"/>
                  <a:pt x="5784469" y="1010768"/>
                </a:cubicBezTo>
                <a:cubicBezTo>
                  <a:pt x="5784469" y="1004205"/>
                  <a:pt x="5791474" y="998371"/>
                  <a:pt x="5799257" y="998371"/>
                </a:cubicBezTo>
                <a:close/>
                <a:moveTo>
                  <a:pt x="5724122" y="998371"/>
                </a:moveTo>
                <a:cubicBezTo>
                  <a:pt x="5730685" y="998371"/>
                  <a:pt x="5736519" y="1004205"/>
                  <a:pt x="5736519" y="1010768"/>
                </a:cubicBezTo>
                <a:cubicBezTo>
                  <a:pt x="5736519" y="1018061"/>
                  <a:pt x="5730685" y="1024625"/>
                  <a:pt x="5724122" y="1024625"/>
                </a:cubicBezTo>
                <a:cubicBezTo>
                  <a:pt x="5716100" y="1024625"/>
                  <a:pt x="5710266" y="1018061"/>
                  <a:pt x="5710266" y="1010768"/>
                </a:cubicBezTo>
                <a:cubicBezTo>
                  <a:pt x="5710266" y="1004205"/>
                  <a:pt x="5716100" y="998371"/>
                  <a:pt x="5724122" y="998371"/>
                </a:cubicBezTo>
                <a:close/>
                <a:moveTo>
                  <a:pt x="5653291" y="998371"/>
                </a:moveTo>
                <a:cubicBezTo>
                  <a:pt x="5659125" y="998371"/>
                  <a:pt x="5665688" y="1004205"/>
                  <a:pt x="5665688" y="1012227"/>
                </a:cubicBezTo>
                <a:cubicBezTo>
                  <a:pt x="5665688" y="1018061"/>
                  <a:pt x="5659125" y="1024625"/>
                  <a:pt x="5653291" y="1024625"/>
                </a:cubicBezTo>
                <a:cubicBezTo>
                  <a:pt x="5645269" y="1024625"/>
                  <a:pt x="5639435" y="1018061"/>
                  <a:pt x="5639435" y="1012227"/>
                </a:cubicBezTo>
                <a:cubicBezTo>
                  <a:pt x="5639435" y="1004205"/>
                  <a:pt x="5645269" y="998371"/>
                  <a:pt x="5653291" y="998371"/>
                </a:cubicBezTo>
                <a:close/>
                <a:moveTo>
                  <a:pt x="5581002" y="998371"/>
                </a:moveTo>
                <a:cubicBezTo>
                  <a:pt x="5588295" y="998371"/>
                  <a:pt x="5594858" y="1004205"/>
                  <a:pt x="5594858" y="1012227"/>
                </a:cubicBezTo>
                <a:cubicBezTo>
                  <a:pt x="5594858" y="1018061"/>
                  <a:pt x="5588295" y="1024625"/>
                  <a:pt x="5581002" y="1024625"/>
                </a:cubicBezTo>
                <a:cubicBezTo>
                  <a:pt x="5574439" y="1024625"/>
                  <a:pt x="5568605" y="1018061"/>
                  <a:pt x="5568605" y="1012227"/>
                </a:cubicBezTo>
                <a:cubicBezTo>
                  <a:pt x="5568605" y="1004205"/>
                  <a:pt x="5574439" y="998371"/>
                  <a:pt x="5581002" y="998371"/>
                </a:cubicBezTo>
                <a:close/>
                <a:moveTo>
                  <a:pt x="5510171" y="998371"/>
                </a:moveTo>
                <a:cubicBezTo>
                  <a:pt x="5517464" y="998371"/>
                  <a:pt x="5524027" y="1004205"/>
                  <a:pt x="5524027" y="1012227"/>
                </a:cubicBezTo>
                <a:cubicBezTo>
                  <a:pt x="5524027" y="1018061"/>
                  <a:pt x="5517464" y="1024625"/>
                  <a:pt x="5510171" y="1024625"/>
                </a:cubicBezTo>
                <a:cubicBezTo>
                  <a:pt x="5503608" y="1024625"/>
                  <a:pt x="5497774" y="1018061"/>
                  <a:pt x="5497774" y="1012227"/>
                </a:cubicBezTo>
                <a:cubicBezTo>
                  <a:pt x="5497774" y="1004205"/>
                  <a:pt x="5503608" y="998371"/>
                  <a:pt x="5510171" y="998371"/>
                </a:cubicBezTo>
                <a:close/>
                <a:moveTo>
                  <a:pt x="5438937" y="998371"/>
                </a:moveTo>
                <a:cubicBezTo>
                  <a:pt x="5447182" y="998371"/>
                  <a:pt x="5453178" y="1004205"/>
                  <a:pt x="5453178" y="1012227"/>
                </a:cubicBezTo>
                <a:cubicBezTo>
                  <a:pt x="5453178" y="1018061"/>
                  <a:pt x="5447182" y="1024625"/>
                  <a:pt x="5438937" y="1024625"/>
                </a:cubicBezTo>
                <a:cubicBezTo>
                  <a:pt x="5431442" y="1024625"/>
                  <a:pt x="5426945" y="1018061"/>
                  <a:pt x="5426945" y="1012227"/>
                </a:cubicBezTo>
                <a:cubicBezTo>
                  <a:pt x="5426945" y="1004205"/>
                  <a:pt x="5431442" y="998371"/>
                  <a:pt x="5438937" y="998371"/>
                </a:cubicBezTo>
                <a:close/>
                <a:moveTo>
                  <a:pt x="5367530" y="998371"/>
                </a:moveTo>
                <a:cubicBezTo>
                  <a:pt x="5376092" y="998371"/>
                  <a:pt x="5382318" y="1004205"/>
                  <a:pt x="5382318" y="1012227"/>
                </a:cubicBezTo>
                <a:cubicBezTo>
                  <a:pt x="5382318" y="1018061"/>
                  <a:pt x="5376092" y="1024625"/>
                  <a:pt x="5367530" y="1024625"/>
                </a:cubicBezTo>
                <a:cubicBezTo>
                  <a:pt x="5359747" y="1024625"/>
                  <a:pt x="5352742" y="1018061"/>
                  <a:pt x="5352742" y="1012227"/>
                </a:cubicBezTo>
                <a:cubicBezTo>
                  <a:pt x="5352742" y="1004205"/>
                  <a:pt x="5359747" y="998371"/>
                  <a:pt x="5367530" y="998371"/>
                </a:cubicBezTo>
                <a:close/>
                <a:moveTo>
                  <a:pt x="5296699" y="998371"/>
                </a:moveTo>
                <a:cubicBezTo>
                  <a:pt x="5305261" y="998371"/>
                  <a:pt x="5311488" y="1004205"/>
                  <a:pt x="5311488" y="1012227"/>
                </a:cubicBezTo>
                <a:cubicBezTo>
                  <a:pt x="5311488" y="1018061"/>
                  <a:pt x="5305261" y="1024625"/>
                  <a:pt x="5296699" y="1024625"/>
                </a:cubicBezTo>
                <a:cubicBezTo>
                  <a:pt x="5288915" y="1024625"/>
                  <a:pt x="5281910" y="1018061"/>
                  <a:pt x="5281910" y="1012227"/>
                </a:cubicBezTo>
                <a:cubicBezTo>
                  <a:pt x="5281910" y="1004205"/>
                  <a:pt x="5288915" y="998371"/>
                  <a:pt x="5296699" y="998371"/>
                </a:cubicBezTo>
                <a:close/>
                <a:moveTo>
                  <a:pt x="5225869" y="998371"/>
                </a:moveTo>
                <a:cubicBezTo>
                  <a:pt x="5234431" y="998371"/>
                  <a:pt x="5240657" y="1004205"/>
                  <a:pt x="5240657" y="1012227"/>
                </a:cubicBezTo>
                <a:cubicBezTo>
                  <a:pt x="5240657" y="1018061"/>
                  <a:pt x="5234431" y="1024625"/>
                  <a:pt x="5225869" y="1024625"/>
                </a:cubicBezTo>
                <a:cubicBezTo>
                  <a:pt x="5217307" y="1024625"/>
                  <a:pt x="5211081" y="1018061"/>
                  <a:pt x="5211081" y="1012227"/>
                </a:cubicBezTo>
                <a:cubicBezTo>
                  <a:pt x="5211081" y="1004205"/>
                  <a:pt x="5217307" y="998371"/>
                  <a:pt x="5225869" y="998371"/>
                </a:cubicBezTo>
                <a:close/>
                <a:moveTo>
                  <a:pt x="5154105" y="998371"/>
                </a:moveTo>
                <a:cubicBezTo>
                  <a:pt x="5162127" y="998371"/>
                  <a:pt x="5166502" y="1004205"/>
                  <a:pt x="5166502" y="1012227"/>
                </a:cubicBezTo>
                <a:cubicBezTo>
                  <a:pt x="5166502" y="1018061"/>
                  <a:pt x="5162127" y="1024625"/>
                  <a:pt x="5154105" y="1024625"/>
                </a:cubicBezTo>
                <a:cubicBezTo>
                  <a:pt x="5146083" y="1024625"/>
                  <a:pt x="5140249" y="1018061"/>
                  <a:pt x="5140249" y="1012227"/>
                </a:cubicBezTo>
                <a:cubicBezTo>
                  <a:pt x="5140249" y="1004205"/>
                  <a:pt x="5146083" y="998371"/>
                  <a:pt x="5154105" y="998371"/>
                </a:cubicBezTo>
                <a:close/>
                <a:moveTo>
                  <a:pt x="5083276" y="998371"/>
                </a:moveTo>
                <a:cubicBezTo>
                  <a:pt x="5089110" y="998371"/>
                  <a:pt x="5095673" y="1004205"/>
                  <a:pt x="5095673" y="1012227"/>
                </a:cubicBezTo>
                <a:cubicBezTo>
                  <a:pt x="5095673" y="1018061"/>
                  <a:pt x="5089110" y="1024625"/>
                  <a:pt x="5083276" y="1024625"/>
                </a:cubicBezTo>
                <a:cubicBezTo>
                  <a:pt x="5075254" y="1024625"/>
                  <a:pt x="5069420" y="1018061"/>
                  <a:pt x="5069420" y="1012227"/>
                </a:cubicBezTo>
                <a:cubicBezTo>
                  <a:pt x="5069420" y="1004205"/>
                  <a:pt x="5075254" y="998371"/>
                  <a:pt x="5083276" y="998371"/>
                </a:cubicBezTo>
                <a:close/>
                <a:moveTo>
                  <a:pt x="5012445" y="998371"/>
                </a:moveTo>
                <a:cubicBezTo>
                  <a:pt x="5018279" y="998371"/>
                  <a:pt x="5024842" y="1004205"/>
                  <a:pt x="5024842" y="1012227"/>
                </a:cubicBezTo>
                <a:cubicBezTo>
                  <a:pt x="5024842" y="1018061"/>
                  <a:pt x="5018279" y="1024625"/>
                  <a:pt x="5012445" y="1024625"/>
                </a:cubicBezTo>
                <a:cubicBezTo>
                  <a:pt x="5004423" y="1024625"/>
                  <a:pt x="4998589" y="1018061"/>
                  <a:pt x="4998589" y="1012227"/>
                </a:cubicBezTo>
                <a:cubicBezTo>
                  <a:pt x="4998589" y="1004205"/>
                  <a:pt x="5004423" y="998371"/>
                  <a:pt x="5012445" y="998371"/>
                </a:cubicBezTo>
                <a:close/>
                <a:moveTo>
                  <a:pt x="4940157" y="998371"/>
                </a:moveTo>
                <a:cubicBezTo>
                  <a:pt x="4948179" y="998371"/>
                  <a:pt x="4954013" y="1004205"/>
                  <a:pt x="4954013" y="1012227"/>
                </a:cubicBezTo>
                <a:cubicBezTo>
                  <a:pt x="4954013" y="1018061"/>
                  <a:pt x="4948179" y="1024625"/>
                  <a:pt x="4940157" y="1024625"/>
                </a:cubicBezTo>
                <a:cubicBezTo>
                  <a:pt x="4934323" y="1024625"/>
                  <a:pt x="4927760" y="1018061"/>
                  <a:pt x="4927760" y="1012227"/>
                </a:cubicBezTo>
                <a:cubicBezTo>
                  <a:pt x="4927760" y="1004205"/>
                  <a:pt x="4934323" y="998371"/>
                  <a:pt x="4940157" y="998371"/>
                </a:cubicBezTo>
                <a:close/>
                <a:moveTo>
                  <a:pt x="4865953" y="998371"/>
                </a:moveTo>
                <a:cubicBezTo>
                  <a:pt x="4873975" y="998371"/>
                  <a:pt x="4879809" y="1004205"/>
                  <a:pt x="4879809" y="1012227"/>
                </a:cubicBezTo>
                <a:cubicBezTo>
                  <a:pt x="4879809" y="1018061"/>
                  <a:pt x="4873975" y="1024625"/>
                  <a:pt x="4865953" y="1024625"/>
                </a:cubicBezTo>
                <a:cubicBezTo>
                  <a:pt x="4860119" y="1024625"/>
                  <a:pt x="4853556" y="1018061"/>
                  <a:pt x="4853556" y="1012227"/>
                </a:cubicBezTo>
                <a:cubicBezTo>
                  <a:pt x="4853556" y="1004205"/>
                  <a:pt x="4860119" y="998371"/>
                  <a:pt x="4865953" y="998371"/>
                </a:cubicBezTo>
                <a:close/>
                <a:moveTo>
                  <a:pt x="4797514" y="998371"/>
                </a:moveTo>
                <a:cubicBezTo>
                  <a:pt x="4806076" y="998371"/>
                  <a:pt x="4812303" y="1004205"/>
                  <a:pt x="4812303" y="1012227"/>
                </a:cubicBezTo>
                <a:cubicBezTo>
                  <a:pt x="4812303" y="1018061"/>
                  <a:pt x="4806076" y="1024625"/>
                  <a:pt x="4797514" y="1024625"/>
                </a:cubicBezTo>
                <a:cubicBezTo>
                  <a:pt x="4789730" y="1024625"/>
                  <a:pt x="4784282" y="1018061"/>
                  <a:pt x="4782725" y="1012227"/>
                </a:cubicBezTo>
                <a:cubicBezTo>
                  <a:pt x="4782725" y="1004205"/>
                  <a:pt x="4789730" y="998371"/>
                  <a:pt x="4797514" y="998371"/>
                </a:cubicBezTo>
                <a:close/>
                <a:moveTo>
                  <a:pt x="4726684" y="998371"/>
                </a:moveTo>
                <a:cubicBezTo>
                  <a:pt x="4735246" y="998371"/>
                  <a:pt x="4741472" y="1004205"/>
                  <a:pt x="4741472" y="1012227"/>
                </a:cubicBezTo>
                <a:cubicBezTo>
                  <a:pt x="4741472" y="1018061"/>
                  <a:pt x="4735246" y="1024625"/>
                  <a:pt x="4726684" y="1024625"/>
                </a:cubicBezTo>
                <a:cubicBezTo>
                  <a:pt x="4718122" y="1024625"/>
                  <a:pt x="4711896" y="1018061"/>
                  <a:pt x="4711896" y="1012227"/>
                </a:cubicBezTo>
                <a:cubicBezTo>
                  <a:pt x="4711896" y="1004205"/>
                  <a:pt x="4718122" y="998371"/>
                  <a:pt x="4726684" y="998371"/>
                </a:cubicBezTo>
                <a:close/>
                <a:moveTo>
                  <a:pt x="4655853" y="998371"/>
                </a:moveTo>
                <a:cubicBezTo>
                  <a:pt x="4663637" y="998371"/>
                  <a:pt x="4670642" y="1004205"/>
                  <a:pt x="4670642" y="1012227"/>
                </a:cubicBezTo>
                <a:cubicBezTo>
                  <a:pt x="4670642" y="1018061"/>
                  <a:pt x="4663637" y="1024625"/>
                  <a:pt x="4655853" y="1024625"/>
                </a:cubicBezTo>
                <a:cubicBezTo>
                  <a:pt x="4647291" y="1024625"/>
                  <a:pt x="4641064" y="1018061"/>
                  <a:pt x="4641064" y="1012227"/>
                </a:cubicBezTo>
                <a:cubicBezTo>
                  <a:pt x="4641064" y="1004205"/>
                  <a:pt x="4647291" y="998371"/>
                  <a:pt x="4655853" y="998371"/>
                </a:cubicBezTo>
                <a:close/>
                <a:moveTo>
                  <a:pt x="4584091" y="998371"/>
                </a:moveTo>
                <a:cubicBezTo>
                  <a:pt x="4591384" y="998371"/>
                  <a:pt x="4596488" y="1004205"/>
                  <a:pt x="4596488" y="1012227"/>
                </a:cubicBezTo>
                <a:cubicBezTo>
                  <a:pt x="4596488" y="1018061"/>
                  <a:pt x="4591384" y="1024625"/>
                  <a:pt x="4584091" y="1024625"/>
                </a:cubicBezTo>
                <a:cubicBezTo>
                  <a:pt x="4576069" y="1024625"/>
                  <a:pt x="4570235" y="1018061"/>
                  <a:pt x="4570235" y="1012227"/>
                </a:cubicBezTo>
                <a:cubicBezTo>
                  <a:pt x="4570235" y="1004205"/>
                  <a:pt x="4576069" y="998371"/>
                  <a:pt x="4584091" y="998371"/>
                </a:cubicBezTo>
                <a:close/>
                <a:moveTo>
                  <a:pt x="4513260" y="998371"/>
                </a:moveTo>
                <a:cubicBezTo>
                  <a:pt x="4519094" y="998371"/>
                  <a:pt x="4525657" y="1004205"/>
                  <a:pt x="4525657" y="1012227"/>
                </a:cubicBezTo>
                <a:cubicBezTo>
                  <a:pt x="4525657" y="1019520"/>
                  <a:pt x="4519094" y="1024625"/>
                  <a:pt x="4513260" y="1024625"/>
                </a:cubicBezTo>
                <a:cubicBezTo>
                  <a:pt x="4505238" y="1024625"/>
                  <a:pt x="4499404" y="1019520"/>
                  <a:pt x="4499404" y="1012227"/>
                </a:cubicBezTo>
                <a:cubicBezTo>
                  <a:pt x="4499404" y="1004205"/>
                  <a:pt x="4505238" y="998371"/>
                  <a:pt x="4513260" y="998371"/>
                </a:cubicBezTo>
                <a:close/>
                <a:moveTo>
                  <a:pt x="4439056" y="998371"/>
                </a:moveTo>
                <a:cubicBezTo>
                  <a:pt x="4445619" y="998371"/>
                  <a:pt x="4451453" y="1004205"/>
                  <a:pt x="4451453" y="1012227"/>
                </a:cubicBezTo>
                <a:cubicBezTo>
                  <a:pt x="4451453" y="1019520"/>
                  <a:pt x="4445619" y="1024625"/>
                  <a:pt x="4439056" y="1024625"/>
                </a:cubicBezTo>
                <a:cubicBezTo>
                  <a:pt x="4431763" y="1024625"/>
                  <a:pt x="4425200" y="1019520"/>
                  <a:pt x="4425200" y="1012227"/>
                </a:cubicBezTo>
                <a:cubicBezTo>
                  <a:pt x="4425200" y="1004205"/>
                  <a:pt x="4431763" y="998371"/>
                  <a:pt x="4439056" y="998371"/>
                </a:cubicBezTo>
                <a:close/>
                <a:moveTo>
                  <a:pt x="4366768" y="998371"/>
                </a:moveTo>
                <a:cubicBezTo>
                  <a:pt x="4374790" y="998371"/>
                  <a:pt x="4380624" y="1004205"/>
                  <a:pt x="4380624" y="1012227"/>
                </a:cubicBezTo>
                <a:cubicBezTo>
                  <a:pt x="4380624" y="1019520"/>
                  <a:pt x="4374790" y="1024625"/>
                  <a:pt x="4366768" y="1024625"/>
                </a:cubicBezTo>
                <a:cubicBezTo>
                  <a:pt x="4360934" y="1024625"/>
                  <a:pt x="4354371" y="1019520"/>
                  <a:pt x="4354371" y="1012227"/>
                </a:cubicBezTo>
                <a:cubicBezTo>
                  <a:pt x="4354371" y="1004205"/>
                  <a:pt x="4360934" y="998371"/>
                  <a:pt x="4366768" y="998371"/>
                </a:cubicBezTo>
                <a:close/>
                <a:moveTo>
                  <a:pt x="4295937" y="998371"/>
                </a:moveTo>
                <a:cubicBezTo>
                  <a:pt x="4303959" y="998371"/>
                  <a:pt x="4309793" y="1004205"/>
                  <a:pt x="4309793" y="1012227"/>
                </a:cubicBezTo>
                <a:cubicBezTo>
                  <a:pt x="4309793" y="1019520"/>
                  <a:pt x="4303959" y="1024625"/>
                  <a:pt x="4295937" y="1024625"/>
                </a:cubicBezTo>
                <a:cubicBezTo>
                  <a:pt x="4290103" y="1024625"/>
                  <a:pt x="4283540" y="1019520"/>
                  <a:pt x="4283540" y="1012227"/>
                </a:cubicBezTo>
                <a:cubicBezTo>
                  <a:pt x="4283540" y="1004205"/>
                  <a:pt x="4290103" y="998371"/>
                  <a:pt x="4295937" y="998371"/>
                </a:cubicBezTo>
                <a:close/>
                <a:moveTo>
                  <a:pt x="4225107" y="998371"/>
                </a:moveTo>
                <a:cubicBezTo>
                  <a:pt x="4233129" y="998371"/>
                  <a:pt x="4238963" y="1004205"/>
                  <a:pt x="4238963" y="1012227"/>
                </a:cubicBezTo>
                <a:cubicBezTo>
                  <a:pt x="4238963" y="1019520"/>
                  <a:pt x="4233129" y="1024625"/>
                  <a:pt x="4225107" y="1024625"/>
                </a:cubicBezTo>
                <a:cubicBezTo>
                  <a:pt x="4217085" y="1024625"/>
                  <a:pt x="4212710" y="1019520"/>
                  <a:pt x="4212710" y="1012227"/>
                </a:cubicBezTo>
                <a:cubicBezTo>
                  <a:pt x="4212710" y="1004205"/>
                  <a:pt x="4217085" y="998371"/>
                  <a:pt x="4225107" y="998371"/>
                </a:cubicBezTo>
                <a:close/>
                <a:moveTo>
                  <a:pt x="4153295" y="998371"/>
                </a:moveTo>
                <a:cubicBezTo>
                  <a:pt x="4161078" y="998371"/>
                  <a:pt x="4168083" y="1004205"/>
                  <a:pt x="4168083" y="1012227"/>
                </a:cubicBezTo>
                <a:cubicBezTo>
                  <a:pt x="4168083" y="1019520"/>
                  <a:pt x="4161078" y="1024625"/>
                  <a:pt x="4153295" y="1024625"/>
                </a:cubicBezTo>
                <a:cubicBezTo>
                  <a:pt x="4144733" y="1024625"/>
                  <a:pt x="4138507" y="1019520"/>
                  <a:pt x="4138507" y="1012227"/>
                </a:cubicBezTo>
                <a:cubicBezTo>
                  <a:pt x="4138507" y="1004205"/>
                  <a:pt x="4144733" y="998371"/>
                  <a:pt x="4153295" y="998371"/>
                </a:cubicBezTo>
                <a:close/>
                <a:moveTo>
                  <a:pt x="4082465" y="998371"/>
                </a:moveTo>
                <a:cubicBezTo>
                  <a:pt x="4090249" y="998371"/>
                  <a:pt x="4097254" y="1004205"/>
                  <a:pt x="4097254" y="1012227"/>
                </a:cubicBezTo>
                <a:cubicBezTo>
                  <a:pt x="4097254" y="1019520"/>
                  <a:pt x="4090249" y="1024625"/>
                  <a:pt x="4082465" y="1024625"/>
                </a:cubicBezTo>
                <a:cubicBezTo>
                  <a:pt x="4073903" y="1024625"/>
                  <a:pt x="4067676" y="1019520"/>
                  <a:pt x="4067676" y="1012227"/>
                </a:cubicBezTo>
                <a:cubicBezTo>
                  <a:pt x="4067676" y="1004205"/>
                  <a:pt x="4073903" y="998371"/>
                  <a:pt x="4082465" y="998371"/>
                </a:cubicBezTo>
                <a:close/>
                <a:moveTo>
                  <a:pt x="4011635" y="998371"/>
                </a:moveTo>
                <a:cubicBezTo>
                  <a:pt x="4019418" y="998371"/>
                  <a:pt x="4026423" y="1004205"/>
                  <a:pt x="4026423" y="1012227"/>
                </a:cubicBezTo>
                <a:cubicBezTo>
                  <a:pt x="4026423" y="1019520"/>
                  <a:pt x="4019418" y="1024625"/>
                  <a:pt x="4011635" y="1024625"/>
                </a:cubicBezTo>
                <a:cubicBezTo>
                  <a:pt x="4003073" y="1024625"/>
                  <a:pt x="3996847" y="1019520"/>
                  <a:pt x="3996847" y="1012227"/>
                </a:cubicBezTo>
                <a:cubicBezTo>
                  <a:pt x="3996847" y="1004205"/>
                  <a:pt x="4003073" y="998371"/>
                  <a:pt x="4011635" y="998371"/>
                </a:cubicBezTo>
                <a:close/>
                <a:moveTo>
                  <a:pt x="3939871" y="998371"/>
                </a:moveTo>
                <a:cubicBezTo>
                  <a:pt x="3947893" y="998371"/>
                  <a:pt x="3952268" y="1004205"/>
                  <a:pt x="3952268" y="1012227"/>
                </a:cubicBezTo>
                <a:cubicBezTo>
                  <a:pt x="3952268" y="1019520"/>
                  <a:pt x="3947893" y="1024625"/>
                  <a:pt x="3939871" y="1024625"/>
                </a:cubicBezTo>
                <a:cubicBezTo>
                  <a:pt x="3932578" y="1024625"/>
                  <a:pt x="3926015" y="1019520"/>
                  <a:pt x="3926015" y="1012227"/>
                </a:cubicBezTo>
                <a:cubicBezTo>
                  <a:pt x="3926015" y="1004205"/>
                  <a:pt x="3932578" y="998371"/>
                  <a:pt x="3939871" y="998371"/>
                </a:cubicBezTo>
                <a:close/>
                <a:moveTo>
                  <a:pt x="3869042" y="998371"/>
                </a:moveTo>
                <a:cubicBezTo>
                  <a:pt x="3875605" y="998371"/>
                  <a:pt x="3881439" y="1004598"/>
                  <a:pt x="3881439" y="1013160"/>
                </a:cubicBezTo>
                <a:cubicBezTo>
                  <a:pt x="3881439" y="1020944"/>
                  <a:pt x="3875605" y="1027949"/>
                  <a:pt x="3869042" y="1027949"/>
                </a:cubicBezTo>
                <a:cubicBezTo>
                  <a:pt x="3861749" y="1027949"/>
                  <a:pt x="3855186" y="1020944"/>
                  <a:pt x="3855186" y="1013160"/>
                </a:cubicBezTo>
                <a:cubicBezTo>
                  <a:pt x="3855186" y="1004598"/>
                  <a:pt x="3861749" y="998371"/>
                  <a:pt x="3869042" y="998371"/>
                </a:cubicBezTo>
                <a:close/>
                <a:moveTo>
                  <a:pt x="3798211" y="998371"/>
                </a:moveTo>
                <a:cubicBezTo>
                  <a:pt x="3804774" y="998371"/>
                  <a:pt x="3810608" y="1004598"/>
                  <a:pt x="3810608" y="1013160"/>
                </a:cubicBezTo>
                <a:cubicBezTo>
                  <a:pt x="3810608" y="1020944"/>
                  <a:pt x="3804774" y="1027949"/>
                  <a:pt x="3798211" y="1027949"/>
                </a:cubicBezTo>
                <a:cubicBezTo>
                  <a:pt x="3790918" y="1027949"/>
                  <a:pt x="3784355" y="1020944"/>
                  <a:pt x="3784355" y="1013160"/>
                </a:cubicBezTo>
                <a:cubicBezTo>
                  <a:pt x="3784355" y="1004598"/>
                  <a:pt x="3790918" y="998371"/>
                  <a:pt x="3798211" y="998371"/>
                </a:cubicBezTo>
                <a:close/>
                <a:moveTo>
                  <a:pt x="3725922" y="998371"/>
                </a:moveTo>
                <a:cubicBezTo>
                  <a:pt x="3733944" y="998371"/>
                  <a:pt x="3739778" y="1004598"/>
                  <a:pt x="3739778" y="1013160"/>
                </a:cubicBezTo>
                <a:cubicBezTo>
                  <a:pt x="3739778" y="1020944"/>
                  <a:pt x="3733944" y="1027949"/>
                  <a:pt x="3725922" y="1027949"/>
                </a:cubicBezTo>
                <a:cubicBezTo>
                  <a:pt x="3719359" y="1027949"/>
                  <a:pt x="3713525" y="1020944"/>
                  <a:pt x="3713525" y="1013160"/>
                </a:cubicBezTo>
                <a:cubicBezTo>
                  <a:pt x="3713525" y="1004598"/>
                  <a:pt x="3719359" y="998371"/>
                  <a:pt x="3725922" y="998371"/>
                </a:cubicBezTo>
                <a:close/>
                <a:moveTo>
                  <a:pt x="724105" y="998371"/>
                </a:moveTo>
                <a:cubicBezTo>
                  <a:pt x="731398" y="998371"/>
                  <a:pt x="737962" y="1004205"/>
                  <a:pt x="737962" y="1010768"/>
                </a:cubicBezTo>
                <a:cubicBezTo>
                  <a:pt x="737962" y="1018061"/>
                  <a:pt x="731398" y="1024625"/>
                  <a:pt x="724105" y="1024625"/>
                </a:cubicBezTo>
                <a:cubicBezTo>
                  <a:pt x="717541" y="1024625"/>
                  <a:pt x="711707" y="1018061"/>
                  <a:pt x="711707" y="1010768"/>
                </a:cubicBezTo>
                <a:cubicBezTo>
                  <a:pt x="711707" y="1004205"/>
                  <a:pt x="717541" y="998371"/>
                  <a:pt x="724105" y="998371"/>
                </a:cubicBezTo>
                <a:close/>
                <a:moveTo>
                  <a:pt x="653274" y="998371"/>
                </a:moveTo>
                <a:cubicBezTo>
                  <a:pt x="660567" y="998371"/>
                  <a:pt x="667129" y="1004205"/>
                  <a:pt x="667129" y="1010768"/>
                </a:cubicBezTo>
                <a:cubicBezTo>
                  <a:pt x="667129" y="1018061"/>
                  <a:pt x="660567" y="1024625"/>
                  <a:pt x="653274" y="1024625"/>
                </a:cubicBezTo>
                <a:cubicBezTo>
                  <a:pt x="646711" y="1024625"/>
                  <a:pt x="640877" y="1018061"/>
                  <a:pt x="640877" y="1010768"/>
                </a:cubicBezTo>
                <a:cubicBezTo>
                  <a:pt x="640877" y="1004205"/>
                  <a:pt x="646711" y="998371"/>
                  <a:pt x="653274" y="998371"/>
                </a:cubicBezTo>
                <a:close/>
                <a:moveTo>
                  <a:pt x="582446" y="998371"/>
                </a:moveTo>
                <a:cubicBezTo>
                  <a:pt x="589738" y="998371"/>
                  <a:pt x="596301" y="1004205"/>
                  <a:pt x="596301" y="1010768"/>
                </a:cubicBezTo>
                <a:cubicBezTo>
                  <a:pt x="596301" y="1018061"/>
                  <a:pt x="589738" y="1024625"/>
                  <a:pt x="582446" y="1024625"/>
                </a:cubicBezTo>
                <a:cubicBezTo>
                  <a:pt x="574423" y="1024625"/>
                  <a:pt x="570047" y="1018061"/>
                  <a:pt x="570047" y="1010768"/>
                </a:cubicBezTo>
                <a:cubicBezTo>
                  <a:pt x="570047" y="1004205"/>
                  <a:pt x="574423" y="998371"/>
                  <a:pt x="582446" y="998371"/>
                </a:cubicBezTo>
                <a:close/>
                <a:moveTo>
                  <a:pt x="513636" y="998371"/>
                </a:moveTo>
                <a:cubicBezTo>
                  <a:pt x="521983" y="998371"/>
                  <a:pt x="528813" y="1004205"/>
                  <a:pt x="528813" y="1010768"/>
                </a:cubicBezTo>
                <a:cubicBezTo>
                  <a:pt x="528813" y="1018061"/>
                  <a:pt x="521983" y="1024625"/>
                  <a:pt x="513636" y="1024625"/>
                </a:cubicBezTo>
                <a:cubicBezTo>
                  <a:pt x="506046" y="1024625"/>
                  <a:pt x="499216" y="1018061"/>
                  <a:pt x="499216" y="1010768"/>
                </a:cubicBezTo>
                <a:cubicBezTo>
                  <a:pt x="499216" y="1004205"/>
                  <a:pt x="506046" y="998371"/>
                  <a:pt x="513636" y="998371"/>
                </a:cubicBezTo>
                <a:close/>
                <a:moveTo>
                  <a:pt x="439802" y="998371"/>
                </a:moveTo>
                <a:cubicBezTo>
                  <a:pt x="448365" y="998371"/>
                  <a:pt x="454592" y="1004205"/>
                  <a:pt x="454592" y="1010768"/>
                </a:cubicBezTo>
                <a:cubicBezTo>
                  <a:pt x="454592" y="1018061"/>
                  <a:pt x="448365" y="1024625"/>
                  <a:pt x="439802" y="1024625"/>
                </a:cubicBezTo>
                <a:cubicBezTo>
                  <a:pt x="432019" y="1024625"/>
                  <a:pt x="425014" y="1018061"/>
                  <a:pt x="425014" y="1010768"/>
                </a:cubicBezTo>
                <a:cubicBezTo>
                  <a:pt x="425014" y="1004205"/>
                  <a:pt x="432019" y="998371"/>
                  <a:pt x="439802" y="998371"/>
                </a:cubicBezTo>
                <a:close/>
                <a:moveTo>
                  <a:pt x="368040" y="998371"/>
                </a:moveTo>
                <a:cubicBezTo>
                  <a:pt x="376061" y="998371"/>
                  <a:pt x="380438" y="1004205"/>
                  <a:pt x="380438" y="1012227"/>
                </a:cubicBezTo>
                <a:cubicBezTo>
                  <a:pt x="380438" y="1018061"/>
                  <a:pt x="376061" y="1024625"/>
                  <a:pt x="368040" y="1024625"/>
                </a:cubicBezTo>
                <a:cubicBezTo>
                  <a:pt x="360747" y="1024625"/>
                  <a:pt x="354183" y="1018061"/>
                  <a:pt x="354183" y="1012227"/>
                </a:cubicBezTo>
                <a:cubicBezTo>
                  <a:pt x="354183" y="1004205"/>
                  <a:pt x="360747" y="998371"/>
                  <a:pt x="368040" y="998371"/>
                </a:cubicBezTo>
                <a:close/>
                <a:moveTo>
                  <a:pt x="297208" y="998371"/>
                </a:moveTo>
                <a:cubicBezTo>
                  <a:pt x="303771" y="998371"/>
                  <a:pt x="309606" y="1004205"/>
                  <a:pt x="309606" y="1012227"/>
                </a:cubicBezTo>
                <a:cubicBezTo>
                  <a:pt x="309606" y="1018061"/>
                  <a:pt x="303771" y="1024625"/>
                  <a:pt x="297208" y="1024625"/>
                </a:cubicBezTo>
                <a:cubicBezTo>
                  <a:pt x="289916" y="1024625"/>
                  <a:pt x="283352" y="1018061"/>
                  <a:pt x="283352" y="1012227"/>
                </a:cubicBezTo>
                <a:cubicBezTo>
                  <a:pt x="283352" y="1004205"/>
                  <a:pt x="289916" y="998371"/>
                  <a:pt x="297208" y="998371"/>
                </a:cubicBezTo>
                <a:close/>
                <a:moveTo>
                  <a:pt x="226379" y="998371"/>
                </a:moveTo>
                <a:cubicBezTo>
                  <a:pt x="232214" y="998371"/>
                  <a:pt x="238778" y="1004205"/>
                  <a:pt x="238778" y="1012227"/>
                </a:cubicBezTo>
                <a:cubicBezTo>
                  <a:pt x="238778" y="1018061"/>
                  <a:pt x="232214" y="1024625"/>
                  <a:pt x="226379" y="1024625"/>
                </a:cubicBezTo>
                <a:cubicBezTo>
                  <a:pt x="218357" y="1024625"/>
                  <a:pt x="212523" y="1018061"/>
                  <a:pt x="212523" y="1012227"/>
                </a:cubicBezTo>
                <a:cubicBezTo>
                  <a:pt x="212523" y="1004205"/>
                  <a:pt x="218357" y="998371"/>
                  <a:pt x="226379" y="998371"/>
                </a:cubicBezTo>
                <a:close/>
                <a:moveTo>
                  <a:pt x="154085" y="998371"/>
                </a:moveTo>
                <a:cubicBezTo>
                  <a:pt x="161377" y="998371"/>
                  <a:pt x="167941" y="1004205"/>
                  <a:pt x="167941" y="1012227"/>
                </a:cubicBezTo>
                <a:cubicBezTo>
                  <a:pt x="167941" y="1018061"/>
                  <a:pt x="161377" y="1024625"/>
                  <a:pt x="154085" y="1024625"/>
                </a:cubicBezTo>
                <a:cubicBezTo>
                  <a:pt x="147521" y="1024625"/>
                  <a:pt x="141687" y="1018061"/>
                  <a:pt x="141687" y="1012227"/>
                </a:cubicBezTo>
                <a:cubicBezTo>
                  <a:pt x="141687" y="1004205"/>
                  <a:pt x="147521" y="998371"/>
                  <a:pt x="154085" y="998371"/>
                </a:cubicBezTo>
                <a:close/>
                <a:moveTo>
                  <a:pt x="83255" y="998371"/>
                </a:moveTo>
                <a:cubicBezTo>
                  <a:pt x="90548" y="998371"/>
                  <a:pt x="97111" y="1004205"/>
                  <a:pt x="97111" y="1012227"/>
                </a:cubicBezTo>
                <a:cubicBezTo>
                  <a:pt x="97111" y="1018061"/>
                  <a:pt x="90548" y="1024625"/>
                  <a:pt x="83255" y="1024625"/>
                </a:cubicBezTo>
                <a:cubicBezTo>
                  <a:pt x="76692" y="1024625"/>
                  <a:pt x="70858" y="1018061"/>
                  <a:pt x="70858" y="1012227"/>
                </a:cubicBezTo>
                <a:cubicBezTo>
                  <a:pt x="70858" y="1004205"/>
                  <a:pt x="76692" y="998371"/>
                  <a:pt x="83255" y="998371"/>
                </a:cubicBezTo>
                <a:close/>
                <a:moveTo>
                  <a:pt x="12019" y="998371"/>
                </a:moveTo>
                <a:cubicBezTo>
                  <a:pt x="20264" y="998371"/>
                  <a:pt x="26260" y="1004205"/>
                  <a:pt x="26260" y="1012227"/>
                </a:cubicBezTo>
                <a:cubicBezTo>
                  <a:pt x="26260" y="1018061"/>
                  <a:pt x="20264" y="1024625"/>
                  <a:pt x="12019" y="1024625"/>
                </a:cubicBezTo>
                <a:cubicBezTo>
                  <a:pt x="4524" y="1024625"/>
                  <a:pt x="27" y="1018061"/>
                  <a:pt x="27" y="1012227"/>
                </a:cubicBezTo>
                <a:cubicBezTo>
                  <a:pt x="27" y="1004205"/>
                  <a:pt x="4524" y="998371"/>
                  <a:pt x="12019" y="998371"/>
                </a:cubicBezTo>
                <a:close/>
                <a:moveTo>
                  <a:pt x="870603" y="927542"/>
                </a:moveTo>
                <a:cubicBezTo>
                  <a:pt x="877167" y="927542"/>
                  <a:pt x="883001" y="933376"/>
                  <a:pt x="883001" y="939939"/>
                </a:cubicBezTo>
                <a:cubicBezTo>
                  <a:pt x="883001" y="947232"/>
                  <a:pt x="877167" y="953796"/>
                  <a:pt x="870603" y="953796"/>
                </a:cubicBezTo>
                <a:cubicBezTo>
                  <a:pt x="863310" y="953796"/>
                  <a:pt x="856747" y="947232"/>
                  <a:pt x="856747" y="939939"/>
                </a:cubicBezTo>
                <a:cubicBezTo>
                  <a:pt x="856747" y="933376"/>
                  <a:pt x="863310" y="927542"/>
                  <a:pt x="870603" y="927542"/>
                </a:cubicBezTo>
                <a:close/>
                <a:moveTo>
                  <a:pt x="799773" y="927542"/>
                </a:moveTo>
                <a:cubicBezTo>
                  <a:pt x="806337" y="927542"/>
                  <a:pt x="812171" y="933376"/>
                  <a:pt x="812171" y="939939"/>
                </a:cubicBezTo>
                <a:cubicBezTo>
                  <a:pt x="812171" y="947232"/>
                  <a:pt x="806337" y="953796"/>
                  <a:pt x="799773" y="953796"/>
                </a:cubicBezTo>
                <a:cubicBezTo>
                  <a:pt x="792481" y="953796"/>
                  <a:pt x="785917" y="947232"/>
                  <a:pt x="785917" y="939939"/>
                </a:cubicBezTo>
                <a:cubicBezTo>
                  <a:pt x="785917" y="933376"/>
                  <a:pt x="792481" y="927542"/>
                  <a:pt x="799773" y="927542"/>
                </a:cubicBezTo>
                <a:close/>
                <a:moveTo>
                  <a:pt x="724112" y="927542"/>
                </a:moveTo>
                <a:cubicBezTo>
                  <a:pt x="731405" y="927542"/>
                  <a:pt x="737968" y="933376"/>
                  <a:pt x="737968" y="939939"/>
                </a:cubicBezTo>
                <a:cubicBezTo>
                  <a:pt x="737968" y="947232"/>
                  <a:pt x="731405" y="953796"/>
                  <a:pt x="724112" y="953796"/>
                </a:cubicBezTo>
                <a:cubicBezTo>
                  <a:pt x="717548" y="953796"/>
                  <a:pt x="711714" y="947232"/>
                  <a:pt x="711714" y="939939"/>
                </a:cubicBezTo>
                <a:cubicBezTo>
                  <a:pt x="711714" y="933376"/>
                  <a:pt x="717548" y="927542"/>
                  <a:pt x="724112" y="927542"/>
                </a:cubicBezTo>
                <a:close/>
                <a:moveTo>
                  <a:pt x="653281" y="927542"/>
                </a:moveTo>
                <a:cubicBezTo>
                  <a:pt x="660573" y="927542"/>
                  <a:pt x="667137" y="933376"/>
                  <a:pt x="667137" y="939939"/>
                </a:cubicBezTo>
                <a:cubicBezTo>
                  <a:pt x="667137" y="947232"/>
                  <a:pt x="660573" y="953796"/>
                  <a:pt x="653281" y="953796"/>
                </a:cubicBezTo>
                <a:cubicBezTo>
                  <a:pt x="646718" y="953796"/>
                  <a:pt x="640884" y="947232"/>
                  <a:pt x="640884" y="939939"/>
                </a:cubicBezTo>
                <a:cubicBezTo>
                  <a:pt x="640884" y="933376"/>
                  <a:pt x="645259" y="927542"/>
                  <a:pt x="653281" y="927542"/>
                </a:cubicBezTo>
                <a:close/>
                <a:moveTo>
                  <a:pt x="582453" y="927542"/>
                </a:moveTo>
                <a:cubicBezTo>
                  <a:pt x="589745" y="927542"/>
                  <a:pt x="596309" y="933376"/>
                  <a:pt x="596309" y="939939"/>
                </a:cubicBezTo>
                <a:cubicBezTo>
                  <a:pt x="596309" y="947232"/>
                  <a:pt x="589745" y="953796"/>
                  <a:pt x="582453" y="953796"/>
                </a:cubicBezTo>
                <a:cubicBezTo>
                  <a:pt x="574430" y="953796"/>
                  <a:pt x="570054" y="947232"/>
                  <a:pt x="570054" y="939939"/>
                </a:cubicBezTo>
                <a:cubicBezTo>
                  <a:pt x="570054" y="933376"/>
                  <a:pt x="574430" y="927542"/>
                  <a:pt x="582453" y="927542"/>
                </a:cubicBezTo>
                <a:close/>
                <a:moveTo>
                  <a:pt x="513642" y="927542"/>
                </a:moveTo>
                <a:cubicBezTo>
                  <a:pt x="521990" y="927542"/>
                  <a:pt x="528820" y="933376"/>
                  <a:pt x="528820" y="939939"/>
                </a:cubicBezTo>
                <a:cubicBezTo>
                  <a:pt x="528820" y="947232"/>
                  <a:pt x="521990" y="953796"/>
                  <a:pt x="513642" y="953796"/>
                </a:cubicBezTo>
                <a:cubicBezTo>
                  <a:pt x="506053" y="953796"/>
                  <a:pt x="499223" y="947232"/>
                  <a:pt x="499223" y="939939"/>
                </a:cubicBezTo>
                <a:cubicBezTo>
                  <a:pt x="499223" y="933376"/>
                  <a:pt x="506053" y="927542"/>
                  <a:pt x="513642" y="927542"/>
                </a:cubicBezTo>
                <a:close/>
                <a:moveTo>
                  <a:pt x="439809" y="927542"/>
                </a:moveTo>
                <a:cubicBezTo>
                  <a:pt x="448372" y="927542"/>
                  <a:pt x="454599" y="933376"/>
                  <a:pt x="454599" y="939939"/>
                </a:cubicBezTo>
                <a:cubicBezTo>
                  <a:pt x="454599" y="947232"/>
                  <a:pt x="448372" y="953796"/>
                  <a:pt x="439809" y="953796"/>
                </a:cubicBezTo>
                <a:cubicBezTo>
                  <a:pt x="432026" y="953796"/>
                  <a:pt x="425021" y="947232"/>
                  <a:pt x="425021" y="939939"/>
                </a:cubicBezTo>
                <a:cubicBezTo>
                  <a:pt x="425021" y="933376"/>
                  <a:pt x="432026" y="927542"/>
                  <a:pt x="439809" y="927542"/>
                </a:cubicBezTo>
                <a:close/>
                <a:moveTo>
                  <a:pt x="368046" y="927542"/>
                </a:moveTo>
                <a:cubicBezTo>
                  <a:pt x="376068" y="927542"/>
                  <a:pt x="380444" y="933376"/>
                  <a:pt x="380444" y="939939"/>
                </a:cubicBezTo>
                <a:cubicBezTo>
                  <a:pt x="380444" y="947232"/>
                  <a:pt x="376068" y="953796"/>
                  <a:pt x="368046" y="953796"/>
                </a:cubicBezTo>
                <a:cubicBezTo>
                  <a:pt x="360754" y="953796"/>
                  <a:pt x="354191" y="947232"/>
                  <a:pt x="354191" y="939939"/>
                </a:cubicBezTo>
                <a:cubicBezTo>
                  <a:pt x="354191" y="933376"/>
                  <a:pt x="360754" y="927542"/>
                  <a:pt x="368046" y="927542"/>
                </a:cubicBezTo>
                <a:close/>
                <a:moveTo>
                  <a:pt x="297214" y="927542"/>
                </a:moveTo>
                <a:cubicBezTo>
                  <a:pt x="303777" y="927542"/>
                  <a:pt x="309612" y="933376"/>
                  <a:pt x="309612" y="939939"/>
                </a:cubicBezTo>
                <a:cubicBezTo>
                  <a:pt x="309612" y="947232"/>
                  <a:pt x="303777" y="953796"/>
                  <a:pt x="297214" y="953796"/>
                </a:cubicBezTo>
                <a:cubicBezTo>
                  <a:pt x="289922" y="953796"/>
                  <a:pt x="283359" y="947232"/>
                  <a:pt x="283359" y="939939"/>
                </a:cubicBezTo>
                <a:cubicBezTo>
                  <a:pt x="283359" y="933376"/>
                  <a:pt x="289922" y="927542"/>
                  <a:pt x="297214" y="927542"/>
                </a:cubicBezTo>
                <a:close/>
                <a:moveTo>
                  <a:pt x="226386" y="927542"/>
                </a:moveTo>
                <a:cubicBezTo>
                  <a:pt x="232220" y="927542"/>
                  <a:pt x="238784" y="933376"/>
                  <a:pt x="238784" y="939939"/>
                </a:cubicBezTo>
                <a:cubicBezTo>
                  <a:pt x="238784" y="947232"/>
                  <a:pt x="232220" y="953796"/>
                  <a:pt x="226386" y="953796"/>
                </a:cubicBezTo>
                <a:cubicBezTo>
                  <a:pt x="218363" y="953796"/>
                  <a:pt x="212530" y="947232"/>
                  <a:pt x="212530" y="939939"/>
                </a:cubicBezTo>
                <a:cubicBezTo>
                  <a:pt x="212530" y="933376"/>
                  <a:pt x="218363" y="927542"/>
                  <a:pt x="226386" y="927542"/>
                </a:cubicBezTo>
                <a:close/>
                <a:moveTo>
                  <a:pt x="154091" y="927542"/>
                </a:moveTo>
                <a:cubicBezTo>
                  <a:pt x="161383" y="927542"/>
                  <a:pt x="167947" y="933376"/>
                  <a:pt x="167947" y="939939"/>
                </a:cubicBezTo>
                <a:cubicBezTo>
                  <a:pt x="167947" y="947232"/>
                  <a:pt x="161383" y="953796"/>
                  <a:pt x="154091" y="953796"/>
                </a:cubicBezTo>
                <a:cubicBezTo>
                  <a:pt x="147527" y="953796"/>
                  <a:pt x="141693" y="947232"/>
                  <a:pt x="141693" y="939939"/>
                </a:cubicBezTo>
                <a:cubicBezTo>
                  <a:pt x="141693" y="933376"/>
                  <a:pt x="147527" y="927542"/>
                  <a:pt x="154091" y="927542"/>
                </a:cubicBezTo>
                <a:close/>
                <a:moveTo>
                  <a:pt x="83261" y="927542"/>
                </a:moveTo>
                <a:cubicBezTo>
                  <a:pt x="90554" y="927542"/>
                  <a:pt x="97117" y="933376"/>
                  <a:pt x="97117" y="939939"/>
                </a:cubicBezTo>
                <a:cubicBezTo>
                  <a:pt x="97117" y="947232"/>
                  <a:pt x="90554" y="953796"/>
                  <a:pt x="83261" y="953796"/>
                </a:cubicBezTo>
                <a:cubicBezTo>
                  <a:pt x="76698" y="953796"/>
                  <a:pt x="70864" y="947232"/>
                  <a:pt x="70864" y="939939"/>
                </a:cubicBezTo>
                <a:cubicBezTo>
                  <a:pt x="70864" y="933376"/>
                  <a:pt x="76698" y="927542"/>
                  <a:pt x="83261" y="927542"/>
                </a:cubicBezTo>
                <a:close/>
                <a:moveTo>
                  <a:pt x="12025" y="927542"/>
                </a:moveTo>
                <a:cubicBezTo>
                  <a:pt x="20270" y="927542"/>
                  <a:pt x="26266" y="933376"/>
                  <a:pt x="26266" y="939939"/>
                </a:cubicBezTo>
                <a:cubicBezTo>
                  <a:pt x="26266" y="947232"/>
                  <a:pt x="20270" y="953796"/>
                  <a:pt x="12025" y="953796"/>
                </a:cubicBezTo>
                <a:cubicBezTo>
                  <a:pt x="4530" y="953796"/>
                  <a:pt x="33" y="947232"/>
                  <a:pt x="33" y="939939"/>
                </a:cubicBezTo>
                <a:cubicBezTo>
                  <a:pt x="33" y="933376"/>
                  <a:pt x="4530" y="927542"/>
                  <a:pt x="12025" y="927542"/>
                </a:cubicBezTo>
                <a:close/>
                <a:moveTo>
                  <a:pt x="6581764" y="924168"/>
                </a:moveTo>
                <a:cubicBezTo>
                  <a:pt x="6589547" y="924168"/>
                  <a:pt x="6596552" y="928543"/>
                  <a:pt x="6596552" y="936565"/>
                </a:cubicBezTo>
                <a:cubicBezTo>
                  <a:pt x="6596552" y="943858"/>
                  <a:pt x="6589547" y="950422"/>
                  <a:pt x="6581764" y="950422"/>
                </a:cubicBezTo>
                <a:cubicBezTo>
                  <a:pt x="6573202" y="950422"/>
                  <a:pt x="6566976" y="943858"/>
                  <a:pt x="6566976" y="936565"/>
                </a:cubicBezTo>
                <a:cubicBezTo>
                  <a:pt x="6566976" y="928543"/>
                  <a:pt x="6573202" y="924168"/>
                  <a:pt x="6581764" y="924168"/>
                </a:cubicBezTo>
                <a:close/>
                <a:moveTo>
                  <a:pt x="6510933" y="924168"/>
                </a:moveTo>
                <a:cubicBezTo>
                  <a:pt x="6518717" y="924168"/>
                  <a:pt x="6525722" y="928543"/>
                  <a:pt x="6525722" y="936565"/>
                </a:cubicBezTo>
                <a:cubicBezTo>
                  <a:pt x="6525722" y="943858"/>
                  <a:pt x="6518717" y="950422"/>
                  <a:pt x="6510933" y="950422"/>
                </a:cubicBezTo>
                <a:cubicBezTo>
                  <a:pt x="6502371" y="950422"/>
                  <a:pt x="6496144" y="943858"/>
                  <a:pt x="6496144" y="936565"/>
                </a:cubicBezTo>
                <a:cubicBezTo>
                  <a:pt x="6496144" y="928543"/>
                  <a:pt x="6502371" y="924168"/>
                  <a:pt x="6510933" y="924168"/>
                </a:cubicBezTo>
                <a:close/>
                <a:moveTo>
                  <a:pt x="6440492" y="924168"/>
                </a:moveTo>
                <a:cubicBezTo>
                  <a:pt x="6448081" y="924168"/>
                  <a:pt x="6454911" y="928543"/>
                  <a:pt x="6454911" y="936565"/>
                </a:cubicBezTo>
                <a:cubicBezTo>
                  <a:pt x="6454911" y="943858"/>
                  <a:pt x="6448081" y="950422"/>
                  <a:pt x="6440492" y="950422"/>
                </a:cubicBezTo>
                <a:cubicBezTo>
                  <a:pt x="6432145" y="950422"/>
                  <a:pt x="6425315" y="943858"/>
                  <a:pt x="6425315" y="936565"/>
                </a:cubicBezTo>
                <a:cubicBezTo>
                  <a:pt x="6425315" y="928543"/>
                  <a:pt x="6432145" y="924168"/>
                  <a:pt x="6440492" y="924168"/>
                </a:cubicBezTo>
                <a:close/>
                <a:moveTo>
                  <a:pt x="6368340" y="924168"/>
                </a:moveTo>
                <a:cubicBezTo>
                  <a:pt x="6376362" y="924168"/>
                  <a:pt x="6380737" y="928543"/>
                  <a:pt x="6380737" y="936565"/>
                </a:cubicBezTo>
                <a:cubicBezTo>
                  <a:pt x="6380737" y="943858"/>
                  <a:pt x="6376362" y="950422"/>
                  <a:pt x="6368340" y="950422"/>
                </a:cubicBezTo>
                <a:cubicBezTo>
                  <a:pt x="6361047" y="950422"/>
                  <a:pt x="6354484" y="943858"/>
                  <a:pt x="6354484" y="936565"/>
                </a:cubicBezTo>
                <a:cubicBezTo>
                  <a:pt x="6354484" y="928543"/>
                  <a:pt x="6361047" y="924168"/>
                  <a:pt x="6368340" y="924168"/>
                </a:cubicBezTo>
                <a:close/>
                <a:moveTo>
                  <a:pt x="6297511" y="924168"/>
                </a:moveTo>
                <a:cubicBezTo>
                  <a:pt x="6304074" y="924168"/>
                  <a:pt x="6309908" y="928543"/>
                  <a:pt x="6309908" y="936565"/>
                </a:cubicBezTo>
                <a:cubicBezTo>
                  <a:pt x="6309908" y="943858"/>
                  <a:pt x="6304074" y="950422"/>
                  <a:pt x="6297511" y="950422"/>
                </a:cubicBezTo>
                <a:cubicBezTo>
                  <a:pt x="6290218" y="950422"/>
                  <a:pt x="6283655" y="943858"/>
                  <a:pt x="6283655" y="936565"/>
                </a:cubicBezTo>
                <a:cubicBezTo>
                  <a:pt x="6283655" y="928543"/>
                  <a:pt x="6290218" y="924168"/>
                  <a:pt x="6297511" y="924168"/>
                </a:cubicBezTo>
                <a:close/>
                <a:moveTo>
                  <a:pt x="6226679" y="924168"/>
                </a:moveTo>
                <a:cubicBezTo>
                  <a:pt x="6233242" y="924168"/>
                  <a:pt x="6239076" y="928543"/>
                  <a:pt x="6239076" y="936565"/>
                </a:cubicBezTo>
                <a:cubicBezTo>
                  <a:pt x="6239076" y="943858"/>
                  <a:pt x="6233242" y="950422"/>
                  <a:pt x="6226679" y="950422"/>
                </a:cubicBezTo>
                <a:cubicBezTo>
                  <a:pt x="6219386" y="950422"/>
                  <a:pt x="6212823" y="943858"/>
                  <a:pt x="6212823" y="936565"/>
                </a:cubicBezTo>
                <a:cubicBezTo>
                  <a:pt x="6212823" y="928543"/>
                  <a:pt x="6219386" y="924168"/>
                  <a:pt x="6226679" y="924168"/>
                </a:cubicBezTo>
                <a:close/>
                <a:moveTo>
                  <a:pt x="6154391" y="924168"/>
                </a:moveTo>
                <a:cubicBezTo>
                  <a:pt x="6161684" y="924168"/>
                  <a:pt x="6168247" y="928543"/>
                  <a:pt x="6168247" y="936565"/>
                </a:cubicBezTo>
                <a:cubicBezTo>
                  <a:pt x="6168247" y="943858"/>
                  <a:pt x="6161684" y="950422"/>
                  <a:pt x="6154391" y="950422"/>
                </a:cubicBezTo>
                <a:cubicBezTo>
                  <a:pt x="6147828" y="950422"/>
                  <a:pt x="6141994" y="943858"/>
                  <a:pt x="6141994" y="936565"/>
                </a:cubicBezTo>
                <a:cubicBezTo>
                  <a:pt x="6141994" y="928543"/>
                  <a:pt x="6147828" y="924168"/>
                  <a:pt x="6154391" y="924168"/>
                </a:cubicBezTo>
                <a:close/>
                <a:moveTo>
                  <a:pt x="6083559" y="924168"/>
                </a:moveTo>
                <a:cubicBezTo>
                  <a:pt x="6090852" y="924168"/>
                  <a:pt x="6097415" y="930002"/>
                  <a:pt x="6097415" y="936565"/>
                </a:cubicBezTo>
                <a:cubicBezTo>
                  <a:pt x="6097415" y="943858"/>
                  <a:pt x="6090852" y="950422"/>
                  <a:pt x="6083559" y="950422"/>
                </a:cubicBezTo>
                <a:cubicBezTo>
                  <a:pt x="6076996" y="950422"/>
                  <a:pt x="6071162" y="943858"/>
                  <a:pt x="6071162" y="936565"/>
                </a:cubicBezTo>
                <a:cubicBezTo>
                  <a:pt x="6071162" y="930002"/>
                  <a:pt x="6076996" y="924168"/>
                  <a:pt x="6083559" y="924168"/>
                </a:cubicBezTo>
                <a:close/>
                <a:moveTo>
                  <a:pt x="6011748" y="924168"/>
                </a:moveTo>
                <a:cubicBezTo>
                  <a:pt x="6019532" y="924168"/>
                  <a:pt x="6026537" y="930002"/>
                  <a:pt x="6026537" y="936565"/>
                </a:cubicBezTo>
                <a:cubicBezTo>
                  <a:pt x="6026537" y="943858"/>
                  <a:pt x="6019532" y="950422"/>
                  <a:pt x="6011748" y="950422"/>
                </a:cubicBezTo>
                <a:cubicBezTo>
                  <a:pt x="6003186" y="950422"/>
                  <a:pt x="5998516" y="943858"/>
                  <a:pt x="5996959" y="936565"/>
                </a:cubicBezTo>
                <a:cubicBezTo>
                  <a:pt x="5996959" y="930002"/>
                  <a:pt x="6003186" y="924168"/>
                  <a:pt x="6011748" y="924168"/>
                </a:cubicBezTo>
                <a:close/>
                <a:moveTo>
                  <a:pt x="5940548" y="924168"/>
                </a:moveTo>
                <a:cubicBezTo>
                  <a:pt x="5948896" y="924168"/>
                  <a:pt x="5955726" y="930002"/>
                  <a:pt x="5955726" y="936565"/>
                </a:cubicBezTo>
                <a:cubicBezTo>
                  <a:pt x="5955726" y="943858"/>
                  <a:pt x="5948896" y="950422"/>
                  <a:pt x="5940548" y="950422"/>
                </a:cubicBezTo>
                <a:cubicBezTo>
                  <a:pt x="5932960" y="950422"/>
                  <a:pt x="5926130" y="943858"/>
                  <a:pt x="5926130" y="936565"/>
                </a:cubicBezTo>
                <a:cubicBezTo>
                  <a:pt x="5926130" y="930002"/>
                  <a:pt x="5932960" y="924168"/>
                  <a:pt x="5940548" y="924168"/>
                </a:cubicBezTo>
                <a:close/>
                <a:moveTo>
                  <a:pt x="5870088" y="924168"/>
                </a:moveTo>
                <a:cubicBezTo>
                  <a:pt x="5878650" y="924168"/>
                  <a:pt x="5884877" y="930002"/>
                  <a:pt x="5884877" y="936565"/>
                </a:cubicBezTo>
                <a:cubicBezTo>
                  <a:pt x="5884877" y="943858"/>
                  <a:pt x="5878650" y="950422"/>
                  <a:pt x="5870088" y="950422"/>
                </a:cubicBezTo>
                <a:cubicBezTo>
                  <a:pt x="5862304" y="950422"/>
                  <a:pt x="5855299" y="943858"/>
                  <a:pt x="5855299" y="936565"/>
                </a:cubicBezTo>
                <a:cubicBezTo>
                  <a:pt x="5855299" y="930002"/>
                  <a:pt x="5862304" y="924168"/>
                  <a:pt x="5870088" y="924168"/>
                </a:cubicBezTo>
                <a:close/>
                <a:moveTo>
                  <a:pt x="5798325" y="924168"/>
                </a:moveTo>
                <a:cubicBezTo>
                  <a:pt x="5806347" y="924168"/>
                  <a:pt x="5810722" y="930002"/>
                  <a:pt x="5810722" y="936565"/>
                </a:cubicBezTo>
                <a:cubicBezTo>
                  <a:pt x="5810722" y="943858"/>
                  <a:pt x="5806347" y="950422"/>
                  <a:pt x="5798325" y="950422"/>
                </a:cubicBezTo>
                <a:cubicBezTo>
                  <a:pt x="5791032" y="950422"/>
                  <a:pt x="5784469" y="943858"/>
                  <a:pt x="5784469" y="936565"/>
                </a:cubicBezTo>
                <a:cubicBezTo>
                  <a:pt x="5784469" y="930002"/>
                  <a:pt x="5791032" y="924168"/>
                  <a:pt x="5798325" y="924168"/>
                </a:cubicBezTo>
                <a:close/>
                <a:moveTo>
                  <a:pt x="5724122" y="924168"/>
                </a:moveTo>
                <a:cubicBezTo>
                  <a:pt x="5730685" y="924168"/>
                  <a:pt x="5736519" y="930002"/>
                  <a:pt x="5736519" y="936565"/>
                </a:cubicBezTo>
                <a:cubicBezTo>
                  <a:pt x="5736519" y="943858"/>
                  <a:pt x="5730685" y="950422"/>
                  <a:pt x="5724122" y="950422"/>
                </a:cubicBezTo>
                <a:cubicBezTo>
                  <a:pt x="5716100" y="950422"/>
                  <a:pt x="5710266" y="943858"/>
                  <a:pt x="5710266" y="936565"/>
                </a:cubicBezTo>
                <a:cubicBezTo>
                  <a:pt x="5710266" y="930002"/>
                  <a:pt x="5716100" y="924168"/>
                  <a:pt x="5724122" y="924168"/>
                </a:cubicBezTo>
                <a:close/>
                <a:moveTo>
                  <a:pt x="5653291" y="924168"/>
                </a:moveTo>
                <a:cubicBezTo>
                  <a:pt x="5659125" y="924168"/>
                  <a:pt x="5665688" y="930002"/>
                  <a:pt x="5665688" y="936565"/>
                </a:cubicBezTo>
                <a:cubicBezTo>
                  <a:pt x="5665688" y="943858"/>
                  <a:pt x="5659125" y="950422"/>
                  <a:pt x="5653291" y="950422"/>
                </a:cubicBezTo>
                <a:cubicBezTo>
                  <a:pt x="5645269" y="950422"/>
                  <a:pt x="5639435" y="943858"/>
                  <a:pt x="5639435" y="936565"/>
                </a:cubicBezTo>
                <a:cubicBezTo>
                  <a:pt x="5639435" y="930002"/>
                  <a:pt x="5645269" y="924168"/>
                  <a:pt x="5653291" y="924168"/>
                </a:cubicBezTo>
                <a:close/>
                <a:moveTo>
                  <a:pt x="5581002" y="924168"/>
                </a:moveTo>
                <a:cubicBezTo>
                  <a:pt x="5588295" y="924168"/>
                  <a:pt x="5594858" y="930002"/>
                  <a:pt x="5594858" y="936565"/>
                </a:cubicBezTo>
                <a:cubicBezTo>
                  <a:pt x="5594858" y="943858"/>
                  <a:pt x="5588295" y="950422"/>
                  <a:pt x="5581002" y="950422"/>
                </a:cubicBezTo>
                <a:cubicBezTo>
                  <a:pt x="5574439" y="950422"/>
                  <a:pt x="5568605" y="943858"/>
                  <a:pt x="5568605" y="936565"/>
                </a:cubicBezTo>
                <a:cubicBezTo>
                  <a:pt x="5568605" y="930002"/>
                  <a:pt x="5574439" y="924168"/>
                  <a:pt x="5581002" y="924168"/>
                </a:cubicBezTo>
                <a:close/>
                <a:moveTo>
                  <a:pt x="5510171" y="924168"/>
                </a:moveTo>
                <a:cubicBezTo>
                  <a:pt x="5517464" y="924168"/>
                  <a:pt x="5524027" y="930002"/>
                  <a:pt x="5524027" y="936565"/>
                </a:cubicBezTo>
                <a:cubicBezTo>
                  <a:pt x="5524027" y="943858"/>
                  <a:pt x="5517464" y="950422"/>
                  <a:pt x="5510171" y="950422"/>
                </a:cubicBezTo>
                <a:cubicBezTo>
                  <a:pt x="5503608" y="950422"/>
                  <a:pt x="5497774" y="943858"/>
                  <a:pt x="5497774" y="936565"/>
                </a:cubicBezTo>
                <a:cubicBezTo>
                  <a:pt x="5497774" y="930002"/>
                  <a:pt x="5503608" y="924168"/>
                  <a:pt x="5510171" y="924168"/>
                </a:cubicBezTo>
                <a:close/>
                <a:moveTo>
                  <a:pt x="5438937" y="924168"/>
                </a:moveTo>
                <a:cubicBezTo>
                  <a:pt x="5447182" y="924168"/>
                  <a:pt x="5453178" y="930002"/>
                  <a:pt x="5453178" y="936565"/>
                </a:cubicBezTo>
                <a:cubicBezTo>
                  <a:pt x="5453178" y="943858"/>
                  <a:pt x="5447182" y="950422"/>
                  <a:pt x="5438937" y="950422"/>
                </a:cubicBezTo>
                <a:cubicBezTo>
                  <a:pt x="5431442" y="950422"/>
                  <a:pt x="5426945" y="943858"/>
                  <a:pt x="5426945" y="936565"/>
                </a:cubicBezTo>
                <a:cubicBezTo>
                  <a:pt x="5426945" y="930002"/>
                  <a:pt x="5431442" y="924168"/>
                  <a:pt x="5438937" y="924168"/>
                </a:cubicBezTo>
                <a:close/>
                <a:moveTo>
                  <a:pt x="5367530" y="924168"/>
                </a:moveTo>
                <a:cubicBezTo>
                  <a:pt x="5376092" y="924168"/>
                  <a:pt x="5382318" y="930002"/>
                  <a:pt x="5382318" y="936565"/>
                </a:cubicBezTo>
                <a:cubicBezTo>
                  <a:pt x="5382318" y="943858"/>
                  <a:pt x="5376092" y="950422"/>
                  <a:pt x="5367530" y="950422"/>
                </a:cubicBezTo>
                <a:cubicBezTo>
                  <a:pt x="5359747" y="950422"/>
                  <a:pt x="5352742" y="943858"/>
                  <a:pt x="5352742" y="936565"/>
                </a:cubicBezTo>
                <a:cubicBezTo>
                  <a:pt x="5352742" y="930002"/>
                  <a:pt x="5359747" y="924168"/>
                  <a:pt x="5367530" y="924168"/>
                </a:cubicBezTo>
                <a:close/>
                <a:moveTo>
                  <a:pt x="5296699" y="924168"/>
                </a:moveTo>
                <a:cubicBezTo>
                  <a:pt x="5305261" y="924168"/>
                  <a:pt x="5311488" y="930002"/>
                  <a:pt x="5311488" y="936565"/>
                </a:cubicBezTo>
                <a:cubicBezTo>
                  <a:pt x="5311488" y="943858"/>
                  <a:pt x="5305261" y="950422"/>
                  <a:pt x="5296699" y="950422"/>
                </a:cubicBezTo>
                <a:cubicBezTo>
                  <a:pt x="5288915" y="950422"/>
                  <a:pt x="5281910" y="943858"/>
                  <a:pt x="5281910" y="936565"/>
                </a:cubicBezTo>
                <a:cubicBezTo>
                  <a:pt x="5281910" y="930002"/>
                  <a:pt x="5288915" y="924168"/>
                  <a:pt x="5296699" y="924168"/>
                </a:cubicBezTo>
                <a:close/>
                <a:moveTo>
                  <a:pt x="5225869" y="924168"/>
                </a:moveTo>
                <a:cubicBezTo>
                  <a:pt x="5234431" y="924168"/>
                  <a:pt x="5240657" y="930002"/>
                  <a:pt x="5240657" y="936565"/>
                </a:cubicBezTo>
                <a:cubicBezTo>
                  <a:pt x="5240657" y="943858"/>
                  <a:pt x="5234431" y="950422"/>
                  <a:pt x="5225869" y="950422"/>
                </a:cubicBezTo>
                <a:cubicBezTo>
                  <a:pt x="5217307" y="950422"/>
                  <a:pt x="5211081" y="943858"/>
                  <a:pt x="5211081" y="936565"/>
                </a:cubicBezTo>
                <a:cubicBezTo>
                  <a:pt x="5211081" y="930002"/>
                  <a:pt x="5217307" y="924168"/>
                  <a:pt x="5225869" y="924168"/>
                </a:cubicBezTo>
                <a:close/>
                <a:moveTo>
                  <a:pt x="5154105" y="924168"/>
                </a:moveTo>
                <a:cubicBezTo>
                  <a:pt x="5162127" y="924168"/>
                  <a:pt x="5166502" y="930002"/>
                  <a:pt x="5166502" y="936565"/>
                </a:cubicBezTo>
                <a:cubicBezTo>
                  <a:pt x="5166502" y="943858"/>
                  <a:pt x="5162127" y="950422"/>
                  <a:pt x="5154105" y="950422"/>
                </a:cubicBezTo>
                <a:cubicBezTo>
                  <a:pt x="5146083" y="950422"/>
                  <a:pt x="5140249" y="943858"/>
                  <a:pt x="5140249" y="936565"/>
                </a:cubicBezTo>
                <a:cubicBezTo>
                  <a:pt x="5140249" y="930002"/>
                  <a:pt x="5146083" y="924168"/>
                  <a:pt x="5154105" y="924168"/>
                </a:cubicBezTo>
                <a:close/>
                <a:moveTo>
                  <a:pt x="5083276" y="924168"/>
                </a:moveTo>
                <a:cubicBezTo>
                  <a:pt x="5089110" y="924168"/>
                  <a:pt x="5095673" y="930002"/>
                  <a:pt x="5095673" y="936565"/>
                </a:cubicBezTo>
                <a:cubicBezTo>
                  <a:pt x="5095673" y="943858"/>
                  <a:pt x="5089110" y="950422"/>
                  <a:pt x="5083276" y="950422"/>
                </a:cubicBezTo>
                <a:cubicBezTo>
                  <a:pt x="5075254" y="950422"/>
                  <a:pt x="5069420" y="943858"/>
                  <a:pt x="5069420" y="936565"/>
                </a:cubicBezTo>
                <a:cubicBezTo>
                  <a:pt x="5069420" y="930002"/>
                  <a:pt x="5075254" y="924168"/>
                  <a:pt x="5083276" y="924168"/>
                </a:cubicBezTo>
                <a:close/>
                <a:moveTo>
                  <a:pt x="5012445" y="924168"/>
                </a:moveTo>
                <a:cubicBezTo>
                  <a:pt x="5018279" y="924168"/>
                  <a:pt x="5024842" y="930002"/>
                  <a:pt x="5024842" y="936565"/>
                </a:cubicBezTo>
                <a:cubicBezTo>
                  <a:pt x="5024842" y="943858"/>
                  <a:pt x="5018279" y="950422"/>
                  <a:pt x="5012445" y="950422"/>
                </a:cubicBezTo>
                <a:cubicBezTo>
                  <a:pt x="5004423" y="950422"/>
                  <a:pt x="4998589" y="943858"/>
                  <a:pt x="4998589" y="938024"/>
                </a:cubicBezTo>
                <a:cubicBezTo>
                  <a:pt x="4998589" y="930002"/>
                  <a:pt x="5004423" y="924168"/>
                  <a:pt x="5012445" y="924168"/>
                </a:cubicBezTo>
                <a:close/>
                <a:moveTo>
                  <a:pt x="4940157" y="924168"/>
                </a:moveTo>
                <a:cubicBezTo>
                  <a:pt x="4948179" y="924168"/>
                  <a:pt x="4954013" y="930002"/>
                  <a:pt x="4954013" y="938024"/>
                </a:cubicBezTo>
                <a:cubicBezTo>
                  <a:pt x="4954013" y="943858"/>
                  <a:pt x="4948179" y="950422"/>
                  <a:pt x="4940157" y="950422"/>
                </a:cubicBezTo>
                <a:cubicBezTo>
                  <a:pt x="4934323" y="950422"/>
                  <a:pt x="4927760" y="943858"/>
                  <a:pt x="4927760" y="938024"/>
                </a:cubicBezTo>
                <a:cubicBezTo>
                  <a:pt x="4927760" y="930002"/>
                  <a:pt x="4934323" y="924168"/>
                  <a:pt x="4940157" y="924168"/>
                </a:cubicBezTo>
                <a:close/>
                <a:moveTo>
                  <a:pt x="4865953" y="924168"/>
                </a:moveTo>
                <a:cubicBezTo>
                  <a:pt x="4873975" y="924168"/>
                  <a:pt x="4879809" y="930002"/>
                  <a:pt x="4879809" y="938024"/>
                </a:cubicBezTo>
                <a:cubicBezTo>
                  <a:pt x="4879809" y="943858"/>
                  <a:pt x="4873975" y="950422"/>
                  <a:pt x="4865953" y="950422"/>
                </a:cubicBezTo>
                <a:cubicBezTo>
                  <a:pt x="4860119" y="950422"/>
                  <a:pt x="4853556" y="943858"/>
                  <a:pt x="4853556" y="938024"/>
                </a:cubicBezTo>
                <a:cubicBezTo>
                  <a:pt x="4853556" y="930002"/>
                  <a:pt x="4858661" y="924168"/>
                  <a:pt x="4865953" y="924168"/>
                </a:cubicBezTo>
                <a:close/>
                <a:moveTo>
                  <a:pt x="4797514" y="924168"/>
                </a:moveTo>
                <a:cubicBezTo>
                  <a:pt x="4806076" y="924168"/>
                  <a:pt x="4812303" y="930002"/>
                  <a:pt x="4812303" y="938024"/>
                </a:cubicBezTo>
                <a:cubicBezTo>
                  <a:pt x="4812303" y="943858"/>
                  <a:pt x="4806076" y="950422"/>
                  <a:pt x="4797514" y="950422"/>
                </a:cubicBezTo>
                <a:cubicBezTo>
                  <a:pt x="4789730" y="950422"/>
                  <a:pt x="4782725" y="943858"/>
                  <a:pt x="4782725" y="938024"/>
                </a:cubicBezTo>
                <a:cubicBezTo>
                  <a:pt x="4782725" y="930002"/>
                  <a:pt x="4789730" y="924168"/>
                  <a:pt x="4797514" y="924168"/>
                </a:cubicBezTo>
                <a:close/>
                <a:moveTo>
                  <a:pt x="4726684" y="924168"/>
                </a:moveTo>
                <a:cubicBezTo>
                  <a:pt x="4735246" y="924168"/>
                  <a:pt x="4741472" y="930002"/>
                  <a:pt x="4741472" y="938024"/>
                </a:cubicBezTo>
                <a:cubicBezTo>
                  <a:pt x="4741472" y="943858"/>
                  <a:pt x="4735246" y="950422"/>
                  <a:pt x="4726684" y="950422"/>
                </a:cubicBezTo>
                <a:cubicBezTo>
                  <a:pt x="4718122" y="950422"/>
                  <a:pt x="4711896" y="943858"/>
                  <a:pt x="4711896" y="938024"/>
                </a:cubicBezTo>
                <a:cubicBezTo>
                  <a:pt x="4711896" y="930002"/>
                  <a:pt x="4718122" y="924168"/>
                  <a:pt x="4726684" y="924168"/>
                </a:cubicBezTo>
                <a:close/>
                <a:moveTo>
                  <a:pt x="4655853" y="924168"/>
                </a:moveTo>
                <a:cubicBezTo>
                  <a:pt x="4663637" y="924168"/>
                  <a:pt x="4670642" y="930002"/>
                  <a:pt x="4670642" y="938024"/>
                </a:cubicBezTo>
                <a:cubicBezTo>
                  <a:pt x="4670642" y="943858"/>
                  <a:pt x="4663637" y="950422"/>
                  <a:pt x="4655853" y="950422"/>
                </a:cubicBezTo>
                <a:cubicBezTo>
                  <a:pt x="4647291" y="950422"/>
                  <a:pt x="4641064" y="943858"/>
                  <a:pt x="4641064" y="938024"/>
                </a:cubicBezTo>
                <a:cubicBezTo>
                  <a:pt x="4641064" y="930002"/>
                  <a:pt x="4647291" y="924168"/>
                  <a:pt x="4655853" y="924168"/>
                </a:cubicBezTo>
                <a:close/>
                <a:moveTo>
                  <a:pt x="4584091" y="924168"/>
                </a:moveTo>
                <a:cubicBezTo>
                  <a:pt x="4591384" y="924168"/>
                  <a:pt x="4596488" y="930002"/>
                  <a:pt x="4596488" y="938024"/>
                </a:cubicBezTo>
                <a:cubicBezTo>
                  <a:pt x="4596488" y="943858"/>
                  <a:pt x="4591384" y="950422"/>
                  <a:pt x="4584091" y="950422"/>
                </a:cubicBezTo>
                <a:cubicBezTo>
                  <a:pt x="4576069" y="950422"/>
                  <a:pt x="4570235" y="943858"/>
                  <a:pt x="4570235" y="938024"/>
                </a:cubicBezTo>
                <a:cubicBezTo>
                  <a:pt x="4570235" y="930002"/>
                  <a:pt x="4576069" y="924168"/>
                  <a:pt x="4584091" y="924168"/>
                </a:cubicBezTo>
                <a:close/>
                <a:moveTo>
                  <a:pt x="4513260" y="924168"/>
                </a:moveTo>
                <a:cubicBezTo>
                  <a:pt x="4519094" y="924168"/>
                  <a:pt x="4525657" y="930002"/>
                  <a:pt x="4525657" y="938024"/>
                </a:cubicBezTo>
                <a:cubicBezTo>
                  <a:pt x="4525657" y="943858"/>
                  <a:pt x="4519094" y="950422"/>
                  <a:pt x="4513260" y="950422"/>
                </a:cubicBezTo>
                <a:cubicBezTo>
                  <a:pt x="4505238" y="950422"/>
                  <a:pt x="4499404" y="943858"/>
                  <a:pt x="4499404" y="938024"/>
                </a:cubicBezTo>
                <a:cubicBezTo>
                  <a:pt x="4499404" y="930002"/>
                  <a:pt x="4505238" y="924168"/>
                  <a:pt x="4513260" y="924168"/>
                </a:cubicBezTo>
                <a:close/>
                <a:moveTo>
                  <a:pt x="4439056" y="924168"/>
                </a:moveTo>
                <a:cubicBezTo>
                  <a:pt x="4445619" y="924168"/>
                  <a:pt x="4451453" y="930002"/>
                  <a:pt x="4451453" y="938024"/>
                </a:cubicBezTo>
                <a:cubicBezTo>
                  <a:pt x="4451453" y="943858"/>
                  <a:pt x="4445619" y="950422"/>
                  <a:pt x="4439056" y="950422"/>
                </a:cubicBezTo>
                <a:cubicBezTo>
                  <a:pt x="4431763" y="950422"/>
                  <a:pt x="4425200" y="943858"/>
                  <a:pt x="4425200" y="938024"/>
                </a:cubicBezTo>
                <a:cubicBezTo>
                  <a:pt x="4425200" y="930002"/>
                  <a:pt x="4431763" y="924168"/>
                  <a:pt x="4439056" y="924168"/>
                </a:cubicBezTo>
                <a:close/>
                <a:moveTo>
                  <a:pt x="4366768" y="924168"/>
                </a:moveTo>
                <a:cubicBezTo>
                  <a:pt x="4374790" y="924168"/>
                  <a:pt x="4380624" y="930002"/>
                  <a:pt x="4380624" y="938024"/>
                </a:cubicBezTo>
                <a:cubicBezTo>
                  <a:pt x="4380624" y="943858"/>
                  <a:pt x="4374790" y="950422"/>
                  <a:pt x="4366768" y="950422"/>
                </a:cubicBezTo>
                <a:cubicBezTo>
                  <a:pt x="4360934" y="950422"/>
                  <a:pt x="4354371" y="943858"/>
                  <a:pt x="4354371" y="938024"/>
                </a:cubicBezTo>
                <a:cubicBezTo>
                  <a:pt x="4354371" y="930002"/>
                  <a:pt x="4360934" y="924168"/>
                  <a:pt x="4366768" y="924168"/>
                </a:cubicBezTo>
                <a:close/>
                <a:moveTo>
                  <a:pt x="4295937" y="924168"/>
                </a:moveTo>
                <a:cubicBezTo>
                  <a:pt x="4303959" y="924168"/>
                  <a:pt x="4309793" y="930002"/>
                  <a:pt x="4309793" y="938024"/>
                </a:cubicBezTo>
                <a:cubicBezTo>
                  <a:pt x="4309793" y="943858"/>
                  <a:pt x="4303959" y="950422"/>
                  <a:pt x="4295937" y="950422"/>
                </a:cubicBezTo>
                <a:cubicBezTo>
                  <a:pt x="4290103" y="950422"/>
                  <a:pt x="4283540" y="943858"/>
                  <a:pt x="4283540" y="938024"/>
                </a:cubicBezTo>
                <a:cubicBezTo>
                  <a:pt x="4283540" y="930002"/>
                  <a:pt x="4290103" y="924168"/>
                  <a:pt x="4295937" y="924168"/>
                </a:cubicBezTo>
                <a:close/>
                <a:moveTo>
                  <a:pt x="4225107" y="924168"/>
                </a:moveTo>
                <a:cubicBezTo>
                  <a:pt x="4233129" y="924168"/>
                  <a:pt x="4238963" y="930002"/>
                  <a:pt x="4238963" y="938024"/>
                </a:cubicBezTo>
                <a:cubicBezTo>
                  <a:pt x="4238963" y="943858"/>
                  <a:pt x="4233129" y="950422"/>
                  <a:pt x="4225107" y="950422"/>
                </a:cubicBezTo>
                <a:cubicBezTo>
                  <a:pt x="4217085" y="950422"/>
                  <a:pt x="4212710" y="943858"/>
                  <a:pt x="4212710" y="938024"/>
                </a:cubicBezTo>
                <a:cubicBezTo>
                  <a:pt x="4212710" y="930002"/>
                  <a:pt x="4217085" y="924168"/>
                  <a:pt x="4225107" y="924168"/>
                </a:cubicBezTo>
                <a:close/>
                <a:moveTo>
                  <a:pt x="4153295" y="924168"/>
                </a:moveTo>
                <a:cubicBezTo>
                  <a:pt x="4161078" y="924168"/>
                  <a:pt x="4168083" y="930002"/>
                  <a:pt x="4168083" y="938024"/>
                </a:cubicBezTo>
                <a:cubicBezTo>
                  <a:pt x="4168083" y="943858"/>
                  <a:pt x="4161078" y="950422"/>
                  <a:pt x="4153295" y="950422"/>
                </a:cubicBezTo>
                <a:cubicBezTo>
                  <a:pt x="4144733" y="950422"/>
                  <a:pt x="4138507" y="943858"/>
                  <a:pt x="4138507" y="938024"/>
                </a:cubicBezTo>
                <a:cubicBezTo>
                  <a:pt x="4138507" y="930002"/>
                  <a:pt x="4144733" y="924168"/>
                  <a:pt x="4153295" y="924168"/>
                </a:cubicBezTo>
                <a:close/>
                <a:moveTo>
                  <a:pt x="4082465" y="924168"/>
                </a:moveTo>
                <a:cubicBezTo>
                  <a:pt x="4090249" y="924168"/>
                  <a:pt x="4097254" y="930002"/>
                  <a:pt x="4097254" y="938024"/>
                </a:cubicBezTo>
                <a:cubicBezTo>
                  <a:pt x="4097254" y="943858"/>
                  <a:pt x="4090249" y="950422"/>
                  <a:pt x="4082465" y="950422"/>
                </a:cubicBezTo>
                <a:cubicBezTo>
                  <a:pt x="4073903" y="950422"/>
                  <a:pt x="4067676" y="943858"/>
                  <a:pt x="4067676" y="938024"/>
                </a:cubicBezTo>
                <a:cubicBezTo>
                  <a:pt x="4067676" y="930002"/>
                  <a:pt x="4073903" y="924168"/>
                  <a:pt x="4082465" y="924168"/>
                </a:cubicBezTo>
                <a:close/>
                <a:moveTo>
                  <a:pt x="4011635" y="924168"/>
                </a:moveTo>
                <a:cubicBezTo>
                  <a:pt x="4019418" y="924168"/>
                  <a:pt x="4026423" y="930002"/>
                  <a:pt x="4026423" y="938024"/>
                </a:cubicBezTo>
                <a:cubicBezTo>
                  <a:pt x="4026423" y="943858"/>
                  <a:pt x="4019418" y="950422"/>
                  <a:pt x="4011635" y="950422"/>
                </a:cubicBezTo>
                <a:cubicBezTo>
                  <a:pt x="4003073" y="950422"/>
                  <a:pt x="3996847" y="943858"/>
                  <a:pt x="3996847" y="938024"/>
                </a:cubicBezTo>
                <a:cubicBezTo>
                  <a:pt x="3996847" y="930002"/>
                  <a:pt x="4003073" y="924168"/>
                  <a:pt x="4011635" y="924168"/>
                </a:cubicBezTo>
                <a:close/>
                <a:moveTo>
                  <a:pt x="3939871" y="924168"/>
                </a:moveTo>
                <a:cubicBezTo>
                  <a:pt x="3947893" y="924168"/>
                  <a:pt x="3952268" y="930002"/>
                  <a:pt x="3952268" y="938024"/>
                </a:cubicBezTo>
                <a:cubicBezTo>
                  <a:pt x="3952268" y="945317"/>
                  <a:pt x="3947893" y="950422"/>
                  <a:pt x="3939871" y="950422"/>
                </a:cubicBezTo>
                <a:cubicBezTo>
                  <a:pt x="3932578" y="950422"/>
                  <a:pt x="3926015" y="945317"/>
                  <a:pt x="3926015" y="938024"/>
                </a:cubicBezTo>
                <a:cubicBezTo>
                  <a:pt x="3926015" y="930002"/>
                  <a:pt x="3932578" y="924168"/>
                  <a:pt x="3939871" y="924168"/>
                </a:cubicBezTo>
                <a:close/>
                <a:moveTo>
                  <a:pt x="3869042" y="924168"/>
                </a:moveTo>
                <a:cubicBezTo>
                  <a:pt x="3875605" y="924168"/>
                  <a:pt x="3881439" y="930002"/>
                  <a:pt x="3881439" y="938024"/>
                </a:cubicBezTo>
                <a:cubicBezTo>
                  <a:pt x="3881439" y="945317"/>
                  <a:pt x="3875605" y="950422"/>
                  <a:pt x="3869042" y="950422"/>
                </a:cubicBezTo>
                <a:cubicBezTo>
                  <a:pt x="3861749" y="950422"/>
                  <a:pt x="3855186" y="945317"/>
                  <a:pt x="3855186" y="938024"/>
                </a:cubicBezTo>
                <a:cubicBezTo>
                  <a:pt x="3855186" y="930002"/>
                  <a:pt x="3861749" y="924168"/>
                  <a:pt x="3869042" y="924168"/>
                </a:cubicBezTo>
                <a:close/>
                <a:moveTo>
                  <a:pt x="3798211" y="924168"/>
                </a:moveTo>
                <a:cubicBezTo>
                  <a:pt x="3804774" y="924168"/>
                  <a:pt x="3810608" y="930002"/>
                  <a:pt x="3810608" y="938024"/>
                </a:cubicBezTo>
                <a:cubicBezTo>
                  <a:pt x="3810608" y="945317"/>
                  <a:pt x="3804774" y="950422"/>
                  <a:pt x="3798211" y="950422"/>
                </a:cubicBezTo>
                <a:cubicBezTo>
                  <a:pt x="3790918" y="950422"/>
                  <a:pt x="3784355" y="945317"/>
                  <a:pt x="3784355" y="938024"/>
                </a:cubicBezTo>
                <a:cubicBezTo>
                  <a:pt x="3784355" y="930002"/>
                  <a:pt x="3790918" y="924168"/>
                  <a:pt x="3798211" y="924168"/>
                </a:cubicBezTo>
                <a:close/>
                <a:moveTo>
                  <a:pt x="3725922" y="924168"/>
                </a:moveTo>
                <a:cubicBezTo>
                  <a:pt x="3733944" y="924168"/>
                  <a:pt x="3739778" y="930002"/>
                  <a:pt x="3739778" y="938024"/>
                </a:cubicBezTo>
                <a:cubicBezTo>
                  <a:pt x="3739778" y="945317"/>
                  <a:pt x="3733944" y="950422"/>
                  <a:pt x="3725922" y="950422"/>
                </a:cubicBezTo>
                <a:cubicBezTo>
                  <a:pt x="3719359" y="950422"/>
                  <a:pt x="3713525" y="945317"/>
                  <a:pt x="3713525" y="938024"/>
                </a:cubicBezTo>
                <a:cubicBezTo>
                  <a:pt x="3713525" y="930002"/>
                  <a:pt x="3719359" y="924168"/>
                  <a:pt x="3725922" y="924168"/>
                </a:cubicBezTo>
                <a:close/>
                <a:moveTo>
                  <a:pt x="3655091" y="924168"/>
                </a:moveTo>
                <a:cubicBezTo>
                  <a:pt x="3662384" y="924168"/>
                  <a:pt x="3668947" y="930002"/>
                  <a:pt x="3668947" y="938024"/>
                </a:cubicBezTo>
                <a:cubicBezTo>
                  <a:pt x="3668947" y="945317"/>
                  <a:pt x="3662384" y="950422"/>
                  <a:pt x="3655091" y="950422"/>
                </a:cubicBezTo>
                <a:cubicBezTo>
                  <a:pt x="3647069" y="950422"/>
                  <a:pt x="3642694" y="945317"/>
                  <a:pt x="3642694" y="938024"/>
                </a:cubicBezTo>
                <a:cubicBezTo>
                  <a:pt x="3642694" y="930002"/>
                  <a:pt x="3647069" y="924168"/>
                  <a:pt x="3655091" y="924168"/>
                </a:cubicBezTo>
                <a:close/>
                <a:moveTo>
                  <a:pt x="3583280" y="924168"/>
                </a:moveTo>
                <a:cubicBezTo>
                  <a:pt x="3591064" y="924168"/>
                  <a:pt x="3598069" y="930002"/>
                  <a:pt x="3598069" y="938024"/>
                </a:cubicBezTo>
                <a:cubicBezTo>
                  <a:pt x="3598069" y="945317"/>
                  <a:pt x="3591064" y="950422"/>
                  <a:pt x="3583280" y="950422"/>
                </a:cubicBezTo>
                <a:cubicBezTo>
                  <a:pt x="3574718" y="950422"/>
                  <a:pt x="3568491" y="945317"/>
                  <a:pt x="3568491" y="938024"/>
                </a:cubicBezTo>
                <a:cubicBezTo>
                  <a:pt x="3568491" y="930002"/>
                  <a:pt x="3574718" y="924168"/>
                  <a:pt x="3583280" y="924168"/>
                </a:cubicBezTo>
                <a:close/>
                <a:moveTo>
                  <a:pt x="941441" y="856710"/>
                </a:moveTo>
                <a:cubicBezTo>
                  <a:pt x="949463" y="856710"/>
                  <a:pt x="953839" y="861085"/>
                  <a:pt x="953839" y="869107"/>
                </a:cubicBezTo>
                <a:cubicBezTo>
                  <a:pt x="953839" y="876400"/>
                  <a:pt x="949463" y="882964"/>
                  <a:pt x="941441" y="882964"/>
                </a:cubicBezTo>
                <a:cubicBezTo>
                  <a:pt x="934149" y="882964"/>
                  <a:pt x="927585" y="876400"/>
                  <a:pt x="927585" y="869107"/>
                </a:cubicBezTo>
                <a:cubicBezTo>
                  <a:pt x="927585" y="861085"/>
                  <a:pt x="934149" y="856710"/>
                  <a:pt x="941441" y="856710"/>
                </a:cubicBezTo>
                <a:close/>
                <a:moveTo>
                  <a:pt x="870610" y="856710"/>
                </a:moveTo>
                <a:cubicBezTo>
                  <a:pt x="877174" y="856710"/>
                  <a:pt x="883008" y="861085"/>
                  <a:pt x="883008" y="869107"/>
                </a:cubicBezTo>
                <a:cubicBezTo>
                  <a:pt x="883008" y="876400"/>
                  <a:pt x="877174" y="882964"/>
                  <a:pt x="870610" y="882964"/>
                </a:cubicBezTo>
                <a:cubicBezTo>
                  <a:pt x="863318" y="882964"/>
                  <a:pt x="856754" y="876400"/>
                  <a:pt x="856754" y="869107"/>
                </a:cubicBezTo>
                <a:cubicBezTo>
                  <a:pt x="856754" y="861085"/>
                  <a:pt x="863318" y="856710"/>
                  <a:pt x="870610" y="856710"/>
                </a:cubicBezTo>
                <a:close/>
                <a:moveTo>
                  <a:pt x="799780" y="856710"/>
                </a:moveTo>
                <a:cubicBezTo>
                  <a:pt x="806344" y="856710"/>
                  <a:pt x="812178" y="861085"/>
                  <a:pt x="812178" y="869107"/>
                </a:cubicBezTo>
                <a:cubicBezTo>
                  <a:pt x="812178" y="876400"/>
                  <a:pt x="806344" y="882964"/>
                  <a:pt x="799780" y="882964"/>
                </a:cubicBezTo>
                <a:cubicBezTo>
                  <a:pt x="792487" y="882964"/>
                  <a:pt x="785924" y="876400"/>
                  <a:pt x="785924" y="869107"/>
                </a:cubicBezTo>
                <a:cubicBezTo>
                  <a:pt x="785924" y="861085"/>
                  <a:pt x="792487" y="856710"/>
                  <a:pt x="799780" y="856710"/>
                </a:cubicBezTo>
                <a:close/>
                <a:moveTo>
                  <a:pt x="724119" y="856710"/>
                </a:moveTo>
                <a:cubicBezTo>
                  <a:pt x="731411" y="856710"/>
                  <a:pt x="737976" y="861085"/>
                  <a:pt x="737976" y="869107"/>
                </a:cubicBezTo>
                <a:cubicBezTo>
                  <a:pt x="737976" y="876400"/>
                  <a:pt x="731411" y="882964"/>
                  <a:pt x="724119" y="882964"/>
                </a:cubicBezTo>
                <a:cubicBezTo>
                  <a:pt x="717555" y="882964"/>
                  <a:pt x="711721" y="876400"/>
                  <a:pt x="711721" y="869107"/>
                </a:cubicBezTo>
                <a:cubicBezTo>
                  <a:pt x="711721" y="861085"/>
                  <a:pt x="717555" y="856710"/>
                  <a:pt x="724119" y="856710"/>
                </a:cubicBezTo>
                <a:close/>
                <a:moveTo>
                  <a:pt x="653288" y="856710"/>
                </a:moveTo>
                <a:cubicBezTo>
                  <a:pt x="660580" y="856710"/>
                  <a:pt x="667144" y="861085"/>
                  <a:pt x="667144" y="869107"/>
                </a:cubicBezTo>
                <a:cubicBezTo>
                  <a:pt x="667144" y="876400"/>
                  <a:pt x="660580" y="882964"/>
                  <a:pt x="653288" y="882964"/>
                </a:cubicBezTo>
                <a:cubicBezTo>
                  <a:pt x="645266" y="882964"/>
                  <a:pt x="640891" y="876400"/>
                  <a:pt x="640891" y="869107"/>
                </a:cubicBezTo>
                <a:cubicBezTo>
                  <a:pt x="640891" y="861085"/>
                  <a:pt x="645266" y="856710"/>
                  <a:pt x="653288" y="856710"/>
                </a:cubicBezTo>
                <a:close/>
                <a:moveTo>
                  <a:pt x="584851" y="856710"/>
                </a:moveTo>
                <a:cubicBezTo>
                  <a:pt x="592633" y="856710"/>
                  <a:pt x="599638" y="861085"/>
                  <a:pt x="599638" y="869107"/>
                </a:cubicBezTo>
                <a:cubicBezTo>
                  <a:pt x="599638" y="876400"/>
                  <a:pt x="592633" y="882964"/>
                  <a:pt x="584851" y="882964"/>
                </a:cubicBezTo>
                <a:cubicBezTo>
                  <a:pt x="576288" y="882964"/>
                  <a:pt x="570061" y="876400"/>
                  <a:pt x="570061" y="869107"/>
                </a:cubicBezTo>
                <a:cubicBezTo>
                  <a:pt x="570061" y="861085"/>
                  <a:pt x="576288" y="856710"/>
                  <a:pt x="584851" y="856710"/>
                </a:cubicBezTo>
                <a:close/>
                <a:moveTo>
                  <a:pt x="513649" y="856710"/>
                </a:moveTo>
                <a:cubicBezTo>
                  <a:pt x="521998" y="856710"/>
                  <a:pt x="528826" y="861085"/>
                  <a:pt x="528826" y="869107"/>
                </a:cubicBezTo>
                <a:cubicBezTo>
                  <a:pt x="528826" y="876400"/>
                  <a:pt x="521998" y="882964"/>
                  <a:pt x="513649" y="882964"/>
                </a:cubicBezTo>
                <a:cubicBezTo>
                  <a:pt x="506060" y="882964"/>
                  <a:pt x="499230" y="876400"/>
                  <a:pt x="499230" y="869107"/>
                </a:cubicBezTo>
                <a:cubicBezTo>
                  <a:pt x="499230" y="861085"/>
                  <a:pt x="506060" y="856710"/>
                  <a:pt x="513649" y="856710"/>
                </a:cubicBezTo>
                <a:close/>
                <a:moveTo>
                  <a:pt x="439816" y="856710"/>
                </a:moveTo>
                <a:cubicBezTo>
                  <a:pt x="448379" y="856710"/>
                  <a:pt x="454606" y="861085"/>
                  <a:pt x="454606" y="869107"/>
                </a:cubicBezTo>
                <a:cubicBezTo>
                  <a:pt x="454606" y="876400"/>
                  <a:pt x="448379" y="882964"/>
                  <a:pt x="439816" y="882964"/>
                </a:cubicBezTo>
                <a:cubicBezTo>
                  <a:pt x="432032" y="882964"/>
                  <a:pt x="425028" y="876400"/>
                  <a:pt x="425028" y="869107"/>
                </a:cubicBezTo>
                <a:cubicBezTo>
                  <a:pt x="425028" y="861085"/>
                  <a:pt x="432032" y="856710"/>
                  <a:pt x="439816" y="856710"/>
                </a:cubicBezTo>
                <a:close/>
                <a:moveTo>
                  <a:pt x="368053" y="856710"/>
                </a:moveTo>
                <a:cubicBezTo>
                  <a:pt x="376076" y="856710"/>
                  <a:pt x="380451" y="861085"/>
                  <a:pt x="380451" y="869107"/>
                </a:cubicBezTo>
                <a:cubicBezTo>
                  <a:pt x="380451" y="876400"/>
                  <a:pt x="376076" y="882964"/>
                  <a:pt x="368053" y="882964"/>
                </a:cubicBezTo>
                <a:cubicBezTo>
                  <a:pt x="360761" y="882964"/>
                  <a:pt x="354198" y="876400"/>
                  <a:pt x="354198" y="869107"/>
                </a:cubicBezTo>
                <a:cubicBezTo>
                  <a:pt x="354198" y="861085"/>
                  <a:pt x="360761" y="856710"/>
                  <a:pt x="368053" y="856710"/>
                </a:cubicBezTo>
                <a:close/>
                <a:moveTo>
                  <a:pt x="297222" y="856710"/>
                </a:moveTo>
                <a:cubicBezTo>
                  <a:pt x="303785" y="856710"/>
                  <a:pt x="309618" y="861085"/>
                  <a:pt x="309618" y="869107"/>
                </a:cubicBezTo>
                <a:cubicBezTo>
                  <a:pt x="309618" y="876400"/>
                  <a:pt x="303785" y="882964"/>
                  <a:pt x="297222" y="882964"/>
                </a:cubicBezTo>
                <a:cubicBezTo>
                  <a:pt x="289929" y="882964"/>
                  <a:pt x="283366" y="876400"/>
                  <a:pt x="283366" y="869107"/>
                </a:cubicBezTo>
                <a:cubicBezTo>
                  <a:pt x="283366" y="862544"/>
                  <a:pt x="289929" y="856710"/>
                  <a:pt x="297222" y="856710"/>
                </a:cubicBezTo>
                <a:close/>
                <a:moveTo>
                  <a:pt x="226393" y="856710"/>
                </a:moveTo>
                <a:cubicBezTo>
                  <a:pt x="232228" y="856710"/>
                  <a:pt x="238791" y="862544"/>
                  <a:pt x="238791" y="869107"/>
                </a:cubicBezTo>
                <a:cubicBezTo>
                  <a:pt x="238791" y="876400"/>
                  <a:pt x="232228" y="882964"/>
                  <a:pt x="226393" y="882964"/>
                </a:cubicBezTo>
                <a:cubicBezTo>
                  <a:pt x="218370" y="882964"/>
                  <a:pt x="212537" y="876400"/>
                  <a:pt x="212537" y="869107"/>
                </a:cubicBezTo>
                <a:cubicBezTo>
                  <a:pt x="212537" y="862544"/>
                  <a:pt x="218370" y="856710"/>
                  <a:pt x="226393" y="856710"/>
                </a:cubicBezTo>
                <a:close/>
                <a:moveTo>
                  <a:pt x="154097" y="856710"/>
                </a:moveTo>
                <a:cubicBezTo>
                  <a:pt x="161389" y="856710"/>
                  <a:pt x="167953" y="862544"/>
                  <a:pt x="167953" y="869107"/>
                </a:cubicBezTo>
                <a:cubicBezTo>
                  <a:pt x="167953" y="876400"/>
                  <a:pt x="161389" y="882964"/>
                  <a:pt x="154097" y="882964"/>
                </a:cubicBezTo>
                <a:cubicBezTo>
                  <a:pt x="147533" y="882964"/>
                  <a:pt x="141699" y="876400"/>
                  <a:pt x="141699" y="869107"/>
                </a:cubicBezTo>
                <a:cubicBezTo>
                  <a:pt x="141699" y="862544"/>
                  <a:pt x="147533" y="856710"/>
                  <a:pt x="154097" y="856710"/>
                </a:cubicBezTo>
                <a:close/>
                <a:moveTo>
                  <a:pt x="83267" y="856710"/>
                </a:moveTo>
                <a:cubicBezTo>
                  <a:pt x="90560" y="856710"/>
                  <a:pt x="97123" y="862544"/>
                  <a:pt x="97123" y="869107"/>
                </a:cubicBezTo>
                <a:cubicBezTo>
                  <a:pt x="97123" y="876400"/>
                  <a:pt x="90560" y="882964"/>
                  <a:pt x="83267" y="882964"/>
                </a:cubicBezTo>
                <a:cubicBezTo>
                  <a:pt x="76704" y="882964"/>
                  <a:pt x="70870" y="876400"/>
                  <a:pt x="70870" y="869107"/>
                </a:cubicBezTo>
                <a:cubicBezTo>
                  <a:pt x="70870" y="862544"/>
                  <a:pt x="76704" y="856710"/>
                  <a:pt x="83267" y="856710"/>
                </a:cubicBezTo>
                <a:close/>
                <a:moveTo>
                  <a:pt x="12032" y="856710"/>
                </a:moveTo>
                <a:cubicBezTo>
                  <a:pt x="20276" y="856710"/>
                  <a:pt x="26273" y="862544"/>
                  <a:pt x="26273" y="869107"/>
                </a:cubicBezTo>
                <a:cubicBezTo>
                  <a:pt x="26273" y="876400"/>
                  <a:pt x="20276" y="882964"/>
                  <a:pt x="12032" y="882964"/>
                </a:cubicBezTo>
                <a:cubicBezTo>
                  <a:pt x="4536" y="882964"/>
                  <a:pt x="39" y="876400"/>
                  <a:pt x="39" y="869107"/>
                </a:cubicBezTo>
                <a:cubicBezTo>
                  <a:pt x="39" y="862544"/>
                  <a:pt x="4536" y="856710"/>
                  <a:pt x="12032" y="856710"/>
                </a:cubicBezTo>
                <a:close/>
                <a:moveTo>
                  <a:pt x="6368340" y="853339"/>
                </a:moveTo>
                <a:cubicBezTo>
                  <a:pt x="6376362" y="853339"/>
                  <a:pt x="6380737" y="860169"/>
                  <a:pt x="6380737" y="867757"/>
                </a:cubicBezTo>
                <a:cubicBezTo>
                  <a:pt x="6380737" y="876105"/>
                  <a:pt x="6376362" y="882935"/>
                  <a:pt x="6368340" y="882935"/>
                </a:cubicBezTo>
                <a:cubicBezTo>
                  <a:pt x="6361047" y="882935"/>
                  <a:pt x="6354484" y="876105"/>
                  <a:pt x="6354484" y="867757"/>
                </a:cubicBezTo>
                <a:cubicBezTo>
                  <a:pt x="6354484" y="860169"/>
                  <a:pt x="6361047" y="853339"/>
                  <a:pt x="6368340" y="853339"/>
                </a:cubicBezTo>
                <a:close/>
                <a:moveTo>
                  <a:pt x="6297511" y="853339"/>
                </a:moveTo>
                <a:cubicBezTo>
                  <a:pt x="6304074" y="853339"/>
                  <a:pt x="6309908" y="860169"/>
                  <a:pt x="6309908" y="867757"/>
                </a:cubicBezTo>
                <a:cubicBezTo>
                  <a:pt x="6309908" y="876105"/>
                  <a:pt x="6304074" y="882935"/>
                  <a:pt x="6297511" y="882935"/>
                </a:cubicBezTo>
                <a:cubicBezTo>
                  <a:pt x="6290218" y="882935"/>
                  <a:pt x="6283655" y="876105"/>
                  <a:pt x="6283655" y="867757"/>
                </a:cubicBezTo>
                <a:cubicBezTo>
                  <a:pt x="6283655" y="860169"/>
                  <a:pt x="6290218" y="853339"/>
                  <a:pt x="6297511" y="853339"/>
                </a:cubicBezTo>
                <a:close/>
                <a:moveTo>
                  <a:pt x="6226679" y="853339"/>
                </a:moveTo>
                <a:cubicBezTo>
                  <a:pt x="6233242" y="853339"/>
                  <a:pt x="6239076" y="860169"/>
                  <a:pt x="6239076" y="867757"/>
                </a:cubicBezTo>
                <a:cubicBezTo>
                  <a:pt x="6239076" y="876105"/>
                  <a:pt x="6233242" y="882935"/>
                  <a:pt x="6226679" y="882935"/>
                </a:cubicBezTo>
                <a:cubicBezTo>
                  <a:pt x="6219386" y="882935"/>
                  <a:pt x="6212823" y="876105"/>
                  <a:pt x="6212823" y="867757"/>
                </a:cubicBezTo>
                <a:cubicBezTo>
                  <a:pt x="6212823" y="860169"/>
                  <a:pt x="6219386" y="855615"/>
                  <a:pt x="6226679" y="853339"/>
                </a:cubicBezTo>
                <a:close/>
                <a:moveTo>
                  <a:pt x="6154391" y="853339"/>
                </a:moveTo>
                <a:cubicBezTo>
                  <a:pt x="6161684" y="853339"/>
                  <a:pt x="6168247" y="857714"/>
                  <a:pt x="6168247" y="865007"/>
                </a:cubicBezTo>
                <a:cubicBezTo>
                  <a:pt x="6168247" y="873029"/>
                  <a:pt x="6161684" y="879593"/>
                  <a:pt x="6154391" y="879593"/>
                </a:cubicBezTo>
                <a:cubicBezTo>
                  <a:pt x="6147828" y="879593"/>
                  <a:pt x="6141994" y="873029"/>
                  <a:pt x="6141994" y="865007"/>
                </a:cubicBezTo>
                <a:cubicBezTo>
                  <a:pt x="6141994" y="857714"/>
                  <a:pt x="6147828" y="853339"/>
                  <a:pt x="6154391" y="853339"/>
                </a:cubicBezTo>
                <a:close/>
                <a:moveTo>
                  <a:pt x="6083559" y="853339"/>
                </a:moveTo>
                <a:cubicBezTo>
                  <a:pt x="6090852" y="853339"/>
                  <a:pt x="6097415" y="857714"/>
                  <a:pt x="6097415" y="865007"/>
                </a:cubicBezTo>
                <a:cubicBezTo>
                  <a:pt x="6097415" y="873029"/>
                  <a:pt x="6090852" y="879593"/>
                  <a:pt x="6083559" y="879593"/>
                </a:cubicBezTo>
                <a:cubicBezTo>
                  <a:pt x="6076996" y="879593"/>
                  <a:pt x="6071162" y="873029"/>
                  <a:pt x="6071162" y="865007"/>
                </a:cubicBezTo>
                <a:cubicBezTo>
                  <a:pt x="6071162" y="857714"/>
                  <a:pt x="6075537" y="853339"/>
                  <a:pt x="6083559" y="853339"/>
                </a:cubicBezTo>
                <a:close/>
                <a:moveTo>
                  <a:pt x="6011748" y="853339"/>
                </a:moveTo>
                <a:cubicBezTo>
                  <a:pt x="6019532" y="853339"/>
                  <a:pt x="6026537" y="857714"/>
                  <a:pt x="6026537" y="865007"/>
                </a:cubicBezTo>
                <a:cubicBezTo>
                  <a:pt x="6026537" y="873029"/>
                  <a:pt x="6019532" y="879593"/>
                  <a:pt x="6011748" y="879593"/>
                </a:cubicBezTo>
                <a:cubicBezTo>
                  <a:pt x="6003186" y="879593"/>
                  <a:pt x="5996959" y="873029"/>
                  <a:pt x="5996959" y="865007"/>
                </a:cubicBezTo>
                <a:cubicBezTo>
                  <a:pt x="5996959" y="857714"/>
                  <a:pt x="6003186" y="853339"/>
                  <a:pt x="6011748" y="853339"/>
                </a:cubicBezTo>
                <a:close/>
                <a:moveTo>
                  <a:pt x="5940548" y="853339"/>
                </a:moveTo>
                <a:cubicBezTo>
                  <a:pt x="5948896" y="853339"/>
                  <a:pt x="5955726" y="857714"/>
                  <a:pt x="5955726" y="865007"/>
                </a:cubicBezTo>
                <a:cubicBezTo>
                  <a:pt x="5955726" y="873029"/>
                  <a:pt x="5948896" y="879593"/>
                  <a:pt x="5940548" y="879593"/>
                </a:cubicBezTo>
                <a:cubicBezTo>
                  <a:pt x="5932960" y="879593"/>
                  <a:pt x="5926130" y="873029"/>
                  <a:pt x="5926130" y="865007"/>
                </a:cubicBezTo>
                <a:cubicBezTo>
                  <a:pt x="5926130" y="857714"/>
                  <a:pt x="5932960" y="853339"/>
                  <a:pt x="5940548" y="853339"/>
                </a:cubicBezTo>
                <a:close/>
                <a:moveTo>
                  <a:pt x="5870088" y="853339"/>
                </a:moveTo>
                <a:cubicBezTo>
                  <a:pt x="5878650" y="853339"/>
                  <a:pt x="5884877" y="857714"/>
                  <a:pt x="5884877" y="865007"/>
                </a:cubicBezTo>
                <a:cubicBezTo>
                  <a:pt x="5884877" y="873029"/>
                  <a:pt x="5878650" y="879593"/>
                  <a:pt x="5870088" y="879593"/>
                </a:cubicBezTo>
                <a:cubicBezTo>
                  <a:pt x="5862304" y="879593"/>
                  <a:pt x="5855299" y="873029"/>
                  <a:pt x="5855299" y="865007"/>
                </a:cubicBezTo>
                <a:cubicBezTo>
                  <a:pt x="5855299" y="857714"/>
                  <a:pt x="5862304" y="853339"/>
                  <a:pt x="5870088" y="853339"/>
                </a:cubicBezTo>
                <a:close/>
                <a:moveTo>
                  <a:pt x="5798325" y="853339"/>
                </a:moveTo>
                <a:cubicBezTo>
                  <a:pt x="5806347" y="853339"/>
                  <a:pt x="5810722" y="857714"/>
                  <a:pt x="5810722" y="865007"/>
                </a:cubicBezTo>
                <a:cubicBezTo>
                  <a:pt x="5810722" y="873029"/>
                  <a:pt x="5806347" y="879593"/>
                  <a:pt x="5798325" y="879593"/>
                </a:cubicBezTo>
                <a:cubicBezTo>
                  <a:pt x="5791032" y="879593"/>
                  <a:pt x="5784469" y="873029"/>
                  <a:pt x="5784469" y="865007"/>
                </a:cubicBezTo>
                <a:cubicBezTo>
                  <a:pt x="5784469" y="857714"/>
                  <a:pt x="5791032" y="853339"/>
                  <a:pt x="5798325" y="853339"/>
                </a:cubicBezTo>
                <a:close/>
                <a:moveTo>
                  <a:pt x="5724122" y="853339"/>
                </a:moveTo>
                <a:cubicBezTo>
                  <a:pt x="5730685" y="853339"/>
                  <a:pt x="5736519" y="857714"/>
                  <a:pt x="5736519" y="865007"/>
                </a:cubicBezTo>
                <a:cubicBezTo>
                  <a:pt x="5736519" y="873029"/>
                  <a:pt x="5730685" y="879593"/>
                  <a:pt x="5724122" y="879593"/>
                </a:cubicBezTo>
                <a:cubicBezTo>
                  <a:pt x="5716100" y="879593"/>
                  <a:pt x="5710266" y="873029"/>
                  <a:pt x="5710266" y="865007"/>
                </a:cubicBezTo>
                <a:cubicBezTo>
                  <a:pt x="5710266" y="857714"/>
                  <a:pt x="5716100" y="853339"/>
                  <a:pt x="5724122" y="853339"/>
                </a:cubicBezTo>
                <a:close/>
                <a:moveTo>
                  <a:pt x="5653291" y="853339"/>
                </a:moveTo>
                <a:cubicBezTo>
                  <a:pt x="5659125" y="853339"/>
                  <a:pt x="5665688" y="857714"/>
                  <a:pt x="5665688" y="865007"/>
                </a:cubicBezTo>
                <a:cubicBezTo>
                  <a:pt x="5665688" y="873029"/>
                  <a:pt x="5659125" y="879593"/>
                  <a:pt x="5653291" y="879593"/>
                </a:cubicBezTo>
                <a:cubicBezTo>
                  <a:pt x="5645269" y="879593"/>
                  <a:pt x="5639435" y="873029"/>
                  <a:pt x="5639435" y="865007"/>
                </a:cubicBezTo>
                <a:cubicBezTo>
                  <a:pt x="5639435" y="857714"/>
                  <a:pt x="5645269" y="853339"/>
                  <a:pt x="5653291" y="853339"/>
                </a:cubicBezTo>
                <a:close/>
                <a:moveTo>
                  <a:pt x="5581002" y="853339"/>
                </a:moveTo>
                <a:cubicBezTo>
                  <a:pt x="5588295" y="853339"/>
                  <a:pt x="5594858" y="857714"/>
                  <a:pt x="5594858" y="865007"/>
                </a:cubicBezTo>
                <a:cubicBezTo>
                  <a:pt x="5594858" y="873029"/>
                  <a:pt x="5588295" y="879593"/>
                  <a:pt x="5581002" y="879593"/>
                </a:cubicBezTo>
                <a:cubicBezTo>
                  <a:pt x="5574439" y="879593"/>
                  <a:pt x="5568605" y="873029"/>
                  <a:pt x="5568605" y="865007"/>
                </a:cubicBezTo>
                <a:cubicBezTo>
                  <a:pt x="5568605" y="859173"/>
                  <a:pt x="5574439" y="853339"/>
                  <a:pt x="5581002" y="853339"/>
                </a:cubicBezTo>
                <a:close/>
                <a:moveTo>
                  <a:pt x="5510171" y="853339"/>
                </a:moveTo>
                <a:cubicBezTo>
                  <a:pt x="5517464" y="853339"/>
                  <a:pt x="5524027" y="859173"/>
                  <a:pt x="5524027" y="865007"/>
                </a:cubicBezTo>
                <a:cubicBezTo>
                  <a:pt x="5524027" y="873029"/>
                  <a:pt x="5517464" y="879593"/>
                  <a:pt x="5510171" y="879593"/>
                </a:cubicBezTo>
                <a:cubicBezTo>
                  <a:pt x="5503608" y="879593"/>
                  <a:pt x="5497774" y="873029"/>
                  <a:pt x="5497774" y="865007"/>
                </a:cubicBezTo>
                <a:cubicBezTo>
                  <a:pt x="5497774" y="859173"/>
                  <a:pt x="5503608" y="853339"/>
                  <a:pt x="5510171" y="853339"/>
                </a:cubicBezTo>
                <a:close/>
                <a:moveTo>
                  <a:pt x="5438937" y="853339"/>
                </a:moveTo>
                <a:cubicBezTo>
                  <a:pt x="5447182" y="853339"/>
                  <a:pt x="5453178" y="859173"/>
                  <a:pt x="5453178" y="865007"/>
                </a:cubicBezTo>
                <a:cubicBezTo>
                  <a:pt x="5453178" y="873029"/>
                  <a:pt x="5447182" y="879593"/>
                  <a:pt x="5438937" y="879593"/>
                </a:cubicBezTo>
                <a:cubicBezTo>
                  <a:pt x="5431442" y="879593"/>
                  <a:pt x="5426945" y="873029"/>
                  <a:pt x="5426945" y="865007"/>
                </a:cubicBezTo>
                <a:cubicBezTo>
                  <a:pt x="5426945" y="859173"/>
                  <a:pt x="5431442" y="853339"/>
                  <a:pt x="5438937" y="853339"/>
                </a:cubicBezTo>
                <a:close/>
                <a:moveTo>
                  <a:pt x="5367530" y="853339"/>
                </a:moveTo>
                <a:cubicBezTo>
                  <a:pt x="5376092" y="853339"/>
                  <a:pt x="5382318" y="859173"/>
                  <a:pt x="5382318" y="865007"/>
                </a:cubicBezTo>
                <a:cubicBezTo>
                  <a:pt x="5382318" y="873029"/>
                  <a:pt x="5376092" y="879593"/>
                  <a:pt x="5367530" y="879593"/>
                </a:cubicBezTo>
                <a:cubicBezTo>
                  <a:pt x="5359747" y="879593"/>
                  <a:pt x="5352742" y="873029"/>
                  <a:pt x="5352742" y="865007"/>
                </a:cubicBezTo>
                <a:cubicBezTo>
                  <a:pt x="5352742" y="859173"/>
                  <a:pt x="5359747" y="853339"/>
                  <a:pt x="5367530" y="853339"/>
                </a:cubicBezTo>
                <a:close/>
                <a:moveTo>
                  <a:pt x="5296699" y="853339"/>
                </a:moveTo>
                <a:cubicBezTo>
                  <a:pt x="5305261" y="853339"/>
                  <a:pt x="5311488" y="859173"/>
                  <a:pt x="5311488" y="865007"/>
                </a:cubicBezTo>
                <a:cubicBezTo>
                  <a:pt x="5311488" y="873029"/>
                  <a:pt x="5305261" y="879593"/>
                  <a:pt x="5296699" y="879593"/>
                </a:cubicBezTo>
                <a:cubicBezTo>
                  <a:pt x="5288915" y="879593"/>
                  <a:pt x="5281910" y="873029"/>
                  <a:pt x="5281910" y="865007"/>
                </a:cubicBezTo>
                <a:cubicBezTo>
                  <a:pt x="5281910" y="859173"/>
                  <a:pt x="5288915" y="853339"/>
                  <a:pt x="5296699" y="853339"/>
                </a:cubicBezTo>
                <a:close/>
                <a:moveTo>
                  <a:pt x="5225869" y="853339"/>
                </a:moveTo>
                <a:cubicBezTo>
                  <a:pt x="5234431" y="853339"/>
                  <a:pt x="5240657" y="859173"/>
                  <a:pt x="5240657" y="865007"/>
                </a:cubicBezTo>
                <a:cubicBezTo>
                  <a:pt x="5240657" y="873029"/>
                  <a:pt x="5234431" y="879593"/>
                  <a:pt x="5225869" y="879593"/>
                </a:cubicBezTo>
                <a:cubicBezTo>
                  <a:pt x="5217307" y="879593"/>
                  <a:pt x="5211081" y="873029"/>
                  <a:pt x="5211081" y="865007"/>
                </a:cubicBezTo>
                <a:cubicBezTo>
                  <a:pt x="5211081" y="859173"/>
                  <a:pt x="5217307" y="853339"/>
                  <a:pt x="5225869" y="853339"/>
                </a:cubicBezTo>
                <a:close/>
                <a:moveTo>
                  <a:pt x="5154105" y="853339"/>
                </a:moveTo>
                <a:cubicBezTo>
                  <a:pt x="5162127" y="853339"/>
                  <a:pt x="5166502" y="859173"/>
                  <a:pt x="5166502" y="865007"/>
                </a:cubicBezTo>
                <a:cubicBezTo>
                  <a:pt x="5166502" y="873029"/>
                  <a:pt x="5162127" y="879593"/>
                  <a:pt x="5154105" y="879593"/>
                </a:cubicBezTo>
                <a:cubicBezTo>
                  <a:pt x="5146083" y="879593"/>
                  <a:pt x="5140249" y="873029"/>
                  <a:pt x="5140249" y="865007"/>
                </a:cubicBezTo>
                <a:cubicBezTo>
                  <a:pt x="5140249" y="859173"/>
                  <a:pt x="5146083" y="853339"/>
                  <a:pt x="5154105" y="853339"/>
                </a:cubicBezTo>
                <a:close/>
                <a:moveTo>
                  <a:pt x="5083276" y="853339"/>
                </a:moveTo>
                <a:cubicBezTo>
                  <a:pt x="5089110" y="853339"/>
                  <a:pt x="5095673" y="859173"/>
                  <a:pt x="5095673" y="865007"/>
                </a:cubicBezTo>
                <a:cubicBezTo>
                  <a:pt x="5095673" y="873029"/>
                  <a:pt x="5089110" y="879593"/>
                  <a:pt x="5083276" y="879593"/>
                </a:cubicBezTo>
                <a:cubicBezTo>
                  <a:pt x="5075254" y="879593"/>
                  <a:pt x="5069420" y="873029"/>
                  <a:pt x="5069420" y="865007"/>
                </a:cubicBezTo>
                <a:cubicBezTo>
                  <a:pt x="5069420" y="859173"/>
                  <a:pt x="5075254" y="853339"/>
                  <a:pt x="5083276" y="853339"/>
                </a:cubicBezTo>
                <a:close/>
                <a:moveTo>
                  <a:pt x="5012445" y="853339"/>
                </a:moveTo>
                <a:cubicBezTo>
                  <a:pt x="5018279" y="853339"/>
                  <a:pt x="5024842" y="859173"/>
                  <a:pt x="5024842" y="865007"/>
                </a:cubicBezTo>
                <a:cubicBezTo>
                  <a:pt x="5024842" y="873029"/>
                  <a:pt x="5018279" y="879593"/>
                  <a:pt x="5012445" y="879593"/>
                </a:cubicBezTo>
                <a:cubicBezTo>
                  <a:pt x="5004423" y="879593"/>
                  <a:pt x="4998589" y="873029"/>
                  <a:pt x="4998589" y="865007"/>
                </a:cubicBezTo>
                <a:cubicBezTo>
                  <a:pt x="4998589" y="859173"/>
                  <a:pt x="5004423" y="853339"/>
                  <a:pt x="5012445" y="853339"/>
                </a:cubicBezTo>
                <a:close/>
                <a:moveTo>
                  <a:pt x="4940157" y="853339"/>
                </a:moveTo>
                <a:cubicBezTo>
                  <a:pt x="4948179" y="853339"/>
                  <a:pt x="4954013" y="859173"/>
                  <a:pt x="4954013" y="865007"/>
                </a:cubicBezTo>
                <a:cubicBezTo>
                  <a:pt x="4954013" y="873029"/>
                  <a:pt x="4948179" y="879593"/>
                  <a:pt x="4940157" y="879593"/>
                </a:cubicBezTo>
                <a:cubicBezTo>
                  <a:pt x="4934323" y="879593"/>
                  <a:pt x="4927760" y="873029"/>
                  <a:pt x="4927760" y="865007"/>
                </a:cubicBezTo>
                <a:cubicBezTo>
                  <a:pt x="4927760" y="859173"/>
                  <a:pt x="4934323" y="853339"/>
                  <a:pt x="4940157" y="853339"/>
                </a:cubicBezTo>
                <a:close/>
                <a:moveTo>
                  <a:pt x="4865953" y="853339"/>
                </a:moveTo>
                <a:cubicBezTo>
                  <a:pt x="4873975" y="853339"/>
                  <a:pt x="4879809" y="859173"/>
                  <a:pt x="4879809" y="865007"/>
                </a:cubicBezTo>
                <a:cubicBezTo>
                  <a:pt x="4879809" y="873029"/>
                  <a:pt x="4873975" y="879593"/>
                  <a:pt x="4865953" y="879593"/>
                </a:cubicBezTo>
                <a:cubicBezTo>
                  <a:pt x="4858661" y="879593"/>
                  <a:pt x="4853556" y="873029"/>
                  <a:pt x="4853556" y="865007"/>
                </a:cubicBezTo>
                <a:cubicBezTo>
                  <a:pt x="4853556" y="859173"/>
                  <a:pt x="4858661" y="853339"/>
                  <a:pt x="4865953" y="853339"/>
                </a:cubicBezTo>
                <a:close/>
                <a:moveTo>
                  <a:pt x="4797514" y="853339"/>
                </a:moveTo>
                <a:cubicBezTo>
                  <a:pt x="4806076" y="853339"/>
                  <a:pt x="4812303" y="859173"/>
                  <a:pt x="4812303" y="865007"/>
                </a:cubicBezTo>
                <a:cubicBezTo>
                  <a:pt x="4812303" y="873029"/>
                  <a:pt x="4806076" y="879593"/>
                  <a:pt x="4797514" y="879593"/>
                </a:cubicBezTo>
                <a:cubicBezTo>
                  <a:pt x="4789730" y="879593"/>
                  <a:pt x="4782725" y="873029"/>
                  <a:pt x="4782725" y="865007"/>
                </a:cubicBezTo>
                <a:cubicBezTo>
                  <a:pt x="4782725" y="859173"/>
                  <a:pt x="4789730" y="853339"/>
                  <a:pt x="4797514" y="853339"/>
                </a:cubicBezTo>
                <a:close/>
                <a:moveTo>
                  <a:pt x="4726684" y="853339"/>
                </a:moveTo>
                <a:cubicBezTo>
                  <a:pt x="4735246" y="853339"/>
                  <a:pt x="4741472" y="859173"/>
                  <a:pt x="4741472" y="865007"/>
                </a:cubicBezTo>
                <a:cubicBezTo>
                  <a:pt x="4741472" y="873029"/>
                  <a:pt x="4735246" y="879593"/>
                  <a:pt x="4726684" y="879593"/>
                </a:cubicBezTo>
                <a:cubicBezTo>
                  <a:pt x="4718122" y="879593"/>
                  <a:pt x="4711896" y="873029"/>
                  <a:pt x="4711896" y="865007"/>
                </a:cubicBezTo>
                <a:cubicBezTo>
                  <a:pt x="4711896" y="859173"/>
                  <a:pt x="4718122" y="853339"/>
                  <a:pt x="4726684" y="853339"/>
                </a:cubicBezTo>
                <a:close/>
                <a:moveTo>
                  <a:pt x="4655853" y="853339"/>
                </a:moveTo>
                <a:cubicBezTo>
                  <a:pt x="4663637" y="853339"/>
                  <a:pt x="4670642" y="859173"/>
                  <a:pt x="4670642" y="865007"/>
                </a:cubicBezTo>
                <a:cubicBezTo>
                  <a:pt x="4670642" y="873029"/>
                  <a:pt x="4663637" y="879593"/>
                  <a:pt x="4655853" y="879593"/>
                </a:cubicBezTo>
                <a:cubicBezTo>
                  <a:pt x="4647291" y="879593"/>
                  <a:pt x="4641064" y="873029"/>
                  <a:pt x="4641064" y="865007"/>
                </a:cubicBezTo>
                <a:cubicBezTo>
                  <a:pt x="4641064" y="859173"/>
                  <a:pt x="4647291" y="853339"/>
                  <a:pt x="4655853" y="853339"/>
                </a:cubicBezTo>
                <a:close/>
                <a:moveTo>
                  <a:pt x="4584091" y="853339"/>
                </a:moveTo>
                <a:cubicBezTo>
                  <a:pt x="4591384" y="853339"/>
                  <a:pt x="4596488" y="859173"/>
                  <a:pt x="4596488" y="865007"/>
                </a:cubicBezTo>
                <a:cubicBezTo>
                  <a:pt x="4596488" y="873029"/>
                  <a:pt x="4591384" y="879593"/>
                  <a:pt x="4584091" y="879593"/>
                </a:cubicBezTo>
                <a:cubicBezTo>
                  <a:pt x="4576069" y="879593"/>
                  <a:pt x="4570235" y="873029"/>
                  <a:pt x="4570235" y="865007"/>
                </a:cubicBezTo>
                <a:cubicBezTo>
                  <a:pt x="4570235" y="859173"/>
                  <a:pt x="4576069" y="853339"/>
                  <a:pt x="4584091" y="853339"/>
                </a:cubicBezTo>
                <a:close/>
                <a:moveTo>
                  <a:pt x="4513260" y="853339"/>
                </a:moveTo>
                <a:cubicBezTo>
                  <a:pt x="4519094" y="853339"/>
                  <a:pt x="4525657" y="859173"/>
                  <a:pt x="4525657" y="865007"/>
                </a:cubicBezTo>
                <a:cubicBezTo>
                  <a:pt x="4525657" y="873029"/>
                  <a:pt x="4519094" y="879593"/>
                  <a:pt x="4513260" y="879593"/>
                </a:cubicBezTo>
                <a:cubicBezTo>
                  <a:pt x="4505238" y="879593"/>
                  <a:pt x="4499404" y="873029"/>
                  <a:pt x="4499404" y="865007"/>
                </a:cubicBezTo>
                <a:cubicBezTo>
                  <a:pt x="4499404" y="859173"/>
                  <a:pt x="4505238" y="853339"/>
                  <a:pt x="4513260" y="853339"/>
                </a:cubicBezTo>
                <a:close/>
                <a:moveTo>
                  <a:pt x="4439056" y="853339"/>
                </a:moveTo>
                <a:cubicBezTo>
                  <a:pt x="4445619" y="853339"/>
                  <a:pt x="4451453" y="859173"/>
                  <a:pt x="4451453" y="865007"/>
                </a:cubicBezTo>
                <a:cubicBezTo>
                  <a:pt x="4451453" y="873029"/>
                  <a:pt x="4445619" y="879593"/>
                  <a:pt x="4439056" y="879593"/>
                </a:cubicBezTo>
                <a:cubicBezTo>
                  <a:pt x="4431763" y="879593"/>
                  <a:pt x="4425200" y="873029"/>
                  <a:pt x="4425200" y="865007"/>
                </a:cubicBezTo>
                <a:cubicBezTo>
                  <a:pt x="4425200" y="859173"/>
                  <a:pt x="4431763" y="853339"/>
                  <a:pt x="4439056" y="853339"/>
                </a:cubicBezTo>
                <a:close/>
                <a:moveTo>
                  <a:pt x="4366768" y="853339"/>
                </a:moveTo>
                <a:cubicBezTo>
                  <a:pt x="4374790" y="853339"/>
                  <a:pt x="4380624" y="859173"/>
                  <a:pt x="4380624" y="865007"/>
                </a:cubicBezTo>
                <a:cubicBezTo>
                  <a:pt x="4380624" y="873029"/>
                  <a:pt x="4374790" y="879593"/>
                  <a:pt x="4366768" y="879593"/>
                </a:cubicBezTo>
                <a:cubicBezTo>
                  <a:pt x="4360934" y="879593"/>
                  <a:pt x="4354371" y="873029"/>
                  <a:pt x="4354371" y="867195"/>
                </a:cubicBezTo>
                <a:cubicBezTo>
                  <a:pt x="4354371" y="859173"/>
                  <a:pt x="4360934" y="853339"/>
                  <a:pt x="4366768" y="853339"/>
                </a:cubicBezTo>
                <a:close/>
                <a:moveTo>
                  <a:pt x="4295937" y="853339"/>
                </a:moveTo>
                <a:cubicBezTo>
                  <a:pt x="4303959" y="853339"/>
                  <a:pt x="4309793" y="859173"/>
                  <a:pt x="4309793" y="867195"/>
                </a:cubicBezTo>
                <a:cubicBezTo>
                  <a:pt x="4309793" y="873029"/>
                  <a:pt x="4303959" y="879593"/>
                  <a:pt x="4295937" y="879593"/>
                </a:cubicBezTo>
                <a:cubicBezTo>
                  <a:pt x="4290103" y="879593"/>
                  <a:pt x="4283540" y="873029"/>
                  <a:pt x="4283540" y="867195"/>
                </a:cubicBezTo>
                <a:cubicBezTo>
                  <a:pt x="4283540" y="859173"/>
                  <a:pt x="4290103" y="853339"/>
                  <a:pt x="4295937" y="853339"/>
                </a:cubicBezTo>
                <a:close/>
                <a:moveTo>
                  <a:pt x="4225107" y="853339"/>
                </a:moveTo>
                <a:cubicBezTo>
                  <a:pt x="4233129" y="853339"/>
                  <a:pt x="4238963" y="859173"/>
                  <a:pt x="4238963" y="867195"/>
                </a:cubicBezTo>
                <a:cubicBezTo>
                  <a:pt x="4238963" y="873029"/>
                  <a:pt x="4233129" y="879593"/>
                  <a:pt x="4225107" y="879593"/>
                </a:cubicBezTo>
                <a:cubicBezTo>
                  <a:pt x="4217085" y="879593"/>
                  <a:pt x="4212710" y="873029"/>
                  <a:pt x="4212710" y="867195"/>
                </a:cubicBezTo>
                <a:cubicBezTo>
                  <a:pt x="4212710" y="859173"/>
                  <a:pt x="4217085" y="853339"/>
                  <a:pt x="4225107" y="853339"/>
                </a:cubicBezTo>
                <a:close/>
                <a:moveTo>
                  <a:pt x="4153295" y="853339"/>
                </a:moveTo>
                <a:cubicBezTo>
                  <a:pt x="4161078" y="853339"/>
                  <a:pt x="4168083" y="859173"/>
                  <a:pt x="4168083" y="867195"/>
                </a:cubicBezTo>
                <a:cubicBezTo>
                  <a:pt x="4168083" y="873029"/>
                  <a:pt x="4161078" y="879593"/>
                  <a:pt x="4153295" y="879593"/>
                </a:cubicBezTo>
                <a:cubicBezTo>
                  <a:pt x="4144733" y="879593"/>
                  <a:pt x="4138507" y="873029"/>
                  <a:pt x="4138507" y="867195"/>
                </a:cubicBezTo>
                <a:cubicBezTo>
                  <a:pt x="4138507" y="859173"/>
                  <a:pt x="4144733" y="853339"/>
                  <a:pt x="4153295" y="853339"/>
                </a:cubicBezTo>
                <a:close/>
                <a:moveTo>
                  <a:pt x="4082465" y="853339"/>
                </a:moveTo>
                <a:cubicBezTo>
                  <a:pt x="4090249" y="853339"/>
                  <a:pt x="4097254" y="859173"/>
                  <a:pt x="4097254" y="867195"/>
                </a:cubicBezTo>
                <a:cubicBezTo>
                  <a:pt x="4097254" y="873029"/>
                  <a:pt x="4090249" y="879593"/>
                  <a:pt x="4082465" y="879593"/>
                </a:cubicBezTo>
                <a:cubicBezTo>
                  <a:pt x="4073903" y="879593"/>
                  <a:pt x="4067676" y="873029"/>
                  <a:pt x="4067676" y="867195"/>
                </a:cubicBezTo>
                <a:cubicBezTo>
                  <a:pt x="4067676" y="859173"/>
                  <a:pt x="4073903" y="853339"/>
                  <a:pt x="4082465" y="853339"/>
                </a:cubicBezTo>
                <a:close/>
                <a:moveTo>
                  <a:pt x="4011635" y="853339"/>
                </a:moveTo>
                <a:cubicBezTo>
                  <a:pt x="4019418" y="853339"/>
                  <a:pt x="4026423" y="859173"/>
                  <a:pt x="4026423" y="867195"/>
                </a:cubicBezTo>
                <a:cubicBezTo>
                  <a:pt x="4026423" y="873029"/>
                  <a:pt x="4019418" y="879593"/>
                  <a:pt x="4011635" y="879593"/>
                </a:cubicBezTo>
                <a:cubicBezTo>
                  <a:pt x="4003073" y="879593"/>
                  <a:pt x="3996847" y="873029"/>
                  <a:pt x="3996847" y="867195"/>
                </a:cubicBezTo>
                <a:cubicBezTo>
                  <a:pt x="3996847" y="859173"/>
                  <a:pt x="4003073" y="853339"/>
                  <a:pt x="4011635" y="853339"/>
                </a:cubicBezTo>
                <a:close/>
                <a:moveTo>
                  <a:pt x="3939871" y="853339"/>
                </a:moveTo>
                <a:cubicBezTo>
                  <a:pt x="3947893" y="853339"/>
                  <a:pt x="3952268" y="859173"/>
                  <a:pt x="3952268" y="867195"/>
                </a:cubicBezTo>
                <a:cubicBezTo>
                  <a:pt x="3952268" y="873029"/>
                  <a:pt x="3947893" y="879593"/>
                  <a:pt x="3939871" y="879593"/>
                </a:cubicBezTo>
                <a:cubicBezTo>
                  <a:pt x="3932578" y="879593"/>
                  <a:pt x="3926015" y="873029"/>
                  <a:pt x="3926015" y="867195"/>
                </a:cubicBezTo>
                <a:cubicBezTo>
                  <a:pt x="3926015" y="859173"/>
                  <a:pt x="3932578" y="853339"/>
                  <a:pt x="3939871" y="853339"/>
                </a:cubicBezTo>
                <a:close/>
                <a:moveTo>
                  <a:pt x="3869042" y="853339"/>
                </a:moveTo>
                <a:cubicBezTo>
                  <a:pt x="3875605" y="853339"/>
                  <a:pt x="3881439" y="859173"/>
                  <a:pt x="3881439" y="867195"/>
                </a:cubicBezTo>
                <a:cubicBezTo>
                  <a:pt x="3881439" y="873029"/>
                  <a:pt x="3875605" y="879593"/>
                  <a:pt x="3869042" y="879593"/>
                </a:cubicBezTo>
                <a:cubicBezTo>
                  <a:pt x="3861749" y="879593"/>
                  <a:pt x="3855186" y="873029"/>
                  <a:pt x="3855186" y="867195"/>
                </a:cubicBezTo>
                <a:cubicBezTo>
                  <a:pt x="3855186" y="859173"/>
                  <a:pt x="3861749" y="853339"/>
                  <a:pt x="3869042" y="853339"/>
                </a:cubicBezTo>
                <a:close/>
                <a:moveTo>
                  <a:pt x="3796752" y="853339"/>
                </a:moveTo>
                <a:cubicBezTo>
                  <a:pt x="3804774" y="853339"/>
                  <a:pt x="3810608" y="859173"/>
                  <a:pt x="3810608" y="867195"/>
                </a:cubicBezTo>
                <a:cubicBezTo>
                  <a:pt x="3810608" y="873029"/>
                  <a:pt x="3804774" y="879593"/>
                  <a:pt x="3796752" y="879593"/>
                </a:cubicBezTo>
                <a:cubicBezTo>
                  <a:pt x="3790918" y="879593"/>
                  <a:pt x="3784355" y="873029"/>
                  <a:pt x="3784355" y="867195"/>
                </a:cubicBezTo>
                <a:cubicBezTo>
                  <a:pt x="3784355" y="859173"/>
                  <a:pt x="3790918" y="853339"/>
                  <a:pt x="3796752" y="853339"/>
                </a:cubicBezTo>
                <a:close/>
                <a:moveTo>
                  <a:pt x="3725922" y="853339"/>
                </a:moveTo>
                <a:cubicBezTo>
                  <a:pt x="3733944" y="853339"/>
                  <a:pt x="3739778" y="859173"/>
                  <a:pt x="3739778" y="867195"/>
                </a:cubicBezTo>
                <a:cubicBezTo>
                  <a:pt x="3739778" y="873029"/>
                  <a:pt x="3733944" y="879593"/>
                  <a:pt x="3725922" y="879593"/>
                </a:cubicBezTo>
                <a:cubicBezTo>
                  <a:pt x="3719359" y="879593"/>
                  <a:pt x="3713525" y="873029"/>
                  <a:pt x="3713525" y="867195"/>
                </a:cubicBezTo>
                <a:cubicBezTo>
                  <a:pt x="3713525" y="859173"/>
                  <a:pt x="3719359" y="853339"/>
                  <a:pt x="3725922" y="853339"/>
                </a:cubicBezTo>
                <a:close/>
                <a:moveTo>
                  <a:pt x="3655091" y="853339"/>
                </a:moveTo>
                <a:cubicBezTo>
                  <a:pt x="3662384" y="853339"/>
                  <a:pt x="3668947" y="859173"/>
                  <a:pt x="3668947" y="867195"/>
                </a:cubicBezTo>
                <a:cubicBezTo>
                  <a:pt x="3668947" y="873029"/>
                  <a:pt x="3662384" y="879593"/>
                  <a:pt x="3655091" y="879593"/>
                </a:cubicBezTo>
                <a:cubicBezTo>
                  <a:pt x="3647069" y="879593"/>
                  <a:pt x="3642694" y="873029"/>
                  <a:pt x="3642694" y="867195"/>
                </a:cubicBezTo>
                <a:cubicBezTo>
                  <a:pt x="3642694" y="859173"/>
                  <a:pt x="3647069" y="853339"/>
                  <a:pt x="3655091" y="853339"/>
                </a:cubicBezTo>
                <a:close/>
                <a:moveTo>
                  <a:pt x="3583280" y="853339"/>
                </a:moveTo>
                <a:cubicBezTo>
                  <a:pt x="3591064" y="853339"/>
                  <a:pt x="3598069" y="859173"/>
                  <a:pt x="3598069" y="867195"/>
                </a:cubicBezTo>
                <a:cubicBezTo>
                  <a:pt x="3598069" y="873029"/>
                  <a:pt x="3591064" y="879593"/>
                  <a:pt x="3583280" y="879593"/>
                </a:cubicBezTo>
                <a:cubicBezTo>
                  <a:pt x="3574718" y="879593"/>
                  <a:pt x="3568491" y="873029"/>
                  <a:pt x="3568491" y="867195"/>
                </a:cubicBezTo>
                <a:cubicBezTo>
                  <a:pt x="3568491" y="859173"/>
                  <a:pt x="3574718" y="853339"/>
                  <a:pt x="3583280" y="853339"/>
                </a:cubicBezTo>
                <a:close/>
                <a:moveTo>
                  <a:pt x="3512449" y="853339"/>
                </a:moveTo>
                <a:cubicBezTo>
                  <a:pt x="3520232" y="853339"/>
                  <a:pt x="3527237" y="859173"/>
                  <a:pt x="3527237" y="867195"/>
                </a:cubicBezTo>
                <a:cubicBezTo>
                  <a:pt x="3527237" y="873029"/>
                  <a:pt x="3520232" y="879593"/>
                  <a:pt x="3512449" y="879593"/>
                </a:cubicBezTo>
                <a:cubicBezTo>
                  <a:pt x="3503887" y="879593"/>
                  <a:pt x="3497661" y="873029"/>
                  <a:pt x="3497661" y="867195"/>
                </a:cubicBezTo>
                <a:cubicBezTo>
                  <a:pt x="3497661" y="859173"/>
                  <a:pt x="3503887" y="853339"/>
                  <a:pt x="3512449" y="853339"/>
                </a:cubicBezTo>
                <a:close/>
                <a:moveTo>
                  <a:pt x="3441619" y="853339"/>
                </a:moveTo>
                <a:cubicBezTo>
                  <a:pt x="3450181" y="853339"/>
                  <a:pt x="3456408" y="859173"/>
                  <a:pt x="3456408" y="867195"/>
                </a:cubicBezTo>
                <a:cubicBezTo>
                  <a:pt x="3456408" y="873029"/>
                  <a:pt x="3450181" y="879593"/>
                  <a:pt x="3441619" y="879593"/>
                </a:cubicBezTo>
                <a:cubicBezTo>
                  <a:pt x="3433835" y="879593"/>
                  <a:pt x="3426830" y="873029"/>
                  <a:pt x="3426830" y="867195"/>
                </a:cubicBezTo>
                <a:cubicBezTo>
                  <a:pt x="3426830" y="859173"/>
                  <a:pt x="3433835" y="853339"/>
                  <a:pt x="3441619" y="853339"/>
                </a:cubicBezTo>
                <a:close/>
                <a:moveTo>
                  <a:pt x="3369857" y="853339"/>
                </a:moveTo>
                <a:cubicBezTo>
                  <a:pt x="3377879" y="853339"/>
                  <a:pt x="3382254" y="859173"/>
                  <a:pt x="3382254" y="867195"/>
                </a:cubicBezTo>
                <a:cubicBezTo>
                  <a:pt x="3382254" y="873029"/>
                  <a:pt x="3377879" y="879593"/>
                  <a:pt x="3369857" y="879593"/>
                </a:cubicBezTo>
                <a:cubicBezTo>
                  <a:pt x="3362564" y="879593"/>
                  <a:pt x="3356001" y="873029"/>
                  <a:pt x="3356001" y="867195"/>
                </a:cubicBezTo>
                <a:cubicBezTo>
                  <a:pt x="3356001" y="859173"/>
                  <a:pt x="3362564" y="853339"/>
                  <a:pt x="3369857" y="853339"/>
                </a:cubicBezTo>
                <a:close/>
                <a:moveTo>
                  <a:pt x="1013589" y="853339"/>
                </a:moveTo>
                <a:cubicBezTo>
                  <a:pt x="1021181" y="853339"/>
                  <a:pt x="1028011" y="859566"/>
                  <a:pt x="1028011" y="868127"/>
                </a:cubicBezTo>
                <a:cubicBezTo>
                  <a:pt x="1028011" y="875911"/>
                  <a:pt x="1021181" y="882916"/>
                  <a:pt x="1013589" y="882916"/>
                </a:cubicBezTo>
                <a:cubicBezTo>
                  <a:pt x="1005243" y="882916"/>
                  <a:pt x="998413" y="875911"/>
                  <a:pt x="998413" y="868127"/>
                </a:cubicBezTo>
                <a:cubicBezTo>
                  <a:pt x="998413" y="859566"/>
                  <a:pt x="1005243" y="853339"/>
                  <a:pt x="1013589" y="853339"/>
                </a:cubicBezTo>
                <a:close/>
                <a:moveTo>
                  <a:pt x="368059" y="785881"/>
                </a:moveTo>
                <a:cubicBezTo>
                  <a:pt x="376081" y="785881"/>
                  <a:pt x="380456" y="790256"/>
                  <a:pt x="380456" y="797549"/>
                </a:cubicBezTo>
                <a:cubicBezTo>
                  <a:pt x="380456" y="805571"/>
                  <a:pt x="376081" y="812135"/>
                  <a:pt x="368059" y="812135"/>
                </a:cubicBezTo>
                <a:cubicBezTo>
                  <a:pt x="360766" y="812135"/>
                  <a:pt x="354203" y="805571"/>
                  <a:pt x="354203" y="797549"/>
                </a:cubicBezTo>
                <a:cubicBezTo>
                  <a:pt x="354203" y="790256"/>
                  <a:pt x="360766" y="785881"/>
                  <a:pt x="368059" y="785881"/>
                </a:cubicBezTo>
                <a:close/>
                <a:moveTo>
                  <a:pt x="297226" y="785881"/>
                </a:moveTo>
                <a:cubicBezTo>
                  <a:pt x="303791" y="785881"/>
                  <a:pt x="309624" y="790256"/>
                  <a:pt x="309624" y="797549"/>
                </a:cubicBezTo>
                <a:cubicBezTo>
                  <a:pt x="309624" y="805571"/>
                  <a:pt x="303791" y="812135"/>
                  <a:pt x="297226" y="812135"/>
                </a:cubicBezTo>
                <a:cubicBezTo>
                  <a:pt x="289933" y="812135"/>
                  <a:pt x="283371" y="805571"/>
                  <a:pt x="283371" y="797549"/>
                </a:cubicBezTo>
                <a:cubicBezTo>
                  <a:pt x="283371" y="790256"/>
                  <a:pt x="289933" y="785881"/>
                  <a:pt x="297226" y="785881"/>
                </a:cubicBezTo>
                <a:close/>
                <a:moveTo>
                  <a:pt x="226398" y="785881"/>
                </a:moveTo>
                <a:cubicBezTo>
                  <a:pt x="232233" y="785881"/>
                  <a:pt x="238797" y="790256"/>
                  <a:pt x="238797" y="797549"/>
                </a:cubicBezTo>
                <a:cubicBezTo>
                  <a:pt x="238797" y="805571"/>
                  <a:pt x="232233" y="812135"/>
                  <a:pt x="226398" y="812135"/>
                </a:cubicBezTo>
                <a:cubicBezTo>
                  <a:pt x="218375" y="812135"/>
                  <a:pt x="212542" y="805571"/>
                  <a:pt x="212542" y="797549"/>
                </a:cubicBezTo>
                <a:cubicBezTo>
                  <a:pt x="212542" y="790256"/>
                  <a:pt x="218375" y="785881"/>
                  <a:pt x="226398" y="785881"/>
                </a:cubicBezTo>
                <a:close/>
                <a:moveTo>
                  <a:pt x="154101" y="785881"/>
                </a:moveTo>
                <a:cubicBezTo>
                  <a:pt x="161394" y="785881"/>
                  <a:pt x="167957" y="790256"/>
                  <a:pt x="167957" y="797549"/>
                </a:cubicBezTo>
                <a:cubicBezTo>
                  <a:pt x="167957" y="805571"/>
                  <a:pt x="161394" y="812135"/>
                  <a:pt x="154101" y="812135"/>
                </a:cubicBezTo>
                <a:cubicBezTo>
                  <a:pt x="147538" y="812135"/>
                  <a:pt x="141704" y="805571"/>
                  <a:pt x="141704" y="797549"/>
                </a:cubicBezTo>
                <a:cubicBezTo>
                  <a:pt x="141704" y="790256"/>
                  <a:pt x="147538" y="785881"/>
                  <a:pt x="154101" y="785881"/>
                </a:cubicBezTo>
                <a:close/>
                <a:moveTo>
                  <a:pt x="83272" y="785881"/>
                </a:moveTo>
                <a:cubicBezTo>
                  <a:pt x="90564" y="785881"/>
                  <a:pt x="97128" y="790256"/>
                  <a:pt x="97128" y="797549"/>
                </a:cubicBezTo>
                <a:cubicBezTo>
                  <a:pt x="97128" y="805571"/>
                  <a:pt x="90564" y="812135"/>
                  <a:pt x="83272" y="812135"/>
                </a:cubicBezTo>
                <a:cubicBezTo>
                  <a:pt x="76708" y="812135"/>
                  <a:pt x="70874" y="805571"/>
                  <a:pt x="70874" y="797549"/>
                </a:cubicBezTo>
                <a:cubicBezTo>
                  <a:pt x="70874" y="790256"/>
                  <a:pt x="76708" y="785881"/>
                  <a:pt x="83272" y="785881"/>
                </a:cubicBezTo>
                <a:close/>
                <a:moveTo>
                  <a:pt x="12036" y="785881"/>
                </a:moveTo>
                <a:cubicBezTo>
                  <a:pt x="20281" y="785881"/>
                  <a:pt x="26277" y="790256"/>
                  <a:pt x="26277" y="797549"/>
                </a:cubicBezTo>
                <a:cubicBezTo>
                  <a:pt x="26277" y="805571"/>
                  <a:pt x="20281" y="812135"/>
                  <a:pt x="12036" y="812135"/>
                </a:cubicBezTo>
                <a:cubicBezTo>
                  <a:pt x="4541" y="812135"/>
                  <a:pt x="44" y="805571"/>
                  <a:pt x="44" y="797549"/>
                </a:cubicBezTo>
                <a:cubicBezTo>
                  <a:pt x="44" y="790256"/>
                  <a:pt x="4541" y="785881"/>
                  <a:pt x="12036" y="785881"/>
                </a:cubicBezTo>
                <a:close/>
                <a:moveTo>
                  <a:pt x="4726684" y="782507"/>
                </a:moveTo>
                <a:cubicBezTo>
                  <a:pt x="4735246" y="782507"/>
                  <a:pt x="4741472" y="789070"/>
                  <a:pt x="4741472" y="794904"/>
                </a:cubicBezTo>
                <a:cubicBezTo>
                  <a:pt x="4741472" y="802926"/>
                  <a:pt x="4735246" y="808761"/>
                  <a:pt x="4726684" y="808761"/>
                </a:cubicBezTo>
                <a:cubicBezTo>
                  <a:pt x="4718122" y="808761"/>
                  <a:pt x="4711896" y="802926"/>
                  <a:pt x="4711896" y="794904"/>
                </a:cubicBezTo>
                <a:cubicBezTo>
                  <a:pt x="4711896" y="789070"/>
                  <a:pt x="4718122" y="782507"/>
                  <a:pt x="4726684" y="782507"/>
                </a:cubicBezTo>
                <a:close/>
                <a:moveTo>
                  <a:pt x="4655853" y="782507"/>
                </a:moveTo>
                <a:cubicBezTo>
                  <a:pt x="4663637" y="782507"/>
                  <a:pt x="4670642" y="789070"/>
                  <a:pt x="4670642" y="794904"/>
                </a:cubicBezTo>
                <a:cubicBezTo>
                  <a:pt x="4670642" y="802926"/>
                  <a:pt x="4663637" y="808761"/>
                  <a:pt x="4655853" y="808761"/>
                </a:cubicBezTo>
                <a:cubicBezTo>
                  <a:pt x="4647291" y="808761"/>
                  <a:pt x="4641064" y="802926"/>
                  <a:pt x="4641064" y="794904"/>
                </a:cubicBezTo>
                <a:cubicBezTo>
                  <a:pt x="4641064" y="789070"/>
                  <a:pt x="4647291" y="782507"/>
                  <a:pt x="4655853" y="782507"/>
                </a:cubicBezTo>
                <a:close/>
                <a:moveTo>
                  <a:pt x="4584091" y="782507"/>
                </a:moveTo>
                <a:cubicBezTo>
                  <a:pt x="4591384" y="782507"/>
                  <a:pt x="4596488" y="789070"/>
                  <a:pt x="4596488" y="794904"/>
                </a:cubicBezTo>
                <a:cubicBezTo>
                  <a:pt x="4596488" y="802926"/>
                  <a:pt x="4591384" y="808761"/>
                  <a:pt x="4584091" y="808761"/>
                </a:cubicBezTo>
                <a:cubicBezTo>
                  <a:pt x="4576069" y="808761"/>
                  <a:pt x="4570235" y="802926"/>
                  <a:pt x="4570235" y="794904"/>
                </a:cubicBezTo>
                <a:cubicBezTo>
                  <a:pt x="4570235" y="789070"/>
                  <a:pt x="4576069" y="782507"/>
                  <a:pt x="4584091" y="782507"/>
                </a:cubicBezTo>
                <a:close/>
                <a:moveTo>
                  <a:pt x="4513260" y="782507"/>
                </a:moveTo>
                <a:cubicBezTo>
                  <a:pt x="4519094" y="782507"/>
                  <a:pt x="4525657" y="789070"/>
                  <a:pt x="4525657" y="794904"/>
                </a:cubicBezTo>
                <a:cubicBezTo>
                  <a:pt x="4525657" y="802926"/>
                  <a:pt x="4519094" y="808761"/>
                  <a:pt x="4513260" y="808761"/>
                </a:cubicBezTo>
                <a:cubicBezTo>
                  <a:pt x="4505238" y="808761"/>
                  <a:pt x="4499404" y="802926"/>
                  <a:pt x="4499404" y="794904"/>
                </a:cubicBezTo>
                <a:cubicBezTo>
                  <a:pt x="4499404" y="789070"/>
                  <a:pt x="4505238" y="782507"/>
                  <a:pt x="4513260" y="782507"/>
                </a:cubicBezTo>
                <a:close/>
                <a:moveTo>
                  <a:pt x="4439056" y="782507"/>
                </a:moveTo>
                <a:cubicBezTo>
                  <a:pt x="4445619" y="782507"/>
                  <a:pt x="4451453" y="789070"/>
                  <a:pt x="4451453" y="794904"/>
                </a:cubicBezTo>
                <a:cubicBezTo>
                  <a:pt x="4451453" y="802926"/>
                  <a:pt x="4445619" y="808761"/>
                  <a:pt x="4439056" y="808761"/>
                </a:cubicBezTo>
                <a:cubicBezTo>
                  <a:pt x="4431763" y="808761"/>
                  <a:pt x="4425200" y="802926"/>
                  <a:pt x="4425200" y="794904"/>
                </a:cubicBezTo>
                <a:cubicBezTo>
                  <a:pt x="4425200" y="789070"/>
                  <a:pt x="4431763" y="782507"/>
                  <a:pt x="4439056" y="782507"/>
                </a:cubicBezTo>
                <a:close/>
                <a:moveTo>
                  <a:pt x="4366768" y="782507"/>
                </a:moveTo>
                <a:cubicBezTo>
                  <a:pt x="4374790" y="782507"/>
                  <a:pt x="4380624" y="789070"/>
                  <a:pt x="4380624" y="794904"/>
                </a:cubicBezTo>
                <a:cubicBezTo>
                  <a:pt x="4380624" y="802926"/>
                  <a:pt x="4374790" y="808761"/>
                  <a:pt x="4366768" y="808761"/>
                </a:cubicBezTo>
                <a:cubicBezTo>
                  <a:pt x="4360934" y="808761"/>
                  <a:pt x="4354371" y="802926"/>
                  <a:pt x="4354371" y="794904"/>
                </a:cubicBezTo>
                <a:cubicBezTo>
                  <a:pt x="4354371" y="789070"/>
                  <a:pt x="4360934" y="782507"/>
                  <a:pt x="4366768" y="782507"/>
                </a:cubicBezTo>
                <a:close/>
                <a:moveTo>
                  <a:pt x="4295937" y="782507"/>
                </a:moveTo>
                <a:cubicBezTo>
                  <a:pt x="4303959" y="782507"/>
                  <a:pt x="4309793" y="789070"/>
                  <a:pt x="4309793" y="794904"/>
                </a:cubicBezTo>
                <a:cubicBezTo>
                  <a:pt x="4309793" y="802926"/>
                  <a:pt x="4303959" y="808761"/>
                  <a:pt x="4295937" y="808761"/>
                </a:cubicBezTo>
                <a:cubicBezTo>
                  <a:pt x="4290103" y="808761"/>
                  <a:pt x="4283540" y="802926"/>
                  <a:pt x="4283540" y="794904"/>
                </a:cubicBezTo>
                <a:cubicBezTo>
                  <a:pt x="4283540" y="789070"/>
                  <a:pt x="4290103" y="782507"/>
                  <a:pt x="4295937" y="782507"/>
                </a:cubicBezTo>
                <a:close/>
                <a:moveTo>
                  <a:pt x="4225107" y="782507"/>
                </a:moveTo>
                <a:cubicBezTo>
                  <a:pt x="4233129" y="782507"/>
                  <a:pt x="4238963" y="789070"/>
                  <a:pt x="4238963" y="794904"/>
                </a:cubicBezTo>
                <a:cubicBezTo>
                  <a:pt x="4238963" y="802926"/>
                  <a:pt x="4233129" y="808761"/>
                  <a:pt x="4225107" y="808761"/>
                </a:cubicBezTo>
                <a:cubicBezTo>
                  <a:pt x="4217085" y="808761"/>
                  <a:pt x="4212710" y="802926"/>
                  <a:pt x="4212710" y="794904"/>
                </a:cubicBezTo>
                <a:cubicBezTo>
                  <a:pt x="4212710" y="789070"/>
                  <a:pt x="4217085" y="782507"/>
                  <a:pt x="4225107" y="782507"/>
                </a:cubicBezTo>
                <a:close/>
                <a:moveTo>
                  <a:pt x="4153295" y="782507"/>
                </a:moveTo>
                <a:cubicBezTo>
                  <a:pt x="4161078" y="782507"/>
                  <a:pt x="4168083" y="789070"/>
                  <a:pt x="4168083" y="794904"/>
                </a:cubicBezTo>
                <a:cubicBezTo>
                  <a:pt x="4168083" y="802926"/>
                  <a:pt x="4161078" y="808761"/>
                  <a:pt x="4153295" y="808761"/>
                </a:cubicBezTo>
                <a:cubicBezTo>
                  <a:pt x="4144733" y="808761"/>
                  <a:pt x="4138507" y="802926"/>
                  <a:pt x="4138507" y="794904"/>
                </a:cubicBezTo>
                <a:cubicBezTo>
                  <a:pt x="4138507" y="789070"/>
                  <a:pt x="4144733" y="782507"/>
                  <a:pt x="4153295" y="782507"/>
                </a:cubicBezTo>
                <a:close/>
                <a:moveTo>
                  <a:pt x="4082465" y="782507"/>
                </a:moveTo>
                <a:cubicBezTo>
                  <a:pt x="4090249" y="782507"/>
                  <a:pt x="4097254" y="789070"/>
                  <a:pt x="4097254" y="794904"/>
                </a:cubicBezTo>
                <a:cubicBezTo>
                  <a:pt x="4097254" y="802926"/>
                  <a:pt x="4090249" y="808761"/>
                  <a:pt x="4082465" y="808761"/>
                </a:cubicBezTo>
                <a:cubicBezTo>
                  <a:pt x="4073903" y="808761"/>
                  <a:pt x="4067676" y="802926"/>
                  <a:pt x="4067676" y="794904"/>
                </a:cubicBezTo>
                <a:cubicBezTo>
                  <a:pt x="4067676" y="789070"/>
                  <a:pt x="4073903" y="782507"/>
                  <a:pt x="4082465" y="782507"/>
                </a:cubicBezTo>
                <a:close/>
                <a:moveTo>
                  <a:pt x="4010703" y="782507"/>
                </a:moveTo>
                <a:cubicBezTo>
                  <a:pt x="4017996" y="782507"/>
                  <a:pt x="4023100" y="789070"/>
                  <a:pt x="4023100" y="794904"/>
                </a:cubicBezTo>
                <a:cubicBezTo>
                  <a:pt x="4023100" y="802926"/>
                  <a:pt x="4017996" y="808761"/>
                  <a:pt x="4010703" y="808761"/>
                </a:cubicBezTo>
                <a:cubicBezTo>
                  <a:pt x="4002681" y="808761"/>
                  <a:pt x="3996847" y="802926"/>
                  <a:pt x="3996847" y="794904"/>
                </a:cubicBezTo>
                <a:cubicBezTo>
                  <a:pt x="3996847" y="789070"/>
                  <a:pt x="4002681" y="782507"/>
                  <a:pt x="4010703" y="782507"/>
                </a:cubicBezTo>
                <a:close/>
                <a:moveTo>
                  <a:pt x="3939871" y="782507"/>
                </a:moveTo>
                <a:cubicBezTo>
                  <a:pt x="3946434" y="782507"/>
                  <a:pt x="3952268" y="789070"/>
                  <a:pt x="3952268" y="794904"/>
                </a:cubicBezTo>
                <a:cubicBezTo>
                  <a:pt x="3952268" y="802926"/>
                  <a:pt x="3946434" y="808761"/>
                  <a:pt x="3939871" y="808761"/>
                </a:cubicBezTo>
                <a:cubicBezTo>
                  <a:pt x="3932578" y="808761"/>
                  <a:pt x="3926015" y="802926"/>
                  <a:pt x="3926015" y="794904"/>
                </a:cubicBezTo>
                <a:cubicBezTo>
                  <a:pt x="3926015" y="789070"/>
                  <a:pt x="3932578" y="782507"/>
                  <a:pt x="3939871" y="782507"/>
                </a:cubicBezTo>
                <a:close/>
                <a:moveTo>
                  <a:pt x="3869042" y="782507"/>
                </a:moveTo>
                <a:cubicBezTo>
                  <a:pt x="3875605" y="782507"/>
                  <a:pt x="3881439" y="789070"/>
                  <a:pt x="3881439" y="794904"/>
                </a:cubicBezTo>
                <a:cubicBezTo>
                  <a:pt x="3881439" y="802926"/>
                  <a:pt x="3875605" y="808761"/>
                  <a:pt x="3869042" y="808761"/>
                </a:cubicBezTo>
                <a:cubicBezTo>
                  <a:pt x="3861749" y="808761"/>
                  <a:pt x="3855186" y="802926"/>
                  <a:pt x="3855186" y="794904"/>
                </a:cubicBezTo>
                <a:cubicBezTo>
                  <a:pt x="3855186" y="789070"/>
                  <a:pt x="3861749" y="782507"/>
                  <a:pt x="3869042" y="782507"/>
                </a:cubicBezTo>
                <a:close/>
                <a:moveTo>
                  <a:pt x="3796752" y="782507"/>
                </a:moveTo>
                <a:cubicBezTo>
                  <a:pt x="3804774" y="782507"/>
                  <a:pt x="3810608" y="789070"/>
                  <a:pt x="3810608" y="796363"/>
                </a:cubicBezTo>
                <a:cubicBezTo>
                  <a:pt x="3810608" y="802926"/>
                  <a:pt x="3804774" y="808761"/>
                  <a:pt x="3796752" y="808761"/>
                </a:cubicBezTo>
                <a:cubicBezTo>
                  <a:pt x="3790918" y="808761"/>
                  <a:pt x="3784355" y="802926"/>
                  <a:pt x="3784355" y="796363"/>
                </a:cubicBezTo>
                <a:cubicBezTo>
                  <a:pt x="3784355" y="789070"/>
                  <a:pt x="3790918" y="782507"/>
                  <a:pt x="3796752" y="782507"/>
                </a:cubicBezTo>
                <a:close/>
                <a:moveTo>
                  <a:pt x="3725922" y="782507"/>
                </a:moveTo>
                <a:cubicBezTo>
                  <a:pt x="3733944" y="782507"/>
                  <a:pt x="3739778" y="789070"/>
                  <a:pt x="3739778" y="796363"/>
                </a:cubicBezTo>
                <a:cubicBezTo>
                  <a:pt x="3739778" y="802926"/>
                  <a:pt x="3733944" y="808761"/>
                  <a:pt x="3725922" y="808761"/>
                </a:cubicBezTo>
                <a:cubicBezTo>
                  <a:pt x="3719359" y="808761"/>
                  <a:pt x="3713525" y="802926"/>
                  <a:pt x="3713525" y="796363"/>
                </a:cubicBezTo>
                <a:cubicBezTo>
                  <a:pt x="3713525" y="789070"/>
                  <a:pt x="3719359" y="782507"/>
                  <a:pt x="3725922" y="782507"/>
                </a:cubicBezTo>
                <a:close/>
                <a:moveTo>
                  <a:pt x="3655091" y="782507"/>
                </a:moveTo>
                <a:cubicBezTo>
                  <a:pt x="3662384" y="782507"/>
                  <a:pt x="3668947" y="789070"/>
                  <a:pt x="3668947" y="796363"/>
                </a:cubicBezTo>
                <a:cubicBezTo>
                  <a:pt x="3668947" y="802926"/>
                  <a:pt x="3662384" y="808761"/>
                  <a:pt x="3655091" y="808761"/>
                </a:cubicBezTo>
                <a:cubicBezTo>
                  <a:pt x="3647069" y="808761"/>
                  <a:pt x="3642694" y="802926"/>
                  <a:pt x="3642694" y="796363"/>
                </a:cubicBezTo>
                <a:cubicBezTo>
                  <a:pt x="3642694" y="789070"/>
                  <a:pt x="3647069" y="782507"/>
                  <a:pt x="3655091" y="782507"/>
                </a:cubicBezTo>
                <a:close/>
                <a:moveTo>
                  <a:pt x="3583280" y="782507"/>
                </a:moveTo>
                <a:cubicBezTo>
                  <a:pt x="3591064" y="782507"/>
                  <a:pt x="3598069" y="789070"/>
                  <a:pt x="3598069" y="796363"/>
                </a:cubicBezTo>
                <a:cubicBezTo>
                  <a:pt x="3598069" y="802926"/>
                  <a:pt x="3591064" y="808761"/>
                  <a:pt x="3583280" y="808761"/>
                </a:cubicBezTo>
                <a:cubicBezTo>
                  <a:pt x="3574718" y="808761"/>
                  <a:pt x="3568491" y="802926"/>
                  <a:pt x="3568491" y="796363"/>
                </a:cubicBezTo>
                <a:cubicBezTo>
                  <a:pt x="3568491" y="789070"/>
                  <a:pt x="3574718" y="782507"/>
                  <a:pt x="3583280" y="782507"/>
                </a:cubicBezTo>
                <a:close/>
                <a:moveTo>
                  <a:pt x="3512449" y="782507"/>
                </a:moveTo>
                <a:cubicBezTo>
                  <a:pt x="3520232" y="782507"/>
                  <a:pt x="3527237" y="789070"/>
                  <a:pt x="3527237" y="796363"/>
                </a:cubicBezTo>
                <a:cubicBezTo>
                  <a:pt x="3527237" y="802926"/>
                  <a:pt x="3520232" y="808761"/>
                  <a:pt x="3512449" y="808761"/>
                </a:cubicBezTo>
                <a:cubicBezTo>
                  <a:pt x="3503887" y="808761"/>
                  <a:pt x="3497661" y="802926"/>
                  <a:pt x="3497661" y="796363"/>
                </a:cubicBezTo>
                <a:cubicBezTo>
                  <a:pt x="3497661" y="789070"/>
                  <a:pt x="3503887" y="782507"/>
                  <a:pt x="3512449" y="782507"/>
                </a:cubicBezTo>
                <a:close/>
                <a:moveTo>
                  <a:pt x="3441619" y="782507"/>
                </a:moveTo>
                <a:cubicBezTo>
                  <a:pt x="3450181" y="782507"/>
                  <a:pt x="3456408" y="789070"/>
                  <a:pt x="3456408" y="796363"/>
                </a:cubicBezTo>
                <a:cubicBezTo>
                  <a:pt x="3456408" y="802926"/>
                  <a:pt x="3450181" y="808761"/>
                  <a:pt x="3441619" y="808761"/>
                </a:cubicBezTo>
                <a:cubicBezTo>
                  <a:pt x="3433835" y="808761"/>
                  <a:pt x="3426830" y="802926"/>
                  <a:pt x="3426830" y="796363"/>
                </a:cubicBezTo>
                <a:cubicBezTo>
                  <a:pt x="3426830" y="789070"/>
                  <a:pt x="3433835" y="782507"/>
                  <a:pt x="3441619" y="782507"/>
                </a:cubicBezTo>
                <a:close/>
                <a:moveTo>
                  <a:pt x="3369857" y="782507"/>
                </a:moveTo>
                <a:cubicBezTo>
                  <a:pt x="3377879" y="782507"/>
                  <a:pt x="3382254" y="789070"/>
                  <a:pt x="3382254" y="796363"/>
                </a:cubicBezTo>
                <a:cubicBezTo>
                  <a:pt x="3382254" y="802926"/>
                  <a:pt x="3377879" y="808761"/>
                  <a:pt x="3369857" y="808761"/>
                </a:cubicBezTo>
                <a:cubicBezTo>
                  <a:pt x="3362564" y="808761"/>
                  <a:pt x="3356001" y="802926"/>
                  <a:pt x="3356001" y="796363"/>
                </a:cubicBezTo>
                <a:cubicBezTo>
                  <a:pt x="3356001" y="789070"/>
                  <a:pt x="3362564" y="782507"/>
                  <a:pt x="3369857" y="782507"/>
                </a:cubicBezTo>
                <a:close/>
                <a:moveTo>
                  <a:pt x="3299083" y="782507"/>
                </a:moveTo>
                <a:cubicBezTo>
                  <a:pt x="3305645" y="782507"/>
                  <a:pt x="3311480" y="789070"/>
                  <a:pt x="3311480" y="796363"/>
                </a:cubicBezTo>
                <a:cubicBezTo>
                  <a:pt x="3311480" y="802926"/>
                  <a:pt x="3305645" y="808761"/>
                  <a:pt x="3299083" y="808761"/>
                </a:cubicBezTo>
                <a:cubicBezTo>
                  <a:pt x="3291789" y="808761"/>
                  <a:pt x="3285229" y="802926"/>
                  <a:pt x="3285229" y="796363"/>
                </a:cubicBezTo>
                <a:cubicBezTo>
                  <a:pt x="3285229" y="789070"/>
                  <a:pt x="3291789" y="782507"/>
                  <a:pt x="3299083" y="782507"/>
                </a:cubicBezTo>
                <a:close/>
                <a:moveTo>
                  <a:pt x="3228250" y="782507"/>
                </a:moveTo>
                <a:cubicBezTo>
                  <a:pt x="3234814" y="782507"/>
                  <a:pt x="3240649" y="789070"/>
                  <a:pt x="3240649" y="796363"/>
                </a:cubicBezTo>
                <a:cubicBezTo>
                  <a:pt x="3240649" y="802926"/>
                  <a:pt x="3234814" y="808761"/>
                  <a:pt x="3228250" y="808761"/>
                </a:cubicBezTo>
                <a:cubicBezTo>
                  <a:pt x="3220230" y="808761"/>
                  <a:pt x="3214395" y="802926"/>
                  <a:pt x="3214395" y="796363"/>
                </a:cubicBezTo>
                <a:cubicBezTo>
                  <a:pt x="3214395" y="789070"/>
                  <a:pt x="3220230" y="782507"/>
                  <a:pt x="3228250" y="782507"/>
                </a:cubicBezTo>
                <a:close/>
                <a:moveTo>
                  <a:pt x="3152591" y="782507"/>
                </a:moveTo>
                <a:cubicBezTo>
                  <a:pt x="3159884" y="782507"/>
                  <a:pt x="3166447" y="789070"/>
                  <a:pt x="3166447" y="796363"/>
                </a:cubicBezTo>
                <a:cubicBezTo>
                  <a:pt x="3166447" y="802926"/>
                  <a:pt x="3159884" y="808761"/>
                  <a:pt x="3152591" y="808761"/>
                </a:cubicBezTo>
                <a:cubicBezTo>
                  <a:pt x="3146027" y="808761"/>
                  <a:pt x="3140193" y="802926"/>
                  <a:pt x="3140193" y="796363"/>
                </a:cubicBezTo>
                <a:cubicBezTo>
                  <a:pt x="3140193" y="789070"/>
                  <a:pt x="3146027" y="782507"/>
                  <a:pt x="3152591" y="782507"/>
                </a:cubicBezTo>
                <a:close/>
                <a:moveTo>
                  <a:pt x="1226672" y="782507"/>
                </a:moveTo>
                <a:cubicBezTo>
                  <a:pt x="1233964" y="782507"/>
                  <a:pt x="1240529" y="789337"/>
                  <a:pt x="1240529" y="796926"/>
                </a:cubicBezTo>
                <a:cubicBezTo>
                  <a:pt x="1240529" y="805275"/>
                  <a:pt x="1233964" y="812105"/>
                  <a:pt x="1226672" y="812105"/>
                </a:cubicBezTo>
                <a:cubicBezTo>
                  <a:pt x="1218658" y="812105"/>
                  <a:pt x="1214283" y="805275"/>
                  <a:pt x="1214283" y="796926"/>
                </a:cubicBezTo>
                <a:cubicBezTo>
                  <a:pt x="1214283" y="789337"/>
                  <a:pt x="1218658" y="782507"/>
                  <a:pt x="1226672" y="782507"/>
                </a:cubicBezTo>
                <a:close/>
                <a:moveTo>
                  <a:pt x="1154869" y="782507"/>
                </a:moveTo>
                <a:cubicBezTo>
                  <a:pt x="1162652" y="782507"/>
                  <a:pt x="1169658" y="789337"/>
                  <a:pt x="1169658" y="796926"/>
                </a:cubicBezTo>
                <a:cubicBezTo>
                  <a:pt x="1169658" y="805275"/>
                  <a:pt x="1162652" y="812105"/>
                  <a:pt x="1154869" y="812105"/>
                </a:cubicBezTo>
                <a:cubicBezTo>
                  <a:pt x="1146307" y="812105"/>
                  <a:pt x="1140080" y="805275"/>
                  <a:pt x="1140080" y="796926"/>
                </a:cubicBezTo>
                <a:cubicBezTo>
                  <a:pt x="1140080" y="789337"/>
                  <a:pt x="1146307" y="782507"/>
                  <a:pt x="1154869" y="782507"/>
                </a:cubicBezTo>
                <a:close/>
                <a:moveTo>
                  <a:pt x="1084040" y="782507"/>
                </a:moveTo>
                <a:cubicBezTo>
                  <a:pt x="1091822" y="782507"/>
                  <a:pt x="1098826" y="789337"/>
                  <a:pt x="1098826" y="796926"/>
                </a:cubicBezTo>
                <a:cubicBezTo>
                  <a:pt x="1098826" y="805275"/>
                  <a:pt x="1091822" y="812105"/>
                  <a:pt x="1084040" y="812105"/>
                </a:cubicBezTo>
                <a:cubicBezTo>
                  <a:pt x="1075478" y="812105"/>
                  <a:pt x="1069250" y="805275"/>
                  <a:pt x="1069250" y="796926"/>
                </a:cubicBezTo>
                <a:cubicBezTo>
                  <a:pt x="1069250" y="789337"/>
                  <a:pt x="1075478" y="782507"/>
                  <a:pt x="1084040" y="782507"/>
                </a:cubicBezTo>
                <a:close/>
                <a:moveTo>
                  <a:pt x="1013594" y="782507"/>
                </a:moveTo>
                <a:cubicBezTo>
                  <a:pt x="1021186" y="782507"/>
                  <a:pt x="1028015" y="789337"/>
                  <a:pt x="1028015" y="796926"/>
                </a:cubicBezTo>
                <a:cubicBezTo>
                  <a:pt x="1028015" y="805275"/>
                  <a:pt x="1021186" y="812105"/>
                  <a:pt x="1013594" y="812105"/>
                </a:cubicBezTo>
                <a:cubicBezTo>
                  <a:pt x="1005249" y="812105"/>
                  <a:pt x="998417" y="805275"/>
                  <a:pt x="998417" y="796926"/>
                </a:cubicBezTo>
                <a:cubicBezTo>
                  <a:pt x="998417" y="789337"/>
                  <a:pt x="1005249" y="782507"/>
                  <a:pt x="1013594" y="782507"/>
                </a:cubicBezTo>
                <a:close/>
                <a:moveTo>
                  <a:pt x="941447" y="782507"/>
                </a:moveTo>
                <a:cubicBezTo>
                  <a:pt x="949468" y="782507"/>
                  <a:pt x="953844" y="789337"/>
                  <a:pt x="953844" y="796926"/>
                </a:cubicBezTo>
                <a:cubicBezTo>
                  <a:pt x="953844" y="805275"/>
                  <a:pt x="949468" y="812105"/>
                  <a:pt x="941447" y="812105"/>
                </a:cubicBezTo>
                <a:cubicBezTo>
                  <a:pt x="934155" y="812105"/>
                  <a:pt x="927591" y="805275"/>
                  <a:pt x="927591" y="796926"/>
                </a:cubicBezTo>
                <a:cubicBezTo>
                  <a:pt x="927591" y="789337"/>
                  <a:pt x="934155" y="782507"/>
                  <a:pt x="941447" y="782507"/>
                </a:cubicBezTo>
                <a:close/>
                <a:moveTo>
                  <a:pt x="870615" y="782507"/>
                </a:moveTo>
                <a:cubicBezTo>
                  <a:pt x="877179" y="782507"/>
                  <a:pt x="883013" y="789337"/>
                  <a:pt x="883013" y="796926"/>
                </a:cubicBezTo>
                <a:cubicBezTo>
                  <a:pt x="883013" y="805275"/>
                  <a:pt x="877179" y="812105"/>
                  <a:pt x="870615" y="812105"/>
                </a:cubicBezTo>
                <a:cubicBezTo>
                  <a:pt x="863322" y="812105"/>
                  <a:pt x="856759" y="805275"/>
                  <a:pt x="856759" y="796926"/>
                </a:cubicBezTo>
                <a:cubicBezTo>
                  <a:pt x="856759" y="789337"/>
                  <a:pt x="863322" y="782507"/>
                  <a:pt x="870615" y="782507"/>
                </a:cubicBezTo>
                <a:close/>
                <a:moveTo>
                  <a:pt x="799784" y="782507"/>
                </a:moveTo>
                <a:cubicBezTo>
                  <a:pt x="806349" y="782507"/>
                  <a:pt x="812183" y="789337"/>
                  <a:pt x="812183" y="796926"/>
                </a:cubicBezTo>
                <a:cubicBezTo>
                  <a:pt x="812183" y="805275"/>
                  <a:pt x="806349" y="812105"/>
                  <a:pt x="799784" y="812105"/>
                </a:cubicBezTo>
                <a:cubicBezTo>
                  <a:pt x="792492" y="812105"/>
                  <a:pt x="785929" y="805275"/>
                  <a:pt x="785929" y="796926"/>
                </a:cubicBezTo>
                <a:cubicBezTo>
                  <a:pt x="785929" y="789337"/>
                  <a:pt x="792492" y="782507"/>
                  <a:pt x="799784" y="782507"/>
                </a:cubicBezTo>
                <a:close/>
                <a:moveTo>
                  <a:pt x="724123" y="782507"/>
                </a:moveTo>
                <a:cubicBezTo>
                  <a:pt x="731417" y="782507"/>
                  <a:pt x="737981" y="789337"/>
                  <a:pt x="737981" y="796926"/>
                </a:cubicBezTo>
                <a:cubicBezTo>
                  <a:pt x="737981" y="805275"/>
                  <a:pt x="731417" y="812105"/>
                  <a:pt x="724123" y="812105"/>
                </a:cubicBezTo>
                <a:cubicBezTo>
                  <a:pt x="717559" y="812105"/>
                  <a:pt x="711726" y="805275"/>
                  <a:pt x="711726" y="796926"/>
                </a:cubicBezTo>
                <a:cubicBezTo>
                  <a:pt x="711726" y="789337"/>
                  <a:pt x="717559" y="782507"/>
                  <a:pt x="724123" y="782507"/>
                </a:cubicBezTo>
                <a:close/>
                <a:moveTo>
                  <a:pt x="653293" y="782507"/>
                </a:moveTo>
                <a:cubicBezTo>
                  <a:pt x="660586" y="782507"/>
                  <a:pt x="667149" y="789337"/>
                  <a:pt x="667149" y="796926"/>
                </a:cubicBezTo>
                <a:cubicBezTo>
                  <a:pt x="667149" y="805275"/>
                  <a:pt x="660586" y="812105"/>
                  <a:pt x="653293" y="812105"/>
                </a:cubicBezTo>
                <a:cubicBezTo>
                  <a:pt x="645271" y="812105"/>
                  <a:pt x="640896" y="805275"/>
                  <a:pt x="640896" y="796926"/>
                </a:cubicBezTo>
                <a:cubicBezTo>
                  <a:pt x="640896" y="789337"/>
                  <a:pt x="645271" y="782507"/>
                  <a:pt x="653293" y="782507"/>
                </a:cubicBezTo>
                <a:close/>
                <a:moveTo>
                  <a:pt x="584855" y="782507"/>
                </a:moveTo>
                <a:cubicBezTo>
                  <a:pt x="592639" y="782507"/>
                  <a:pt x="599643" y="789337"/>
                  <a:pt x="599643" y="796926"/>
                </a:cubicBezTo>
                <a:cubicBezTo>
                  <a:pt x="599643" y="805275"/>
                  <a:pt x="592639" y="812105"/>
                  <a:pt x="584855" y="812105"/>
                </a:cubicBezTo>
                <a:cubicBezTo>
                  <a:pt x="576293" y="812105"/>
                  <a:pt x="570066" y="805275"/>
                  <a:pt x="570066" y="796926"/>
                </a:cubicBezTo>
                <a:cubicBezTo>
                  <a:pt x="570066" y="789337"/>
                  <a:pt x="576293" y="782507"/>
                  <a:pt x="584855" y="782507"/>
                </a:cubicBezTo>
                <a:close/>
                <a:moveTo>
                  <a:pt x="513654" y="782507"/>
                </a:moveTo>
                <a:cubicBezTo>
                  <a:pt x="522003" y="782507"/>
                  <a:pt x="528831" y="789337"/>
                  <a:pt x="528831" y="796926"/>
                </a:cubicBezTo>
                <a:cubicBezTo>
                  <a:pt x="528831" y="805275"/>
                  <a:pt x="522003" y="812105"/>
                  <a:pt x="513654" y="812105"/>
                </a:cubicBezTo>
                <a:cubicBezTo>
                  <a:pt x="506065" y="812105"/>
                  <a:pt x="499235" y="805275"/>
                  <a:pt x="499235" y="796926"/>
                </a:cubicBezTo>
                <a:cubicBezTo>
                  <a:pt x="499235" y="789337"/>
                  <a:pt x="506065" y="782507"/>
                  <a:pt x="513654" y="782507"/>
                </a:cubicBezTo>
                <a:close/>
                <a:moveTo>
                  <a:pt x="439821" y="782507"/>
                </a:moveTo>
                <a:cubicBezTo>
                  <a:pt x="448384" y="782507"/>
                  <a:pt x="454611" y="789337"/>
                  <a:pt x="454611" y="796926"/>
                </a:cubicBezTo>
                <a:cubicBezTo>
                  <a:pt x="454611" y="805275"/>
                  <a:pt x="448384" y="812105"/>
                  <a:pt x="439821" y="812105"/>
                </a:cubicBezTo>
                <a:cubicBezTo>
                  <a:pt x="432038" y="812105"/>
                  <a:pt x="425033" y="805275"/>
                  <a:pt x="425033" y="796926"/>
                </a:cubicBezTo>
                <a:cubicBezTo>
                  <a:pt x="425033" y="789337"/>
                  <a:pt x="432038" y="782507"/>
                  <a:pt x="439821" y="782507"/>
                </a:cubicBezTo>
                <a:close/>
                <a:moveTo>
                  <a:pt x="4439056" y="711678"/>
                </a:moveTo>
                <a:cubicBezTo>
                  <a:pt x="4445619" y="711678"/>
                  <a:pt x="4451453" y="716783"/>
                  <a:pt x="4451453" y="724075"/>
                </a:cubicBezTo>
                <a:cubicBezTo>
                  <a:pt x="4451453" y="732097"/>
                  <a:pt x="4445619" y="737932"/>
                  <a:pt x="4439056" y="737932"/>
                </a:cubicBezTo>
                <a:cubicBezTo>
                  <a:pt x="4431763" y="737932"/>
                  <a:pt x="4425200" y="732097"/>
                  <a:pt x="4425200" y="724075"/>
                </a:cubicBezTo>
                <a:cubicBezTo>
                  <a:pt x="4425200" y="716783"/>
                  <a:pt x="4431763" y="711678"/>
                  <a:pt x="4439056" y="711678"/>
                </a:cubicBezTo>
                <a:close/>
                <a:moveTo>
                  <a:pt x="4366768" y="711678"/>
                </a:moveTo>
                <a:cubicBezTo>
                  <a:pt x="4374790" y="711678"/>
                  <a:pt x="4380624" y="716783"/>
                  <a:pt x="4380624" y="724075"/>
                </a:cubicBezTo>
                <a:cubicBezTo>
                  <a:pt x="4380624" y="732097"/>
                  <a:pt x="4374790" y="737932"/>
                  <a:pt x="4366768" y="737932"/>
                </a:cubicBezTo>
                <a:cubicBezTo>
                  <a:pt x="4360934" y="737932"/>
                  <a:pt x="4354371" y="732097"/>
                  <a:pt x="4354371" y="724075"/>
                </a:cubicBezTo>
                <a:cubicBezTo>
                  <a:pt x="4354371" y="716783"/>
                  <a:pt x="4360934" y="711678"/>
                  <a:pt x="4366768" y="711678"/>
                </a:cubicBezTo>
                <a:close/>
                <a:moveTo>
                  <a:pt x="4295937" y="711678"/>
                </a:moveTo>
                <a:cubicBezTo>
                  <a:pt x="4303959" y="711678"/>
                  <a:pt x="4309793" y="716783"/>
                  <a:pt x="4309793" y="724075"/>
                </a:cubicBezTo>
                <a:cubicBezTo>
                  <a:pt x="4309793" y="732097"/>
                  <a:pt x="4303959" y="737932"/>
                  <a:pt x="4295937" y="737932"/>
                </a:cubicBezTo>
                <a:cubicBezTo>
                  <a:pt x="4290103" y="737932"/>
                  <a:pt x="4283540" y="732097"/>
                  <a:pt x="4283540" y="724075"/>
                </a:cubicBezTo>
                <a:cubicBezTo>
                  <a:pt x="4283540" y="716783"/>
                  <a:pt x="4290103" y="711678"/>
                  <a:pt x="4295937" y="711678"/>
                </a:cubicBezTo>
                <a:close/>
                <a:moveTo>
                  <a:pt x="4225107" y="711678"/>
                </a:moveTo>
                <a:cubicBezTo>
                  <a:pt x="4233129" y="711678"/>
                  <a:pt x="4238963" y="718241"/>
                  <a:pt x="4238963" y="724075"/>
                </a:cubicBezTo>
                <a:cubicBezTo>
                  <a:pt x="4238963" y="732097"/>
                  <a:pt x="4233129" y="737932"/>
                  <a:pt x="4225107" y="737932"/>
                </a:cubicBezTo>
                <a:cubicBezTo>
                  <a:pt x="4217085" y="737932"/>
                  <a:pt x="4212710" y="732097"/>
                  <a:pt x="4212710" y="724075"/>
                </a:cubicBezTo>
                <a:cubicBezTo>
                  <a:pt x="4212710" y="718241"/>
                  <a:pt x="4217085" y="711678"/>
                  <a:pt x="4225107" y="711678"/>
                </a:cubicBezTo>
                <a:close/>
                <a:moveTo>
                  <a:pt x="4153295" y="711678"/>
                </a:moveTo>
                <a:cubicBezTo>
                  <a:pt x="4161078" y="711678"/>
                  <a:pt x="4168083" y="718241"/>
                  <a:pt x="4168083" y="724075"/>
                </a:cubicBezTo>
                <a:cubicBezTo>
                  <a:pt x="4168083" y="732097"/>
                  <a:pt x="4161078" y="737932"/>
                  <a:pt x="4153295" y="737932"/>
                </a:cubicBezTo>
                <a:cubicBezTo>
                  <a:pt x="4144733" y="737932"/>
                  <a:pt x="4138507" y="732097"/>
                  <a:pt x="4138507" y="724075"/>
                </a:cubicBezTo>
                <a:cubicBezTo>
                  <a:pt x="4138507" y="718241"/>
                  <a:pt x="4144733" y="711678"/>
                  <a:pt x="4153295" y="711678"/>
                </a:cubicBezTo>
                <a:close/>
                <a:moveTo>
                  <a:pt x="4082465" y="711678"/>
                </a:moveTo>
                <a:cubicBezTo>
                  <a:pt x="4090249" y="711678"/>
                  <a:pt x="4097254" y="718241"/>
                  <a:pt x="4097254" y="724075"/>
                </a:cubicBezTo>
                <a:cubicBezTo>
                  <a:pt x="4097254" y="732097"/>
                  <a:pt x="4090249" y="737932"/>
                  <a:pt x="4082465" y="737932"/>
                </a:cubicBezTo>
                <a:cubicBezTo>
                  <a:pt x="4073903" y="737932"/>
                  <a:pt x="4067676" y="732097"/>
                  <a:pt x="4067676" y="724075"/>
                </a:cubicBezTo>
                <a:cubicBezTo>
                  <a:pt x="4067676" y="718241"/>
                  <a:pt x="4073903" y="711678"/>
                  <a:pt x="4082465" y="711678"/>
                </a:cubicBezTo>
                <a:close/>
                <a:moveTo>
                  <a:pt x="4010703" y="711678"/>
                </a:moveTo>
                <a:cubicBezTo>
                  <a:pt x="4017996" y="711678"/>
                  <a:pt x="4023100" y="718241"/>
                  <a:pt x="4023100" y="724075"/>
                </a:cubicBezTo>
                <a:cubicBezTo>
                  <a:pt x="4023100" y="732097"/>
                  <a:pt x="4017996" y="737932"/>
                  <a:pt x="4010703" y="737932"/>
                </a:cubicBezTo>
                <a:cubicBezTo>
                  <a:pt x="4002681" y="737932"/>
                  <a:pt x="3996847" y="732097"/>
                  <a:pt x="3996847" y="724075"/>
                </a:cubicBezTo>
                <a:cubicBezTo>
                  <a:pt x="3996847" y="718241"/>
                  <a:pt x="4002681" y="711678"/>
                  <a:pt x="4010703" y="711678"/>
                </a:cubicBezTo>
                <a:close/>
                <a:moveTo>
                  <a:pt x="3939871" y="711678"/>
                </a:moveTo>
                <a:cubicBezTo>
                  <a:pt x="3946434" y="711678"/>
                  <a:pt x="3952268" y="718241"/>
                  <a:pt x="3952268" y="724075"/>
                </a:cubicBezTo>
                <a:cubicBezTo>
                  <a:pt x="3952268" y="732097"/>
                  <a:pt x="3946434" y="737932"/>
                  <a:pt x="3939871" y="737932"/>
                </a:cubicBezTo>
                <a:cubicBezTo>
                  <a:pt x="3932578" y="737932"/>
                  <a:pt x="3926015" y="732097"/>
                  <a:pt x="3926015" y="724075"/>
                </a:cubicBezTo>
                <a:cubicBezTo>
                  <a:pt x="3926015" y="718241"/>
                  <a:pt x="3932578" y="711678"/>
                  <a:pt x="3939871" y="711678"/>
                </a:cubicBezTo>
                <a:close/>
                <a:moveTo>
                  <a:pt x="3869042" y="711678"/>
                </a:moveTo>
                <a:cubicBezTo>
                  <a:pt x="3875605" y="711678"/>
                  <a:pt x="3881439" y="718241"/>
                  <a:pt x="3881439" y="724075"/>
                </a:cubicBezTo>
                <a:cubicBezTo>
                  <a:pt x="3881439" y="732097"/>
                  <a:pt x="3875605" y="737932"/>
                  <a:pt x="3869042" y="737932"/>
                </a:cubicBezTo>
                <a:cubicBezTo>
                  <a:pt x="3861749" y="737932"/>
                  <a:pt x="3855186" y="732097"/>
                  <a:pt x="3855186" y="724075"/>
                </a:cubicBezTo>
                <a:cubicBezTo>
                  <a:pt x="3855186" y="718241"/>
                  <a:pt x="3861749" y="711678"/>
                  <a:pt x="3869042" y="711678"/>
                </a:cubicBezTo>
                <a:close/>
                <a:moveTo>
                  <a:pt x="3796752" y="711678"/>
                </a:moveTo>
                <a:cubicBezTo>
                  <a:pt x="3804774" y="711678"/>
                  <a:pt x="3810608" y="718241"/>
                  <a:pt x="3810608" y="724075"/>
                </a:cubicBezTo>
                <a:cubicBezTo>
                  <a:pt x="3810608" y="732097"/>
                  <a:pt x="3804774" y="737932"/>
                  <a:pt x="3796752" y="737932"/>
                </a:cubicBezTo>
                <a:cubicBezTo>
                  <a:pt x="3790918" y="737932"/>
                  <a:pt x="3784355" y="732097"/>
                  <a:pt x="3784355" y="724075"/>
                </a:cubicBezTo>
                <a:cubicBezTo>
                  <a:pt x="3784355" y="718241"/>
                  <a:pt x="3790918" y="711678"/>
                  <a:pt x="3796752" y="711678"/>
                </a:cubicBezTo>
                <a:close/>
                <a:moveTo>
                  <a:pt x="3725922" y="711678"/>
                </a:moveTo>
                <a:cubicBezTo>
                  <a:pt x="3733944" y="711678"/>
                  <a:pt x="3739778" y="718241"/>
                  <a:pt x="3739778" y="724075"/>
                </a:cubicBezTo>
                <a:cubicBezTo>
                  <a:pt x="3739778" y="732097"/>
                  <a:pt x="3733944" y="737932"/>
                  <a:pt x="3725922" y="737932"/>
                </a:cubicBezTo>
                <a:cubicBezTo>
                  <a:pt x="3719359" y="737932"/>
                  <a:pt x="3713525" y="732097"/>
                  <a:pt x="3713525" y="724075"/>
                </a:cubicBezTo>
                <a:cubicBezTo>
                  <a:pt x="3713525" y="718241"/>
                  <a:pt x="3719359" y="711678"/>
                  <a:pt x="3725922" y="711678"/>
                </a:cubicBezTo>
                <a:close/>
                <a:moveTo>
                  <a:pt x="3655091" y="711678"/>
                </a:moveTo>
                <a:cubicBezTo>
                  <a:pt x="3662384" y="711678"/>
                  <a:pt x="3668947" y="718241"/>
                  <a:pt x="3668947" y="724075"/>
                </a:cubicBezTo>
                <a:cubicBezTo>
                  <a:pt x="3668947" y="732097"/>
                  <a:pt x="3662384" y="737932"/>
                  <a:pt x="3655091" y="737932"/>
                </a:cubicBezTo>
                <a:cubicBezTo>
                  <a:pt x="3647069" y="737932"/>
                  <a:pt x="3642694" y="732097"/>
                  <a:pt x="3642694" y="724075"/>
                </a:cubicBezTo>
                <a:cubicBezTo>
                  <a:pt x="3642694" y="718241"/>
                  <a:pt x="3647069" y="711678"/>
                  <a:pt x="3655091" y="711678"/>
                </a:cubicBezTo>
                <a:close/>
                <a:moveTo>
                  <a:pt x="3583280" y="711678"/>
                </a:moveTo>
                <a:cubicBezTo>
                  <a:pt x="3591064" y="711678"/>
                  <a:pt x="3598069" y="718241"/>
                  <a:pt x="3598069" y="724075"/>
                </a:cubicBezTo>
                <a:cubicBezTo>
                  <a:pt x="3598069" y="732097"/>
                  <a:pt x="3591064" y="737932"/>
                  <a:pt x="3583280" y="737932"/>
                </a:cubicBezTo>
                <a:cubicBezTo>
                  <a:pt x="3574718" y="737932"/>
                  <a:pt x="3568491" y="732097"/>
                  <a:pt x="3568491" y="724075"/>
                </a:cubicBezTo>
                <a:cubicBezTo>
                  <a:pt x="3568491" y="718241"/>
                  <a:pt x="3574718" y="711678"/>
                  <a:pt x="3583280" y="711678"/>
                </a:cubicBezTo>
                <a:close/>
                <a:moveTo>
                  <a:pt x="3512449" y="711678"/>
                </a:moveTo>
                <a:cubicBezTo>
                  <a:pt x="3520232" y="711678"/>
                  <a:pt x="3527237" y="718241"/>
                  <a:pt x="3527237" y="724075"/>
                </a:cubicBezTo>
                <a:cubicBezTo>
                  <a:pt x="3527237" y="732097"/>
                  <a:pt x="3520232" y="737932"/>
                  <a:pt x="3512449" y="737932"/>
                </a:cubicBezTo>
                <a:cubicBezTo>
                  <a:pt x="3503887" y="737932"/>
                  <a:pt x="3497661" y="732097"/>
                  <a:pt x="3497661" y="724075"/>
                </a:cubicBezTo>
                <a:cubicBezTo>
                  <a:pt x="3497661" y="718241"/>
                  <a:pt x="3503887" y="711678"/>
                  <a:pt x="3512449" y="711678"/>
                </a:cubicBezTo>
                <a:close/>
                <a:moveTo>
                  <a:pt x="3441619" y="711678"/>
                </a:moveTo>
                <a:cubicBezTo>
                  <a:pt x="3450181" y="711678"/>
                  <a:pt x="3456408" y="718241"/>
                  <a:pt x="3456408" y="724075"/>
                </a:cubicBezTo>
                <a:cubicBezTo>
                  <a:pt x="3456408" y="732097"/>
                  <a:pt x="3450181" y="737932"/>
                  <a:pt x="3441619" y="737932"/>
                </a:cubicBezTo>
                <a:cubicBezTo>
                  <a:pt x="3433835" y="737932"/>
                  <a:pt x="3426830" y="732097"/>
                  <a:pt x="3426830" y="724075"/>
                </a:cubicBezTo>
                <a:cubicBezTo>
                  <a:pt x="3426830" y="718241"/>
                  <a:pt x="3433835" y="711678"/>
                  <a:pt x="3441619" y="711678"/>
                </a:cubicBezTo>
                <a:close/>
                <a:moveTo>
                  <a:pt x="3369857" y="711678"/>
                </a:moveTo>
                <a:cubicBezTo>
                  <a:pt x="3377879" y="711678"/>
                  <a:pt x="3382254" y="718241"/>
                  <a:pt x="3382254" y="724075"/>
                </a:cubicBezTo>
                <a:cubicBezTo>
                  <a:pt x="3382254" y="732097"/>
                  <a:pt x="3377879" y="737932"/>
                  <a:pt x="3369857" y="737932"/>
                </a:cubicBezTo>
                <a:cubicBezTo>
                  <a:pt x="3362564" y="737932"/>
                  <a:pt x="3356001" y="732097"/>
                  <a:pt x="3356001" y="724075"/>
                </a:cubicBezTo>
                <a:cubicBezTo>
                  <a:pt x="3356001" y="718241"/>
                  <a:pt x="3362564" y="711678"/>
                  <a:pt x="3369857" y="711678"/>
                </a:cubicBezTo>
                <a:close/>
                <a:moveTo>
                  <a:pt x="3299086" y="711678"/>
                </a:moveTo>
                <a:cubicBezTo>
                  <a:pt x="3305651" y="711678"/>
                  <a:pt x="3311485" y="718241"/>
                  <a:pt x="3311485" y="724075"/>
                </a:cubicBezTo>
                <a:cubicBezTo>
                  <a:pt x="3311485" y="732097"/>
                  <a:pt x="3305651" y="737932"/>
                  <a:pt x="3299086" y="737932"/>
                </a:cubicBezTo>
                <a:cubicBezTo>
                  <a:pt x="3291794" y="737932"/>
                  <a:pt x="3285234" y="732097"/>
                  <a:pt x="3285234" y="724075"/>
                </a:cubicBezTo>
                <a:cubicBezTo>
                  <a:pt x="3285234" y="718241"/>
                  <a:pt x="3291794" y="711678"/>
                  <a:pt x="3299086" y="711678"/>
                </a:cubicBezTo>
                <a:close/>
                <a:moveTo>
                  <a:pt x="3228255" y="711678"/>
                </a:moveTo>
                <a:cubicBezTo>
                  <a:pt x="3234819" y="711678"/>
                  <a:pt x="3240654" y="718241"/>
                  <a:pt x="3240654" y="724075"/>
                </a:cubicBezTo>
                <a:cubicBezTo>
                  <a:pt x="3240654" y="732097"/>
                  <a:pt x="3234819" y="737932"/>
                  <a:pt x="3228255" y="737932"/>
                </a:cubicBezTo>
                <a:cubicBezTo>
                  <a:pt x="3220233" y="737932"/>
                  <a:pt x="3214398" y="732097"/>
                  <a:pt x="3214398" y="724075"/>
                </a:cubicBezTo>
                <a:cubicBezTo>
                  <a:pt x="3214398" y="718241"/>
                  <a:pt x="3220233" y="711678"/>
                  <a:pt x="3228255" y="711678"/>
                </a:cubicBezTo>
                <a:close/>
                <a:moveTo>
                  <a:pt x="3152594" y="711678"/>
                </a:moveTo>
                <a:cubicBezTo>
                  <a:pt x="3159889" y="711678"/>
                  <a:pt x="3166451" y="718241"/>
                  <a:pt x="3166451" y="724075"/>
                </a:cubicBezTo>
                <a:cubicBezTo>
                  <a:pt x="3166451" y="732097"/>
                  <a:pt x="3159889" y="737932"/>
                  <a:pt x="3152594" y="737932"/>
                </a:cubicBezTo>
                <a:cubicBezTo>
                  <a:pt x="3146031" y="737932"/>
                  <a:pt x="3140198" y="732097"/>
                  <a:pt x="3140198" y="725534"/>
                </a:cubicBezTo>
                <a:cubicBezTo>
                  <a:pt x="3140198" y="718241"/>
                  <a:pt x="3146031" y="711678"/>
                  <a:pt x="3152594" y="711678"/>
                </a:cubicBezTo>
                <a:close/>
                <a:moveTo>
                  <a:pt x="3081763" y="711678"/>
                </a:moveTo>
                <a:cubicBezTo>
                  <a:pt x="3089057" y="711678"/>
                  <a:pt x="3095617" y="718241"/>
                  <a:pt x="3095617" y="725534"/>
                </a:cubicBezTo>
                <a:cubicBezTo>
                  <a:pt x="3095617" y="732097"/>
                  <a:pt x="3089057" y="737932"/>
                  <a:pt x="3081763" y="737932"/>
                </a:cubicBezTo>
                <a:cubicBezTo>
                  <a:pt x="3073740" y="737932"/>
                  <a:pt x="3069364" y="732097"/>
                  <a:pt x="3069364" y="725534"/>
                </a:cubicBezTo>
                <a:cubicBezTo>
                  <a:pt x="3069364" y="718241"/>
                  <a:pt x="3073740" y="711678"/>
                  <a:pt x="3081763" y="711678"/>
                </a:cubicBezTo>
                <a:close/>
                <a:moveTo>
                  <a:pt x="3013707" y="711678"/>
                </a:moveTo>
                <a:cubicBezTo>
                  <a:pt x="3021299" y="711678"/>
                  <a:pt x="3028128" y="718241"/>
                  <a:pt x="3028128" y="725534"/>
                </a:cubicBezTo>
                <a:cubicBezTo>
                  <a:pt x="3028128" y="732097"/>
                  <a:pt x="3021299" y="737932"/>
                  <a:pt x="3013707" y="737932"/>
                </a:cubicBezTo>
                <a:cubicBezTo>
                  <a:pt x="3005360" y="737932"/>
                  <a:pt x="2998531" y="732097"/>
                  <a:pt x="2998531" y="725534"/>
                </a:cubicBezTo>
                <a:cubicBezTo>
                  <a:pt x="2998531" y="718241"/>
                  <a:pt x="3005360" y="711678"/>
                  <a:pt x="3013707" y="711678"/>
                </a:cubicBezTo>
                <a:close/>
                <a:moveTo>
                  <a:pt x="2942485" y="711678"/>
                </a:moveTo>
                <a:cubicBezTo>
                  <a:pt x="2951045" y="711678"/>
                  <a:pt x="2957280" y="718241"/>
                  <a:pt x="2957280" y="725534"/>
                </a:cubicBezTo>
                <a:cubicBezTo>
                  <a:pt x="2957280" y="732097"/>
                  <a:pt x="2951045" y="737932"/>
                  <a:pt x="2942485" y="737932"/>
                </a:cubicBezTo>
                <a:cubicBezTo>
                  <a:pt x="2934705" y="737932"/>
                  <a:pt x="2927700" y="732097"/>
                  <a:pt x="2927700" y="725534"/>
                </a:cubicBezTo>
                <a:cubicBezTo>
                  <a:pt x="2927700" y="718241"/>
                  <a:pt x="2934705" y="711678"/>
                  <a:pt x="2942485" y="711678"/>
                </a:cubicBezTo>
                <a:close/>
                <a:moveTo>
                  <a:pt x="1440620" y="711678"/>
                </a:moveTo>
                <a:cubicBezTo>
                  <a:pt x="1447182" y="711678"/>
                  <a:pt x="1453017" y="718683"/>
                  <a:pt x="1453017" y="726466"/>
                </a:cubicBezTo>
                <a:cubicBezTo>
                  <a:pt x="1453017" y="735028"/>
                  <a:pt x="1447182" y="741255"/>
                  <a:pt x="1440620" y="741255"/>
                </a:cubicBezTo>
                <a:cubicBezTo>
                  <a:pt x="1433328" y="741255"/>
                  <a:pt x="1426765" y="735028"/>
                  <a:pt x="1426765" y="726466"/>
                </a:cubicBezTo>
                <a:cubicBezTo>
                  <a:pt x="1426765" y="718683"/>
                  <a:pt x="1433328" y="711678"/>
                  <a:pt x="1440620" y="711678"/>
                </a:cubicBezTo>
                <a:close/>
                <a:moveTo>
                  <a:pt x="1368338" y="711678"/>
                </a:moveTo>
                <a:cubicBezTo>
                  <a:pt x="1376356" y="711678"/>
                  <a:pt x="1382190" y="718683"/>
                  <a:pt x="1382190" y="726466"/>
                </a:cubicBezTo>
                <a:cubicBezTo>
                  <a:pt x="1382190" y="735028"/>
                  <a:pt x="1376356" y="741255"/>
                  <a:pt x="1368338" y="741255"/>
                </a:cubicBezTo>
                <a:cubicBezTo>
                  <a:pt x="1362502" y="741255"/>
                  <a:pt x="1355939" y="735028"/>
                  <a:pt x="1355939" y="726466"/>
                </a:cubicBezTo>
                <a:cubicBezTo>
                  <a:pt x="1355939" y="718683"/>
                  <a:pt x="1362502" y="711678"/>
                  <a:pt x="1368338" y="711678"/>
                </a:cubicBezTo>
                <a:close/>
                <a:moveTo>
                  <a:pt x="1297509" y="711678"/>
                </a:moveTo>
                <a:cubicBezTo>
                  <a:pt x="1305532" y="711678"/>
                  <a:pt x="1311366" y="718683"/>
                  <a:pt x="1311366" y="726466"/>
                </a:cubicBezTo>
                <a:cubicBezTo>
                  <a:pt x="1311366" y="735028"/>
                  <a:pt x="1305532" y="741255"/>
                  <a:pt x="1297509" y="741255"/>
                </a:cubicBezTo>
                <a:cubicBezTo>
                  <a:pt x="1291675" y="741255"/>
                  <a:pt x="1285113" y="735028"/>
                  <a:pt x="1285113" y="726466"/>
                </a:cubicBezTo>
                <a:cubicBezTo>
                  <a:pt x="1285113" y="718683"/>
                  <a:pt x="1291675" y="711678"/>
                  <a:pt x="1297509" y="711678"/>
                </a:cubicBezTo>
                <a:close/>
                <a:moveTo>
                  <a:pt x="1226678" y="711678"/>
                </a:moveTo>
                <a:cubicBezTo>
                  <a:pt x="1233970" y="711678"/>
                  <a:pt x="1240535" y="718683"/>
                  <a:pt x="1240535" y="726466"/>
                </a:cubicBezTo>
                <a:cubicBezTo>
                  <a:pt x="1240535" y="735028"/>
                  <a:pt x="1233970" y="741255"/>
                  <a:pt x="1226678" y="741255"/>
                </a:cubicBezTo>
                <a:cubicBezTo>
                  <a:pt x="1218663" y="741255"/>
                  <a:pt x="1214288" y="735028"/>
                  <a:pt x="1214288" y="726466"/>
                </a:cubicBezTo>
                <a:cubicBezTo>
                  <a:pt x="1214288" y="718683"/>
                  <a:pt x="1218663" y="711678"/>
                  <a:pt x="1226678" y="711678"/>
                </a:cubicBezTo>
                <a:close/>
                <a:moveTo>
                  <a:pt x="1154874" y="711678"/>
                </a:moveTo>
                <a:cubicBezTo>
                  <a:pt x="1162657" y="711678"/>
                  <a:pt x="1169663" y="718683"/>
                  <a:pt x="1169663" y="726466"/>
                </a:cubicBezTo>
                <a:cubicBezTo>
                  <a:pt x="1169663" y="735028"/>
                  <a:pt x="1162657" y="741255"/>
                  <a:pt x="1154874" y="741255"/>
                </a:cubicBezTo>
                <a:cubicBezTo>
                  <a:pt x="1146312" y="741255"/>
                  <a:pt x="1140086" y="735028"/>
                  <a:pt x="1140086" y="726466"/>
                </a:cubicBezTo>
                <a:cubicBezTo>
                  <a:pt x="1140086" y="718683"/>
                  <a:pt x="1146312" y="711678"/>
                  <a:pt x="1154874" y="711678"/>
                </a:cubicBezTo>
                <a:close/>
                <a:moveTo>
                  <a:pt x="1084045" y="711678"/>
                </a:moveTo>
                <a:cubicBezTo>
                  <a:pt x="1091827" y="711678"/>
                  <a:pt x="1098833" y="718683"/>
                  <a:pt x="1098833" y="726466"/>
                </a:cubicBezTo>
                <a:cubicBezTo>
                  <a:pt x="1098833" y="735028"/>
                  <a:pt x="1091827" y="741255"/>
                  <a:pt x="1084045" y="741255"/>
                </a:cubicBezTo>
                <a:cubicBezTo>
                  <a:pt x="1075483" y="741255"/>
                  <a:pt x="1069255" y="735028"/>
                  <a:pt x="1069255" y="726466"/>
                </a:cubicBezTo>
                <a:cubicBezTo>
                  <a:pt x="1069255" y="718683"/>
                  <a:pt x="1075483" y="711678"/>
                  <a:pt x="1084045" y="711678"/>
                </a:cubicBezTo>
                <a:close/>
                <a:moveTo>
                  <a:pt x="1013599" y="711678"/>
                </a:moveTo>
                <a:cubicBezTo>
                  <a:pt x="1021190" y="711678"/>
                  <a:pt x="1028021" y="718683"/>
                  <a:pt x="1028021" y="726466"/>
                </a:cubicBezTo>
                <a:cubicBezTo>
                  <a:pt x="1028021" y="735028"/>
                  <a:pt x="1021190" y="741255"/>
                  <a:pt x="1013599" y="741255"/>
                </a:cubicBezTo>
                <a:cubicBezTo>
                  <a:pt x="1005254" y="741255"/>
                  <a:pt x="998423" y="735028"/>
                  <a:pt x="998423" y="726466"/>
                </a:cubicBezTo>
                <a:cubicBezTo>
                  <a:pt x="998423" y="718683"/>
                  <a:pt x="1005254" y="711678"/>
                  <a:pt x="1013599" y="711678"/>
                </a:cubicBezTo>
                <a:close/>
                <a:moveTo>
                  <a:pt x="941452" y="711678"/>
                </a:moveTo>
                <a:cubicBezTo>
                  <a:pt x="949474" y="711678"/>
                  <a:pt x="953848" y="718683"/>
                  <a:pt x="953848" y="726466"/>
                </a:cubicBezTo>
                <a:cubicBezTo>
                  <a:pt x="953848" y="735028"/>
                  <a:pt x="949474" y="741255"/>
                  <a:pt x="941452" y="741255"/>
                </a:cubicBezTo>
                <a:cubicBezTo>
                  <a:pt x="934159" y="741255"/>
                  <a:pt x="927596" y="735028"/>
                  <a:pt x="927596" y="726466"/>
                </a:cubicBezTo>
                <a:cubicBezTo>
                  <a:pt x="927596" y="718683"/>
                  <a:pt x="934159" y="711678"/>
                  <a:pt x="941452" y="711678"/>
                </a:cubicBezTo>
                <a:close/>
                <a:moveTo>
                  <a:pt x="870620" y="711678"/>
                </a:moveTo>
                <a:cubicBezTo>
                  <a:pt x="877183" y="711678"/>
                  <a:pt x="883018" y="718683"/>
                  <a:pt x="883018" y="726466"/>
                </a:cubicBezTo>
                <a:cubicBezTo>
                  <a:pt x="883018" y="735028"/>
                  <a:pt x="877183" y="741255"/>
                  <a:pt x="870620" y="741255"/>
                </a:cubicBezTo>
                <a:cubicBezTo>
                  <a:pt x="863327" y="741255"/>
                  <a:pt x="856764" y="735028"/>
                  <a:pt x="856764" y="726466"/>
                </a:cubicBezTo>
                <a:cubicBezTo>
                  <a:pt x="856764" y="718683"/>
                  <a:pt x="863327" y="711678"/>
                  <a:pt x="870620" y="711678"/>
                </a:cubicBezTo>
                <a:close/>
                <a:moveTo>
                  <a:pt x="798331" y="711678"/>
                </a:moveTo>
                <a:cubicBezTo>
                  <a:pt x="806354" y="711678"/>
                  <a:pt x="812189" y="718683"/>
                  <a:pt x="812189" y="726466"/>
                </a:cubicBezTo>
                <a:cubicBezTo>
                  <a:pt x="812189" y="735028"/>
                  <a:pt x="806354" y="741255"/>
                  <a:pt x="798331" y="741255"/>
                </a:cubicBezTo>
                <a:cubicBezTo>
                  <a:pt x="792497" y="741255"/>
                  <a:pt x="785934" y="735028"/>
                  <a:pt x="785934" y="726466"/>
                </a:cubicBezTo>
                <a:cubicBezTo>
                  <a:pt x="785934" y="718683"/>
                  <a:pt x="792497" y="711678"/>
                  <a:pt x="798331" y="711678"/>
                </a:cubicBezTo>
                <a:close/>
                <a:moveTo>
                  <a:pt x="724129" y="711678"/>
                </a:moveTo>
                <a:cubicBezTo>
                  <a:pt x="731422" y="711678"/>
                  <a:pt x="737986" y="718683"/>
                  <a:pt x="737986" y="726466"/>
                </a:cubicBezTo>
                <a:cubicBezTo>
                  <a:pt x="737986" y="735028"/>
                  <a:pt x="731422" y="741255"/>
                  <a:pt x="724129" y="741255"/>
                </a:cubicBezTo>
                <a:cubicBezTo>
                  <a:pt x="717565" y="741255"/>
                  <a:pt x="711732" y="735028"/>
                  <a:pt x="711732" y="726466"/>
                </a:cubicBezTo>
                <a:cubicBezTo>
                  <a:pt x="711732" y="718683"/>
                  <a:pt x="717565" y="711678"/>
                  <a:pt x="724129" y="711678"/>
                </a:cubicBezTo>
                <a:close/>
                <a:moveTo>
                  <a:pt x="653298" y="711678"/>
                </a:moveTo>
                <a:cubicBezTo>
                  <a:pt x="660590" y="711678"/>
                  <a:pt x="667154" y="718683"/>
                  <a:pt x="667154" y="726466"/>
                </a:cubicBezTo>
                <a:cubicBezTo>
                  <a:pt x="667154" y="735028"/>
                  <a:pt x="660590" y="741255"/>
                  <a:pt x="653298" y="741255"/>
                </a:cubicBezTo>
                <a:cubicBezTo>
                  <a:pt x="645277" y="741255"/>
                  <a:pt x="640901" y="735028"/>
                  <a:pt x="640901" y="726466"/>
                </a:cubicBezTo>
                <a:cubicBezTo>
                  <a:pt x="640901" y="718683"/>
                  <a:pt x="645277" y="711678"/>
                  <a:pt x="653298" y="711678"/>
                </a:cubicBezTo>
                <a:close/>
                <a:moveTo>
                  <a:pt x="584861" y="711678"/>
                </a:moveTo>
                <a:cubicBezTo>
                  <a:pt x="592644" y="711678"/>
                  <a:pt x="599648" y="718683"/>
                  <a:pt x="599648" y="726466"/>
                </a:cubicBezTo>
                <a:cubicBezTo>
                  <a:pt x="599648" y="735028"/>
                  <a:pt x="592644" y="741255"/>
                  <a:pt x="584861" y="741255"/>
                </a:cubicBezTo>
                <a:cubicBezTo>
                  <a:pt x="576299" y="741255"/>
                  <a:pt x="570071" y="735028"/>
                  <a:pt x="570071" y="726466"/>
                </a:cubicBezTo>
                <a:cubicBezTo>
                  <a:pt x="570071" y="718683"/>
                  <a:pt x="576299" y="711678"/>
                  <a:pt x="584861" y="711678"/>
                </a:cubicBezTo>
                <a:close/>
                <a:moveTo>
                  <a:pt x="513660" y="711678"/>
                </a:moveTo>
                <a:cubicBezTo>
                  <a:pt x="522008" y="711678"/>
                  <a:pt x="528837" y="718683"/>
                  <a:pt x="528837" y="726466"/>
                </a:cubicBezTo>
                <a:cubicBezTo>
                  <a:pt x="528837" y="735028"/>
                  <a:pt x="522008" y="741255"/>
                  <a:pt x="513660" y="741255"/>
                </a:cubicBezTo>
                <a:cubicBezTo>
                  <a:pt x="506071" y="741255"/>
                  <a:pt x="499241" y="735028"/>
                  <a:pt x="499241" y="726466"/>
                </a:cubicBezTo>
                <a:cubicBezTo>
                  <a:pt x="499241" y="718683"/>
                  <a:pt x="506071" y="711678"/>
                  <a:pt x="513660" y="711678"/>
                </a:cubicBezTo>
                <a:close/>
                <a:moveTo>
                  <a:pt x="439826" y="711678"/>
                </a:moveTo>
                <a:cubicBezTo>
                  <a:pt x="448389" y="711678"/>
                  <a:pt x="454616" y="718683"/>
                  <a:pt x="454616" y="726466"/>
                </a:cubicBezTo>
                <a:cubicBezTo>
                  <a:pt x="454616" y="735028"/>
                  <a:pt x="448389" y="741255"/>
                  <a:pt x="439826" y="741255"/>
                </a:cubicBezTo>
                <a:cubicBezTo>
                  <a:pt x="432043" y="741255"/>
                  <a:pt x="425038" y="735028"/>
                  <a:pt x="425038" y="726466"/>
                </a:cubicBezTo>
                <a:cubicBezTo>
                  <a:pt x="425038" y="718683"/>
                  <a:pt x="432043" y="711678"/>
                  <a:pt x="439826" y="711678"/>
                </a:cubicBezTo>
                <a:close/>
                <a:moveTo>
                  <a:pt x="368064" y="711678"/>
                </a:moveTo>
                <a:cubicBezTo>
                  <a:pt x="376085" y="711678"/>
                  <a:pt x="380462" y="718683"/>
                  <a:pt x="380462" y="726466"/>
                </a:cubicBezTo>
                <a:cubicBezTo>
                  <a:pt x="380462" y="735028"/>
                  <a:pt x="376085" y="741255"/>
                  <a:pt x="368064" y="741255"/>
                </a:cubicBezTo>
                <a:cubicBezTo>
                  <a:pt x="360772" y="741255"/>
                  <a:pt x="354207" y="735028"/>
                  <a:pt x="354207" y="726466"/>
                </a:cubicBezTo>
                <a:cubicBezTo>
                  <a:pt x="354207" y="718683"/>
                  <a:pt x="360772" y="711678"/>
                  <a:pt x="368064" y="711678"/>
                </a:cubicBezTo>
                <a:close/>
                <a:moveTo>
                  <a:pt x="297232" y="711678"/>
                </a:moveTo>
                <a:cubicBezTo>
                  <a:pt x="303795" y="711678"/>
                  <a:pt x="309630" y="718683"/>
                  <a:pt x="309630" y="726466"/>
                </a:cubicBezTo>
                <a:cubicBezTo>
                  <a:pt x="309630" y="735028"/>
                  <a:pt x="303795" y="741255"/>
                  <a:pt x="297232" y="741255"/>
                </a:cubicBezTo>
                <a:cubicBezTo>
                  <a:pt x="289939" y="741255"/>
                  <a:pt x="283376" y="735028"/>
                  <a:pt x="283376" y="726466"/>
                </a:cubicBezTo>
                <a:cubicBezTo>
                  <a:pt x="283376" y="718683"/>
                  <a:pt x="289939" y="711678"/>
                  <a:pt x="297232" y="711678"/>
                </a:cubicBezTo>
                <a:close/>
                <a:moveTo>
                  <a:pt x="226403" y="711678"/>
                </a:moveTo>
                <a:cubicBezTo>
                  <a:pt x="232238" y="711678"/>
                  <a:pt x="238801" y="718683"/>
                  <a:pt x="238801" y="726466"/>
                </a:cubicBezTo>
                <a:cubicBezTo>
                  <a:pt x="238801" y="735028"/>
                  <a:pt x="232238" y="741255"/>
                  <a:pt x="226403" y="741255"/>
                </a:cubicBezTo>
                <a:cubicBezTo>
                  <a:pt x="218381" y="741255"/>
                  <a:pt x="212548" y="735028"/>
                  <a:pt x="212548" y="726466"/>
                </a:cubicBezTo>
                <a:cubicBezTo>
                  <a:pt x="212548" y="718683"/>
                  <a:pt x="218381" y="711678"/>
                  <a:pt x="226403" y="711678"/>
                </a:cubicBezTo>
                <a:close/>
                <a:moveTo>
                  <a:pt x="154106" y="711678"/>
                </a:moveTo>
                <a:cubicBezTo>
                  <a:pt x="161398" y="711678"/>
                  <a:pt x="167962" y="718683"/>
                  <a:pt x="167962" y="726466"/>
                </a:cubicBezTo>
                <a:cubicBezTo>
                  <a:pt x="167962" y="735028"/>
                  <a:pt x="161398" y="741255"/>
                  <a:pt x="154106" y="741255"/>
                </a:cubicBezTo>
                <a:cubicBezTo>
                  <a:pt x="147542" y="741255"/>
                  <a:pt x="141708" y="735028"/>
                  <a:pt x="141708" y="726466"/>
                </a:cubicBezTo>
                <a:cubicBezTo>
                  <a:pt x="141708" y="718683"/>
                  <a:pt x="147542" y="711678"/>
                  <a:pt x="154106" y="711678"/>
                </a:cubicBezTo>
                <a:close/>
                <a:moveTo>
                  <a:pt x="4227498" y="640846"/>
                </a:moveTo>
                <a:cubicBezTo>
                  <a:pt x="4236060" y="640846"/>
                  <a:pt x="4242286" y="645221"/>
                  <a:pt x="4242286" y="653243"/>
                </a:cubicBezTo>
                <a:cubicBezTo>
                  <a:pt x="4242286" y="661265"/>
                  <a:pt x="4236060" y="667100"/>
                  <a:pt x="4227498" y="667100"/>
                </a:cubicBezTo>
                <a:cubicBezTo>
                  <a:pt x="4218936" y="667100"/>
                  <a:pt x="4212710" y="661265"/>
                  <a:pt x="4212710" y="653243"/>
                </a:cubicBezTo>
                <a:cubicBezTo>
                  <a:pt x="4212710" y="645221"/>
                  <a:pt x="4218936" y="640846"/>
                  <a:pt x="4227498" y="640846"/>
                </a:cubicBezTo>
                <a:close/>
                <a:moveTo>
                  <a:pt x="4153295" y="640846"/>
                </a:moveTo>
                <a:cubicBezTo>
                  <a:pt x="4161078" y="640846"/>
                  <a:pt x="4168083" y="645221"/>
                  <a:pt x="4168083" y="653243"/>
                </a:cubicBezTo>
                <a:cubicBezTo>
                  <a:pt x="4168083" y="661265"/>
                  <a:pt x="4161078" y="667100"/>
                  <a:pt x="4153295" y="667100"/>
                </a:cubicBezTo>
                <a:cubicBezTo>
                  <a:pt x="4144733" y="667100"/>
                  <a:pt x="4138507" y="661265"/>
                  <a:pt x="4138507" y="653243"/>
                </a:cubicBezTo>
                <a:cubicBezTo>
                  <a:pt x="4138507" y="645221"/>
                  <a:pt x="4144733" y="640846"/>
                  <a:pt x="4153295" y="640846"/>
                </a:cubicBezTo>
                <a:close/>
                <a:moveTo>
                  <a:pt x="4082465" y="640846"/>
                </a:moveTo>
                <a:cubicBezTo>
                  <a:pt x="4090249" y="640846"/>
                  <a:pt x="4097254" y="645221"/>
                  <a:pt x="4097254" y="653243"/>
                </a:cubicBezTo>
                <a:cubicBezTo>
                  <a:pt x="4097254" y="661265"/>
                  <a:pt x="4090249" y="667100"/>
                  <a:pt x="4082465" y="667100"/>
                </a:cubicBezTo>
                <a:cubicBezTo>
                  <a:pt x="4073903" y="667100"/>
                  <a:pt x="4067676" y="661265"/>
                  <a:pt x="4067676" y="653243"/>
                </a:cubicBezTo>
                <a:cubicBezTo>
                  <a:pt x="4067676" y="645221"/>
                  <a:pt x="4073903" y="640846"/>
                  <a:pt x="4082465" y="640846"/>
                </a:cubicBezTo>
                <a:close/>
                <a:moveTo>
                  <a:pt x="4010703" y="640846"/>
                </a:moveTo>
                <a:cubicBezTo>
                  <a:pt x="4017996" y="640846"/>
                  <a:pt x="4023100" y="645221"/>
                  <a:pt x="4023100" y="653243"/>
                </a:cubicBezTo>
                <a:cubicBezTo>
                  <a:pt x="4023100" y="661265"/>
                  <a:pt x="4017996" y="667100"/>
                  <a:pt x="4010703" y="667100"/>
                </a:cubicBezTo>
                <a:cubicBezTo>
                  <a:pt x="4002681" y="667100"/>
                  <a:pt x="3996847" y="661265"/>
                  <a:pt x="3996847" y="653243"/>
                </a:cubicBezTo>
                <a:cubicBezTo>
                  <a:pt x="3996847" y="645221"/>
                  <a:pt x="4002681" y="640846"/>
                  <a:pt x="4010703" y="640846"/>
                </a:cubicBezTo>
                <a:close/>
                <a:moveTo>
                  <a:pt x="3939871" y="640846"/>
                </a:moveTo>
                <a:cubicBezTo>
                  <a:pt x="3946434" y="640846"/>
                  <a:pt x="3952268" y="645221"/>
                  <a:pt x="3952268" y="653243"/>
                </a:cubicBezTo>
                <a:cubicBezTo>
                  <a:pt x="3952268" y="661265"/>
                  <a:pt x="3946434" y="667100"/>
                  <a:pt x="3939871" y="667100"/>
                </a:cubicBezTo>
                <a:cubicBezTo>
                  <a:pt x="3932578" y="667100"/>
                  <a:pt x="3926015" y="661265"/>
                  <a:pt x="3926015" y="653243"/>
                </a:cubicBezTo>
                <a:cubicBezTo>
                  <a:pt x="3926015" y="645221"/>
                  <a:pt x="3932578" y="640846"/>
                  <a:pt x="3939871" y="640846"/>
                </a:cubicBezTo>
                <a:close/>
                <a:moveTo>
                  <a:pt x="3869042" y="640846"/>
                </a:moveTo>
                <a:cubicBezTo>
                  <a:pt x="3875605" y="640846"/>
                  <a:pt x="3881439" y="645221"/>
                  <a:pt x="3881439" y="653243"/>
                </a:cubicBezTo>
                <a:cubicBezTo>
                  <a:pt x="3881439" y="661265"/>
                  <a:pt x="3875605" y="667100"/>
                  <a:pt x="3869042" y="667100"/>
                </a:cubicBezTo>
                <a:cubicBezTo>
                  <a:pt x="3861749" y="667100"/>
                  <a:pt x="3855186" y="661265"/>
                  <a:pt x="3855186" y="653243"/>
                </a:cubicBezTo>
                <a:cubicBezTo>
                  <a:pt x="3855186" y="645221"/>
                  <a:pt x="3861749" y="640846"/>
                  <a:pt x="3869042" y="640846"/>
                </a:cubicBezTo>
                <a:close/>
                <a:moveTo>
                  <a:pt x="3796752" y="640846"/>
                </a:moveTo>
                <a:cubicBezTo>
                  <a:pt x="3804774" y="640846"/>
                  <a:pt x="3810608" y="645221"/>
                  <a:pt x="3810608" y="653243"/>
                </a:cubicBezTo>
                <a:cubicBezTo>
                  <a:pt x="3810608" y="661265"/>
                  <a:pt x="3804774" y="667100"/>
                  <a:pt x="3796752" y="667100"/>
                </a:cubicBezTo>
                <a:cubicBezTo>
                  <a:pt x="3790918" y="667100"/>
                  <a:pt x="3784355" y="661265"/>
                  <a:pt x="3784355" y="653243"/>
                </a:cubicBezTo>
                <a:cubicBezTo>
                  <a:pt x="3784355" y="645221"/>
                  <a:pt x="3790918" y="640846"/>
                  <a:pt x="3796752" y="640846"/>
                </a:cubicBezTo>
                <a:close/>
                <a:moveTo>
                  <a:pt x="3725922" y="640846"/>
                </a:moveTo>
                <a:cubicBezTo>
                  <a:pt x="3733944" y="640846"/>
                  <a:pt x="3739778" y="645221"/>
                  <a:pt x="3739778" y="653243"/>
                </a:cubicBezTo>
                <a:cubicBezTo>
                  <a:pt x="3739778" y="661265"/>
                  <a:pt x="3733944" y="667100"/>
                  <a:pt x="3725922" y="667100"/>
                </a:cubicBezTo>
                <a:cubicBezTo>
                  <a:pt x="3719359" y="667100"/>
                  <a:pt x="3713525" y="661265"/>
                  <a:pt x="3713525" y="653243"/>
                </a:cubicBezTo>
                <a:cubicBezTo>
                  <a:pt x="3713525" y="645221"/>
                  <a:pt x="3719359" y="640846"/>
                  <a:pt x="3725922" y="640846"/>
                </a:cubicBezTo>
                <a:close/>
                <a:moveTo>
                  <a:pt x="3655091" y="640846"/>
                </a:moveTo>
                <a:cubicBezTo>
                  <a:pt x="3662384" y="640846"/>
                  <a:pt x="3668947" y="647409"/>
                  <a:pt x="3668947" y="653243"/>
                </a:cubicBezTo>
                <a:cubicBezTo>
                  <a:pt x="3668947" y="661265"/>
                  <a:pt x="3662384" y="667100"/>
                  <a:pt x="3655091" y="667100"/>
                </a:cubicBezTo>
                <a:cubicBezTo>
                  <a:pt x="3647069" y="667100"/>
                  <a:pt x="3642694" y="661265"/>
                  <a:pt x="3642694" y="653243"/>
                </a:cubicBezTo>
                <a:cubicBezTo>
                  <a:pt x="3642694" y="647409"/>
                  <a:pt x="3647069" y="640846"/>
                  <a:pt x="3655091" y="640846"/>
                </a:cubicBezTo>
                <a:close/>
                <a:moveTo>
                  <a:pt x="3583280" y="640846"/>
                </a:moveTo>
                <a:cubicBezTo>
                  <a:pt x="3591064" y="640846"/>
                  <a:pt x="3598069" y="647409"/>
                  <a:pt x="3598069" y="653243"/>
                </a:cubicBezTo>
                <a:cubicBezTo>
                  <a:pt x="3598069" y="661265"/>
                  <a:pt x="3591064" y="667100"/>
                  <a:pt x="3583280" y="667100"/>
                </a:cubicBezTo>
                <a:cubicBezTo>
                  <a:pt x="3574718" y="667100"/>
                  <a:pt x="3568491" y="661265"/>
                  <a:pt x="3568491" y="653243"/>
                </a:cubicBezTo>
                <a:cubicBezTo>
                  <a:pt x="3568491" y="647409"/>
                  <a:pt x="3574718" y="640846"/>
                  <a:pt x="3583280" y="640846"/>
                </a:cubicBezTo>
                <a:close/>
                <a:moveTo>
                  <a:pt x="3512449" y="640846"/>
                </a:moveTo>
                <a:cubicBezTo>
                  <a:pt x="3520232" y="640846"/>
                  <a:pt x="3527237" y="647409"/>
                  <a:pt x="3527237" y="653243"/>
                </a:cubicBezTo>
                <a:cubicBezTo>
                  <a:pt x="3527237" y="661265"/>
                  <a:pt x="3520232" y="667100"/>
                  <a:pt x="3512449" y="667100"/>
                </a:cubicBezTo>
                <a:cubicBezTo>
                  <a:pt x="3503887" y="667100"/>
                  <a:pt x="3497661" y="661265"/>
                  <a:pt x="3497661" y="653243"/>
                </a:cubicBezTo>
                <a:cubicBezTo>
                  <a:pt x="3497661" y="647409"/>
                  <a:pt x="3503887" y="640846"/>
                  <a:pt x="3512449" y="640846"/>
                </a:cubicBezTo>
                <a:close/>
                <a:moveTo>
                  <a:pt x="3441619" y="640846"/>
                </a:moveTo>
                <a:cubicBezTo>
                  <a:pt x="3450181" y="640846"/>
                  <a:pt x="3456408" y="647409"/>
                  <a:pt x="3456408" y="653243"/>
                </a:cubicBezTo>
                <a:cubicBezTo>
                  <a:pt x="3456408" y="661265"/>
                  <a:pt x="3450181" y="667100"/>
                  <a:pt x="3441619" y="667100"/>
                </a:cubicBezTo>
                <a:cubicBezTo>
                  <a:pt x="3433835" y="667100"/>
                  <a:pt x="3426830" y="661265"/>
                  <a:pt x="3426830" y="653243"/>
                </a:cubicBezTo>
                <a:cubicBezTo>
                  <a:pt x="3426830" y="647409"/>
                  <a:pt x="3433835" y="640846"/>
                  <a:pt x="3441619" y="640846"/>
                </a:cubicBezTo>
                <a:close/>
                <a:moveTo>
                  <a:pt x="3369857" y="640846"/>
                </a:moveTo>
                <a:cubicBezTo>
                  <a:pt x="3377879" y="640846"/>
                  <a:pt x="3382254" y="647409"/>
                  <a:pt x="3382254" y="653243"/>
                </a:cubicBezTo>
                <a:cubicBezTo>
                  <a:pt x="3382254" y="661265"/>
                  <a:pt x="3377879" y="667100"/>
                  <a:pt x="3369857" y="667100"/>
                </a:cubicBezTo>
                <a:cubicBezTo>
                  <a:pt x="3362564" y="667100"/>
                  <a:pt x="3356001" y="661265"/>
                  <a:pt x="3356001" y="653243"/>
                </a:cubicBezTo>
                <a:cubicBezTo>
                  <a:pt x="3356001" y="647409"/>
                  <a:pt x="3362564" y="640846"/>
                  <a:pt x="3369857" y="640846"/>
                </a:cubicBezTo>
                <a:close/>
                <a:moveTo>
                  <a:pt x="3299091" y="640846"/>
                </a:moveTo>
                <a:cubicBezTo>
                  <a:pt x="3305653" y="640846"/>
                  <a:pt x="3311488" y="647409"/>
                  <a:pt x="3311488" y="653243"/>
                </a:cubicBezTo>
                <a:cubicBezTo>
                  <a:pt x="3311488" y="661265"/>
                  <a:pt x="3305653" y="667100"/>
                  <a:pt x="3299091" y="667100"/>
                </a:cubicBezTo>
                <a:cubicBezTo>
                  <a:pt x="3291796" y="667100"/>
                  <a:pt x="3285237" y="661265"/>
                  <a:pt x="3285237" y="653243"/>
                </a:cubicBezTo>
                <a:cubicBezTo>
                  <a:pt x="3285237" y="647409"/>
                  <a:pt x="3291796" y="640846"/>
                  <a:pt x="3299091" y="640846"/>
                </a:cubicBezTo>
                <a:close/>
                <a:moveTo>
                  <a:pt x="3228258" y="640846"/>
                </a:moveTo>
                <a:cubicBezTo>
                  <a:pt x="3234823" y="640846"/>
                  <a:pt x="3240658" y="647409"/>
                  <a:pt x="3240658" y="653243"/>
                </a:cubicBezTo>
                <a:cubicBezTo>
                  <a:pt x="3240658" y="661265"/>
                  <a:pt x="3234823" y="667100"/>
                  <a:pt x="3228258" y="667100"/>
                </a:cubicBezTo>
                <a:cubicBezTo>
                  <a:pt x="3220236" y="667100"/>
                  <a:pt x="3214403" y="661265"/>
                  <a:pt x="3214403" y="653243"/>
                </a:cubicBezTo>
                <a:cubicBezTo>
                  <a:pt x="3214403" y="647409"/>
                  <a:pt x="3220236" y="640846"/>
                  <a:pt x="3228258" y="640846"/>
                </a:cubicBezTo>
                <a:close/>
                <a:moveTo>
                  <a:pt x="3152597" y="640846"/>
                </a:moveTo>
                <a:cubicBezTo>
                  <a:pt x="3159891" y="640846"/>
                  <a:pt x="3166454" y="647409"/>
                  <a:pt x="3166454" y="653243"/>
                </a:cubicBezTo>
                <a:cubicBezTo>
                  <a:pt x="3166454" y="661265"/>
                  <a:pt x="3159891" y="667100"/>
                  <a:pt x="3152597" y="667100"/>
                </a:cubicBezTo>
                <a:cubicBezTo>
                  <a:pt x="3146035" y="667100"/>
                  <a:pt x="3140200" y="661265"/>
                  <a:pt x="3140200" y="653243"/>
                </a:cubicBezTo>
                <a:cubicBezTo>
                  <a:pt x="3140200" y="647409"/>
                  <a:pt x="3146035" y="640846"/>
                  <a:pt x="3152597" y="640846"/>
                </a:cubicBezTo>
                <a:close/>
                <a:moveTo>
                  <a:pt x="3081767" y="640846"/>
                </a:moveTo>
                <a:cubicBezTo>
                  <a:pt x="3089058" y="640846"/>
                  <a:pt x="3095620" y="647409"/>
                  <a:pt x="3095620" y="653243"/>
                </a:cubicBezTo>
                <a:cubicBezTo>
                  <a:pt x="3095620" y="661265"/>
                  <a:pt x="3089058" y="667100"/>
                  <a:pt x="3081767" y="667100"/>
                </a:cubicBezTo>
                <a:cubicBezTo>
                  <a:pt x="3073743" y="667100"/>
                  <a:pt x="3069366" y="661265"/>
                  <a:pt x="3069366" y="653243"/>
                </a:cubicBezTo>
                <a:cubicBezTo>
                  <a:pt x="3069366" y="647409"/>
                  <a:pt x="3073743" y="640846"/>
                  <a:pt x="3081767" y="640846"/>
                </a:cubicBezTo>
                <a:close/>
                <a:moveTo>
                  <a:pt x="3013710" y="640846"/>
                </a:moveTo>
                <a:cubicBezTo>
                  <a:pt x="3021299" y="640846"/>
                  <a:pt x="3028129" y="647409"/>
                  <a:pt x="3028129" y="653243"/>
                </a:cubicBezTo>
                <a:cubicBezTo>
                  <a:pt x="3028129" y="661265"/>
                  <a:pt x="3021299" y="667100"/>
                  <a:pt x="3013710" y="667100"/>
                </a:cubicBezTo>
                <a:cubicBezTo>
                  <a:pt x="3005363" y="667100"/>
                  <a:pt x="2998534" y="661265"/>
                  <a:pt x="2998534" y="653243"/>
                </a:cubicBezTo>
                <a:cubicBezTo>
                  <a:pt x="2998534" y="647409"/>
                  <a:pt x="3005363" y="640846"/>
                  <a:pt x="3013710" y="640846"/>
                </a:cubicBezTo>
                <a:close/>
                <a:moveTo>
                  <a:pt x="2942488" y="640846"/>
                </a:moveTo>
                <a:cubicBezTo>
                  <a:pt x="2951049" y="640846"/>
                  <a:pt x="2957280" y="647409"/>
                  <a:pt x="2957280" y="653243"/>
                </a:cubicBezTo>
                <a:cubicBezTo>
                  <a:pt x="2957280" y="661265"/>
                  <a:pt x="2951049" y="667100"/>
                  <a:pt x="2942488" y="667100"/>
                </a:cubicBezTo>
                <a:cubicBezTo>
                  <a:pt x="2934708" y="667100"/>
                  <a:pt x="2927703" y="661265"/>
                  <a:pt x="2927703" y="653243"/>
                </a:cubicBezTo>
                <a:cubicBezTo>
                  <a:pt x="2927703" y="647409"/>
                  <a:pt x="2934708" y="640846"/>
                  <a:pt x="2942488" y="640846"/>
                </a:cubicBezTo>
                <a:close/>
                <a:moveTo>
                  <a:pt x="2868288" y="640846"/>
                </a:moveTo>
                <a:cubicBezTo>
                  <a:pt x="2876853" y="640846"/>
                  <a:pt x="2883082" y="647409"/>
                  <a:pt x="2883082" y="653243"/>
                </a:cubicBezTo>
                <a:cubicBezTo>
                  <a:pt x="2883082" y="661265"/>
                  <a:pt x="2876853" y="667100"/>
                  <a:pt x="2868288" y="667100"/>
                </a:cubicBezTo>
                <a:cubicBezTo>
                  <a:pt x="2860506" y="667100"/>
                  <a:pt x="2853498" y="661265"/>
                  <a:pt x="2853498" y="653243"/>
                </a:cubicBezTo>
                <a:cubicBezTo>
                  <a:pt x="2853498" y="647409"/>
                  <a:pt x="2860506" y="640846"/>
                  <a:pt x="2868288" y="640846"/>
                </a:cubicBezTo>
                <a:close/>
                <a:moveTo>
                  <a:pt x="2796532" y="640846"/>
                </a:moveTo>
                <a:cubicBezTo>
                  <a:pt x="2804550" y="640846"/>
                  <a:pt x="2808926" y="647409"/>
                  <a:pt x="2808926" y="653243"/>
                </a:cubicBezTo>
                <a:cubicBezTo>
                  <a:pt x="2808926" y="661265"/>
                  <a:pt x="2804550" y="667100"/>
                  <a:pt x="2796532" y="667100"/>
                </a:cubicBezTo>
                <a:cubicBezTo>
                  <a:pt x="2789237" y="667100"/>
                  <a:pt x="2782673" y="661265"/>
                  <a:pt x="2782673" y="653243"/>
                </a:cubicBezTo>
                <a:cubicBezTo>
                  <a:pt x="2782673" y="647409"/>
                  <a:pt x="2789237" y="640846"/>
                  <a:pt x="2796532" y="640846"/>
                </a:cubicBezTo>
                <a:close/>
                <a:moveTo>
                  <a:pt x="2725692" y="640846"/>
                </a:moveTo>
                <a:cubicBezTo>
                  <a:pt x="2731527" y="640846"/>
                  <a:pt x="2738097" y="647409"/>
                  <a:pt x="2738097" y="653243"/>
                </a:cubicBezTo>
                <a:cubicBezTo>
                  <a:pt x="2738097" y="661265"/>
                  <a:pt x="2731527" y="667100"/>
                  <a:pt x="2725692" y="667100"/>
                </a:cubicBezTo>
                <a:cubicBezTo>
                  <a:pt x="2717681" y="667100"/>
                  <a:pt x="2711843" y="661265"/>
                  <a:pt x="2711843" y="653243"/>
                </a:cubicBezTo>
                <a:cubicBezTo>
                  <a:pt x="2711843" y="647409"/>
                  <a:pt x="2717681" y="640846"/>
                  <a:pt x="2725692" y="640846"/>
                </a:cubicBezTo>
                <a:close/>
                <a:moveTo>
                  <a:pt x="2654867" y="640846"/>
                </a:moveTo>
                <a:cubicBezTo>
                  <a:pt x="2660705" y="640846"/>
                  <a:pt x="2667266" y="647409"/>
                  <a:pt x="2667266" y="653243"/>
                </a:cubicBezTo>
                <a:cubicBezTo>
                  <a:pt x="2667266" y="661265"/>
                  <a:pt x="2660705" y="667100"/>
                  <a:pt x="2654867" y="667100"/>
                </a:cubicBezTo>
                <a:cubicBezTo>
                  <a:pt x="2646847" y="667100"/>
                  <a:pt x="2641013" y="661265"/>
                  <a:pt x="2641013" y="653243"/>
                </a:cubicBezTo>
                <a:cubicBezTo>
                  <a:pt x="2641013" y="647409"/>
                  <a:pt x="2646847" y="640846"/>
                  <a:pt x="2654867" y="640846"/>
                </a:cubicBezTo>
                <a:close/>
                <a:moveTo>
                  <a:pt x="2582577" y="640846"/>
                </a:moveTo>
                <a:cubicBezTo>
                  <a:pt x="2589870" y="640846"/>
                  <a:pt x="2596432" y="647409"/>
                  <a:pt x="2596432" y="654702"/>
                </a:cubicBezTo>
                <a:cubicBezTo>
                  <a:pt x="2596432" y="661265"/>
                  <a:pt x="2589870" y="667100"/>
                  <a:pt x="2582577" y="667100"/>
                </a:cubicBezTo>
                <a:cubicBezTo>
                  <a:pt x="2576016" y="667100"/>
                  <a:pt x="2570181" y="661265"/>
                  <a:pt x="2570181" y="654702"/>
                </a:cubicBezTo>
                <a:cubicBezTo>
                  <a:pt x="2570181" y="647409"/>
                  <a:pt x="2576016" y="640846"/>
                  <a:pt x="2582577" y="640846"/>
                </a:cubicBezTo>
                <a:close/>
                <a:moveTo>
                  <a:pt x="1728254" y="640846"/>
                </a:moveTo>
                <a:cubicBezTo>
                  <a:pt x="1736820" y="640846"/>
                  <a:pt x="1743044" y="647409"/>
                  <a:pt x="1743044" y="654702"/>
                </a:cubicBezTo>
                <a:cubicBezTo>
                  <a:pt x="1743044" y="661265"/>
                  <a:pt x="1736820" y="667100"/>
                  <a:pt x="1728254" y="667100"/>
                </a:cubicBezTo>
                <a:cubicBezTo>
                  <a:pt x="1719691" y="667100"/>
                  <a:pt x="1713464" y="661265"/>
                  <a:pt x="1713464" y="654702"/>
                </a:cubicBezTo>
                <a:cubicBezTo>
                  <a:pt x="1713464" y="647409"/>
                  <a:pt x="1719691" y="640846"/>
                  <a:pt x="1728254" y="640846"/>
                </a:cubicBezTo>
                <a:close/>
                <a:moveTo>
                  <a:pt x="1657423" y="640846"/>
                </a:moveTo>
                <a:cubicBezTo>
                  <a:pt x="1665208" y="640846"/>
                  <a:pt x="1672215" y="647409"/>
                  <a:pt x="1672215" y="654702"/>
                </a:cubicBezTo>
                <a:cubicBezTo>
                  <a:pt x="1672215" y="661265"/>
                  <a:pt x="1665208" y="667100"/>
                  <a:pt x="1657423" y="667100"/>
                </a:cubicBezTo>
                <a:cubicBezTo>
                  <a:pt x="1648867" y="667100"/>
                  <a:pt x="1642644" y="661265"/>
                  <a:pt x="1642644" y="654702"/>
                </a:cubicBezTo>
                <a:cubicBezTo>
                  <a:pt x="1642644" y="647409"/>
                  <a:pt x="1648867" y="640846"/>
                  <a:pt x="1657423" y="640846"/>
                </a:cubicBezTo>
                <a:close/>
                <a:moveTo>
                  <a:pt x="1582290" y="640846"/>
                </a:moveTo>
                <a:cubicBezTo>
                  <a:pt x="1589584" y="640846"/>
                  <a:pt x="1594694" y="647409"/>
                  <a:pt x="1594694" y="654702"/>
                </a:cubicBezTo>
                <a:cubicBezTo>
                  <a:pt x="1594694" y="661265"/>
                  <a:pt x="1589584" y="667100"/>
                  <a:pt x="1582290" y="667100"/>
                </a:cubicBezTo>
                <a:cubicBezTo>
                  <a:pt x="1574268" y="667100"/>
                  <a:pt x="1568435" y="661265"/>
                  <a:pt x="1568435" y="654702"/>
                </a:cubicBezTo>
                <a:cubicBezTo>
                  <a:pt x="1568435" y="647409"/>
                  <a:pt x="1574268" y="640846"/>
                  <a:pt x="1582290" y="640846"/>
                </a:cubicBezTo>
                <a:close/>
                <a:moveTo>
                  <a:pt x="1512190" y="640846"/>
                </a:moveTo>
                <a:cubicBezTo>
                  <a:pt x="1518025" y="640846"/>
                  <a:pt x="1523859" y="647409"/>
                  <a:pt x="1523859" y="654702"/>
                </a:cubicBezTo>
                <a:cubicBezTo>
                  <a:pt x="1523859" y="661265"/>
                  <a:pt x="1518025" y="667100"/>
                  <a:pt x="1512190" y="667100"/>
                </a:cubicBezTo>
                <a:cubicBezTo>
                  <a:pt x="1504169" y="667100"/>
                  <a:pt x="1497604" y="662724"/>
                  <a:pt x="1497604" y="654702"/>
                </a:cubicBezTo>
                <a:cubicBezTo>
                  <a:pt x="1497604" y="647409"/>
                  <a:pt x="1504169" y="640846"/>
                  <a:pt x="1512190" y="640846"/>
                </a:cubicBezTo>
                <a:close/>
                <a:moveTo>
                  <a:pt x="1440623" y="640846"/>
                </a:moveTo>
                <a:cubicBezTo>
                  <a:pt x="1447182" y="640846"/>
                  <a:pt x="1453017" y="647409"/>
                  <a:pt x="1453017" y="654702"/>
                </a:cubicBezTo>
                <a:cubicBezTo>
                  <a:pt x="1453017" y="662724"/>
                  <a:pt x="1447182" y="667100"/>
                  <a:pt x="1440623" y="667100"/>
                </a:cubicBezTo>
                <a:cubicBezTo>
                  <a:pt x="1433331" y="667100"/>
                  <a:pt x="1426767" y="662724"/>
                  <a:pt x="1426767" y="654702"/>
                </a:cubicBezTo>
                <a:cubicBezTo>
                  <a:pt x="1426767" y="647409"/>
                  <a:pt x="1433331" y="640846"/>
                  <a:pt x="1440623" y="640846"/>
                </a:cubicBezTo>
                <a:close/>
                <a:moveTo>
                  <a:pt x="1368339" y="640846"/>
                </a:moveTo>
                <a:cubicBezTo>
                  <a:pt x="1376363" y="640846"/>
                  <a:pt x="1382194" y="647409"/>
                  <a:pt x="1382194" y="654702"/>
                </a:cubicBezTo>
                <a:cubicBezTo>
                  <a:pt x="1382194" y="662724"/>
                  <a:pt x="1376363" y="667100"/>
                  <a:pt x="1368339" y="667100"/>
                </a:cubicBezTo>
                <a:cubicBezTo>
                  <a:pt x="1362505" y="667100"/>
                  <a:pt x="1355943" y="662724"/>
                  <a:pt x="1355943" y="654702"/>
                </a:cubicBezTo>
                <a:cubicBezTo>
                  <a:pt x="1355943" y="647409"/>
                  <a:pt x="1362505" y="640846"/>
                  <a:pt x="1368339" y="640846"/>
                </a:cubicBezTo>
                <a:close/>
                <a:moveTo>
                  <a:pt x="1297512" y="640846"/>
                </a:moveTo>
                <a:cubicBezTo>
                  <a:pt x="1305535" y="640846"/>
                  <a:pt x="1311369" y="647409"/>
                  <a:pt x="1311369" y="654702"/>
                </a:cubicBezTo>
                <a:cubicBezTo>
                  <a:pt x="1311369" y="662724"/>
                  <a:pt x="1305535" y="667100"/>
                  <a:pt x="1297512" y="667100"/>
                </a:cubicBezTo>
                <a:cubicBezTo>
                  <a:pt x="1291678" y="667100"/>
                  <a:pt x="1285116" y="662724"/>
                  <a:pt x="1285116" y="654702"/>
                </a:cubicBezTo>
                <a:cubicBezTo>
                  <a:pt x="1285116" y="647409"/>
                  <a:pt x="1291678" y="640846"/>
                  <a:pt x="1297512" y="640846"/>
                </a:cubicBezTo>
                <a:close/>
                <a:moveTo>
                  <a:pt x="1226680" y="640846"/>
                </a:moveTo>
                <a:cubicBezTo>
                  <a:pt x="1233973" y="640846"/>
                  <a:pt x="1240537" y="647409"/>
                  <a:pt x="1240537" y="654702"/>
                </a:cubicBezTo>
                <a:cubicBezTo>
                  <a:pt x="1240537" y="662724"/>
                  <a:pt x="1233973" y="667100"/>
                  <a:pt x="1226680" y="667100"/>
                </a:cubicBezTo>
                <a:cubicBezTo>
                  <a:pt x="1218667" y="667100"/>
                  <a:pt x="1214291" y="662724"/>
                  <a:pt x="1214291" y="654702"/>
                </a:cubicBezTo>
                <a:cubicBezTo>
                  <a:pt x="1214291" y="647409"/>
                  <a:pt x="1218667" y="640846"/>
                  <a:pt x="1226680" y="640846"/>
                </a:cubicBezTo>
                <a:close/>
                <a:moveTo>
                  <a:pt x="1154878" y="640846"/>
                </a:moveTo>
                <a:cubicBezTo>
                  <a:pt x="1162660" y="640846"/>
                  <a:pt x="1169666" y="647409"/>
                  <a:pt x="1169666" y="654702"/>
                </a:cubicBezTo>
                <a:cubicBezTo>
                  <a:pt x="1169666" y="662724"/>
                  <a:pt x="1162660" y="667100"/>
                  <a:pt x="1154878" y="667100"/>
                </a:cubicBezTo>
                <a:cubicBezTo>
                  <a:pt x="1146318" y="667100"/>
                  <a:pt x="1140088" y="662724"/>
                  <a:pt x="1140088" y="654702"/>
                </a:cubicBezTo>
                <a:cubicBezTo>
                  <a:pt x="1140088" y="647409"/>
                  <a:pt x="1146318" y="640846"/>
                  <a:pt x="1154878" y="640846"/>
                </a:cubicBezTo>
                <a:close/>
                <a:moveTo>
                  <a:pt x="1084051" y="640846"/>
                </a:moveTo>
                <a:cubicBezTo>
                  <a:pt x="1091834" y="640846"/>
                  <a:pt x="1098838" y="647409"/>
                  <a:pt x="1098838" y="654702"/>
                </a:cubicBezTo>
                <a:cubicBezTo>
                  <a:pt x="1098838" y="662724"/>
                  <a:pt x="1091834" y="667100"/>
                  <a:pt x="1084051" y="667100"/>
                </a:cubicBezTo>
                <a:cubicBezTo>
                  <a:pt x="1075486" y="667100"/>
                  <a:pt x="1069261" y="662724"/>
                  <a:pt x="1069261" y="654702"/>
                </a:cubicBezTo>
                <a:cubicBezTo>
                  <a:pt x="1069261" y="647409"/>
                  <a:pt x="1075486" y="640846"/>
                  <a:pt x="1084051" y="640846"/>
                </a:cubicBezTo>
                <a:close/>
                <a:moveTo>
                  <a:pt x="1013010" y="640846"/>
                </a:moveTo>
                <a:cubicBezTo>
                  <a:pt x="1020306" y="640846"/>
                  <a:pt x="1024682" y="647409"/>
                  <a:pt x="1024682" y="654702"/>
                </a:cubicBezTo>
                <a:cubicBezTo>
                  <a:pt x="1024682" y="662724"/>
                  <a:pt x="1020306" y="667100"/>
                  <a:pt x="1013010" y="667100"/>
                </a:cubicBezTo>
                <a:cubicBezTo>
                  <a:pt x="1004989" y="667100"/>
                  <a:pt x="998429" y="662724"/>
                  <a:pt x="998429" y="654702"/>
                </a:cubicBezTo>
                <a:cubicBezTo>
                  <a:pt x="998429" y="647409"/>
                  <a:pt x="1004989" y="640846"/>
                  <a:pt x="1013010" y="640846"/>
                </a:cubicBezTo>
                <a:close/>
                <a:moveTo>
                  <a:pt x="941457" y="640846"/>
                </a:moveTo>
                <a:cubicBezTo>
                  <a:pt x="948018" y="640846"/>
                  <a:pt x="953852" y="647409"/>
                  <a:pt x="953852" y="654702"/>
                </a:cubicBezTo>
                <a:cubicBezTo>
                  <a:pt x="953852" y="662724"/>
                  <a:pt x="948018" y="667100"/>
                  <a:pt x="941457" y="667100"/>
                </a:cubicBezTo>
                <a:cubicBezTo>
                  <a:pt x="934166" y="667100"/>
                  <a:pt x="927599" y="662724"/>
                  <a:pt x="927599" y="654702"/>
                </a:cubicBezTo>
                <a:cubicBezTo>
                  <a:pt x="927599" y="647409"/>
                  <a:pt x="934166" y="640846"/>
                  <a:pt x="941457" y="640846"/>
                </a:cubicBezTo>
                <a:close/>
                <a:moveTo>
                  <a:pt x="870622" y="640846"/>
                </a:moveTo>
                <a:cubicBezTo>
                  <a:pt x="877190" y="640846"/>
                  <a:pt x="883024" y="647409"/>
                  <a:pt x="883024" y="654702"/>
                </a:cubicBezTo>
                <a:cubicBezTo>
                  <a:pt x="883024" y="662724"/>
                  <a:pt x="877190" y="667100"/>
                  <a:pt x="870622" y="667100"/>
                </a:cubicBezTo>
                <a:cubicBezTo>
                  <a:pt x="863332" y="667100"/>
                  <a:pt x="856770" y="662724"/>
                  <a:pt x="856770" y="654702"/>
                </a:cubicBezTo>
                <a:cubicBezTo>
                  <a:pt x="856770" y="647409"/>
                  <a:pt x="863332" y="640846"/>
                  <a:pt x="870622" y="640846"/>
                </a:cubicBezTo>
                <a:close/>
                <a:moveTo>
                  <a:pt x="798337" y="640846"/>
                </a:moveTo>
                <a:cubicBezTo>
                  <a:pt x="806358" y="640846"/>
                  <a:pt x="812191" y="647851"/>
                  <a:pt x="812191" y="655635"/>
                </a:cubicBezTo>
                <a:cubicBezTo>
                  <a:pt x="812191" y="664197"/>
                  <a:pt x="806358" y="670424"/>
                  <a:pt x="798337" y="670424"/>
                </a:cubicBezTo>
                <a:cubicBezTo>
                  <a:pt x="792503" y="670424"/>
                  <a:pt x="785937" y="664197"/>
                  <a:pt x="785937" y="655635"/>
                </a:cubicBezTo>
                <a:cubicBezTo>
                  <a:pt x="785937" y="647851"/>
                  <a:pt x="792503" y="640846"/>
                  <a:pt x="798337" y="640846"/>
                </a:cubicBezTo>
                <a:close/>
                <a:moveTo>
                  <a:pt x="724134" y="640846"/>
                </a:moveTo>
                <a:cubicBezTo>
                  <a:pt x="731428" y="640846"/>
                  <a:pt x="737989" y="647851"/>
                  <a:pt x="737989" y="655635"/>
                </a:cubicBezTo>
                <a:cubicBezTo>
                  <a:pt x="737989" y="664197"/>
                  <a:pt x="731428" y="670424"/>
                  <a:pt x="724134" y="670424"/>
                </a:cubicBezTo>
                <a:cubicBezTo>
                  <a:pt x="717567" y="670424"/>
                  <a:pt x="711735" y="664197"/>
                  <a:pt x="711735" y="655635"/>
                </a:cubicBezTo>
                <a:cubicBezTo>
                  <a:pt x="711735" y="647851"/>
                  <a:pt x="717567" y="640846"/>
                  <a:pt x="724134" y="640846"/>
                </a:cubicBezTo>
                <a:close/>
                <a:moveTo>
                  <a:pt x="653301" y="640846"/>
                </a:moveTo>
                <a:cubicBezTo>
                  <a:pt x="660594" y="640846"/>
                  <a:pt x="667160" y="647851"/>
                  <a:pt x="667160" y="655635"/>
                </a:cubicBezTo>
                <a:cubicBezTo>
                  <a:pt x="667160" y="664197"/>
                  <a:pt x="660594" y="670424"/>
                  <a:pt x="653301" y="670424"/>
                </a:cubicBezTo>
                <a:cubicBezTo>
                  <a:pt x="645283" y="670424"/>
                  <a:pt x="640907" y="664197"/>
                  <a:pt x="640907" y="655635"/>
                </a:cubicBezTo>
                <a:cubicBezTo>
                  <a:pt x="640907" y="647851"/>
                  <a:pt x="645283" y="640846"/>
                  <a:pt x="653301" y="640846"/>
                </a:cubicBezTo>
                <a:close/>
                <a:moveTo>
                  <a:pt x="584864" y="640846"/>
                </a:moveTo>
                <a:cubicBezTo>
                  <a:pt x="592646" y="640846"/>
                  <a:pt x="599651" y="647851"/>
                  <a:pt x="599651" y="655635"/>
                </a:cubicBezTo>
                <a:cubicBezTo>
                  <a:pt x="599651" y="664197"/>
                  <a:pt x="592646" y="670424"/>
                  <a:pt x="584864" y="670424"/>
                </a:cubicBezTo>
                <a:cubicBezTo>
                  <a:pt x="576304" y="670424"/>
                  <a:pt x="570075" y="664197"/>
                  <a:pt x="570075" y="655635"/>
                </a:cubicBezTo>
                <a:cubicBezTo>
                  <a:pt x="570075" y="647851"/>
                  <a:pt x="576304" y="640846"/>
                  <a:pt x="584864" y="640846"/>
                </a:cubicBezTo>
                <a:close/>
                <a:moveTo>
                  <a:pt x="513663" y="640846"/>
                </a:moveTo>
                <a:cubicBezTo>
                  <a:pt x="522010" y="640846"/>
                  <a:pt x="528843" y="647851"/>
                  <a:pt x="528843" y="655635"/>
                </a:cubicBezTo>
                <a:cubicBezTo>
                  <a:pt x="528843" y="664197"/>
                  <a:pt x="522010" y="670424"/>
                  <a:pt x="513663" y="670424"/>
                </a:cubicBezTo>
                <a:cubicBezTo>
                  <a:pt x="506076" y="670424"/>
                  <a:pt x="499246" y="664197"/>
                  <a:pt x="499246" y="655635"/>
                </a:cubicBezTo>
                <a:cubicBezTo>
                  <a:pt x="499246" y="647851"/>
                  <a:pt x="506076" y="640846"/>
                  <a:pt x="513663" y="640846"/>
                </a:cubicBezTo>
                <a:close/>
                <a:moveTo>
                  <a:pt x="439832" y="640846"/>
                </a:moveTo>
                <a:cubicBezTo>
                  <a:pt x="448391" y="640846"/>
                  <a:pt x="454622" y="647851"/>
                  <a:pt x="454622" y="655635"/>
                </a:cubicBezTo>
                <a:cubicBezTo>
                  <a:pt x="454622" y="664197"/>
                  <a:pt x="448391" y="670424"/>
                  <a:pt x="439832" y="670424"/>
                </a:cubicBezTo>
                <a:cubicBezTo>
                  <a:pt x="432049" y="670424"/>
                  <a:pt x="425044" y="664197"/>
                  <a:pt x="425044" y="655635"/>
                </a:cubicBezTo>
                <a:cubicBezTo>
                  <a:pt x="425044" y="647851"/>
                  <a:pt x="432049" y="640846"/>
                  <a:pt x="439832" y="640846"/>
                </a:cubicBezTo>
                <a:close/>
                <a:moveTo>
                  <a:pt x="368070" y="640846"/>
                </a:moveTo>
                <a:cubicBezTo>
                  <a:pt x="376088" y="640846"/>
                  <a:pt x="380465" y="647851"/>
                  <a:pt x="380465" y="655635"/>
                </a:cubicBezTo>
                <a:cubicBezTo>
                  <a:pt x="380465" y="664197"/>
                  <a:pt x="376088" y="670424"/>
                  <a:pt x="368070" y="670424"/>
                </a:cubicBezTo>
                <a:cubicBezTo>
                  <a:pt x="360777" y="670424"/>
                  <a:pt x="354211" y="664197"/>
                  <a:pt x="354211" y="655635"/>
                </a:cubicBezTo>
                <a:cubicBezTo>
                  <a:pt x="354211" y="647851"/>
                  <a:pt x="360777" y="640846"/>
                  <a:pt x="368070" y="640846"/>
                </a:cubicBezTo>
                <a:close/>
                <a:moveTo>
                  <a:pt x="297235" y="640846"/>
                </a:moveTo>
                <a:cubicBezTo>
                  <a:pt x="303798" y="640846"/>
                  <a:pt x="309631" y="647851"/>
                  <a:pt x="309631" y="655635"/>
                </a:cubicBezTo>
                <a:cubicBezTo>
                  <a:pt x="309631" y="664197"/>
                  <a:pt x="303798" y="670424"/>
                  <a:pt x="297235" y="670424"/>
                </a:cubicBezTo>
                <a:cubicBezTo>
                  <a:pt x="289944" y="670424"/>
                  <a:pt x="283379" y="664197"/>
                  <a:pt x="283379" y="655635"/>
                </a:cubicBezTo>
                <a:cubicBezTo>
                  <a:pt x="283379" y="647851"/>
                  <a:pt x="289944" y="640846"/>
                  <a:pt x="297235" y="640846"/>
                </a:cubicBezTo>
                <a:close/>
                <a:moveTo>
                  <a:pt x="4082465" y="570017"/>
                </a:moveTo>
                <a:cubicBezTo>
                  <a:pt x="4090249" y="570017"/>
                  <a:pt x="4097254" y="576244"/>
                  <a:pt x="4097254" y="584805"/>
                </a:cubicBezTo>
                <a:cubicBezTo>
                  <a:pt x="4097254" y="593367"/>
                  <a:pt x="4090249" y="599594"/>
                  <a:pt x="4082465" y="599594"/>
                </a:cubicBezTo>
                <a:cubicBezTo>
                  <a:pt x="4073903" y="599594"/>
                  <a:pt x="4067676" y="593367"/>
                  <a:pt x="4067676" y="584805"/>
                </a:cubicBezTo>
                <a:cubicBezTo>
                  <a:pt x="4067676" y="576244"/>
                  <a:pt x="4073903" y="570017"/>
                  <a:pt x="4082465" y="570017"/>
                </a:cubicBezTo>
                <a:close/>
                <a:moveTo>
                  <a:pt x="4010703" y="570017"/>
                </a:moveTo>
                <a:cubicBezTo>
                  <a:pt x="4017996" y="570017"/>
                  <a:pt x="4023100" y="576244"/>
                  <a:pt x="4023100" y="584805"/>
                </a:cubicBezTo>
                <a:cubicBezTo>
                  <a:pt x="4023100" y="593367"/>
                  <a:pt x="4017996" y="599594"/>
                  <a:pt x="4010703" y="599594"/>
                </a:cubicBezTo>
                <a:cubicBezTo>
                  <a:pt x="4002681" y="599594"/>
                  <a:pt x="3996847" y="593367"/>
                  <a:pt x="3996847" y="584805"/>
                </a:cubicBezTo>
                <a:cubicBezTo>
                  <a:pt x="3996847" y="576244"/>
                  <a:pt x="4002681" y="570017"/>
                  <a:pt x="4010703" y="570017"/>
                </a:cubicBezTo>
                <a:close/>
                <a:moveTo>
                  <a:pt x="3939871" y="570017"/>
                </a:moveTo>
                <a:cubicBezTo>
                  <a:pt x="3946434" y="570017"/>
                  <a:pt x="3952268" y="576244"/>
                  <a:pt x="3952268" y="584805"/>
                </a:cubicBezTo>
                <a:cubicBezTo>
                  <a:pt x="3952268" y="593367"/>
                  <a:pt x="3946434" y="599594"/>
                  <a:pt x="3939871" y="599594"/>
                </a:cubicBezTo>
                <a:cubicBezTo>
                  <a:pt x="3932578" y="599594"/>
                  <a:pt x="3926015" y="593367"/>
                  <a:pt x="3926015" y="584805"/>
                </a:cubicBezTo>
                <a:cubicBezTo>
                  <a:pt x="3926015" y="576244"/>
                  <a:pt x="3932578" y="570017"/>
                  <a:pt x="3939871" y="570017"/>
                </a:cubicBezTo>
                <a:close/>
                <a:moveTo>
                  <a:pt x="3869042" y="570017"/>
                </a:moveTo>
                <a:cubicBezTo>
                  <a:pt x="3875605" y="570017"/>
                  <a:pt x="3881439" y="576244"/>
                  <a:pt x="3881439" y="584805"/>
                </a:cubicBezTo>
                <a:cubicBezTo>
                  <a:pt x="3881439" y="593367"/>
                  <a:pt x="3875605" y="599594"/>
                  <a:pt x="3869042" y="599594"/>
                </a:cubicBezTo>
                <a:cubicBezTo>
                  <a:pt x="3861749" y="599594"/>
                  <a:pt x="3855186" y="593367"/>
                  <a:pt x="3855186" y="584805"/>
                </a:cubicBezTo>
                <a:cubicBezTo>
                  <a:pt x="3855186" y="576244"/>
                  <a:pt x="3861749" y="570017"/>
                  <a:pt x="3869042" y="570017"/>
                </a:cubicBezTo>
                <a:close/>
                <a:moveTo>
                  <a:pt x="3796752" y="570017"/>
                </a:moveTo>
                <a:cubicBezTo>
                  <a:pt x="3804774" y="570017"/>
                  <a:pt x="3810608" y="576244"/>
                  <a:pt x="3810608" y="584805"/>
                </a:cubicBezTo>
                <a:cubicBezTo>
                  <a:pt x="3810608" y="593367"/>
                  <a:pt x="3804774" y="599594"/>
                  <a:pt x="3796752" y="599594"/>
                </a:cubicBezTo>
                <a:cubicBezTo>
                  <a:pt x="3790918" y="599594"/>
                  <a:pt x="3784355" y="593367"/>
                  <a:pt x="3784355" y="584805"/>
                </a:cubicBezTo>
                <a:cubicBezTo>
                  <a:pt x="3784355" y="576244"/>
                  <a:pt x="3790918" y="570017"/>
                  <a:pt x="3796752" y="570017"/>
                </a:cubicBezTo>
                <a:close/>
                <a:moveTo>
                  <a:pt x="3725922" y="570017"/>
                </a:moveTo>
                <a:cubicBezTo>
                  <a:pt x="3733944" y="570017"/>
                  <a:pt x="3739778" y="576244"/>
                  <a:pt x="3739778" y="584805"/>
                </a:cubicBezTo>
                <a:cubicBezTo>
                  <a:pt x="3739778" y="593367"/>
                  <a:pt x="3733944" y="599594"/>
                  <a:pt x="3725922" y="599594"/>
                </a:cubicBezTo>
                <a:cubicBezTo>
                  <a:pt x="3719359" y="599594"/>
                  <a:pt x="3713525" y="593367"/>
                  <a:pt x="3713525" y="584805"/>
                </a:cubicBezTo>
                <a:cubicBezTo>
                  <a:pt x="3713525" y="576244"/>
                  <a:pt x="3719359" y="570017"/>
                  <a:pt x="3725922" y="570017"/>
                </a:cubicBezTo>
                <a:close/>
                <a:moveTo>
                  <a:pt x="3655091" y="570017"/>
                </a:moveTo>
                <a:cubicBezTo>
                  <a:pt x="3662384" y="570017"/>
                  <a:pt x="3668947" y="574392"/>
                  <a:pt x="3668947" y="582414"/>
                </a:cubicBezTo>
                <a:cubicBezTo>
                  <a:pt x="3668947" y="590436"/>
                  <a:pt x="3662384" y="596271"/>
                  <a:pt x="3655091" y="596271"/>
                </a:cubicBezTo>
                <a:cubicBezTo>
                  <a:pt x="3647069" y="596271"/>
                  <a:pt x="3642694" y="590436"/>
                  <a:pt x="3642694" y="582414"/>
                </a:cubicBezTo>
                <a:cubicBezTo>
                  <a:pt x="3642694" y="574392"/>
                  <a:pt x="3647069" y="570017"/>
                  <a:pt x="3655091" y="570017"/>
                </a:cubicBezTo>
                <a:close/>
                <a:moveTo>
                  <a:pt x="3583280" y="570017"/>
                </a:moveTo>
                <a:cubicBezTo>
                  <a:pt x="3591064" y="570017"/>
                  <a:pt x="3598069" y="574392"/>
                  <a:pt x="3598069" y="582414"/>
                </a:cubicBezTo>
                <a:cubicBezTo>
                  <a:pt x="3598069" y="590436"/>
                  <a:pt x="3591064" y="596271"/>
                  <a:pt x="3583280" y="596271"/>
                </a:cubicBezTo>
                <a:cubicBezTo>
                  <a:pt x="3574718" y="596271"/>
                  <a:pt x="3568491" y="590436"/>
                  <a:pt x="3568491" y="582414"/>
                </a:cubicBezTo>
                <a:cubicBezTo>
                  <a:pt x="3568491" y="574392"/>
                  <a:pt x="3574718" y="570017"/>
                  <a:pt x="3583280" y="570017"/>
                </a:cubicBezTo>
                <a:close/>
                <a:moveTo>
                  <a:pt x="3512449" y="570017"/>
                </a:moveTo>
                <a:cubicBezTo>
                  <a:pt x="3520232" y="570017"/>
                  <a:pt x="3527237" y="574392"/>
                  <a:pt x="3527237" y="582414"/>
                </a:cubicBezTo>
                <a:cubicBezTo>
                  <a:pt x="3527237" y="590436"/>
                  <a:pt x="3520232" y="596271"/>
                  <a:pt x="3512449" y="596271"/>
                </a:cubicBezTo>
                <a:cubicBezTo>
                  <a:pt x="3503887" y="596271"/>
                  <a:pt x="3497661" y="590436"/>
                  <a:pt x="3497661" y="582414"/>
                </a:cubicBezTo>
                <a:cubicBezTo>
                  <a:pt x="3497661" y="574392"/>
                  <a:pt x="3503887" y="570017"/>
                  <a:pt x="3512449" y="570017"/>
                </a:cubicBezTo>
                <a:close/>
                <a:moveTo>
                  <a:pt x="3441619" y="570017"/>
                </a:moveTo>
                <a:cubicBezTo>
                  <a:pt x="3450181" y="570017"/>
                  <a:pt x="3456408" y="574392"/>
                  <a:pt x="3456408" y="582414"/>
                </a:cubicBezTo>
                <a:cubicBezTo>
                  <a:pt x="3456408" y="590436"/>
                  <a:pt x="3450181" y="596271"/>
                  <a:pt x="3441619" y="596271"/>
                </a:cubicBezTo>
                <a:cubicBezTo>
                  <a:pt x="3433835" y="596271"/>
                  <a:pt x="3426830" y="590436"/>
                  <a:pt x="3426830" y="582414"/>
                </a:cubicBezTo>
                <a:cubicBezTo>
                  <a:pt x="3426830" y="574392"/>
                  <a:pt x="3433835" y="570017"/>
                  <a:pt x="3441619" y="570017"/>
                </a:cubicBezTo>
                <a:close/>
                <a:moveTo>
                  <a:pt x="3369857" y="570017"/>
                </a:moveTo>
                <a:cubicBezTo>
                  <a:pt x="3377879" y="570017"/>
                  <a:pt x="3382254" y="574392"/>
                  <a:pt x="3382254" y="582414"/>
                </a:cubicBezTo>
                <a:cubicBezTo>
                  <a:pt x="3382254" y="590436"/>
                  <a:pt x="3377879" y="596271"/>
                  <a:pt x="3369857" y="596271"/>
                </a:cubicBezTo>
                <a:cubicBezTo>
                  <a:pt x="3362564" y="596271"/>
                  <a:pt x="3356001" y="590436"/>
                  <a:pt x="3356001" y="582414"/>
                </a:cubicBezTo>
                <a:cubicBezTo>
                  <a:pt x="3356001" y="574392"/>
                  <a:pt x="3362564" y="570017"/>
                  <a:pt x="3369857" y="570017"/>
                </a:cubicBezTo>
                <a:close/>
                <a:moveTo>
                  <a:pt x="3299091" y="570017"/>
                </a:moveTo>
                <a:cubicBezTo>
                  <a:pt x="3305656" y="570017"/>
                  <a:pt x="3311491" y="574392"/>
                  <a:pt x="3311491" y="582414"/>
                </a:cubicBezTo>
                <a:cubicBezTo>
                  <a:pt x="3311491" y="590436"/>
                  <a:pt x="3305656" y="596271"/>
                  <a:pt x="3299091" y="596271"/>
                </a:cubicBezTo>
                <a:cubicBezTo>
                  <a:pt x="3291802" y="596271"/>
                  <a:pt x="3285240" y="590436"/>
                  <a:pt x="3285240" y="582414"/>
                </a:cubicBezTo>
                <a:cubicBezTo>
                  <a:pt x="3285240" y="574392"/>
                  <a:pt x="3291802" y="570017"/>
                  <a:pt x="3299091" y="570017"/>
                </a:cubicBezTo>
                <a:close/>
                <a:moveTo>
                  <a:pt x="3226803" y="570017"/>
                </a:moveTo>
                <a:cubicBezTo>
                  <a:pt x="3234823" y="570017"/>
                  <a:pt x="3240660" y="574392"/>
                  <a:pt x="3240660" y="582414"/>
                </a:cubicBezTo>
                <a:cubicBezTo>
                  <a:pt x="3240660" y="590436"/>
                  <a:pt x="3234823" y="596271"/>
                  <a:pt x="3226803" y="596271"/>
                </a:cubicBezTo>
                <a:cubicBezTo>
                  <a:pt x="3220242" y="596271"/>
                  <a:pt x="3214406" y="590436"/>
                  <a:pt x="3214406" y="582414"/>
                </a:cubicBezTo>
                <a:cubicBezTo>
                  <a:pt x="3214406" y="574392"/>
                  <a:pt x="3220242" y="570017"/>
                  <a:pt x="3226803" y="570017"/>
                </a:cubicBezTo>
                <a:close/>
                <a:moveTo>
                  <a:pt x="3152600" y="570017"/>
                </a:moveTo>
                <a:cubicBezTo>
                  <a:pt x="3159892" y="570017"/>
                  <a:pt x="3166454" y="574392"/>
                  <a:pt x="3166454" y="582414"/>
                </a:cubicBezTo>
                <a:cubicBezTo>
                  <a:pt x="3166454" y="590436"/>
                  <a:pt x="3159892" y="596271"/>
                  <a:pt x="3152600" y="596271"/>
                </a:cubicBezTo>
                <a:cubicBezTo>
                  <a:pt x="3146037" y="596271"/>
                  <a:pt x="3140203" y="590436"/>
                  <a:pt x="3140203" y="582414"/>
                </a:cubicBezTo>
                <a:cubicBezTo>
                  <a:pt x="3140203" y="574392"/>
                  <a:pt x="3146037" y="570017"/>
                  <a:pt x="3152600" y="570017"/>
                </a:cubicBezTo>
                <a:close/>
                <a:moveTo>
                  <a:pt x="3081770" y="570017"/>
                </a:moveTo>
                <a:cubicBezTo>
                  <a:pt x="3089064" y="570017"/>
                  <a:pt x="3095622" y="575851"/>
                  <a:pt x="3095622" y="582414"/>
                </a:cubicBezTo>
                <a:cubicBezTo>
                  <a:pt x="3095622" y="590436"/>
                  <a:pt x="3089064" y="596271"/>
                  <a:pt x="3081770" y="596271"/>
                </a:cubicBezTo>
                <a:cubicBezTo>
                  <a:pt x="3073746" y="596271"/>
                  <a:pt x="3069369" y="590436"/>
                  <a:pt x="3069369" y="582414"/>
                </a:cubicBezTo>
                <a:cubicBezTo>
                  <a:pt x="3069369" y="575851"/>
                  <a:pt x="3073746" y="570017"/>
                  <a:pt x="3081770" y="570017"/>
                </a:cubicBezTo>
                <a:close/>
                <a:moveTo>
                  <a:pt x="3013712" y="570017"/>
                </a:moveTo>
                <a:cubicBezTo>
                  <a:pt x="3021305" y="570017"/>
                  <a:pt x="3028132" y="575851"/>
                  <a:pt x="3028132" y="582414"/>
                </a:cubicBezTo>
                <a:cubicBezTo>
                  <a:pt x="3028132" y="590436"/>
                  <a:pt x="3021305" y="596271"/>
                  <a:pt x="3013712" y="596271"/>
                </a:cubicBezTo>
                <a:cubicBezTo>
                  <a:pt x="3005366" y="596271"/>
                  <a:pt x="2998537" y="590436"/>
                  <a:pt x="2998537" y="582414"/>
                </a:cubicBezTo>
                <a:cubicBezTo>
                  <a:pt x="2998537" y="575851"/>
                  <a:pt x="3005366" y="570017"/>
                  <a:pt x="3013712" y="570017"/>
                </a:cubicBezTo>
                <a:close/>
                <a:moveTo>
                  <a:pt x="2942491" y="570017"/>
                </a:moveTo>
                <a:cubicBezTo>
                  <a:pt x="2951049" y="570017"/>
                  <a:pt x="2957285" y="575851"/>
                  <a:pt x="2957285" y="582414"/>
                </a:cubicBezTo>
                <a:cubicBezTo>
                  <a:pt x="2957285" y="590436"/>
                  <a:pt x="2951049" y="596271"/>
                  <a:pt x="2942491" y="596271"/>
                </a:cubicBezTo>
                <a:cubicBezTo>
                  <a:pt x="2934710" y="596271"/>
                  <a:pt x="2927705" y="590436"/>
                  <a:pt x="2927705" y="582414"/>
                </a:cubicBezTo>
                <a:cubicBezTo>
                  <a:pt x="2927705" y="575851"/>
                  <a:pt x="2934710" y="570017"/>
                  <a:pt x="2942491" y="570017"/>
                </a:cubicBezTo>
                <a:close/>
                <a:moveTo>
                  <a:pt x="2868288" y="570017"/>
                </a:moveTo>
                <a:cubicBezTo>
                  <a:pt x="2876856" y="570017"/>
                  <a:pt x="2883082" y="575851"/>
                  <a:pt x="2883082" y="582414"/>
                </a:cubicBezTo>
                <a:cubicBezTo>
                  <a:pt x="2883082" y="590436"/>
                  <a:pt x="2876856" y="596271"/>
                  <a:pt x="2868288" y="596271"/>
                </a:cubicBezTo>
                <a:cubicBezTo>
                  <a:pt x="2860506" y="596271"/>
                  <a:pt x="2853502" y="590436"/>
                  <a:pt x="2853502" y="582414"/>
                </a:cubicBezTo>
                <a:cubicBezTo>
                  <a:pt x="2853502" y="575851"/>
                  <a:pt x="2860506" y="570017"/>
                  <a:pt x="2868288" y="570017"/>
                </a:cubicBezTo>
                <a:close/>
                <a:moveTo>
                  <a:pt x="2796532" y="570017"/>
                </a:moveTo>
                <a:cubicBezTo>
                  <a:pt x="2804552" y="570017"/>
                  <a:pt x="2808931" y="575851"/>
                  <a:pt x="2808931" y="582414"/>
                </a:cubicBezTo>
                <a:cubicBezTo>
                  <a:pt x="2808931" y="590436"/>
                  <a:pt x="2804552" y="596271"/>
                  <a:pt x="2796532" y="596271"/>
                </a:cubicBezTo>
                <a:cubicBezTo>
                  <a:pt x="2789240" y="596271"/>
                  <a:pt x="2782675" y="590436"/>
                  <a:pt x="2782675" y="582414"/>
                </a:cubicBezTo>
                <a:cubicBezTo>
                  <a:pt x="2782675" y="575851"/>
                  <a:pt x="2789240" y="570017"/>
                  <a:pt x="2796532" y="570017"/>
                </a:cubicBezTo>
                <a:close/>
                <a:moveTo>
                  <a:pt x="2725695" y="570017"/>
                </a:moveTo>
                <a:cubicBezTo>
                  <a:pt x="2731529" y="570017"/>
                  <a:pt x="2738097" y="575851"/>
                  <a:pt x="2738097" y="582414"/>
                </a:cubicBezTo>
                <a:cubicBezTo>
                  <a:pt x="2738097" y="590436"/>
                  <a:pt x="2731529" y="596271"/>
                  <a:pt x="2725695" y="596271"/>
                </a:cubicBezTo>
                <a:cubicBezTo>
                  <a:pt x="2717681" y="596271"/>
                  <a:pt x="2711843" y="590436"/>
                  <a:pt x="2711843" y="582414"/>
                </a:cubicBezTo>
                <a:cubicBezTo>
                  <a:pt x="2711843" y="575851"/>
                  <a:pt x="2717681" y="570017"/>
                  <a:pt x="2725695" y="570017"/>
                </a:cubicBezTo>
                <a:close/>
                <a:moveTo>
                  <a:pt x="2654867" y="570017"/>
                </a:moveTo>
                <a:cubicBezTo>
                  <a:pt x="2660705" y="570017"/>
                  <a:pt x="2667266" y="575851"/>
                  <a:pt x="2667266" y="582414"/>
                </a:cubicBezTo>
                <a:cubicBezTo>
                  <a:pt x="2667266" y="590436"/>
                  <a:pt x="2660705" y="596271"/>
                  <a:pt x="2654867" y="596271"/>
                </a:cubicBezTo>
                <a:cubicBezTo>
                  <a:pt x="2646847" y="596271"/>
                  <a:pt x="2641013" y="590436"/>
                  <a:pt x="2641013" y="582414"/>
                </a:cubicBezTo>
                <a:cubicBezTo>
                  <a:pt x="2641013" y="575851"/>
                  <a:pt x="2646847" y="570017"/>
                  <a:pt x="2654867" y="570017"/>
                </a:cubicBezTo>
                <a:close/>
                <a:moveTo>
                  <a:pt x="2582580" y="570017"/>
                </a:moveTo>
                <a:cubicBezTo>
                  <a:pt x="2589873" y="570017"/>
                  <a:pt x="2596435" y="575851"/>
                  <a:pt x="2596435" y="582414"/>
                </a:cubicBezTo>
                <a:cubicBezTo>
                  <a:pt x="2596435" y="590436"/>
                  <a:pt x="2589873" y="596271"/>
                  <a:pt x="2582580" y="596271"/>
                </a:cubicBezTo>
                <a:cubicBezTo>
                  <a:pt x="2576018" y="596271"/>
                  <a:pt x="2570184" y="590436"/>
                  <a:pt x="2570184" y="582414"/>
                </a:cubicBezTo>
                <a:cubicBezTo>
                  <a:pt x="2570184" y="575851"/>
                  <a:pt x="2576018" y="570017"/>
                  <a:pt x="2582580" y="570017"/>
                </a:cubicBezTo>
                <a:close/>
                <a:moveTo>
                  <a:pt x="2511026" y="570017"/>
                </a:moveTo>
                <a:cubicBezTo>
                  <a:pt x="2519047" y="570017"/>
                  <a:pt x="2525610" y="575851"/>
                  <a:pt x="2525610" y="582414"/>
                </a:cubicBezTo>
                <a:cubicBezTo>
                  <a:pt x="2525610" y="590436"/>
                  <a:pt x="2519047" y="596271"/>
                  <a:pt x="2511026" y="596271"/>
                </a:cubicBezTo>
                <a:cubicBezTo>
                  <a:pt x="2505193" y="596271"/>
                  <a:pt x="2499358" y="590436"/>
                  <a:pt x="2499358" y="582414"/>
                </a:cubicBezTo>
                <a:cubicBezTo>
                  <a:pt x="2499358" y="575851"/>
                  <a:pt x="2505193" y="570017"/>
                  <a:pt x="2511026" y="570017"/>
                </a:cubicBezTo>
                <a:close/>
                <a:moveTo>
                  <a:pt x="2440921" y="570017"/>
                </a:moveTo>
                <a:cubicBezTo>
                  <a:pt x="2448943" y="570017"/>
                  <a:pt x="2454778" y="575851"/>
                  <a:pt x="2454778" y="582414"/>
                </a:cubicBezTo>
                <a:cubicBezTo>
                  <a:pt x="2454778" y="590436"/>
                  <a:pt x="2448943" y="596271"/>
                  <a:pt x="2440921" y="596271"/>
                </a:cubicBezTo>
                <a:cubicBezTo>
                  <a:pt x="2433632" y="596271"/>
                  <a:pt x="2428525" y="590436"/>
                  <a:pt x="2428525" y="582414"/>
                </a:cubicBezTo>
                <a:cubicBezTo>
                  <a:pt x="2428525" y="575851"/>
                  <a:pt x="2433632" y="570017"/>
                  <a:pt x="2440921" y="570017"/>
                </a:cubicBezTo>
                <a:close/>
                <a:moveTo>
                  <a:pt x="2369108" y="570017"/>
                </a:moveTo>
                <a:cubicBezTo>
                  <a:pt x="2377669" y="570017"/>
                  <a:pt x="2383896" y="575851"/>
                  <a:pt x="2383896" y="582414"/>
                </a:cubicBezTo>
                <a:cubicBezTo>
                  <a:pt x="2383896" y="590436"/>
                  <a:pt x="2377669" y="596271"/>
                  <a:pt x="2369108" y="596271"/>
                </a:cubicBezTo>
                <a:cubicBezTo>
                  <a:pt x="2361324" y="596271"/>
                  <a:pt x="2354319" y="590436"/>
                  <a:pt x="2354319" y="582414"/>
                </a:cubicBezTo>
                <a:cubicBezTo>
                  <a:pt x="2354319" y="575851"/>
                  <a:pt x="2361324" y="570017"/>
                  <a:pt x="2369108" y="570017"/>
                </a:cubicBezTo>
                <a:close/>
                <a:moveTo>
                  <a:pt x="2298275" y="570017"/>
                </a:moveTo>
                <a:cubicBezTo>
                  <a:pt x="2306839" y="570017"/>
                  <a:pt x="2313064" y="575851"/>
                  <a:pt x="2313064" y="582414"/>
                </a:cubicBezTo>
                <a:cubicBezTo>
                  <a:pt x="2313064" y="590436"/>
                  <a:pt x="2306839" y="596271"/>
                  <a:pt x="2298275" y="596271"/>
                </a:cubicBezTo>
                <a:cubicBezTo>
                  <a:pt x="2290494" y="596271"/>
                  <a:pt x="2283487" y="590436"/>
                  <a:pt x="2283487" y="582414"/>
                </a:cubicBezTo>
                <a:cubicBezTo>
                  <a:pt x="2283487" y="575851"/>
                  <a:pt x="2290494" y="570017"/>
                  <a:pt x="2298275" y="570017"/>
                </a:cubicBezTo>
                <a:close/>
                <a:moveTo>
                  <a:pt x="2226512" y="570017"/>
                </a:moveTo>
                <a:cubicBezTo>
                  <a:pt x="2234534" y="570017"/>
                  <a:pt x="2238911" y="575851"/>
                  <a:pt x="2238911" y="582414"/>
                </a:cubicBezTo>
                <a:cubicBezTo>
                  <a:pt x="2238911" y="590436"/>
                  <a:pt x="2234534" y="596271"/>
                  <a:pt x="2226512" y="596271"/>
                </a:cubicBezTo>
                <a:cubicBezTo>
                  <a:pt x="2218490" y="596271"/>
                  <a:pt x="2212655" y="590436"/>
                  <a:pt x="2212655" y="582414"/>
                </a:cubicBezTo>
                <a:cubicBezTo>
                  <a:pt x="2212655" y="575851"/>
                  <a:pt x="2218490" y="570017"/>
                  <a:pt x="2226512" y="570017"/>
                </a:cubicBezTo>
                <a:close/>
                <a:moveTo>
                  <a:pt x="2155680" y="570017"/>
                </a:moveTo>
                <a:cubicBezTo>
                  <a:pt x="2161514" y="570017"/>
                  <a:pt x="2168079" y="575851"/>
                  <a:pt x="2168079" y="582414"/>
                </a:cubicBezTo>
                <a:cubicBezTo>
                  <a:pt x="2168079" y="590436"/>
                  <a:pt x="2161514" y="596271"/>
                  <a:pt x="2155680" y="596271"/>
                </a:cubicBezTo>
                <a:cubicBezTo>
                  <a:pt x="2147658" y="596271"/>
                  <a:pt x="2141823" y="590436"/>
                  <a:pt x="2141823" y="582414"/>
                </a:cubicBezTo>
                <a:cubicBezTo>
                  <a:pt x="2141823" y="575851"/>
                  <a:pt x="2147658" y="570017"/>
                  <a:pt x="2155680" y="570017"/>
                </a:cubicBezTo>
                <a:close/>
                <a:moveTo>
                  <a:pt x="2084846" y="570017"/>
                </a:moveTo>
                <a:cubicBezTo>
                  <a:pt x="2090680" y="570017"/>
                  <a:pt x="2097246" y="575851"/>
                  <a:pt x="2097246" y="582414"/>
                </a:cubicBezTo>
                <a:cubicBezTo>
                  <a:pt x="2097246" y="590436"/>
                  <a:pt x="2090680" y="596271"/>
                  <a:pt x="2084846" y="596271"/>
                </a:cubicBezTo>
                <a:cubicBezTo>
                  <a:pt x="2076824" y="596271"/>
                  <a:pt x="2070989" y="590436"/>
                  <a:pt x="2070989" y="582414"/>
                </a:cubicBezTo>
                <a:cubicBezTo>
                  <a:pt x="2070989" y="575851"/>
                  <a:pt x="2076824" y="570017"/>
                  <a:pt x="2084846" y="570017"/>
                </a:cubicBezTo>
                <a:close/>
                <a:moveTo>
                  <a:pt x="2011831" y="570017"/>
                </a:moveTo>
                <a:cubicBezTo>
                  <a:pt x="2019854" y="570017"/>
                  <a:pt x="2026416" y="575851"/>
                  <a:pt x="2026416" y="582414"/>
                </a:cubicBezTo>
                <a:cubicBezTo>
                  <a:pt x="2026416" y="590436"/>
                  <a:pt x="2019854" y="596271"/>
                  <a:pt x="2011831" y="596271"/>
                </a:cubicBezTo>
                <a:cubicBezTo>
                  <a:pt x="2005997" y="596271"/>
                  <a:pt x="2000163" y="590436"/>
                  <a:pt x="2000163" y="582414"/>
                </a:cubicBezTo>
                <a:cubicBezTo>
                  <a:pt x="2000163" y="575851"/>
                  <a:pt x="2005997" y="570017"/>
                  <a:pt x="2011831" y="570017"/>
                </a:cubicBezTo>
                <a:close/>
                <a:moveTo>
                  <a:pt x="1938359" y="570017"/>
                </a:moveTo>
                <a:cubicBezTo>
                  <a:pt x="1946379" y="570017"/>
                  <a:pt x="1952216" y="575851"/>
                  <a:pt x="1952216" y="583873"/>
                </a:cubicBezTo>
                <a:cubicBezTo>
                  <a:pt x="1952216" y="590436"/>
                  <a:pt x="1946379" y="596271"/>
                  <a:pt x="1938359" y="596271"/>
                </a:cubicBezTo>
                <a:cubicBezTo>
                  <a:pt x="1932525" y="596271"/>
                  <a:pt x="1925962" y="590436"/>
                  <a:pt x="1925962" y="583873"/>
                </a:cubicBezTo>
                <a:cubicBezTo>
                  <a:pt x="1925962" y="575851"/>
                  <a:pt x="1932525" y="570017"/>
                  <a:pt x="1938359" y="570017"/>
                </a:cubicBezTo>
                <a:close/>
                <a:moveTo>
                  <a:pt x="1867522" y="570017"/>
                </a:moveTo>
                <a:cubicBezTo>
                  <a:pt x="1875545" y="570017"/>
                  <a:pt x="1881382" y="575851"/>
                  <a:pt x="1881382" y="583873"/>
                </a:cubicBezTo>
                <a:cubicBezTo>
                  <a:pt x="1881382" y="590436"/>
                  <a:pt x="1875545" y="596271"/>
                  <a:pt x="1867522" y="596271"/>
                </a:cubicBezTo>
                <a:cubicBezTo>
                  <a:pt x="1860229" y="596271"/>
                  <a:pt x="1855124" y="590436"/>
                  <a:pt x="1855124" y="583873"/>
                </a:cubicBezTo>
                <a:cubicBezTo>
                  <a:pt x="1855124" y="575851"/>
                  <a:pt x="1860229" y="570017"/>
                  <a:pt x="1867522" y="570017"/>
                </a:cubicBezTo>
                <a:close/>
                <a:moveTo>
                  <a:pt x="1799082" y="570017"/>
                </a:moveTo>
                <a:cubicBezTo>
                  <a:pt x="1807643" y="570017"/>
                  <a:pt x="1813871" y="575851"/>
                  <a:pt x="1813871" y="583873"/>
                </a:cubicBezTo>
                <a:cubicBezTo>
                  <a:pt x="1813871" y="590436"/>
                  <a:pt x="1807643" y="596271"/>
                  <a:pt x="1799082" y="596271"/>
                </a:cubicBezTo>
                <a:cubicBezTo>
                  <a:pt x="1790521" y="596271"/>
                  <a:pt x="1784295" y="590436"/>
                  <a:pt x="1784295" y="583873"/>
                </a:cubicBezTo>
                <a:cubicBezTo>
                  <a:pt x="1784295" y="575851"/>
                  <a:pt x="1790521" y="570017"/>
                  <a:pt x="1799082" y="570017"/>
                </a:cubicBezTo>
                <a:close/>
                <a:moveTo>
                  <a:pt x="1728257" y="570017"/>
                </a:moveTo>
                <a:cubicBezTo>
                  <a:pt x="1736820" y="570017"/>
                  <a:pt x="1743046" y="575851"/>
                  <a:pt x="1743046" y="583873"/>
                </a:cubicBezTo>
                <a:cubicBezTo>
                  <a:pt x="1743046" y="590436"/>
                  <a:pt x="1736820" y="596271"/>
                  <a:pt x="1728257" y="596271"/>
                </a:cubicBezTo>
                <a:cubicBezTo>
                  <a:pt x="1719694" y="596271"/>
                  <a:pt x="1713467" y="590436"/>
                  <a:pt x="1713467" y="583873"/>
                </a:cubicBezTo>
                <a:cubicBezTo>
                  <a:pt x="1713467" y="575851"/>
                  <a:pt x="1719694" y="570017"/>
                  <a:pt x="1728257" y="570017"/>
                </a:cubicBezTo>
                <a:close/>
                <a:moveTo>
                  <a:pt x="1657426" y="570017"/>
                </a:moveTo>
                <a:cubicBezTo>
                  <a:pt x="1665210" y="570017"/>
                  <a:pt x="1672218" y="575851"/>
                  <a:pt x="1672218" y="583873"/>
                </a:cubicBezTo>
                <a:cubicBezTo>
                  <a:pt x="1672218" y="590436"/>
                  <a:pt x="1665210" y="596271"/>
                  <a:pt x="1657426" y="596271"/>
                </a:cubicBezTo>
                <a:cubicBezTo>
                  <a:pt x="1648867" y="596271"/>
                  <a:pt x="1642647" y="590436"/>
                  <a:pt x="1642647" y="583873"/>
                </a:cubicBezTo>
                <a:cubicBezTo>
                  <a:pt x="1642647" y="575851"/>
                  <a:pt x="1648867" y="570017"/>
                  <a:pt x="1657426" y="570017"/>
                </a:cubicBezTo>
                <a:close/>
                <a:moveTo>
                  <a:pt x="1582294" y="570017"/>
                </a:moveTo>
                <a:cubicBezTo>
                  <a:pt x="1589587" y="570017"/>
                  <a:pt x="1594694" y="575851"/>
                  <a:pt x="1594694" y="583873"/>
                </a:cubicBezTo>
                <a:cubicBezTo>
                  <a:pt x="1594694" y="590436"/>
                  <a:pt x="1589587" y="596271"/>
                  <a:pt x="1582294" y="596271"/>
                </a:cubicBezTo>
                <a:cubicBezTo>
                  <a:pt x="1574271" y="596271"/>
                  <a:pt x="1568438" y="590436"/>
                  <a:pt x="1568438" y="583873"/>
                </a:cubicBezTo>
                <a:cubicBezTo>
                  <a:pt x="1568438" y="575851"/>
                  <a:pt x="1574271" y="570017"/>
                  <a:pt x="1582294" y="570017"/>
                </a:cubicBezTo>
                <a:close/>
                <a:moveTo>
                  <a:pt x="1512190" y="570017"/>
                </a:moveTo>
                <a:cubicBezTo>
                  <a:pt x="1518025" y="570017"/>
                  <a:pt x="1523859" y="575851"/>
                  <a:pt x="1523859" y="583873"/>
                </a:cubicBezTo>
                <a:cubicBezTo>
                  <a:pt x="1523859" y="590436"/>
                  <a:pt x="1518025" y="596271"/>
                  <a:pt x="1512190" y="596271"/>
                </a:cubicBezTo>
                <a:cubicBezTo>
                  <a:pt x="1504169" y="596271"/>
                  <a:pt x="1497607" y="590436"/>
                  <a:pt x="1497607" y="583873"/>
                </a:cubicBezTo>
                <a:cubicBezTo>
                  <a:pt x="1497607" y="575851"/>
                  <a:pt x="1504169" y="570017"/>
                  <a:pt x="1512190" y="570017"/>
                </a:cubicBezTo>
                <a:close/>
                <a:moveTo>
                  <a:pt x="1440623" y="570017"/>
                </a:moveTo>
                <a:cubicBezTo>
                  <a:pt x="1447188" y="570017"/>
                  <a:pt x="1453020" y="575851"/>
                  <a:pt x="1453020" y="583873"/>
                </a:cubicBezTo>
                <a:cubicBezTo>
                  <a:pt x="1453020" y="590436"/>
                  <a:pt x="1447188" y="596271"/>
                  <a:pt x="1440623" y="596271"/>
                </a:cubicBezTo>
                <a:cubicBezTo>
                  <a:pt x="1433333" y="596271"/>
                  <a:pt x="1426771" y="590436"/>
                  <a:pt x="1426771" y="583873"/>
                </a:cubicBezTo>
                <a:cubicBezTo>
                  <a:pt x="1426771" y="575851"/>
                  <a:pt x="1433333" y="570017"/>
                  <a:pt x="1440623" y="570017"/>
                </a:cubicBezTo>
                <a:close/>
                <a:moveTo>
                  <a:pt x="1368341" y="570017"/>
                </a:moveTo>
                <a:cubicBezTo>
                  <a:pt x="1376363" y="570017"/>
                  <a:pt x="1382194" y="575851"/>
                  <a:pt x="1382194" y="583873"/>
                </a:cubicBezTo>
                <a:cubicBezTo>
                  <a:pt x="1382194" y="590436"/>
                  <a:pt x="1376363" y="596271"/>
                  <a:pt x="1368341" y="596271"/>
                </a:cubicBezTo>
                <a:cubicBezTo>
                  <a:pt x="1362508" y="596271"/>
                  <a:pt x="1355945" y="590436"/>
                  <a:pt x="1355945" y="583873"/>
                </a:cubicBezTo>
                <a:cubicBezTo>
                  <a:pt x="1355945" y="575851"/>
                  <a:pt x="1362508" y="570017"/>
                  <a:pt x="1368341" y="570017"/>
                </a:cubicBezTo>
                <a:close/>
                <a:moveTo>
                  <a:pt x="1297515" y="570017"/>
                </a:moveTo>
                <a:cubicBezTo>
                  <a:pt x="1305535" y="570017"/>
                  <a:pt x="1311369" y="575851"/>
                  <a:pt x="1311369" y="583873"/>
                </a:cubicBezTo>
                <a:cubicBezTo>
                  <a:pt x="1311369" y="590436"/>
                  <a:pt x="1305535" y="596271"/>
                  <a:pt x="1297515" y="596271"/>
                </a:cubicBezTo>
                <a:cubicBezTo>
                  <a:pt x="1291680" y="596271"/>
                  <a:pt x="1285116" y="590436"/>
                  <a:pt x="1285116" y="583873"/>
                </a:cubicBezTo>
                <a:cubicBezTo>
                  <a:pt x="1285116" y="575851"/>
                  <a:pt x="1289492" y="570017"/>
                  <a:pt x="1297515" y="570017"/>
                </a:cubicBezTo>
                <a:close/>
                <a:moveTo>
                  <a:pt x="1226680" y="570017"/>
                </a:moveTo>
                <a:cubicBezTo>
                  <a:pt x="1233973" y="570017"/>
                  <a:pt x="1240537" y="575851"/>
                  <a:pt x="1240537" y="583873"/>
                </a:cubicBezTo>
                <a:cubicBezTo>
                  <a:pt x="1240537" y="590436"/>
                  <a:pt x="1233973" y="596271"/>
                  <a:pt x="1226680" y="596271"/>
                </a:cubicBezTo>
                <a:cubicBezTo>
                  <a:pt x="1218671" y="596271"/>
                  <a:pt x="1214296" y="590436"/>
                  <a:pt x="1214296" y="583873"/>
                </a:cubicBezTo>
                <a:cubicBezTo>
                  <a:pt x="1214296" y="575851"/>
                  <a:pt x="1218671" y="570017"/>
                  <a:pt x="1226680" y="570017"/>
                </a:cubicBezTo>
                <a:close/>
                <a:moveTo>
                  <a:pt x="1154879" y="570017"/>
                </a:moveTo>
                <a:cubicBezTo>
                  <a:pt x="1162662" y="570017"/>
                  <a:pt x="1169669" y="575851"/>
                  <a:pt x="1169669" y="583873"/>
                </a:cubicBezTo>
                <a:cubicBezTo>
                  <a:pt x="1169669" y="590436"/>
                  <a:pt x="1162662" y="596271"/>
                  <a:pt x="1154879" y="596271"/>
                </a:cubicBezTo>
                <a:cubicBezTo>
                  <a:pt x="1146319" y="596271"/>
                  <a:pt x="1140090" y="590436"/>
                  <a:pt x="1140090" y="583873"/>
                </a:cubicBezTo>
                <a:cubicBezTo>
                  <a:pt x="1140090" y="575851"/>
                  <a:pt x="1146319" y="570017"/>
                  <a:pt x="1154879" y="570017"/>
                </a:cubicBezTo>
                <a:close/>
                <a:moveTo>
                  <a:pt x="1084053" y="570017"/>
                </a:moveTo>
                <a:cubicBezTo>
                  <a:pt x="1091836" y="570017"/>
                  <a:pt x="1098840" y="575851"/>
                  <a:pt x="1098840" y="583873"/>
                </a:cubicBezTo>
                <a:cubicBezTo>
                  <a:pt x="1098840" y="590436"/>
                  <a:pt x="1091836" y="596271"/>
                  <a:pt x="1084053" y="596271"/>
                </a:cubicBezTo>
                <a:cubicBezTo>
                  <a:pt x="1075487" y="596271"/>
                  <a:pt x="1069263" y="590436"/>
                  <a:pt x="1069263" y="583873"/>
                </a:cubicBezTo>
                <a:cubicBezTo>
                  <a:pt x="1069263" y="575851"/>
                  <a:pt x="1075487" y="570017"/>
                  <a:pt x="1084053" y="570017"/>
                </a:cubicBezTo>
                <a:close/>
                <a:moveTo>
                  <a:pt x="1013010" y="570017"/>
                </a:moveTo>
                <a:cubicBezTo>
                  <a:pt x="1020306" y="570017"/>
                  <a:pt x="1024682" y="575851"/>
                  <a:pt x="1024682" y="583873"/>
                </a:cubicBezTo>
                <a:cubicBezTo>
                  <a:pt x="1024682" y="590436"/>
                  <a:pt x="1020306" y="596271"/>
                  <a:pt x="1013010" y="596271"/>
                </a:cubicBezTo>
                <a:cubicBezTo>
                  <a:pt x="1004991" y="596271"/>
                  <a:pt x="998433" y="590436"/>
                  <a:pt x="998433" y="583873"/>
                </a:cubicBezTo>
                <a:cubicBezTo>
                  <a:pt x="998433" y="575851"/>
                  <a:pt x="1004991" y="570017"/>
                  <a:pt x="1013010" y="570017"/>
                </a:cubicBezTo>
                <a:close/>
                <a:moveTo>
                  <a:pt x="941458" y="570017"/>
                </a:moveTo>
                <a:cubicBezTo>
                  <a:pt x="948019" y="570017"/>
                  <a:pt x="953857" y="575851"/>
                  <a:pt x="953857" y="583873"/>
                </a:cubicBezTo>
                <a:cubicBezTo>
                  <a:pt x="953857" y="590436"/>
                  <a:pt x="948019" y="596271"/>
                  <a:pt x="941458" y="596271"/>
                </a:cubicBezTo>
                <a:cubicBezTo>
                  <a:pt x="934166" y="596271"/>
                  <a:pt x="927601" y="590436"/>
                  <a:pt x="927601" y="583873"/>
                </a:cubicBezTo>
                <a:cubicBezTo>
                  <a:pt x="927601" y="575851"/>
                  <a:pt x="934166" y="570017"/>
                  <a:pt x="941458" y="570017"/>
                </a:cubicBezTo>
                <a:close/>
                <a:moveTo>
                  <a:pt x="870626" y="570017"/>
                </a:moveTo>
                <a:cubicBezTo>
                  <a:pt x="877192" y="570017"/>
                  <a:pt x="883027" y="575851"/>
                  <a:pt x="883027" y="583873"/>
                </a:cubicBezTo>
                <a:cubicBezTo>
                  <a:pt x="883027" y="590436"/>
                  <a:pt x="877192" y="596271"/>
                  <a:pt x="870626" y="596271"/>
                </a:cubicBezTo>
                <a:cubicBezTo>
                  <a:pt x="863333" y="596271"/>
                  <a:pt x="856772" y="591895"/>
                  <a:pt x="856772" y="583873"/>
                </a:cubicBezTo>
                <a:cubicBezTo>
                  <a:pt x="856772" y="575851"/>
                  <a:pt x="863333" y="570017"/>
                  <a:pt x="870626" y="570017"/>
                </a:cubicBezTo>
                <a:close/>
                <a:moveTo>
                  <a:pt x="798340" y="570017"/>
                </a:moveTo>
                <a:cubicBezTo>
                  <a:pt x="806360" y="570017"/>
                  <a:pt x="812193" y="575851"/>
                  <a:pt x="812193" y="583873"/>
                </a:cubicBezTo>
                <a:cubicBezTo>
                  <a:pt x="812193" y="591895"/>
                  <a:pt x="806360" y="596271"/>
                  <a:pt x="798340" y="596271"/>
                </a:cubicBezTo>
                <a:cubicBezTo>
                  <a:pt x="792504" y="596271"/>
                  <a:pt x="785941" y="591895"/>
                  <a:pt x="785941" y="583873"/>
                </a:cubicBezTo>
                <a:cubicBezTo>
                  <a:pt x="785941" y="575851"/>
                  <a:pt x="792504" y="570017"/>
                  <a:pt x="798340" y="570017"/>
                </a:cubicBezTo>
                <a:close/>
                <a:moveTo>
                  <a:pt x="724135" y="570017"/>
                </a:moveTo>
                <a:cubicBezTo>
                  <a:pt x="731429" y="570017"/>
                  <a:pt x="737991" y="575851"/>
                  <a:pt x="737991" y="583873"/>
                </a:cubicBezTo>
                <a:cubicBezTo>
                  <a:pt x="737991" y="591895"/>
                  <a:pt x="731429" y="596271"/>
                  <a:pt x="724135" y="596271"/>
                </a:cubicBezTo>
                <a:cubicBezTo>
                  <a:pt x="717571" y="596271"/>
                  <a:pt x="711737" y="591895"/>
                  <a:pt x="711737" y="583873"/>
                </a:cubicBezTo>
                <a:cubicBezTo>
                  <a:pt x="711737" y="575851"/>
                  <a:pt x="717571" y="570017"/>
                  <a:pt x="724135" y="570017"/>
                </a:cubicBezTo>
                <a:close/>
                <a:moveTo>
                  <a:pt x="653306" y="570017"/>
                </a:moveTo>
                <a:cubicBezTo>
                  <a:pt x="660598" y="570017"/>
                  <a:pt x="667161" y="575851"/>
                  <a:pt x="667161" y="583873"/>
                </a:cubicBezTo>
                <a:cubicBezTo>
                  <a:pt x="667161" y="591895"/>
                  <a:pt x="660598" y="596271"/>
                  <a:pt x="653306" y="596271"/>
                </a:cubicBezTo>
                <a:cubicBezTo>
                  <a:pt x="645286" y="596271"/>
                  <a:pt x="640910" y="591895"/>
                  <a:pt x="640910" y="583873"/>
                </a:cubicBezTo>
                <a:cubicBezTo>
                  <a:pt x="640910" y="575851"/>
                  <a:pt x="645286" y="570017"/>
                  <a:pt x="653306" y="570017"/>
                </a:cubicBezTo>
                <a:close/>
                <a:moveTo>
                  <a:pt x="584865" y="570017"/>
                </a:moveTo>
                <a:cubicBezTo>
                  <a:pt x="592648" y="570017"/>
                  <a:pt x="599654" y="575851"/>
                  <a:pt x="599654" y="583873"/>
                </a:cubicBezTo>
                <a:cubicBezTo>
                  <a:pt x="599654" y="591895"/>
                  <a:pt x="592648" y="596271"/>
                  <a:pt x="584865" y="596271"/>
                </a:cubicBezTo>
                <a:cubicBezTo>
                  <a:pt x="576307" y="596271"/>
                  <a:pt x="570076" y="591895"/>
                  <a:pt x="570076" y="583873"/>
                </a:cubicBezTo>
                <a:cubicBezTo>
                  <a:pt x="570076" y="575851"/>
                  <a:pt x="576307" y="570017"/>
                  <a:pt x="584865" y="570017"/>
                </a:cubicBezTo>
                <a:close/>
                <a:moveTo>
                  <a:pt x="513668" y="570017"/>
                </a:moveTo>
                <a:cubicBezTo>
                  <a:pt x="522015" y="570017"/>
                  <a:pt x="528846" y="575851"/>
                  <a:pt x="528846" y="583873"/>
                </a:cubicBezTo>
                <a:cubicBezTo>
                  <a:pt x="528846" y="591895"/>
                  <a:pt x="522015" y="596271"/>
                  <a:pt x="513668" y="596271"/>
                </a:cubicBezTo>
                <a:cubicBezTo>
                  <a:pt x="506076" y="596271"/>
                  <a:pt x="499248" y="591895"/>
                  <a:pt x="499248" y="583873"/>
                </a:cubicBezTo>
                <a:cubicBezTo>
                  <a:pt x="499248" y="575851"/>
                  <a:pt x="506076" y="570017"/>
                  <a:pt x="513668" y="570017"/>
                </a:cubicBezTo>
                <a:close/>
                <a:moveTo>
                  <a:pt x="439833" y="570017"/>
                </a:moveTo>
                <a:cubicBezTo>
                  <a:pt x="448394" y="570017"/>
                  <a:pt x="454623" y="575851"/>
                  <a:pt x="454623" y="583873"/>
                </a:cubicBezTo>
                <a:cubicBezTo>
                  <a:pt x="454623" y="591895"/>
                  <a:pt x="448394" y="596271"/>
                  <a:pt x="439833" y="596271"/>
                </a:cubicBezTo>
                <a:cubicBezTo>
                  <a:pt x="432049" y="596271"/>
                  <a:pt x="425044" y="591895"/>
                  <a:pt x="425044" y="583873"/>
                </a:cubicBezTo>
                <a:cubicBezTo>
                  <a:pt x="425044" y="575851"/>
                  <a:pt x="432049" y="570017"/>
                  <a:pt x="439833" y="570017"/>
                </a:cubicBezTo>
                <a:close/>
                <a:moveTo>
                  <a:pt x="368072" y="570017"/>
                </a:moveTo>
                <a:cubicBezTo>
                  <a:pt x="376089" y="570017"/>
                  <a:pt x="380467" y="575851"/>
                  <a:pt x="380467" y="583873"/>
                </a:cubicBezTo>
                <a:cubicBezTo>
                  <a:pt x="380467" y="591895"/>
                  <a:pt x="376089" y="596271"/>
                  <a:pt x="368072" y="596271"/>
                </a:cubicBezTo>
                <a:cubicBezTo>
                  <a:pt x="360778" y="596271"/>
                  <a:pt x="354211" y="591895"/>
                  <a:pt x="354211" y="583873"/>
                </a:cubicBezTo>
                <a:cubicBezTo>
                  <a:pt x="354211" y="575851"/>
                  <a:pt x="360778" y="570017"/>
                  <a:pt x="368072" y="570017"/>
                </a:cubicBezTo>
                <a:close/>
                <a:moveTo>
                  <a:pt x="3081772" y="499186"/>
                </a:moveTo>
                <a:cubicBezTo>
                  <a:pt x="3089064" y="499186"/>
                  <a:pt x="3095622" y="503561"/>
                  <a:pt x="3095622" y="511583"/>
                </a:cubicBezTo>
                <a:cubicBezTo>
                  <a:pt x="3095622" y="518876"/>
                  <a:pt x="3089064" y="525440"/>
                  <a:pt x="3081772" y="525440"/>
                </a:cubicBezTo>
                <a:cubicBezTo>
                  <a:pt x="3073748" y="525440"/>
                  <a:pt x="3069372" y="518876"/>
                  <a:pt x="3069372" y="511583"/>
                </a:cubicBezTo>
                <a:cubicBezTo>
                  <a:pt x="3069372" y="503561"/>
                  <a:pt x="3073748" y="499186"/>
                  <a:pt x="3081772" y="499186"/>
                </a:cubicBezTo>
                <a:close/>
                <a:moveTo>
                  <a:pt x="3013712" y="499186"/>
                </a:moveTo>
                <a:cubicBezTo>
                  <a:pt x="3021305" y="499186"/>
                  <a:pt x="3028135" y="503561"/>
                  <a:pt x="3028135" y="511583"/>
                </a:cubicBezTo>
                <a:cubicBezTo>
                  <a:pt x="3028135" y="518876"/>
                  <a:pt x="3021305" y="525440"/>
                  <a:pt x="3013712" y="525440"/>
                </a:cubicBezTo>
                <a:cubicBezTo>
                  <a:pt x="3005368" y="525440"/>
                  <a:pt x="2998539" y="518876"/>
                  <a:pt x="2998539" y="511583"/>
                </a:cubicBezTo>
                <a:cubicBezTo>
                  <a:pt x="2998539" y="503561"/>
                  <a:pt x="3005368" y="499186"/>
                  <a:pt x="3013712" y="499186"/>
                </a:cubicBezTo>
                <a:close/>
                <a:moveTo>
                  <a:pt x="2942491" y="499186"/>
                </a:moveTo>
                <a:cubicBezTo>
                  <a:pt x="2951052" y="499186"/>
                  <a:pt x="2957285" y="503561"/>
                  <a:pt x="2957285" y="511583"/>
                </a:cubicBezTo>
                <a:cubicBezTo>
                  <a:pt x="2957285" y="518876"/>
                  <a:pt x="2951052" y="525440"/>
                  <a:pt x="2942491" y="525440"/>
                </a:cubicBezTo>
                <a:cubicBezTo>
                  <a:pt x="2934710" y="525440"/>
                  <a:pt x="2927705" y="518876"/>
                  <a:pt x="2927705" y="511583"/>
                </a:cubicBezTo>
                <a:cubicBezTo>
                  <a:pt x="2927705" y="503561"/>
                  <a:pt x="2934710" y="499186"/>
                  <a:pt x="2942491" y="499186"/>
                </a:cubicBezTo>
                <a:close/>
                <a:moveTo>
                  <a:pt x="2868291" y="499186"/>
                </a:moveTo>
                <a:cubicBezTo>
                  <a:pt x="2876856" y="499186"/>
                  <a:pt x="2883082" y="503561"/>
                  <a:pt x="2883082" y="511583"/>
                </a:cubicBezTo>
                <a:cubicBezTo>
                  <a:pt x="2883082" y="518876"/>
                  <a:pt x="2876856" y="525440"/>
                  <a:pt x="2868291" y="525440"/>
                </a:cubicBezTo>
                <a:cubicBezTo>
                  <a:pt x="2860509" y="525440"/>
                  <a:pt x="2853502" y="518876"/>
                  <a:pt x="2853502" y="511583"/>
                </a:cubicBezTo>
                <a:cubicBezTo>
                  <a:pt x="2853502" y="503561"/>
                  <a:pt x="2860509" y="499186"/>
                  <a:pt x="2868291" y="499186"/>
                </a:cubicBezTo>
                <a:close/>
                <a:moveTo>
                  <a:pt x="2796533" y="499186"/>
                </a:moveTo>
                <a:cubicBezTo>
                  <a:pt x="2804555" y="499186"/>
                  <a:pt x="2808931" y="503561"/>
                  <a:pt x="2808931" y="511583"/>
                </a:cubicBezTo>
                <a:cubicBezTo>
                  <a:pt x="2808931" y="518876"/>
                  <a:pt x="2804555" y="525440"/>
                  <a:pt x="2796533" y="525440"/>
                </a:cubicBezTo>
                <a:cubicBezTo>
                  <a:pt x="2789240" y="525440"/>
                  <a:pt x="2782678" y="518876"/>
                  <a:pt x="2782678" y="511583"/>
                </a:cubicBezTo>
                <a:cubicBezTo>
                  <a:pt x="2782678" y="503561"/>
                  <a:pt x="2789240" y="499186"/>
                  <a:pt x="2796533" y="499186"/>
                </a:cubicBezTo>
                <a:close/>
                <a:moveTo>
                  <a:pt x="2725695" y="499186"/>
                </a:moveTo>
                <a:cubicBezTo>
                  <a:pt x="2731532" y="499186"/>
                  <a:pt x="2738097" y="503561"/>
                  <a:pt x="2738097" y="511583"/>
                </a:cubicBezTo>
                <a:cubicBezTo>
                  <a:pt x="2738097" y="518876"/>
                  <a:pt x="2731532" y="525440"/>
                  <a:pt x="2725695" y="525440"/>
                </a:cubicBezTo>
                <a:cubicBezTo>
                  <a:pt x="2717681" y="525440"/>
                  <a:pt x="2711846" y="518876"/>
                  <a:pt x="2711846" y="511583"/>
                </a:cubicBezTo>
                <a:cubicBezTo>
                  <a:pt x="2711846" y="503561"/>
                  <a:pt x="2717681" y="499186"/>
                  <a:pt x="2725695" y="499186"/>
                </a:cubicBezTo>
                <a:close/>
                <a:moveTo>
                  <a:pt x="2654870" y="499186"/>
                </a:moveTo>
                <a:cubicBezTo>
                  <a:pt x="2660705" y="499186"/>
                  <a:pt x="2667266" y="503561"/>
                  <a:pt x="2667266" y="511583"/>
                </a:cubicBezTo>
                <a:cubicBezTo>
                  <a:pt x="2667266" y="518876"/>
                  <a:pt x="2660705" y="525440"/>
                  <a:pt x="2654870" y="525440"/>
                </a:cubicBezTo>
                <a:cubicBezTo>
                  <a:pt x="2646847" y="525440"/>
                  <a:pt x="2641013" y="518876"/>
                  <a:pt x="2641013" y="511583"/>
                </a:cubicBezTo>
                <a:cubicBezTo>
                  <a:pt x="2641013" y="503561"/>
                  <a:pt x="2646847" y="499186"/>
                  <a:pt x="2654870" y="499186"/>
                </a:cubicBezTo>
                <a:close/>
                <a:moveTo>
                  <a:pt x="2582580" y="499186"/>
                </a:moveTo>
                <a:cubicBezTo>
                  <a:pt x="2589873" y="499186"/>
                  <a:pt x="2596435" y="503561"/>
                  <a:pt x="2596435" y="511583"/>
                </a:cubicBezTo>
                <a:cubicBezTo>
                  <a:pt x="2596435" y="518876"/>
                  <a:pt x="2589873" y="525440"/>
                  <a:pt x="2582580" y="525440"/>
                </a:cubicBezTo>
                <a:cubicBezTo>
                  <a:pt x="2576018" y="525440"/>
                  <a:pt x="2570184" y="518876"/>
                  <a:pt x="2570184" y="511583"/>
                </a:cubicBezTo>
                <a:cubicBezTo>
                  <a:pt x="2570184" y="503561"/>
                  <a:pt x="2576018" y="499186"/>
                  <a:pt x="2582580" y="499186"/>
                </a:cubicBezTo>
                <a:close/>
                <a:moveTo>
                  <a:pt x="2511026" y="499186"/>
                </a:moveTo>
                <a:cubicBezTo>
                  <a:pt x="2519047" y="499186"/>
                  <a:pt x="2525610" y="503561"/>
                  <a:pt x="2525610" y="511583"/>
                </a:cubicBezTo>
                <a:cubicBezTo>
                  <a:pt x="2525610" y="518876"/>
                  <a:pt x="2519047" y="525440"/>
                  <a:pt x="2511026" y="525440"/>
                </a:cubicBezTo>
                <a:cubicBezTo>
                  <a:pt x="2505194" y="525440"/>
                  <a:pt x="2499361" y="518876"/>
                  <a:pt x="2499361" y="511583"/>
                </a:cubicBezTo>
                <a:cubicBezTo>
                  <a:pt x="2499361" y="503561"/>
                  <a:pt x="2503735" y="499186"/>
                  <a:pt x="2511026" y="499186"/>
                </a:cubicBezTo>
                <a:close/>
                <a:moveTo>
                  <a:pt x="2440924" y="499186"/>
                </a:moveTo>
                <a:cubicBezTo>
                  <a:pt x="2448944" y="499186"/>
                  <a:pt x="2454781" y="505020"/>
                  <a:pt x="2454781" y="511583"/>
                </a:cubicBezTo>
                <a:cubicBezTo>
                  <a:pt x="2454781" y="518876"/>
                  <a:pt x="2448944" y="525440"/>
                  <a:pt x="2440924" y="525440"/>
                </a:cubicBezTo>
                <a:cubicBezTo>
                  <a:pt x="2433632" y="525440"/>
                  <a:pt x="2428527" y="518876"/>
                  <a:pt x="2428527" y="511583"/>
                </a:cubicBezTo>
                <a:cubicBezTo>
                  <a:pt x="2428527" y="505020"/>
                  <a:pt x="2433632" y="499186"/>
                  <a:pt x="2440924" y="499186"/>
                </a:cubicBezTo>
                <a:close/>
                <a:moveTo>
                  <a:pt x="2369108" y="499186"/>
                </a:moveTo>
                <a:cubicBezTo>
                  <a:pt x="2377672" y="499186"/>
                  <a:pt x="2383898" y="505020"/>
                  <a:pt x="2383898" y="511583"/>
                </a:cubicBezTo>
                <a:cubicBezTo>
                  <a:pt x="2383898" y="518876"/>
                  <a:pt x="2377672" y="525440"/>
                  <a:pt x="2369108" y="525440"/>
                </a:cubicBezTo>
                <a:cubicBezTo>
                  <a:pt x="2361327" y="525440"/>
                  <a:pt x="2354319" y="518876"/>
                  <a:pt x="2354319" y="511583"/>
                </a:cubicBezTo>
                <a:cubicBezTo>
                  <a:pt x="2354319" y="505020"/>
                  <a:pt x="2361327" y="499186"/>
                  <a:pt x="2369108" y="499186"/>
                </a:cubicBezTo>
                <a:close/>
                <a:moveTo>
                  <a:pt x="2298278" y="499186"/>
                </a:moveTo>
                <a:cubicBezTo>
                  <a:pt x="2306839" y="499186"/>
                  <a:pt x="2313066" y="505020"/>
                  <a:pt x="2313066" y="511583"/>
                </a:cubicBezTo>
                <a:cubicBezTo>
                  <a:pt x="2313066" y="518876"/>
                  <a:pt x="2306839" y="525440"/>
                  <a:pt x="2298278" y="525440"/>
                </a:cubicBezTo>
                <a:cubicBezTo>
                  <a:pt x="2290494" y="525440"/>
                  <a:pt x="2283488" y="518876"/>
                  <a:pt x="2283488" y="511583"/>
                </a:cubicBezTo>
                <a:cubicBezTo>
                  <a:pt x="2283488" y="505020"/>
                  <a:pt x="2290494" y="499186"/>
                  <a:pt x="2298278" y="499186"/>
                </a:cubicBezTo>
                <a:close/>
                <a:moveTo>
                  <a:pt x="2226514" y="499186"/>
                </a:moveTo>
                <a:cubicBezTo>
                  <a:pt x="2234534" y="499186"/>
                  <a:pt x="2238914" y="505020"/>
                  <a:pt x="2238914" y="511583"/>
                </a:cubicBezTo>
                <a:cubicBezTo>
                  <a:pt x="2238914" y="518876"/>
                  <a:pt x="2234534" y="525440"/>
                  <a:pt x="2226514" y="525440"/>
                </a:cubicBezTo>
                <a:cubicBezTo>
                  <a:pt x="2218492" y="525440"/>
                  <a:pt x="2212655" y="518876"/>
                  <a:pt x="2212655" y="511583"/>
                </a:cubicBezTo>
                <a:cubicBezTo>
                  <a:pt x="2212655" y="505020"/>
                  <a:pt x="2218492" y="499186"/>
                  <a:pt x="2226514" y="499186"/>
                </a:cubicBezTo>
                <a:close/>
                <a:moveTo>
                  <a:pt x="2155680" y="499186"/>
                </a:moveTo>
                <a:cubicBezTo>
                  <a:pt x="2161514" y="499186"/>
                  <a:pt x="2168079" y="505020"/>
                  <a:pt x="2168079" y="511583"/>
                </a:cubicBezTo>
                <a:cubicBezTo>
                  <a:pt x="2168079" y="518876"/>
                  <a:pt x="2161514" y="525440"/>
                  <a:pt x="2155680" y="525440"/>
                </a:cubicBezTo>
                <a:cubicBezTo>
                  <a:pt x="2147658" y="525440"/>
                  <a:pt x="2141823" y="518876"/>
                  <a:pt x="2141823" y="511583"/>
                </a:cubicBezTo>
                <a:cubicBezTo>
                  <a:pt x="2141823" y="505020"/>
                  <a:pt x="2147658" y="499186"/>
                  <a:pt x="2155680" y="499186"/>
                </a:cubicBezTo>
                <a:close/>
                <a:moveTo>
                  <a:pt x="2084846" y="499186"/>
                </a:moveTo>
                <a:cubicBezTo>
                  <a:pt x="2090680" y="499186"/>
                  <a:pt x="2097246" y="505020"/>
                  <a:pt x="2097246" y="511583"/>
                </a:cubicBezTo>
                <a:cubicBezTo>
                  <a:pt x="2097246" y="518876"/>
                  <a:pt x="2090680" y="525440"/>
                  <a:pt x="2084846" y="525440"/>
                </a:cubicBezTo>
                <a:cubicBezTo>
                  <a:pt x="2076824" y="525440"/>
                  <a:pt x="2070991" y="518876"/>
                  <a:pt x="2070991" y="511583"/>
                </a:cubicBezTo>
                <a:cubicBezTo>
                  <a:pt x="2070991" y="505020"/>
                  <a:pt x="2076824" y="499186"/>
                  <a:pt x="2084846" y="499186"/>
                </a:cubicBezTo>
                <a:close/>
                <a:moveTo>
                  <a:pt x="2011831" y="499186"/>
                </a:moveTo>
                <a:cubicBezTo>
                  <a:pt x="2019855" y="499186"/>
                  <a:pt x="2026416" y="505020"/>
                  <a:pt x="2026416" y="511583"/>
                </a:cubicBezTo>
                <a:cubicBezTo>
                  <a:pt x="2026416" y="518876"/>
                  <a:pt x="2019855" y="525440"/>
                  <a:pt x="2011831" y="525440"/>
                </a:cubicBezTo>
                <a:cubicBezTo>
                  <a:pt x="2005998" y="525440"/>
                  <a:pt x="2000165" y="518876"/>
                  <a:pt x="2000165" y="511583"/>
                </a:cubicBezTo>
                <a:cubicBezTo>
                  <a:pt x="2000165" y="505020"/>
                  <a:pt x="2005998" y="499186"/>
                  <a:pt x="2011831" y="499186"/>
                </a:cubicBezTo>
                <a:close/>
                <a:moveTo>
                  <a:pt x="1938362" y="499186"/>
                </a:moveTo>
                <a:cubicBezTo>
                  <a:pt x="1946382" y="499186"/>
                  <a:pt x="1952216" y="505020"/>
                  <a:pt x="1952216" y="511583"/>
                </a:cubicBezTo>
                <a:cubicBezTo>
                  <a:pt x="1952216" y="518876"/>
                  <a:pt x="1946382" y="525440"/>
                  <a:pt x="1938362" y="525440"/>
                </a:cubicBezTo>
                <a:cubicBezTo>
                  <a:pt x="1932525" y="525440"/>
                  <a:pt x="1925965" y="518876"/>
                  <a:pt x="1925965" y="511583"/>
                </a:cubicBezTo>
                <a:cubicBezTo>
                  <a:pt x="1925965" y="505020"/>
                  <a:pt x="1932525" y="499186"/>
                  <a:pt x="1938362" y="499186"/>
                </a:cubicBezTo>
                <a:close/>
                <a:moveTo>
                  <a:pt x="1867525" y="499186"/>
                </a:moveTo>
                <a:cubicBezTo>
                  <a:pt x="1875547" y="499186"/>
                  <a:pt x="1881384" y="505020"/>
                  <a:pt x="1881384" y="511583"/>
                </a:cubicBezTo>
                <a:cubicBezTo>
                  <a:pt x="1881384" y="518876"/>
                  <a:pt x="1875547" y="525440"/>
                  <a:pt x="1867525" y="525440"/>
                </a:cubicBezTo>
                <a:cubicBezTo>
                  <a:pt x="1860232" y="525440"/>
                  <a:pt x="1855126" y="518876"/>
                  <a:pt x="1855126" y="511583"/>
                </a:cubicBezTo>
                <a:cubicBezTo>
                  <a:pt x="1855126" y="505020"/>
                  <a:pt x="1860232" y="499186"/>
                  <a:pt x="1867525" y="499186"/>
                </a:cubicBezTo>
                <a:close/>
                <a:moveTo>
                  <a:pt x="1799085" y="499186"/>
                </a:moveTo>
                <a:cubicBezTo>
                  <a:pt x="1807644" y="499186"/>
                  <a:pt x="1813871" y="505020"/>
                  <a:pt x="1813871" y="511583"/>
                </a:cubicBezTo>
                <a:cubicBezTo>
                  <a:pt x="1813871" y="518876"/>
                  <a:pt x="1807644" y="525440"/>
                  <a:pt x="1799085" y="525440"/>
                </a:cubicBezTo>
                <a:cubicBezTo>
                  <a:pt x="1790521" y="525440"/>
                  <a:pt x="1784295" y="518876"/>
                  <a:pt x="1784295" y="511583"/>
                </a:cubicBezTo>
                <a:cubicBezTo>
                  <a:pt x="1784295" y="505020"/>
                  <a:pt x="1790521" y="499186"/>
                  <a:pt x="1799085" y="499186"/>
                </a:cubicBezTo>
                <a:close/>
                <a:moveTo>
                  <a:pt x="1728257" y="499186"/>
                </a:moveTo>
                <a:cubicBezTo>
                  <a:pt x="1736822" y="499186"/>
                  <a:pt x="1743046" y="505020"/>
                  <a:pt x="1743046" y="511583"/>
                </a:cubicBezTo>
                <a:cubicBezTo>
                  <a:pt x="1743046" y="518876"/>
                  <a:pt x="1736822" y="525440"/>
                  <a:pt x="1728257" y="525440"/>
                </a:cubicBezTo>
                <a:cubicBezTo>
                  <a:pt x="1719694" y="525440"/>
                  <a:pt x="1713469" y="518876"/>
                  <a:pt x="1713469" y="511583"/>
                </a:cubicBezTo>
                <a:cubicBezTo>
                  <a:pt x="1713469" y="505020"/>
                  <a:pt x="1719694" y="499186"/>
                  <a:pt x="1728257" y="499186"/>
                </a:cubicBezTo>
                <a:close/>
                <a:moveTo>
                  <a:pt x="1657426" y="499186"/>
                </a:moveTo>
                <a:cubicBezTo>
                  <a:pt x="1665210" y="499186"/>
                  <a:pt x="1672218" y="505020"/>
                  <a:pt x="1672218" y="511583"/>
                </a:cubicBezTo>
                <a:cubicBezTo>
                  <a:pt x="1672218" y="518876"/>
                  <a:pt x="1665210" y="525440"/>
                  <a:pt x="1657426" y="525440"/>
                </a:cubicBezTo>
                <a:cubicBezTo>
                  <a:pt x="1648867" y="525440"/>
                  <a:pt x="1642647" y="518876"/>
                  <a:pt x="1642647" y="511583"/>
                </a:cubicBezTo>
                <a:cubicBezTo>
                  <a:pt x="1642647" y="505020"/>
                  <a:pt x="1648867" y="499186"/>
                  <a:pt x="1657426" y="499186"/>
                </a:cubicBezTo>
                <a:close/>
                <a:moveTo>
                  <a:pt x="1582294" y="499186"/>
                </a:moveTo>
                <a:cubicBezTo>
                  <a:pt x="1589590" y="499186"/>
                  <a:pt x="1594694" y="505020"/>
                  <a:pt x="1594694" y="511583"/>
                </a:cubicBezTo>
                <a:cubicBezTo>
                  <a:pt x="1594694" y="518876"/>
                  <a:pt x="1589590" y="525440"/>
                  <a:pt x="1582294" y="525440"/>
                </a:cubicBezTo>
                <a:cubicBezTo>
                  <a:pt x="1574271" y="525440"/>
                  <a:pt x="1568438" y="518876"/>
                  <a:pt x="1568438" y="511583"/>
                </a:cubicBezTo>
                <a:cubicBezTo>
                  <a:pt x="1568438" y="505020"/>
                  <a:pt x="1574271" y="499186"/>
                  <a:pt x="1582294" y="499186"/>
                </a:cubicBezTo>
                <a:close/>
                <a:moveTo>
                  <a:pt x="1512192" y="499186"/>
                </a:moveTo>
                <a:cubicBezTo>
                  <a:pt x="1518025" y="499186"/>
                  <a:pt x="1523862" y="505020"/>
                  <a:pt x="1523862" y="511583"/>
                </a:cubicBezTo>
                <a:cubicBezTo>
                  <a:pt x="1523862" y="518876"/>
                  <a:pt x="1518025" y="525440"/>
                  <a:pt x="1512192" y="525440"/>
                </a:cubicBezTo>
                <a:cubicBezTo>
                  <a:pt x="1504169" y="525440"/>
                  <a:pt x="1497607" y="518876"/>
                  <a:pt x="1497607" y="511583"/>
                </a:cubicBezTo>
                <a:cubicBezTo>
                  <a:pt x="1497607" y="505020"/>
                  <a:pt x="1504169" y="499186"/>
                  <a:pt x="1512192" y="499186"/>
                </a:cubicBezTo>
                <a:close/>
                <a:moveTo>
                  <a:pt x="1440623" y="499186"/>
                </a:moveTo>
                <a:cubicBezTo>
                  <a:pt x="1447188" y="499186"/>
                  <a:pt x="1453023" y="505020"/>
                  <a:pt x="1453023" y="511583"/>
                </a:cubicBezTo>
                <a:cubicBezTo>
                  <a:pt x="1453023" y="518876"/>
                  <a:pt x="1447188" y="525440"/>
                  <a:pt x="1440623" y="525440"/>
                </a:cubicBezTo>
                <a:cubicBezTo>
                  <a:pt x="1433333" y="525440"/>
                  <a:pt x="1426771" y="518876"/>
                  <a:pt x="1426771" y="511583"/>
                </a:cubicBezTo>
                <a:cubicBezTo>
                  <a:pt x="1426771" y="505020"/>
                  <a:pt x="1433333" y="499186"/>
                  <a:pt x="1440623" y="499186"/>
                </a:cubicBezTo>
                <a:close/>
                <a:moveTo>
                  <a:pt x="1368341" y="499186"/>
                </a:moveTo>
                <a:cubicBezTo>
                  <a:pt x="1376363" y="499186"/>
                  <a:pt x="1382196" y="505020"/>
                  <a:pt x="1382196" y="511583"/>
                </a:cubicBezTo>
                <a:cubicBezTo>
                  <a:pt x="1382196" y="518876"/>
                  <a:pt x="1376363" y="525440"/>
                  <a:pt x="1368341" y="525440"/>
                </a:cubicBezTo>
                <a:cubicBezTo>
                  <a:pt x="1362508" y="525440"/>
                  <a:pt x="1355948" y="518876"/>
                  <a:pt x="1355948" y="511583"/>
                </a:cubicBezTo>
                <a:cubicBezTo>
                  <a:pt x="1355948" y="505020"/>
                  <a:pt x="1362508" y="499186"/>
                  <a:pt x="1368341" y="499186"/>
                </a:cubicBezTo>
                <a:close/>
                <a:moveTo>
                  <a:pt x="1297515" y="499186"/>
                </a:moveTo>
                <a:cubicBezTo>
                  <a:pt x="1305538" y="499186"/>
                  <a:pt x="1311369" y="505020"/>
                  <a:pt x="1311369" y="513042"/>
                </a:cubicBezTo>
                <a:cubicBezTo>
                  <a:pt x="1311369" y="518876"/>
                  <a:pt x="1305538" y="525440"/>
                  <a:pt x="1297515" y="525440"/>
                </a:cubicBezTo>
                <a:cubicBezTo>
                  <a:pt x="1289492" y="525440"/>
                  <a:pt x="1285118" y="518876"/>
                  <a:pt x="1285118" y="513042"/>
                </a:cubicBezTo>
                <a:cubicBezTo>
                  <a:pt x="1285118" y="505020"/>
                  <a:pt x="1289492" y="499186"/>
                  <a:pt x="1297515" y="499186"/>
                </a:cubicBezTo>
                <a:close/>
                <a:moveTo>
                  <a:pt x="1225700" y="499186"/>
                </a:moveTo>
                <a:cubicBezTo>
                  <a:pt x="1233484" y="499186"/>
                  <a:pt x="1240491" y="505020"/>
                  <a:pt x="1240491" y="513042"/>
                </a:cubicBezTo>
                <a:cubicBezTo>
                  <a:pt x="1240491" y="518876"/>
                  <a:pt x="1233484" y="525440"/>
                  <a:pt x="1225700" y="525440"/>
                </a:cubicBezTo>
                <a:cubicBezTo>
                  <a:pt x="1217156" y="525440"/>
                  <a:pt x="1210925" y="518876"/>
                  <a:pt x="1210925" y="513042"/>
                </a:cubicBezTo>
                <a:cubicBezTo>
                  <a:pt x="1210925" y="505020"/>
                  <a:pt x="1217156" y="499186"/>
                  <a:pt x="1225700" y="499186"/>
                </a:cubicBezTo>
                <a:close/>
                <a:moveTo>
                  <a:pt x="1154881" y="499186"/>
                </a:moveTo>
                <a:cubicBezTo>
                  <a:pt x="1162665" y="499186"/>
                  <a:pt x="1169669" y="505020"/>
                  <a:pt x="1169669" y="513042"/>
                </a:cubicBezTo>
                <a:cubicBezTo>
                  <a:pt x="1169669" y="518876"/>
                  <a:pt x="1162665" y="525440"/>
                  <a:pt x="1154881" y="525440"/>
                </a:cubicBezTo>
                <a:cubicBezTo>
                  <a:pt x="1146323" y="525440"/>
                  <a:pt x="1140095" y="518876"/>
                  <a:pt x="1140095" y="513042"/>
                </a:cubicBezTo>
                <a:cubicBezTo>
                  <a:pt x="1140095" y="505020"/>
                  <a:pt x="1146323" y="499186"/>
                  <a:pt x="1154881" y="499186"/>
                </a:cubicBezTo>
                <a:close/>
                <a:moveTo>
                  <a:pt x="1084053" y="499186"/>
                </a:moveTo>
                <a:cubicBezTo>
                  <a:pt x="1091836" y="499186"/>
                  <a:pt x="1098842" y="505020"/>
                  <a:pt x="1098842" y="513042"/>
                </a:cubicBezTo>
                <a:cubicBezTo>
                  <a:pt x="1098842" y="518876"/>
                  <a:pt x="1091836" y="525440"/>
                  <a:pt x="1084053" y="525440"/>
                </a:cubicBezTo>
                <a:cubicBezTo>
                  <a:pt x="1075492" y="525440"/>
                  <a:pt x="1069267" y="518876"/>
                  <a:pt x="1069267" y="513042"/>
                </a:cubicBezTo>
                <a:cubicBezTo>
                  <a:pt x="1069267" y="505020"/>
                  <a:pt x="1075492" y="499186"/>
                  <a:pt x="1084053" y="499186"/>
                </a:cubicBezTo>
                <a:close/>
                <a:moveTo>
                  <a:pt x="1013012" y="499186"/>
                </a:moveTo>
                <a:cubicBezTo>
                  <a:pt x="1020310" y="499186"/>
                  <a:pt x="1024685" y="505020"/>
                  <a:pt x="1024685" y="513042"/>
                </a:cubicBezTo>
                <a:cubicBezTo>
                  <a:pt x="1024685" y="518876"/>
                  <a:pt x="1020310" y="525440"/>
                  <a:pt x="1013012" y="525440"/>
                </a:cubicBezTo>
                <a:cubicBezTo>
                  <a:pt x="1004998" y="525440"/>
                  <a:pt x="998433" y="518876"/>
                  <a:pt x="998433" y="513042"/>
                </a:cubicBezTo>
                <a:cubicBezTo>
                  <a:pt x="998433" y="505020"/>
                  <a:pt x="1004998" y="499186"/>
                  <a:pt x="1013012" y="499186"/>
                </a:cubicBezTo>
                <a:close/>
                <a:moveTo>
                  <a:pt x="941461" y="499186"/>
                </a:moveTo>
                <a:cubicBezTo>
                  <a:pt x="948026" y="499186"/>
                  <a:pt x="953861" y="505020"/>
                  <a:pt x="953861" y="513042"/>
                </a:cubicBezTo>
                <a:cubicBezTo>
                  <a:pt x="953861" y="518876"/>
                  <a:pt x="948026" y="525440"/>
                  <a:pt x="941461" y="525440"/>
                </a:cubicBezTo>
                <a:cubicBezTo>
                  <a:pt x="934167" y="525440"/>
                  <a:pt x="927607" y="518876"/>
                  <a:pt x="927607" y="513042"/>
                </a:cubicBezTo>
                <a:cubicBezTo>
                  <a:pt x="927607" y="505020"/>
                  <a:pt x="934167" y="499186"/>
                  <a:pt x="941461" y="499186"/>
                </a:cubicBezTo>
                <a:close/>
                <a:moveTo>
                  <a:pt x="870626" y="499186"/>
                </a:moveTo>
                <a:cubicBezTo>
                  <a:pt x="877192" y="499186"/>
                  <a:pt x="883027" y="505020"/>
                  <a:pt x="883027" y="513042"/>
                </a:cubicBezTo>
                <a:cubicBezTo>
                  <a:pt x="883027" y="518876"/>
                  <a:pt x="877192" y="525440"/>
                  <a:pt x="870626" y="525440"/>
                </a:cubicBezTo>
                <a:cubicBezTo>
                  <a:pt x="863340" y="525440"/>
                  <a:pt x="856774" y="518876"/>
                  <a:pt x="856774" y="513042"/>
                </a:cubicBezTo>
                <a:cubicBezTo>
                  <a:pt x="856774" y="505020"/>
                  <a:pt x="863340" y="499186"/>
                  <a:pt x="870626" y="499186"/>
                </a:cubicBezTo>
                <a:close/>
                <a:moveTo>
                  <a:pt x="798340" y="499186"/>
                </a:moveTo>
                <a:cubicBezTo>
                  <a:pt x="806362" y="499186"/>
                  <a:pt x="812196" y="505020"/>
                  <a:pt x="812196" y="513042"/>
                </a:cubicBezTo>
                <a:cubicBezTo>
                  <a:pt x="812196" y="518876"/>
                  <a:pt x="806362" y="525440"/>
                  <a:pt x="798340" y="525440"/>
                </a:cubicBezTo>
                <a:cubicBezTo>
                  <a:pt x="792508" y="525440"/>
                  <a:pt x="785941" y="518876"/>
                  <a:pt x="785941" y="513042"/>
                </a:cubicBezTo>
                <a:cubicBezTo>
                  <a:pt x="785941" y="505020"/>
                  <a:pt x="792508" y="499186"/>
                  <a:pt x="798340" y="499186"/>
                </a:cubicBezTo>
                <a:close/>
                <a:moveTo>
                  <a:pt x="724135" y="499186"/>
                </a:moveTo>
                <a:cubicBezTo>
                  <a:pt x="731429" y="499186"/>
                  <a:pt x="737991" y="505020"/>
                  <a:pt x="737991" y="513042"/>
                </a:cubicBezTo>
                <a:cubicBezTo>
                  <a:pt x="737991" y="518876"/>
                  <a:pt x="731429" y="525440"/>
                  <a:pt x="724135" y="525440"/>
                </a:cubicBezTo>
                <a:cubicBezTo>
                  <a:pt x="717574" y="525440"/>
                  <a:pt x="711744" y="518876"/>
                  <a:pt x="711744" y="513042"/>
                </a:cubicBezTo>
                <a:cubicBezTo>
                  <a:pt x="711744" y="505020"/>
                  <a:pt x="717574" y="499186"/>
                  <a:pt x="724135" y="499186"/>
                </a:cubicBezTo>
                <a:close/>
                <a:moveTo>
                  <a:pt x="653306" y="499186"/>
                </a:moveTo>
                <a:cubicBezTo>
                  <a:pt x="660598" y="499186"/>
                  <a:pt x="667164" y="505020"/>
                  <a:pt x="667164" y="513042"/>
                </a:cubicBezTo>
                <a:cubicBezTo>
                  <a:pt x="667164" y="518876"/>
                  <a:pt x="660598" y="525440"/>
                  <a:pt x="653306" y="525440"/>
                </a:cubicBezTo>
                <a:cubicBezTo>
                  <a:pt x="645287" y="525440"/>
                  <a:pt x="640910" y="518876"/>
                  <a:pt x="640910" y="513042"/>
                </a:cubicBezTo>
                <a:cubicBezTo>
                  <a:pt x="640910" y="505020"/>
                  <a:pt x="645287" y="499186"/>
                  <a:pt x="653306" y="499186"/>
                </a:cubicBezTo>
                <a:close/>
                <a:moveTo>
                  <a:pt x="584869" y="499186"/>
                </a:moveTo>
                <a:cubicBezTo>
                  <a:pt x="592652" y="499186"/>
                  <a:pt x="599654" y="505020"/>
                  <a:pt x="599654" y="513042"/>
                </a:cubicBezTo>
                <a:cubicBezTo>
                  <a:pt x="599654" y="518876"/>
                  <a:pt x="592652" y="525440"/>
                  <a:pt x="584869" y="525440"/>
                </a:cubicBezTo>
                <a:cubicBezTo>
                  <a:pt x="576309" y="525440"/>
                  <a:pt x="570076" y="518876"/>
                  <a:pt x="570076" y="513042"/>
                </a:cubicBezTo>
                <a:cubicBezTo>
                  <a:pt x="570076" y="505020"/>
                  <a:pt x="576309" y="499186"/>
                  <a:pt x="584869" y="499186"/>
                </a:cubicBezTo>
                <a:close/>
                <a:moveTo>
                  <a:pt x="513670" y="499186"/>
                </a:moveTo>
                <a:cubicBezTo>
                  <a:pt x="522020" y="499186"/>
                  <a:pt x="528846" y="505020"/>
                  <a:pt x="528846" y="513042"/>
                </a:cubicBezTo>
                <a:cubicBezTo>
                  <a:pt x="528846" y="518876"/>
                  <a:pt x="522020" y="525440"/>
                  <a:pt x="513670" y="525440"/>
                </a:cubicBezTo>
                <a:cubicBezTo>
                  <a:pt x="506076" y="525440"/>
                  <a:pt x="499248" y="518876"/>
                  <a:pt x="499248" y="513042"/>
                </a:cubicBezTo>
                <a:cubicBezTo>
                  <a:pt x="499248" y="505020"/>
                  <a:pt x="506076" y="499186"/>
                  <a:pt x="513670" y="499186"/>
                </a:cubicBezTo>
                <a:close/>
                <a:moveTo>
                  <a:pt x="3939871" y="495814"/>
                </a:moveTo>
                <a:cubicBezTo>
                  <a:pt x="3946434" y="495814"/>
                  <a:pt x="3952268" y="502041"/>
                  <a:pt x="3952268" y="510602"/>
                </a:cubicBezTo>
                <a:cubicBezTo>
                  <a:pt x="3952268" y="518386"/>
                  <a:pt x="3946434" y="525391"/>
                  <a:pt x="3939871" y="525391"/>
                </a:cubicBezTo>
                <a:cubicBezTo>
                  <a:pt x="3932578" y="525391"/>
                  <a:pt x="3926015" y="518386"/>
                  <a:pt x="3926015" y="510602"/>
                </a:cubicBezTo>
                <a:cubicBezTo>
                  <a:pt x="3926015" y="502041"/>
                  <a:pt x="3932578" y="495814"/>
                  <a:pt x="3939871" y="495814"/>
                </a:cubicBezTo>
                <a:close/>
                <a:moveTo>
                  <a:pt x="3869042" y="495814"/>
                </a:moveTo>
                <a:cubicBezTo>
                  <a:pt x="3875605" y="495814"/>
                  <a:pt x="3881439" y="502041"/>
                  <a:pt x="3881439" y="510602"/>
                </a:cubicBezTo>
                <a:cubicBezTo>
                  <a:pt x="3881439" y="518386"/>
                  <a:pt x="3875605" y="525391"/>
                  <a:pt x="3869042" y="525391"/>
                </a:cubicBezTo>
                <a:cubicBezTo>
                  <a:pt x="3861749" y="525391"/>
                  <a:pt x="3855186" y="518386"/>
                  <a:pt x="3855186" y="510602"/>
                </a:cubicBezTo>
                <a:cubicBezTo>
                  <a:pt x="3855186" y="502041"/>
                  <a:pt x="3861749" y="495814"/>
                  <a:pt x="3869042" y="495814"/>
                </a:cubicBezTo>
                <a:close/>
                <a:moveTo>
                  <a:pt x="3796752" y="495814"/>
                </a:moveTo>
                <a:cubicBezTo>
                  <a:pt x="3804774" y="495814"/>
                  <a:pt x="3810608" y="502041"/>
                  <a:pt x="3810608" y="510602"/>
                </a:cubicBezTo>
                <a:cubicBezTo>
                  <a:pt x="3810608" y="518386"/>
                  <a:pt x="3804774" y="525391"/>
                  <a:pt x="3796752" y="525391"/>
                </a:cubicBezTo>
                <a:cubicBezTo>
                  <a:pt x="3790918" y="525391"/>
                  <a:pt x="3784355" y="518386"/>
                  <a:pt x="3784355" y="510602"/>
                </a:cubicBezTo>
                <a:cubicBezTo>
                  <a:pt x="3784355" y="502041"/>
                  <a:pt x="3790918" y="495814"/>
                  <a:pt x="3796752" y="495814"/>
                </a:cubicBezTo>
                <a:close/>
                <a:moveTo>
                  <a:pt x="3725922" y="495814"/>
                </a:moveTo>
                <a:cubicBezTo>
                  <a:pt x="3733944" y="495814"/>
                  <a:pt x="3739778" y="502041"/>
                  <a:pt x="3739778" y="510602"/>
                </a:cubicBezTo>
                <a:cubicBezTo>
                  <a:pt x="3739778" y="518386"/>
                  <a:pt x="3733944" y="525391"/>
                  <a:pt x="3725922" y="525391"/>
                </a:cubicBezTo>
                <a:cubicBezTo>
                  <a:pt x="3719359" y="525391"/>
                  <a:pt x="3713525" y="518386"/>
                  <a:pt x="3713525" y="510602"/>
                </a:cubicBezTo>
                <a:cubicBezTo>
                  <a:pt x="3713525" y="502041"/>
                  <a:pt x="3719359" y="495814"/>
                  <a:pt x="3725922" y="495814"/>
                </a:cubicBezTo>
                <a:close/>
                <a:moveTo>
                  <a:pt x="3655091" y="495814"/>
                </a:moveTo>
                <a:cubicBezTo>
                  <a:pt x="3662384" y="495814"/>
                  <a:pt x="3668947" y="502041"/>
                  <a:pt x="3668947" y="510602"/>
                </a:cubicBezTo>
                <a:cubicBezTo>
                  <a:pt x="3668947" y="518386"/>
                  <a:pt x="3662384" y="525391"/>
                  <a:pt x="3655091" y="525391"/>
                </a:cubicBezTo>
                <a:cubicBezTo>
                  <a:pt x="3647069" y="525391"/>
                  <a:pt x="3642694" y="518386"/>
                  <a:pt x="3642694" y="510602"/>
                </a:cubicBezTo>
                <a:cubicBezTo>
                  <a:pt x="3642694" y="502041"/>
                  <a:pt x="3647069" y="495814"/>
                  <a:pt x="3655091" y="495814"/>
                </a:cubicBezTo>
                <a:close/>
                <a:moveTo>
                  <a:pt x="3583280" y="495814"/>
                </a:moveTo>
                <a:cubicBezTo>
                  <a:pt x="3591064" y="495814"/>
                  <a:pt x="3598069" y="502041"/>
                  <a:pt x="3598069" y="510602"/>
                </a:cubicBezTo>
                <a:cubicBezTo>
                  <a:pt x="3598069" y="518386"/>
                  <a:pt x="3591064" y="525391"/>
                  <a:pt x="3583280" y="525391"/>
                </a:cubicBezTo>
                <a:cubicBezTo>
                  <a:pt x="3574718" y="525391"/>
                  <a:pt x="3568491" y="518386"/>
                  <a:pt x="3568491" y="510602"/>
                </a:cubicBezTo>
                <a:cubicBezTo>
                  <a:pt x="3568491" y="502041"/>
                  <a:pt x="3574718" y="495814"/>
                  <a:pt x="3583280" y="495814"/>
                </a:cubicBezTo>
                <a:close/>
                <a:moveTo>
                  <a:pt x="3512449" y="495814"/>
                </a:moveTo>
                <a:cubicBezTo>
                  <a:pt x="3520232" y="495814"/>
                  <a:pt x="3527237" y="502041"/>
                  <a:pt x="3527237" y="510602"/>
                </a:cubicBezTo>
                <a:cubicBezTo>
                  <a:pt x="3527237" y="518386"/>
                  <a:pt x="3520232" y="525391"/>
                  <a:pt x="3512449" y="525391"/>
                </a:cubicBezTo>
                <a:cubicBezTo>
                  <a:pt x="3503887" y="525391"/>
                  <a:pt x="3497661" y="518386"/>
                  <a:pt x="3497661" y="510602"/>
                </a:cubicBezTo>
                <a:cubicBezTo>
                  <a:pt x="3497661" y="502041"/>
                  <a:pt x="3503887" y="495814"/>
                  <a:pt x="3512449" y="495814"/>
                </a:cubicBezTo>
                <a:close/>
                <a:moveTo>
                  <a:pt x="3440686" y="495814"/>
                </a:moveTo>
                <a:cubicBezTo>
                  <a:pt x="3448708" y="495814"/>
                  <a:pt x="3453083" y="502041"/>
                  <a:pt x="3453083" y="510602"/>
                </a:cubicBezTo>
                <a:cubicBezTo>
                  <a:pt x="3453083" y="518386"/>
                  <a:pt x="3448708" y="525391"/>
                  <a:pt x="3440686" y="525391"/>
                </a:cubicBezTo>
                <a:cubicBezTo>
                  <a:pt x="3433393" y="525391"/>
                  <a:pt x="3426830" y="518386"/>
                  <a:pt x="3426830" y="510602"/>
                </a:cubicBezTo>
                <a:cubicBezTo>
                  <a:pt x="3426830" y="502041"/>
                  <a:pt x="3433393" y="495814"/>
                  <a:pt x="3440686" y="495814"/>
                </a:cubicBezTo>
                <a:close/>
                <a:moveTo>
                  <a:pt x="3369857" y="495814"/>
                </a:moveTo>
                <a:cubicBezTo>
                  <a:pt x="3376420" y="495814"/>
                  <a:pt x="3382254" y="502041"/>
                  <a:pt x="3382254" y="510602"/>
                </a:cubicBezTo>
                <a:cubicBezTo>
                  <a:pt x="3382254" y="518386"/>
                  <a:pt x="3376420" y="525391"/>
                  <a:pt x="3369857" y="525391"/>
                </a:cubicBezTo>
                <a:cubicBezTo>
                  <a:pt x="3362564" y="525391"/>
                  <a:pt x="3356001" y="518386"/>
                  <a:pt x="3356001" y="510602"/>
                </a:cubicBezTo>
                <a:cubicBezTo>
                  <a:pt x="3356001" y="502041"/>
                  <a:pt x="3362564" y="495814"/>
                  <a:pt x="3369857" y="495814"/>
                </a:cubicBezTo>
                <a:close/>
                <a:moveTo>
                  <a:pt x="3299094" y="495814"/>
                </a:moveTo>
                <a:cubicBezTo>
                  <a:pt x="3305656" y="495814"/>
                  <a:pt x="3311491" y="502041"/>
                  <a:pt x="3311491" y="510602"/>
                </a:cubicBezTo>
                <a:cubicBezTo>
                  <a:pt x="3311491" y="518386"/>
                  <a:pt x="3305656" y="525391"/>
                  <a:pt x="3299094" y="525391"/>
                </a:cubicBezTo>
                <a:cubicBezTo>
                  <a:pt x="3291802" y="525391"/>
                  <a:pt x="3285240" y="518386"/>
                  <a:pt x="3285240" y="510602"/>
                </a:cubicBezTo>
                <a:cubicBezTo>
                  <a:pt x="3285240" y="502041"/>
                  <a:pt x="3291802" y="495814"/>
                  <a:pt x="3299094" y="495814"/>
                </a:cubicBezTo>
                <a:close/>
                <a:moveTo>
                  <a:pt x="3226805" y="495814"/>
                </a:moveTo>
                <a:cubicBezTo>
                  <a:pt x="3234825" y="495814"/>
                  <a:pt x="3240660" y="502041"/>
                  <a:pt x="3240660" y="510602"/>
                </a:cubicBezTo>
                <a:cubicBezTo>
                  <a:pt x="3240660" y="518386"/>
                  <a:pt x="3234825" y="525391"/>
                  <a:pt x="3226805" y="525391"/>
                </a:cubicBezTo>
                <a:cubicBezTo>
                  <a:pt x="3220242" y="525391"/>
                  <a:pt x="3214406" y="518386"/>
                  <a:pt x="3214406" y="510602"/>
                </a:cubicBezTo>
                <a:cubicBezTo>
                  <a:pt x="3214406" y="502041"/>
                  <a:pt x="3220242" y="495814"/>
                  <a:pt x="3226805" y="495814"/>
                </a:cubicBezTo>
                <a:close/>
                <a:moveTo>
                  <a:pt x="3152602" y="495814"/>
                </a:moveTo>
                <a:cubicBezTo>
                  <a:pt x="3159895" y="495814"/>
                  <a:pt x="3166454" y="502041"/>
                  <a:pt x="3166454" y="510602"/>
                </a:cubicBezTo>
                <a:cubicBezTo>
                  <a:pt x="3166454" y="518386"/>
                  <a:pt x="3159895" y="525391"/>
                  <a:pt x="3152602" y="525391"/>
                </a:cubicBezTo>
                <a:cubicBezTo>
                  <a:pt x="3146038" y="525391"/>
                  <a:pt x="3140203" y="518386"/>
                  <a:pt x="3140203" y="510602"/>
                </a:cubicBezTo>
                <a:cubicBezTo>
                  <a:pt x="3140203" y="502041"/>
                  <a:pt x="3146038" y="495814"/>
                  <a:pt x="3152602" y="495814"/>
                </a:cubicBezTo>
                <a:close/>
                <a:moveTo>
                  <a:pt x="2439944" y="428356"/>
                </a:moveTo>
                <a:cubicBezTo>
                  <a:pt x="2448502" y="428356"/>
                  <a:pt x="2454729" y="432731"/>
                  <a:pt x="2454729" y="440753"/>
                </a:cubicBezTo>
                <a:cubicBezTo>
                  <a:pt x="2454729" y="448046"/>
                  <a:pt x="2448502" y="454610"/>
                  <a:pt x="2439944" y="454610"/>
                </a:cubicBezTo>
                <a:cubicBezTo>
                  <a:pt x="2432159" y="454610"/>
                  <a:pt x="2425156" y="448046"/>
                  <a:pt x="2425156" y="440753"/>
                </a:cubicBezTo>
                <a:cubicBezTo>
                  <a:pt x="2425156" y="432731"/>
                  <a:pt x="2432159" y="428356"/>
                  <a:pt x="2439944" y="428356"/>
                </a:cubicBezTo>
                <a:close/>
                <a:moveTo>
                  <a:pt x="2369110" y="428356"/>
                </a:moveTo>
                <a:cubicBezTo>
                  <a:pt x="2377672" y="428356"/>
                  <a:pt x="2383898" y="432731"/>
                  <a:pt x="2383898" y="440753"/>
                </a:cubicBezTo>
                <a:cubicBezTo>
                  <a:pt x="2383898" y="448046"/>
                  <a:pt x="2377672" y="454610"/>
                  <a:pt x="2369110" y="454610"/>
                </a:cubicBezTo>
                <a:cubicBezTo>
                  <a:pt x="2361327" y="454610"/>
                  <a:pt x="2354319" y="448046"/>
                  <a:pt x="2354319" y="440753"/>
                </a:cubicBezTo>
                <a:cubicBezTo>
                  <a:pt x="2354319" y="432731"/>
                  <a:pt x="2361327" y="428356"/>
                  <a:pt x="2369110" y="428356"/>
                </a:cubicBezTo>
                <a:close/>
                <a:moveTo>
                  <a:pt x="2298278" y="428356"/>
                </a:moveTo>
                <a:cubicBezTo>
                  <a:pt x="2306842" y="428356"/>
                  <a:pt x="2313066" y="432731"/>
                  <a:pt x="2313066" y="440753"/>
                </a:cubicBezTo>
                <a:cubicBezTo>
                  <a:pt x="2313066" y="448046"/>
                  <a:pt x="2306842" y="454610"/>
                  <a:pt x="2298278" y="454610"/>
                </a:cubicBezTo>
                <a:cubicBezTo>
                  <a:pt x="2290494" y="454610"/>
                  <a:pt x="2283490" y="448046"/>
                  <a:pt x="2283490" y="440753"/>
                </a:cubicBezTo>
                <a:cubicBezTo>
                  <a:pt x="2283490" y="432731"/>
                  <a:pt x="2290494" y="428356"/>
                  <a:pt x="2298278" y="428356"/>
                </a:cubicBezTo>
                <a:close/>
                <a:moveTo>
                  <a:pt x="2226514" y="428356"/>
                </a:moveTo>
                <a:cubicBezTo>
                  <a:pt x="2234537" y="428356"/>
                  <a:pt x="2238914" y="432731"/>
                  <a:pt x="2238914" y="440753"/>
                </a:cubicBezTo>
                <a:cubicBezTo>
                  <a:pt x="2238914" y="448046"/>
                  <a:pt x="2234537" y="454610"/>
                  <a:pt x="2226514" y="454610"/>
                </a:cubicBezTo>
                <a:cubicBezTo>
                  <a:pt x="2218492" y="454610"/>
                  <a:pt x="2212656" y="448046"/>
                  <a:pt x="2212656" y="440753"/>
                </a:cubicBezTo>
                <a:cubicBezTo>
                  <a:pt x="2212656" y="432731"/>
                  <a:pt x="2218492" y="428356"/>
                  <a:pt x="2226514" y="428356"/>
                </a:cubicBezTo>
                <a:close/>
                <a:moveTo>
                  <a:pt x="2155682" y="428356"/>
                </a:moveTo>
                <a:cubicBezTo>
                  <a:pt x="2161517" y="428356"/>
                  <a:pt x="2168079" y="432731"/>
                  <a:pt x="2168079" y="440753"/>
                </a:cubicBezTo>
                <a:cubicBezTo>
                  <a:pt x="2168079" y="448046"/>
                  <a:pt x="2161517" y="454610"/>
                  <a:pt x="2155682" y="454610"/>
                </a:cubicBezTo>
                <a:cubicBezTo>
                  <a:pt x="2147658" y="454610"/>
                  <a:pt x="2141825" y="448046"/>
                  <a:pt x="2141825" y="440753"/>
                </a:cubicBezTo>
                <a:cubicBezTo>
                  <a:pt x="2141825" y="432731"/>
                  <a:pt x="2147658" y="428356"/>
                  <a:pt x="2155682" y="428356"/>
                </a:cubicBezTo>
                <a:close/>
                <a:moveTo>
                  <a:pt x="2084846" y="428356"/>
                </a:moveTo>
                <a:cubicBezTo>
                  <a:pt x="2090682" y="428356"/>
                  <a:pt x="2097246" y="432731"/>
                  <a:pt x="2097246" y="440753"/>
                </a:cubicBezTo>
                <a:cubicBezTo>
                  <a:pt x="2097246" y="448046"/>
                  <a:pt x="2090682" y="454610"/>
                  <a:pt x="2084846" y="454610"/>
                </a:cubicBezTo>
                <a:cubicBezTo>
                  <a:pt x="2076827" y="454610"/>
                  <a:pt x="2070991" y="448046"/>
                  <a:pt x="2070991" y="440753"/>
                </a:cubicBezTo>
                <a:cubicBezTo>
                  <a:pt x="2070991" y="432731"/>
                  <a:pt x="2076827" y="428356"/>
                  <a:pt x="2084846" y="428356"/>
                </a:cubicBezTo>
                <a:close/>
                <a:moveTo>
                  <a:pt x="2011832" y="428356"/>
                </a:moveTo>
                <a:cubicBezTo>
                  <a:pt x="2019855" y="428356"/>
                  <a:pt x="2026418" y="432731"/>
                  <a:pt x="2026418" y="440753"/>
                </a:cubicBezTo>
                <a:cubicBezTo>
                  <a:pt x="2026418" y="448046"/>
                  <a:pt x="2019855" y="454610"/>
                  <a:pt x="2011832" y="454610"/>
                </a:cubicBezTo>
                <a:cubicBezTo>
                  <a:pt x="2005999" y="454610"/>
                  <a:pt x="2000165" y="448046"/>
                  <a:pt x="2000165" y="440753"/>
                </a:cubicBezTo>
                <a:cubicBezTo>
                  <a:pt x="2000165" y="432731"/>
                  <a:pt x="2005999" y="428356"/>
                  <a:pt x="2011832" y="428356"/>
                </a:cubicBezTo>
                <a:close/>
                <a:moveTo>
                  <a:pt x="1938362" y="428356"/>
                </a:moveTo>
                <a:cubicBezTo>
                  <a:pt x="1946382" y="428356"/>
                  <a:pt x="1952216" y="432731"/>
                  <a:pt x="1952216" y="440753"/>
                </a:cubicBezTo>
                <a:cubicBezTo>
                  <a:pt x="1952216" y="448046"/>
                  <a:pt x="1946382" y="454610"/>
                  <a:pt x="1938362" y="454610"/>
                </a:cubicBezTo>
                <a:cubicBezTo>
                  <a:pt x="1932525" y="454610"/>
                  <a:pt x="1925965" y="448046"/>
                  <a:pt x="1925965" y="440753"/>
                </a:cubicBezTo>
                <a:cubicBezTo>
                  <a:pt x="1925965" y="432731"/>
                  <a:pt x="1932525" y="428356"/>
                  <a:pt x="1938362" y="428356"/>
                </a:cubicBezTo>
                <a:close/>
                <a:moveTo>
                  <a:pt x="1867525" y="428356"/>
                </a:moveTo>
                <a:cubicBezTo>
                  <a:pt x="1875547" y="428356"/>
                  <a:pt x="1881384" y="432731"/>
                  <a:pt x="1881384" y="440753"/>
                </a:cubicBezTo>
                <a:cubicBezTo>
                  <a:pt x="1881384" y="448046"/>
                  <a:pt x="1875547" y="454610"/>
                  <a:pt x="1867525" y="454610"/>
                </a:cubicBezTo>
                <a:cubicBezTo>
                  <a:pt x="1860232" y="454610"/>
                  <a:pt x="1855126" y="448046"/>
                  <a:pt x="1855126" y="440753"/>
                </a:cubicBezTo>
                <a:cubicBezTo>
                  <a:pt x="1855126" y="432731"/>
                  <a:pt x="1860232" y="428356"/>
                  <a:pt x="1867525" y="428356"/>
                </a:cubicBezTo>
                <a:close/>
                <a:moveTo>
                  <a:pt x="1799085" y="428356"/>
                </a:moveTo>
                <a:cubicBezTo>
                  <a:pt x="1807644" y="428356"/>
                  <a:pt x="1813873" y="434190"/>
                  <a:pt x="1813873" y="440753"/>
                </a:cubicBezTo>
                <a:cubicBezTo>
                  <a:pt x="1813873" y="448046"/>
                  <a:pt x="1807644" y="454610"/>
                  <a:pt x="1799085" y="454610"/>
                </a:cubicBezTo>
                <a:cubicBezTo>
                  <a:pt x="1790521" y="454610"/>
                  <a:pt x="1784298" y="448046"/>
                  <a:pt x="1784298" y="440753"/>
                </a:cubicBezTo>
                <a:cubicBezTo>
                  <a:pt x="1784298" y="434190"/>
                  <a:pt x="1790521" y="428356"/>
                  <a:pt x="1799085" y="428356"/>
                </a:cubicBezTo>
                <a:close/>
                <a:moveTo>
                  <a:pt x="1728260" y="428356"/>
                </a:moveTo>
                <a:cubicBezTo>
                  <a:pt x="1736822" y="428356"/>
                  <a:pt x="1743046" y="434190"/>
                  <a:pt x="1743046" y="440753"/>
                </a:cubicBezTo>
                <a:cubicBezTo>
                  <a:pt x="1743046" y="448046"/>
                  <a:pt x="1736822" y="454610"/>
                  <a:pt x="1728260" y="454610"/>
                </a:cubicBezTo>
                <a:cubicBezTo>
                  <a:pt x="1719694" y="454610"/>
                  <a:pt x="1713469" y="448046"/>
                  <a:pt x="1713469" y="440753"/>
                </a:cubicBezTo>
                <a:cubicBezTo>
                  <a:pt x="1713469" y="434190"/>
                  <a:pt x="1719694" y="428356"/>
                  <a:pt x="1728260" y="428356"/>
                </a:cubicBezTo>
                <a:close/>
                <a:moveTo>
                  <a:pt x="1657426" y="428356"/>
                </a:moveTo>
                <a:cubicBezTo>
                  <a:pt x="1665212" y="428356"/>
                  <a:pt x="1672218" y="434190"/>
                  <a:pt x="1672218" y="440753"/>
                </a:cubicBezTo>
                <a:cubicBezTo>
                  <a:pt x="1672218" y="448046"/>
                  <a:pt x="1665212" y="454610"/>
                  <a:pt x="1657426" y="454610"/>
                </a:cubicBezTo>
                <a:cubicBezTo>
                  <a:pt x="1648870" y="454610"/>
                  <a:pt x="1642647" y="448046"/>
                  <a:pt x="1642647" y="440753"/>
                </a:cubicBezTo>
                <a:cubicBezTo>
                  <a:pt x="1642647" y="434190"/>
                  <a:pt x="1648870" y="428356"/>
                  <a:pt x="1657426" y="428356"/>
                </a:cubicBezTo>
                <a:close/>
                <a:moveTo>
                  <a:pt x="1582294" y="428356"/>
                </a:moveTo>
                <a:cubicBezTo>
                  <a:pt x="1589590" y="428356"/>
                  <a:pt x="1594697" y="434190"/>
                  <a:pt x="1594697" y="440753"/>
                </a:cubicBezTo>
                <a:cubicBezTo>
                  <a:pt x="1594697" y="448046"/>
                  <a:pt x="1589590" y="454610"/>
                  <a:pt x="1582294" y="454610"/>
                </a:cubicBezTo>
                <a:cubicBezTo>
                  <a:pt x="1574274" y="454610"/>
                  <a:pt x="1568438" y="448046"/>
                  <a:pt x="1568438" y="440753"/>
                </a:cubicBezTo>
                <a:cubicBezTo>
                  <a:pt x="1568438" y="434190"/>
                  <a:pt x="1574274" y="428356"/>
                  <a:pt x="1582294" y="428356"/>
                </a:cubicBezTo>
                <a:close/>
                <a:moveTo>
                  <a:pt x="1512195" y="428356"/>
                </a:moveTo>
                <a:cubicBezTo>
                  <a:pt x="1518027" y="428356"/>
                  <a:pt x="1523862" y="434190"/>
                  <a:pt x="1523862" y="440753"/>
                </a:cubicBezTo>
                <a:cubicBezTo>
                  <a:pt x="1523862" y="448046"/>
                  <a:pt x="1518027" y="454610"/>
                  <a:pt x="1512195" y="454610"/>
                </a:cubicBezTo>
                <a:cubicBezTo>
                  <a:pt x="1504171" y="454610"/>
                  <a:pt x="1497610" y="448046"/>
                  <a:pt x="1497610" y="440753"/>
                </a:cubicBezTo>
                <a:cubicBezTo>
                  <a:pt x="1497610" y="434190"/>
                  <a:pt x="1504171" y="428356"/>
                  <a:pt x="1512195" y="428356"/>
                </a:cubicBezTo>
                <a:close/>
                <a:moveTo>
                  <a:pt x="1439171" y="428356"/>
                </a:moveTo>
                <a:cubicBezTo>
                  <a:pt x="1447188" y="428356"/>
                  <a:pt x="1453023" y="434190"/>
                  <a:pt x="1453023" y="440753"/>
                </a:cubicBezTo>
                <a:cubicBezTo>
                  <a:pt x="1453023" y="448046"/>
                  <a:pt x="1447188" y="454610"/>
                  <a:pt x="1439171" y="454610"/>
                </a:cubicBezTo>
                <a:cubicBezTo>
                  <a:pt x="1433336" y="454610"/>
                  <a:pt x="1426771" y="448046"/>
                  <a:pt x="1426771" y="440753"/>
                </a:cubicBezTo>
                <a:cubicBezTo>
                  <a:pt x="1426771" y="434190"/>
                  <a:pt x="1433336" y="428356"/>
                  <a:pt x="1439171" y="428356"/>
                </a:cubicBezTo>
                <a:close/>
                <a:moveTo>
                  <a:pt x="1368344" y="428356"/>
                </a:moveTo>
                <a:cubicBezTo>
                  <a:pt x="1376365" y="428356"/>
                  <a:pt x="1382196" y="434190"/>
                  <a:pt x="1382196" y="440753"/>
                </a:cubicBezTo>
                <a:cubicBezTo>
                  <a:pt x="1382196" y="448046"/>
                  <a:pt x="1376365" y="454610"/>
                  <a:pt x="1368344" y="454610"/>
                </a:cubicBezTo>
                <a:cubicBezTo>
                  <a:pt x="1362508" y="454610"/>
                  <a:pt x="1355948" y="448046"/>
                  <a:pt x="1355948" y="440753"/>
                </a:cubicBezTo>
                <a:cubicBezTo>
                  <a:pt x="1355948" y="434190"/>
                  <a:pt x="1362508" y="428356"/>
                  <a:pt x="1368344" y="428356"/>
                </a:cubicBezTo>
                <a:close/>
                <a:moveTo>
                  <a:pt x="1297515" y="428356"/>
                </a:moveTo>
                <a:cubicBezTo>
                  <a:pt x="1305538" y="428356"/>
                  <a:pt x="1311372" y="434190"/>
                  <a:pt x="1311372" y="440753"/>
                </a:cubicBezTo>
                <a:cubicBezTo>
                  <a:pt x="1311372" y="448046"/>
                  <a:pt x="1305538" y="454610"/>
                  <a:pt x="1297515" y="454610"/>
                </a:cubicBezTo>
                <a:cubicBezTo>
                  <a:pt x="1289495" y="454610"/>
                  <a:pt x="1285118" y="448046"/>
                  <a:pt x="1285118" y="440753"/>
                </a:cubicBezTo>
                <a:cubicBezTo>
                  <a:pt x="1285118" y="434190"/>
                  <a:pt x="1289495" y="428356"/>
                  <a:pt x="1297515" y="428356"/>
                </a:cubicBezTo>
                <a:close/>
                <a:moveTo>
                  <a:pt x="1225703" y="428356"/>
                </a:moveTo>
                <a:cubicBezTo>
                  <a:pt x="1233487" y="428356"/>
                  <a:pt x="1240491" y="434190"/>
                  <a:pt x="1240491" y="440753"/>
                </a:cubicBezTo>
                <a:cubicBezTo>
                  <a:pt x="1240491" y="448046"/>
                  <a:pt x="1233487" y="454610"/>
                  <a:pt x="1225703" y="454610"/>
                </a:cubicBezTo>
                <a:cubicBezTo>
                  <a:pt x="1217156" y="454610"/>
                  <a:pt x="1210925" y="448046"/>
                  <a:pt x="1210925" y="440753"/>
                </a:cubicBezTo>
                <a:cubicBezTo>
                  <a:pt x="1210925" y="434190"/>
                  <a:pt x="1217156" y="428356"/>
                  <a:pt x="1225703" y="428356"/>
                </a:cubicBezTo>
                <a:close/>
                <a:moveTo>
                  <a:pt x="1154886" y="428356"/>
                </a:moveTo>
                <a:cubicBezTo>
                  <a:pt x="1162673" y="428356"/>
                  <a:pt x="1169676" y="434190"/>
                  <a:pt x="1169676" y="440753"/>
                </a:cubicBezTo>
                <a:cubicBezTo>
                  <a:pt x="1169676" y="448046"/>
                  <a:pt x="1162673" y="454610"/>
                  <a:pt x="1154886" y="454610"/>
                </a:cubicBezTo>
                <a:cubicBezTo>
                  <a:pt x="1146323" y="454610"/>
                  <a:pt x="1140096" y="448046"/>
                  <a:pt x="1140096" y="440753"/>
                </a:cubicBezTo>
                <a:cubicBezTo>
                  <a:pt x="1140096" y="434190"/>
                  <a:pt x="1146323" y="428356"/>
                  <a:pt x="1154886" y="428356"/>
                </a:cubicBezTo>
                <a:close/>
                <a:moveTo>
                  <a:pt x="1084056" y="428356"/>
                </a:moveTo>
                <a:cubicBezTo>
                  <a:pt x="1091840" y="428356"/>
                  <a:pt x="1098844" y="434190"/>
                  <a:pt x="1098844" y="440753"/>
                </a:cubicBezTo>
                <a:cubicBezTo>
                  <a:pt x="1098844" y="448046"/>
                  <a:pt x="1091840" y="454610"/>
                  <a:pt x="1084056" y="454610"/>
                </a:cubicBezTo>
                <a:cubicBezTo>
                  <a:pt x="1075492" y="454610"/>
                  <a:pt x="1069267" y="448046"/>
                  <a:pt x="1069267" y="440753"/>
                </a:cubicBezTo>
                <a:cubicBezTo>
                  <a:pt x="1069267" y="434190"/>
                  <a:pt x="1075492" y="428356"/>
                  <a:pt x="1084056" y="428356"/>
                </a:cubicBezTo>
                <a:close/>
                <a:moveTo>
                  <a:pt x="1013015" y="428356"/>
                </a:moveTo>
                <a:cubicBezTo>
                  <a:pt x="1020312" y="428356"/>
                  <a:pt x="1024685" y="434190"/>
                  <a:pt x="1024685" y="440753"/>
                </a:cubicBezTo>
                <a:cubicBezTo>
                  <a:pt x="1024685" y="448046"/>
                  <a:pt x="1020312" y="454610"/>
                  <a:pt x="1013015" y="454610"/>
                </a:cubicBezTo>
                <a:cubicBezTo>
                  <a:pt x="1004998" y="454610"/>
                  <a:pt x="998434" y="448046"/>
                  <a:pt x="998434" y="440753"/>
                </a:cubicBezTo>
                <a:cubicBezTo>
                  <a:pt x="998434" y="434190"/>
                  <a:pt x="1004998" y="428356"/>
                  <a:pt x="1013015" y="428356"/>
                </a:cubicBezTo>
                <a:close/>
                <a:moveTo>
                  <a:pt x="941465" y="428356"/>
                </a:moveTo>
                <a:cubicBezTo>
                  <a:pt x="948030" y="428356"/>
                  <a:pt x="953864" y="434190"/>
                  <a:pt x="953864" y="440753"/>
                </a:cubicBezTo>
                <a:cubicBezTo>
                  <a:pt x="953864" y="448046"/>
                  <a:pt x="948030" y="454610"/>
                  <a:pt x="941465" y="454610"/>
                </a:cubicBezTo>
                <a:cubicBezTo>
                  <a:pt x="934168" y="454610"/>
                  <a:pt x="927611" y="448046"/>
                  <a:pt x="927611" y="440753"/>
                </a:cubicBezTo>
                <a:cubicBezTo>
                  <a:pt x="927611" y="434190"/>
                  <a:pt x="934168" y="428356"/>
                  <a:pt x="941465" y="428356"/>
                </a:cubicBezTo>
                <a:close/>
                <a:moveTo>
                  <a:pt x="870633" y="428356"/>
                </a:moveTo>
                <a:cubicBezTo>
                  <a:pt x="877194" y="428356"/>
                  <a:pt x="883030" y="434190"/>
                  <a:pt x="883030" y="440753"/>
                </a:cubicBezTo>
                <a:cubicBezTo>
                  <a:pt x="883030" y="448046"/>
                  <a:pt x="877194" y="454610"/>
                  <a:pt x="870633" y="454610"/>
                </a:cubicBezTo>
                <a:cubicBezTo>
                  <a:pt x="863341" y="454610"/>
                  <a:pt x="856774" y="448046"/>
                  <a:pt x="856774" y="440753"/>
                </a:cubicBezTo>
                <a:cubicBezTo>
                  <a:pt x="856774" y="434190"/>
                  <a:pt x="863341" y="428356"/>
                  <a:pt x="870633" y="428356"/>
                </a:cubicBezTo>
                <a:close/>
                <a:moveTo>
                  <a:pt x="798344" y="428356"/>
                </a:moveTo>
                <a:cubicBezTo>
                  <a:pt x="806370" y="428356"/>
                  <a:pt x="812196" y="434190"/>
                  <a:pt x="812196" y="440753"/>
                </a:cubicBezTo>
                <a:cubicBezTo>
                  <a:pt x="812196" y="448046"/>
                  <a:pt x="806370" y="454610"/>
                  <a:pt x="798344" y="454610"/>
                </a:cubicBezTo>
                <a:cubicBezTo>
                  <a:pt x="792510" y="454610"/>
                  <a:pt x="785947" y="448046"/>
                  <a:pt x="785947" y="440753"/>
                </a:cubicBezTo>
                <a:cubicBezTo>
                  <a:pt x="785947" y="434190"/>
                  <a:pt x="792510" y="428356"/>
                  <a:pt x="798344" y="428356"/>
                </a:cubicBezTo>
                <a:close/>
                <a:moveTo>
                  <a:pt x="724138" y="428356"/>
                </a:moveTo>
                <a:cubicBezTo>
                  <a:pt x="731434" y="428356"/>
                  <a:pt x="738002" y="434190"/>
                  <a:pt x="738002" y="442212"/>
                </a:cubicBezTo>
                <a:cubicBezTo>
                  <a:pt x="738002" y="448046"/>
                  <a:pt x="731434" y="454610"/>
                  <a:pt x="724138" y="454610"/>
                </a:cubicBezTo>
                <a:cubicBezTo>
                  <a:pt x="717578" y="454610"/>
                  <a:pt x="711747" y="448046"/>
                  <a:pt x="711747" y="442212"/>
                </a:cubicBezTo>
                <a:cubicBezTo>
                  <a:pt x="711747" y="434190"/>
                  <a:pt x="717578" y="428356"/>
                  <a:pt x="724138" y="428356"/>
                </a:cubicBezTo>
                <a:close/>
                <a:moveTo>
                  <a:pt x="653312" y="428356"/>
                </a:moveTo>
                <a:cubicBezTo>
                  <a:pt x="660604" y="428356"/>
                  <a:pt x="667165" y="434190"/>
                  <a:pt x="667165" y="442212"/>
                </a:cubicBezTo>
                <a:cubicBezTo>
                  <a:pt x="667165" y="448046"/>
                  <a:pt x="660604" y="454610"/>
                  <a:pt x="653312" y="454610"/>
                </a:cubicBezTo>
                <a:cubicBezTo>
                  <a:pt x="645288" y="454610"/>
                  <a:pt x="640912" y="448046"/>
                  <a:pt x="640912" y="442212"/>
                </a:cubicBezTo>
                <a:cubicBezTo>
                  <a:pt x="640912" y="434190"/>
                  <a:pt x="645288" y="428356"/>
                  <a:pt x="653312" y="428356"/>
                </a:cubicBezTo>
                <a:close/>
                <a:moveTo>
                  <a:pt x="3796752" y="424982"/>
                </a:moveTo>
                <a:cubicBezTo>
                  <a:pt x="3804774" y="424982"/>
                  <a:pt x="3810608" y="431209"/>
                  <a:pt x="3810608" y="439771"/>
                </a:cubicBezTo>
                <a:cubicBezTo>
                  <a:pt x="3810608" y="447555"/>
                  <a:pt x="3804774" y="454560"/>
                  <a:pt x="3796752" y="454560"/>
                </a:cubicBezTo>
                <a:cubicBezTo>
                  <a:pt x="3790918" y="454560"/>
                  <a:pt x="3784355" y="447555"/>
                  <a:pt x="3784355" y="439771"/>
                </a:cubicBezTo>
                <a:cubicBezTo>
                  <a:pt x="3784355" y="431209"/>
                  <a:pt x="3790918" y="424982"/>
                  <a:pt x="3796752" y="424982"/>
                </a:cubicBezTo>
                <a:close/>
                <a:moveTo>
                  <a:pt x="3725922" y="424982"/>
                </a:moveTo>
                <a:cubicBezTo>
                  <a:pt x="3733944" y="424982"/>
                  <a:pt x="3739778" y="431209"/>
                  <a:pt x="3739778" y="439771"/>
                </a:cubicBezTo>
                <a:cubicBezTo>
                  <a:pt x="3739778" y="447555"/>
                  <a:pt x="3733944" y="454560"/>
                  <a:pt x="3725922" y="454560"/>
                </a:cubicBezTo>
                <a:cubicBezTo>
                  <a:pt x="3719359" y="454560"/>
                  <a:pt x="3713525" y="447555"/>
                  <a:pt x="3713525" y="439771"/>
                </a:cubicBezTo>
                <a:cubicBezTo>
                  <a:pt x="3713525" y="431209"/>
                  <a:pt x="3717900" y="424982"/>
                  <a:pt x="3725922" y="424982"/>
                </a:cubicBezTo>
                <a:close/>
                <a:moveTo>
                  <a:pt x="3655091" y="424982"/>
                </a:moveTo>
                <a:cubicBezTo>
                  <a:pt x="3662384" y="424982"/>
                  <a:pt x="3668947" y="431209"/>
                  <a:pt x="3668947" y="439771"/>
                </a:cubicBezTo>
                <a:cubicBezTo>
                  <a:pt x="3668947" y="447555"/>
                  <a:pt x="3662384" y="454560"/>
                  <a:pt x="3655091" y="454560"/>
                </a:cubicBezTo>
                <a:cubicBezTo>
                  <a:pt x="3647069" y="454560"/>
                  <a:pt x="3642694" y="447555"/>
                  <a:pt x="3642694" y="439771"/>
                </a:cubicBezTo>
                <a:cubicBezTo>
                  <a:pt x="3642694" y="431209"/>
                  <a:pt x="3647069" y="424982"/>
                  <a:pt x="3655091" y="424982"/>
                </a:cubicBezTo>
                <a:close/>
                <a:moveTo>
                  <a:pt x="3583280" y="424982"/>
                </a:moveTo>
                <a:cubicBezTo>
                  <a:pt x="3591064" y="424982"/>
                  <a:pt x="3598069" y="431209"/>
                  <a:pt x="3598069" y="439771"/>
                </a:cubicBezTo>
                <a:cubicBezTo>
                  <a:pt x="3598069" y="447555"/>
                  <a:pt x="3591064" y="454560"/>
                  <a:pt x="3583280" y="454560"/>
                </a:cubicBezTo>
                <a:cubicBezTo>
                  <a:pt x="3574718" y="454560"/>
                  <a:pt x="3568491" y="447555"/>
                  <a:pt x="3568491" y="439771"/>
                </a:cubicBezTo>
                <a:cubicBezTo>
                  <a:pt x="3568491" y="431209"/>
                  <a:pt x="3574718" y="424982"/>
                  <a:pt x="3583280" y="424982"/>
                </a:cubicBezTo>
                <a:close/>
                <a:moveTo>
                  <a:pt x="3512449" y="424982"/>
                </a:moveTo>
                <a:cubicBezTo>
                  <a:pt x="3520232" y="424982"/>
                  <a:pt x="3527237" y="431209"/>
                  <a:pt x="3527237" y="439771"/>
                </a:cubicBezTo>
                <a:cubicBezTo>
                  <a:pt x="3527237" y="447555"/>
                  <a:pt x="3520232" y="454560"/>
                  <a:pt x="3512449" y="454560"/>
                </a:cubicBezTo>
                <a:cubicBezTo>
                  <a:pt x="3503887" y="454560"/>
                  <a:pt x="3497661" y="447555"/>
                  <a:pt x="3497661" y="439771"/>
                </a:cubicBezTo>
                <a:cubicBezTo>
                  <a:pt x="3497661" y="431209"/>
                  <a:pt x="3503887" y="424982"/>
                  <a:pt x="3512449" y="424982"/>
                </a:cubicBezTo>
                <a:close/>
                <a:moveTo>
                  <a:pt x="3440686" y="424982"/>
                </a:moveTo>
                <a:cubicBezTo>
                  <a:pt x="3448708" y="424982"/>
                  <a:pt x="3453083" y="431209"/>
                  <a:pt x="3453083" y="439771"/>
                </a:cubicBezTo>
                <a:cubicBezTo>
                  <a:pt x="3453083" y="447555"/>
                  <a:pt x="3448708" y="454560"/>
                  <a:pt x="3440686" y="454560"/>
                </a:cubicBezTo>
                <a:cubicBezTo>
                  <a:pt x="3433393" y="454560"/>
                  <a:pt x="3426830" y="447555"/>
                  <a:pt x="3426830" y="439771"/>
                </a:cubicBezTo>
                <a:cubicBezTo>
                  <a:pt x="3426830" y="431209"/>
                  <a:pt x="3433393" y="424982"/>
                  <a:pt x="3440686" y="424982"/>
                </a:cubicBezTo>
                <a:close/>
                <a:moveTo>
                  <a:pt x="3369857" y="424982"/>
                </a:moveTo>
                <a:cubicBezTo>
                  <a:pt x="3376420" y="424982"/>
                  <a:pt x="3382254" y="431209"/>
                  <a:pt x="3382254" y="439771"/>
                </a:cubicBezTo>
                <a:cubicBezTo>
                  <a:pt x="3382254" y="447555"/>
                  <a:pt x="3376420" y="454560"/>
                  <a:pt x="3369857" y="454560"/>
                </a:cubicBezTo>
                <a:cubicBezTo>
                  <a:pt x="3362564" y="454560"/>
                  <a:pt x="3356001" y="447555"/>
                  <a:pt x="3356001" y="439771"/>
                </a:cubicBezTo>
                <a:cubicBezTo>
                  <a:pt x="3356001" y="431209"/>
                  <a:pt x="3362564" y="424982"/>
                  <a:pt x="3369857" y="424982"/>
                </a:cubicBezTo>
                <a:close/>
                <a:moveTo>
                  <a:pt x="3299097" y="424982"/>
                </a:moveTo>
                <a:cubicBezTo>
                  <a:pt x="3305656" y="424982"/>
                  <a:pt x="3311491" y="431209"/>
                  <a:pt x="3311491" y="439771"/>
                </a:cubicBezTo>
                <a:cubicBezTo>
                  <a:pt x="3311491" y="447555"/>
                  <a:pt x="3305656" y="454560"/>
                  <a:pt x="3299097" y="454560"/>
                </a:cubicBezTo>
                <a:cubicBezTo>
                  <a:pt x="3291802" y="454560"/>
                  <a:pt x="3285240" y="447555"/>
                  <a:pt x="3285240" y="439771"/>
                </a:cubicBezTo>
                <a:cubicBezTo>
                  <a:pt x="3285240" y="431209"/>
                  <a:pt x="3291802" y="424982"/>
                  <a:pt x="3299097" y="424982"/>
                </a:cubicBezTo>
                <a:close/>
                <a:moveTo>
                  <a:pt x="3226805" y="424982"/>
                </a:moveTo>
                <a:cubicBezTo>
                  <a:pt x="3234825" y="424982"/>
                  <a:pt x="3240664" y="431209"/>
                  <a:pt x="3240664" y="439771"/>
                </a:cubicBezTo>
                <a:cubicBezTo>
                  <a:pt x="3240664" y="447555"/>
                  <a:pt x="3234825" y="454560"/>
                  <a:pt x="3226805" y="454560"/>
                </a:cubicBezTo>
                <a:cubicBezTo>
                  <a:pt x="3220242" y="454560"/>
                  <a:pt x="3214406" y="447555"/>
                  <a:pt x="3214406" y="439771"/>
                </a:cubicBezTo>
                <a:cubicBezTo>
                  <a:pt x="3214406" y="431209"/>
                  <a:pt x="3220242" y="424982"/>
                  <a:pt x="3226805" y="424982"/>
                </a:cubicBezTo>
                <a:close/>
                <a:moveTo>
                  <a:pt x="3152602" y="424982"/>
                </a:moveTo>
                <a:cubicBezTo>
                  <a:pt x="3159895" y="424982"/>
                  <a:pt x="3166460" y="431209"/>
                  <a:pt x="3166460" y="439771"/>
                </a:cubicBezTo>
                <a:cubicBezTo>
                  <a:pt x="3166460" y="447555"/>
                  <a:pt x="3159895" y="454560"/>
                  <a:pt x="3152602" y="454560"/>
                </a:cubicBezTo>
                <a:cubicBezTo>
                  <a:pt x="3146038" y="454560"/>
                  <a:pt x="3140203" y="447555"/>
                  <a:pt x="3140203" y="439771"/>
                </a:cubicBezTo>
                <a:cubicBezTo>
                  <a:pt x="3140203" y="431209"/>
                  <a:pt x="3146038" y="424982"/>
                  <a:pt x="3152602" y="424982"/>
                </a:cubicBezTo>
                <a:close/>
                <a:moveTo>
                  <a:pt x="3081772" y="424982"/>
                </a:moveTo>
                <a:cubicBezTo>
                  <a:pt x="3089064" y="424982"/>
                  <a:pt x="3095624" y="431209"/>
                  <a:pt x="3095624" y="439771"/>
                </a:cubicBezTo>
                <a:cubicBezTo>
                  <a:pt x="3095624" y="447555"/>
                  <a:pt x="3089064" y="454560"/>
                  <a:pt x="3081772" y="454560"/>
                </a:cubicBezTo>
                <a:cubicBezTo>
                  <a:pt x="3073748" y="454560"/>
                  <a:pt x="3069372" y="447555"/>
                  <a:pt x="3069372" y="439771"/>
                </a:cubicBezTo>
                <a:cubicBezTo>
                  <a:pt x="3069372" y="431209"/>
                  <a:pt x="3073748" y="424982"/>
                  <a:pt x="3081772" y="424982"/>
                </a:cubicBezTo>
                <a:close/>
                <a:moveTo>
                  <a:pt x="3013715" y="424982"/>
                </a:moveTo>
                <a:cubicBezTo>
                  <a:pt x="3021305" y="424982"/>
                  <a:pt x="3028135" y="431209"/>
                  <a:pt x="3028135" y="439771"/>
                </a:cubicBezTo>
                <a:cubicBezTo>
                  <a:pt x="3028135" y="447555"/>
                  <a:pt x="3021305" y="454560"/>
                  <a:pt x="3013715" y="454560"/>
                </a:cubicBezTo>
                <a:cubicBezTo>
                  <a:pt x="3005368" y="454560"/>
                  <a:pt x="2998539" y="447555"/>
                  <a:pt x="2998539" y="439771"/>
                </a:cubicBezTo>
                <a:cubicBezTo>
                  <a:pt x="2998539" y="431209"/>
                  <a:pt x="3005368" y="424982"/>
                  <a:pt x="3013715" y="424982"/>
                </a:cubicBezTo>
                <a:close/>
                <a:moveTo>
                  <a:pt x="2942491" y="424982"/>
                </a:moveTo>
                <a:cubicBezTo>
                  <a:pt x="2951052" y="424982"/>
                  <a:pt x="2957286" y="431209"/>
                  <a:pt x="2957286" y="439771"/>
                </a:cubicBezTo>
                <a:cubicBezTo>
                  <a:pt x="2957286" y="447555"/>
                  <a:pt x="2951052" y="454560"/>
                  <a:pt x="2942491" y="454560"/>
                </a:cubicBezTo>
                <a:cubicBezTo>
                  <a:pt x="2934710" y="454560"/>
                  <a:pt x="2927708" y="447555"/>
                  <a:pt x="2927708" y="439771"/>
                </a:cubicBezTo>
                <a:cubicBezTo>
                  <a:pt x="2927708" y="431209"/>
                  <a:pt x="2934710" y="424982"/>
                  <a:pt x="2942491" y="424982"/>
                </a:cubicBezTo>
                <a:close/>
                <a:moveTo>
                  <a:pt x="2868291" y="424982"/>
                </a:moveTo>
                <a:cubicBezTo>
                  <a:pt x="2876858" y="424982"/>
                  <a:pt x="2883085" y="431209"/>
                  <a:pt x="2883085" y="439771"/>
                </a:cubicBezTo>
                <a:cubicBezTo>
                  <a:pt x="2883085" y="447555"/>
                  <a:pt x="2876858" y="454560"/>
                  <a:pt x="2868291" y="454560"/>
                </a:cubicBezTo>
                <a:cubicBezTo>
                  <a:pt x="2860509" y="454560"/>
                  <a:pt x="2853504" y="447555"/>
                  <a:pt x="2853504" y="439771"/>
                </a:cubicBezTo>
                <a:cubicBezTo>
                  <a:pt x="2853504" y="431209"/>
                  <a:pt x="2860509" y="424982"/>
                  <a:pt x="2868291" y="424982"/>
                </a:cubicBezTo>
                <a:close/>
                <a:moveTo>
                  <a:pt x="2796533" y="424982"/>
                </a:moveTo>
                <a:cubicBezTo>
                  <a:pt x="2804555" y="424982"/>
                  <a:pt x="2808932" y="431209"/>
                  <a:pt x="2808932" y="439771"/>
                </a:cubicBezTo>
                <a:cubicBezTo>
                  <a:pt x="2808932" y="447555"/>
                  <a:pt x="2804555" y="454560"/>
                  <a:pt x="2796533" y="454560"/>
                </a:cubicBezTo>
                <a:cubicBezTo>
                  <a:pt x="2789240" y="454560"/>
                  <a:pt x="2782678" y="447555"/>
                  <a:pt x="2782678" y="439771"/>
                </a:cubicBezTo>
                <a:cubicBezTo>
                  <a:pt x="2782678" y="431209"/>
                  <a:pt x="2789240" y="424982"/>
                  <a:pt x="2796533" y="424982"/>
                </a:cubicBezTo>
                <a:close/>
                <a:moveTo>
                  <a:pt x="2725695" y="424982"/>
                </a:moveTo>
                <a:cubicBezTo>
                  <a:pt x="2731532" y="424982"/>
                  <a:pt x="2738097" y="431209"/>
                  <a:pt x="2738097" y="439771"/>
                </a:cubicBezTo>
                <a:cubicBezTo>
                  <a:pt x="2738097" y="447555"/>
                  <a:pt x="2731532" y="454560"/>
                  <a:pt x="2725695" y="454560"/>
                </a:cubicBezTo>
                <a:cubicBezTo>
                  <a:pt x="2717681" y="454560"/>
                  <a:pt x="2711846" y="447555"/>
                  <a:pt x="2711846" y="439771"/>
                </a:cubicBezTo>
                <a:cubicBezTo>
                  <a:pt x="2711846" y="431209"/>
                  <a:pt x="2717681" y="424982"/>
                  <a:pt x="2725695" y="424982"/>
                </a:cubicBezTo>
                <a:close/>
                <a:moveTo>
                  <a:pt x="2654870" y="424982"/>
                </a:moveTo>
                <a:cubicBezTo>
                  <a:pt x="2660705" y="424982"/>
                  <a:pt x="2667270" y="431209"/>
                  <a:pt x="2667270" y="439771"/>
                </a:cubicBezTo>
                <a:cubicBezTo>
                  <a:pt x="2667270" y="447555"/>
                  <a:pt x="2660705" y="454560"/>
                  <a:pt x="2654870" y="454560"/>
                </a:cubicBezTo>
                <a:cubicBezTo>
                  <a:pt x="2646850" y="454560"/>
                  <a:pt x="2641018" y="447555"/>
                  <a:pt x="2641018" y="439771"/>
                </a:cubicBezTo>
                <a:cubicBezTo>
                  <a:pt x="2641018" y="431209"/>
                  <a:pt x="2646850" y="424982"/>
                  <a:pt x="2654870" y="424982"/>
                </a:cubicBezTo>
                <a:close/>
                <a:moveTo>
                  <a:pt x="2582580" y="424982"/>
                </a:moveTo>
                <a:cubicBezTo>
                  <a:pt x="2589875" y="424982"/>
                  <a:pt x="2596437" y="431209"/>
                  <a:pt x="2596437" y="439771"/>
                </a:cubicBezTo>
                <a:cubicBezTo>
                  <a:pt x="2596437" y="447555"/>
                  <a:pt x="2589875" y="454560"/>
                  <a:pt x="2582580" y="454560"/>
                </a:cubicBezTo>
                <a:cubicBezTo>
                  <a:pt x="2576019" y="454560"/>
                  <a:pt x="2570184" y="447555"/>
                  <a:pt x="2570184" y="439771"/>
                </a:cubicBezTo>
                <a:cubicBezTo>
                  <a:pt x="2570184" y="431209"/>
                  <a:pt x="2576019" y="424982"/>
                  <a:pt x="2582580" y="424982"/>
                </a:cubicBezTo>
                <a:close/>
                <a:moveTo>
                  <a:pt x="2511026" y="424982"/>
                </a:moveTo>
                <a:cubicBezTo>
                  <a:pt x="2519047" y="424982"/>
                  <a:pt x="2525610" y="431209"/>
                  <a:pt x="2525610" y="439771"/>
                </a:cubicBezTo>
                <a:cubicBezTo>
                  <a:pt x="2525610" y="447555"/>
                  <a:pt x="2519047" y="454560"/>
                  <a:pt x="2511026" y="454560"/>
                </a:cubicBezTo>
                <a:cubicBezTo>
                  <a:pt x="2503735" y="454560"/>
                  <a:pt x="2499361" y="447555"/>
                  <a:pt x="2499361" y="439771"/>
                </a:cubicBezTo>
                <a:cubicBezTo>
                  <a:pt x="2499361" y="431209"/>
                  <a:pt x="2503735" y="424982"/>
                  <a:pt x="2511026" y="424982"/>
                </a:cubicBezTo>
                <a:close/>
                <a:moveTo>
                  <a:pt x="1799085" y="357525"/>
                </a:moveTo>
                <a:cubicBezTo>
                  <a:pt x="1807647" y="357525"/>
                  <a:pt x="1813873" y="361900"/>
                  <a:pt x="1813873" y="369922"/>
                </a:cubicBezTo>
                <a:cubicBezTo>
                  <a:pt x="1813873" y="377215"/>
                  <a:pt x="1807647" y="383779"/>
                  <a:pt x="1799085" y="383779"/>
                </a:cubicBezTo>
                <a:cubicBezTo>
                  <a:pt x="1790525" y="383779"/>
                  <a:pt x="1784300" y="377215"/>
                  <a:pt x="1784300" y="369922"/>
                </a:cubicBezTo>
                <a:cubicBezTo>
                  <a:pt x="1784300" y="361900"/>
                  <a:pt x="1790525" y="357525"/>
                  <a:pt x="1799085" y="357525"/>
                </a:cubicBezTo>
                <a:close/>
                <a:moveTo>
                  <a:pt x="1728262" y="357525"/>
                </a:moveTo>
                <a:cubicBezTo>
                  <a:pt x="1736825" y="357525"/>
                  <a:pt x="1743049" y="361900"/>
                  <a:pt x="1743049" y="369922"/>
                </a:cubicBezTo>
                <a:cubicBezTo>
                  <a:pt x="1743049" y="377215"/>
                  <a:pt x="1736825" y="383779"/>
                  <a:pt x="1728262" y="383779"/>
                </a:cubicBezTo>
                <a:cubicBezTo>
                  <a:pt x="1719697" y="383779"/>
                  <a:pt x="1713470" y="377215"/>
                  <a:pt x="1713470" y="369922"/>
                </a:cubicBezTo>
                <a:cubicBezTo>
                  <a:pt x="1713470" y="361900"/>
                  <a:pt x="1719697" y="357525"/>
                  <a:pt x="1728262" y="357525"/>
                </a:cubicBezTo>
                <a:close/>
                <a:moveTo>
                  <a:pt x="1657429" y="357525"/>
                </a:moveTo>
                <a:cubicBezTo>
                  <a:pt x="1665215" y="357525"/>
                  <a:pt x="1672220" y="361900"/>
                  <a:pt x="1672220" y="369922"/>
                </a:cubicBezTo>
                <a:cubicBezTo>
                  <a:pt x="1672220" y="377215"/>
                  <a:pt x="1665215" y="383779"/>
                  <a:pt x="1657429" y="383779"/>
                </a:cubicBezTo>
                <a:cubicBezTo>
                  <a:pt x="1648870" y="383779"/>
                  <a:pt x="1642650" y="377215"/>
                  <a:pt x="1642650" y="369922"/>
                </a:cubicBezTo>
                <a:cubicBezTo>
                  <a:pt x="1642650" y="361900"/>
                  <a:pt x="1648870" y="357525"/>
                  <a:pt x="1657429" y="357525"/>
                </a:cubicBezTo>
                <a:close/>
                <a:moveTo>
                  <a:pt x="1582296" y="357525"/>
                </a:moveTo>
                <a:cubicBezTo>
                  <a:pt x="1589593" y="357525"/>
                  <a:pt x="1594704" y="361900"/>
                  <a:pt x="1594704" y="369922"/>
                </a:cubicBezTo>
                <a:cubicBezTo>
                  <a:pt x="1594704" y="377215"/>
                  <a:pt x="1589593" y="383779"/>
                  <a:pt x="1582296" y="383779"/>
                </a:cubicBezTo>
                <a:cubicBezTo>
                  <a:pt x="1574274" y="383779"/>
                  <a:pt x="1568441" y="377215"/>
                  <a:pt x="1568441" y="369922"/>
                </a:cubicBezTo>
                <a:cubicBezTo>
                  <a:pt x="1568441" y="361900"/>
                  <a:pt x="1574274" y="357525"/>
                  <a:pt x="1582296" y="357525"/>
                </a:cubicBezTo>
                <a:close/>
                <a:moveTo>
                  <a:pt x="1512195" y="357525"/>
                </a:moveTo>
                <a:cubicBezTo>
                  <a:pt x="1518030" y="357525"/>
                  <a:pt x="1523863" y="361900"/>
                  <a:pt x="1523863" y="369922"/>
                </a:cubicBezTo>
                <a:cubicBezTo>
                  <a:pt x="1523863" y="377215"/>
                  <a:pt x="1518030" y="383779"/>
                  <a:pt x="1512195" y="383779"/>
                </a:cubicBezTo>
                <a:cubicBezTo>
                  <a:pt x="1504171" y="383779"/>
                  <a:pt x="1497612" y="377215"/>
                  <a:pt x="1497612" y="369922"/>
                </a:cubicBezTo>
                <a:cubicBezTo>
                  <a:pt x="1497612" y="361900"/>
                  <a:pt x="1504171" y="357525"/>
                  <a:pt x="1512195" y="357525"/>
                </a:cubicBezTo>
                <a:close/>
                <a:moveTo>
                  <a:pt x="1439171" y="357525"/>
                </a:moveTo>
                <a:cubicBezTo>
                  <a:pt x="1447188" y="357525"/>
                  <a:pt x="1453023" y="361900"/>
                  <a:pt x="1453023" y="369922"/>
                </a:cubicBezTo>
                <a:cubicBezTo>
                  <a:pt x="1453023" y="377215"/>
                  <a:pt x="1447188" y="383779"/>
                  <a:pt x="1439171" y="383779"/>
                </a:cubicBezTo>
                <a:cubicBezTo>
                  <a:pt x="1433336" y="383779"/>
                  <a:pt x="1426774" y="377215"/>
                  <a:pt x="1426774" y="369922"/>
                </a:cubicBezTo>
                <a:cubicBezTo>
                  <a:pt x="1426774" y="361900"/>
                  <a:pt x="1433336" y="357525"/>
                  <a:pt x="1439171" y="357525"/>
                </a:cubicBezTo>
                <a:close/>
                <a:moveTo>
                  <a:pt x="1368347" y="357525"/>
                </a:moveTo>
                <a:cubicBezTo>
                  <a:pt x="1376368" y="357525"/>
                  <a:pt x="1382199" y="361900"/>
                  <a:pt x="1382199" y="369922"/>
                </a:cubicBezTo>
                <a:cubicBezTo>
                  <a:pt x="1382199" y="377215"/>
                  <a:pt x="1376368" y="383779"/>
                  <a:pt x="1368347" y="383779"/>
                </a:cubicBezTo>
                <a:cubicBezTo>
                  <a:pt x="1362508" y="383779"/>
                  <a:pt x="1355949" y="377215"/>
                  <a:pt x="1355949" y="369922"/>
                </a:cubicBezTo>
                <a:cubicBezTo>
                  <a:pt x="1355949" y="361900"/>
                  <a:pt x="1362508" y="357525"/>
                  <a:pt x="1368347" y="357525"/>
                </a:cubicBezTo>
                <a:close/>
                <a:moveTo>
                  <a:pt x="1297518" y="357525"/>
                </a:moveTo>
                <a:cubicBezTo>
                  <a:pt x="1305540" y="357525"/>
                  <a:pt x="1311374" y="361900"/>
                  <a:pt x="1311374" y="369922"/>
                </a:cubicBezTo>
                <a:cubicBezTo>
                  <a:pt x="1311374" y="377215"/>
                  <a:pt x="1305540" y="383779"/>
                  <a:pt x="1297518" y="383779"/>
                </a:cubicBezTo>
                <a:cubicBezTo>
                  <a:pt x="1289495" y="383779"/>
                  <a:pt x="1285121" y="377215"/>
                  <a:pt x="1285121" y="369922"/>
                </a:cubicBezTo>
                <a:cubicBezTo>
                  <a:pt x="1285121" y="361900"/>
                  <a:pt x="1289495" y="357525"/>
                  <a:pt x="1297518" y="357525"/>
                </a:cubicBezTo>
                <a:close/>
                <a:moveTo>
                  <a:pt x="1225703" y="357525"/>
                </a:moveTo>
                <a:cubicBezTo>
                  <a:pt x="1233487" y="357525"/>
                  <a:pt x="1240493" y="363359"/>
                  <a:pt x="1240493" y="369922"/>
                </a:cubicBezTo>
                <a:cubicBezTo>
                  <a:pt x="1240493" y="377215"/>
                  <a:pt x="1233487" y="383779"/>
                  <a:pt x="1225703" y="383779"/>
                </a:cubicBezTo>
                <a:cubicBezTo>
                  <a:pt x="1217156" y="383779"/>
                  <a:pt x="1210926" y="377215"/>
                  <a:pt x="1210926" y="369922"/>
                </a:cubicBezTo>
                <a:cubicBezTo>
                  <a:pt x="1210926" y="363359"/>
                  <a:pt x="1217156" y="357525"/>
                  <a:pt x="1225703" y="357525"/>
                </a:cubicBezTo>
                <a:close/>
                <a:moveTo>
                  <a:pt x="1154890" y="357525"/>
                </a:moveTo>
                <a:cubicBezTo>
                  <a:pt x="1162673" y="357525"/>
                  <a:pt x="1169676" y="363359"/>
                  <a:pt x="1169676" y="369922"/>
                </a:cubicBezTo>
                <a:cubicBezTo>
                  <a:pt x="1169676" y="377215"/>
                  <a:pt x="1162673" y="383779"/>
                  <a:pt x="1154890" y="383779"/>
                </a:cubicBezTo>
                <a:cubicBezTo>
                  <a:pt x="1146325" y="383779"/>
                  <a:pt x="1140096" y="377215"/>
                  <a:pt x="1140096" y="369922"/>
                </a:cubicBezTo>
                <a:cubicBezTo>
                  <a:pt x="1140096" y="363359"/>
                  <a:pt x="1146325" y="357525"/>
                  <a:pt x="1154890" y="357525"/>
                </a:cubicBezTo>
                <a:close/>
                <a:moveTo>
                  <a:pt x="1084059" y="357525"/>
                </a:moveTo>
                <a:cubicBezTo>
                  <a:pt x="1091842" y="357525"/>
                  <a:pt x="1098844" y="363359"/>
                  <a:pt x="1098844" y="369922"/>
                </a:cubicBezTo>
                <a:cubicBezTo>
                  <a:pt x="1098844" y="377215"/>
                  <a:pt x="1091842" y="383779"/>
                  <a:pt x="1084059" y="383779"/>
                </a:cubicBezTo>
                <a:cubicBezTo>
                  <a:pt x="1075492" y="383779"/>
                  <a:pt x="1069268" y="377215"/>
                  <a:pt x="1069268" y="369922"/>
                </a:cubicBezTo>
                <a:cubicBezTo>
                  <a:pt x="1069268" y="363359"/>
                  <a:pt x="1075492" y="357525"/>
                  <a:pt x="1084059" y="357525"/>
                </a:cubicBezTo>
                <a:close/>
                <a:moveTo>
                  <a:pt x="1013015" y="357525"/>
                </a:moveTo>
                <a:cubicBezTo>
                  <a:pt x="1020312" y="357525"/>
                  <a:pt x="1024685" y="363359"/>
                  <a:pt x="1024685" y="369922"/>
                </a:cubicBezTo>
                <a:cubicBezTo>
                  <a:pt x="1024685" y="377215"/>
                  <a:pt x="1020312" y="383779"/>
                  <a:pt x="1013015" y="383779"/>
                </a:cubicBezTo>
                <a:cubicBezTo>
                  <a:pt x="1005003" y="383779"/>
                  <a:pt x="998434" y="377215"/>
                  <a:pt x="998434" y="369922"/>
                </a:cubicBezTo>
                <a:cubicBezTo>
                  <a:pt x="998434" y="363359"/>
                  <a:pt x="1005003" y="357525"/>
                  <a:pt x="1013015" y="357525"/>
                </a:cubicBezTo>
                <a:close/>
                <a:moveTo>
                  <a:pt x="941465" y="357525"/>
                </a:moveTo>
                <a:cubicBezTo>
                  <a:pt x="948030" y="357525"/>
                  <a:pt x="953864" y="363359"/>
                  <a:pt x="953864" y="369922"/>
                </a:cubicBezTo>
                <a:cubicBezTo>
                  <a:pt x="953864" y="377215"/>
                  <a:pt x="948030" y="383779"/>
                  <a:pt x="941465" y="383779"/>
                </a:cubicBezTo>
                <a:cubicBezTo>
                  <a:pt x="934173" y="383779"/>
                  <a:pt x="927611" y="377215"/>
                  <a:pt x="927611" y="369922"/>
                </a:cubicBezTo>
                <a:cubicBezTo>
                  <a:pt x="927611" y="363359"/>
                  <a:pt x="934173" y="357525"/>
                  <a:pt x="941465" y="357525"/>
                </a:cubicBezTo>
                <a:close/>
                <a:moveTo>
                  <a:pt x="870633" y="357525"/>
                </a:moveTo>
                <a:cubicBezTo>
                  <a:pt x="877194" y="357525"/>
                  <a:pt x="883034" y="363359"/>
                  <a:pt x="883034" y="369922"/>
                </a:cubicBezTo>
                <a:cubicBezTo>
                  <a:pt x="883034" y="377215"/>
                  <a:pt x="877194" y="383779"/>
                  <a:pt x="870633" y="383779"/>
                </a:cubicBezTo>
                <a:cubicBezTo>
                  <a:pt x="863344" y="383779"/>
                  <a:pt x="856777" y="377215"/>
                  <a:pt x="856777" y="369922"/>
                </a:cubicBezTo>
                <a:cubicBezTo>
                  <a:pt x="856777" y="363359"/>
                  <a:pt x="863344" y="357525"/>
                  <a:pt x="870633" y="357525"/>
                </a:cubicBezTo>
                <a:close/>
                <a:moveTo>
                  <a:pt x="798346" y="357525"/>
                </a:moveTo>
                <a:cubicBezTo>
                  <a:pt x="806370" y="357525"/>
                  <a:pt x="812203" y="363359"/>
                  <a:pt x="812203" y="369922"/>
                </a:cubicBezTo>
                <a:cubicBezTo>
                  <a:pt x="812203" y="377215"/>
                  <a:pt x="806370" y="383779"/>
                  <a:pt x="798346" y="383779"/>
                </a:cubicBezTo>
                <a:cubicBezTo>
                  <a:pt x="792510" y="383779"/>
                  <a:pt x="785947" y="377215"/>
                  <a:pt x="785947" y="369922"/>
                </a:cubicBezTo>
                <a:cubicBezTo>
                  <a:pt x="785947" y="363359"/>
                  <a:pt x="792510" y="357525"/>
                  <a:pt x="798346" y="357525"/>
                </a:cubicBezTo>
                <a:close/>
                <a:moveTo>
                  <a:pt x="3654110" y="354153"/>
                </a:moveTo>
                <a:cubicBezTo>
                  <a:pt x="3661893" y="354153"/>
                  <a:pt x="3668898" y="360716"/>
                  <a:pt x="3668898" y="368738"/>
                </a:cubicBezTo>
                <a:cubicBezTo>
                  <a:pt x="3668898" y="376031"/>
                  <a:pt x="3661893" y="380407"/>
                  <a:pt x="3654110" y="380407"/>
                </a:cubicBezTo>
                <a:cubicBezTo>
                  <a:pt x="3645548" y="380407"/>
                  <a:pt x="3639322" y="376031"/>
                  <a:pt x="3639322" y="368738"/>
                </a:cubicBezTo>
                <a:cubicBezTo>
                  <a:pt x="3639322" y="360716"/>
                  <a:pt x="3645548" y="354153"/>
                  <a:pt x="3654110" y="354153"/>
                </a:cubicBezTo>
                <a:close/>
                <a:moveTo>
                  <a:pt x="3583280" y="354153"/>
                </a:moveTo>
                <a:cubicBezTo>
                  <a:pt x="3591064" y="354153"/>
                  <a:pt x="3598069" y="360716"/>
                  <a:pt x="3598069" y="368738"/>
                </a:cubicBezTo>
                <a:cubicBezTo>
                  <a:pt x="3598069" y="376031"/>
                  <a:pt x="3591064" y="380407"/>
                  <a:pt x="3583280" y="380407"/>
                </a:cubicBezTo>
                <a:cubicBezTo>
                  <a:pt x="3574718" y="380407"/>
                  <a:pt x="3568491" y="376031"/>
                  <a:pt x="3568491" y="368738"/>
                </a:cubicBezTo>
                <a:cubicBezTo>
                  <a:pt x="3568491" y="360716"/>
                  <a:pt x="3574718" y="354153"/>
                  <a:pt x="3583280" y="354153"/>
                </a:cubicBezTo>
                <a:close/>
                <a:moveTo>
                  <a:pt x="3512449" y="354153"/>
                </a:moveTo>
                <a:cubicBezTo>
                  <a:pt x="3520232" y="354153"/>
                  <a:pt x="3527237" y="360983"/>
                  <a:pt x="3527237" y="369330"/>
                </a:cubicBezTo>
                <a:cubicBezTo>
                  <a:pt x="3527237" y="376919"/>
                  <a:pt x="3520232" y="383749"/>
                  <a:pt x="3512449" y="383749"/>
                </a:cubicBezTo>
                <a:cubicBezTo>
                  <a:pt x="3503887" y="383749"/>
                  <a:pt x="3497661" y="376919"/>
                  <a:pt x="3497661" y="369330"/>
                </a:cubicBezTo>
                <a:cubicBezTo>
                  <a:pt x="3497661" y="360983"/>
                  <a:pt x="3503887" y="354153"/>
                  <a:pt x="3512449" y="354153"/>
                </a:cubicBezTo>
                <a:close/>
                <a:moveTo>
                  <a:pt x="3440686" y="354153"/>
                </a:moveTo>
                <a:cubicBezTo>
                  <a:pt x="3448708" y="354153"/>
                  <a:pt x="3453083" y="360983"/>
                  <a:pt x="3453083" y="369330"/>
                </a:cubicBezTo>
                <a:cubicBezTo>
                  <a:pt x="3453083" y="376919"/>
                  <a:pt x="3448708" y="383749"/>
                  <a:pt x="3440686" y="383749"/>
                </a:cubicBezTo>
                <a:cubicBezTo>
                  <a:pt x="3433393" y="383749"/>
                  <a:pt x="3426830" y="376919"/>
                  <a:pt x="3426830" y="369330"/>
                </a:cubicBezTo>
                <a:cubicBezTo>
                  <a:pt x="3426830" y="360983"/>
                  <a:pt x="3433393" y="354153"/>
                  <a:pt x="3440686" y="354153"/>
                </a:cubicBezTo>
                <a:close/>
                <a:moveTo>
                  <a:pt x="3369857" y="354153"/>
                </a:moveTo>
                <a:cubicBezTo>
                  <a:pt x="3376420" y="354153"/>
                  <a:pt x="3382254" y="360983"/>
                  <a:pt x="3382254" y="369330"/>
                </a:cubicBezTo>
                <a:cubicBezTo>
                  <a:pt x="3382254" y="376919"/>
                  <a:pt x="3376420" y="383749"/>
                  <a:pt x="3369857" y="383749"/>
                </a:cubicBezTo>
                <a:cubicBezTo>
                  <a:pt x="3362564" y="383749"/>
                  <a:pt x="3356001" y="376919"/>
                  <a:pt x="3356001" y="369330"/>
                </a:cubicBezTo>
                <a:cubicBezTo>
                  <a:pt x="3356001" y="360983"/>
                  <a:pt x="3362564" y="354153"/>
                  <a:pt x="3369857" y="354153"/>
                </a:cubicBezTo>
                <a:close/>
                <a:moveTo>
                  <a:pt x="3299097" y="354153"/>
                </a:moveTo>
                <a:cubicBezTo>
                  <a:pt x="3305662" y="354153"/>
                  <a:pt x="3311496" y="360983"/>
                  <a:pt x="3311496" y="369330"/>
                </a:cubicBezTo>
                <a:cubicBezTo>
                  <a:pt x="3311496" y="376919"/>
                  <a:pt x="3305662" y="383749"/>
                  <a:pt x="3299097" y="383749"/>
                </a:cubicBezTo>
                <a:cubicBezTo>
                  <a:pt x="3291804" y="383749"/>
                  <a:pt x="3285242" y="376919"/>
                  <a:pt x="3285242" y="369330"/>
                </a:cubicBezTo>
                <a:cubicBezTo>
                  <a:pt x="3285242" y="360983"/>
                  <a:pt x="3291804" y="354153"/>
                  <a:pt x="3299097" y="354153"/>
                </a:cubicBezTo>
                <a:close/>
                <a:moveTo>
                  <a:pt x="3226808" y="354153"/>
                </a:moveTo>
                <a:cubicBezTo>
                  <a:pt x="3234828" y="354153"/>
                  <a:pt x="3240664" y="360983"/>
                  <a:pt x="3240664" y="369330"/>
                </a:cubicBezTo>
                <a:cubicBezTo>
                  <a:pt x="3240664" y="376919"/>
                  <a:pt x="3234828" y="383749"/>
                  <a:pt x="3226808" y="383749"/>
                </a:cubicBezTo>
                <a:cubicBezTo>
                  <a:pt x="3220245" y="383749"/>
                  <a:pt x="3214410" y="376919"/>
                  <a:pt x="3214410" y="369330"/>
                </a:cubicBezTo>
                <a:cubicBezTo>
                  <a:pt x="3214410" y="360983"/>
                  <a:pt x="3220245" y="354153"/>
                  <a:pt x="3226808" y="354153"/>
                </a:cubicBezTo>
                <a:close/>
                <a:moveTo>
                  <a:pt x="3152605" y="354153"/>
                </a:moveTo>
                <a:cubicBezTo>
                  <a:pt x="3159898" y="354153"/>
                  <a:pt x="3166462" y="360983"/>
                  <a:pt x="3166462" y="369330"/>
                </a:cubicBezTo>
                <a:cubicBezTo>
                  <a:pt x="3166462" y="376919"/>
                  <a:pt x="3159898" y="383749"/>
                  <a:pt x="3152605" y="383749"/>
                </a:cubicBezTo>
                <a:cubicBezTo>
                  <a:pt x="3146040" y="383749"/>
                  <a:pt x="3140206" y="376919"/>
                  <a:pt x="3140206" y="369330"/>
                </a:cubicBezTo>
                <a:cubicBezTo>
                  <a:pt x="3140206" y="360983"/>
                  <a:pt x="3146040" y="354153"/>
                  <a:pt x="3152605" y="354153"/>
                </a:cubicBezTo>
                <a:close/>
                <a:moveTo>
                  <a:pt x="3081774" y="354153"/>
                </a:moveTo>
                <a:cubicBezTo>
                  <a:pt x="3089066" y="354153"/>
                  <a:pt x="3095627" y="360983"/>
                  <a:pt x="3095627" y="369330"/>
                </a:cubicBezTo>
                <a:cubicBezTo>
                  <a:pt x="3095627" y="376919"/>
                  <a:pt x="3089066" y="383749"/>
                  <a:pt x="3081774" y="383749"/>
                </a:cubicBezTo>
                <a:cubicBezTo>
                  <a:pt x="3073750" y="383749"/>
                  <a:pt x="3069375" y="376919"/>
                  <a:pt x="3069375" y="369330"/>
                </a:cubicBezTo>
                <a:cubicBezTo>
                  <a:pt x="3069375" y="360983"/>
                  <a:pt x="3073750" y="354153"/>
                  <a:pt x="3081774" y="354153"/>
                </a:cubicBezTo>
                <a:close/>
                <a:moveTo>
                  <a:pt x="3013715" y="354153"/>
                </a:moveTo>
                <a:cubicBezTo>
                  <a:pt x="3021307" y="354153"/>
                  <a:pt x="3028135" y="360983"/>
                  <a:pt x="3028135" y="369330"/>
                </a:cubicBezTo>
                <a:cubicBezTo>
                  <a:pt x="3028135" y="376919"/>
                  <a:pt x="3021307" y="383749"/>
                  <a:pt x="3013715" y="383749"/>
                </a:cubicBezTo>
                <a:cubicBezTo>
                  <a:pt x="3005368" y="383749"/>
                  <a:pt x="2998539" y="376919"/>
                  <a:pt x="2998539" y="369330"/>
                </a:cubicBezTo>
                <a:cubicBezTo>
                  <a:pt x="2998539" y="360983"/>
                  <a:pt x="3005368" y="354153"/>
                  <a:pt x="3013715" y="354153"/>
                </a:cubicBezTo>
                <a:close/>
                <a:moveTo>
                  <a:pt x="2942494" y="354153"/>
                </a:moveTo>
                <a:cubicBezTo>
                  <a:pt x="2951055" y="354153"/>
                  <a:pt x="2957288" y="360983"/>
                  <a:pt x="2957288" y="369330"/>
                </a:cubicBezTo>
                <a:cubicBezTo>
                  <a:pt x="2957288" y="376919"/>
                  <a:pt x="2951055" y="383749"/>
                  <a:pt x="2942494" y="383749"/>
                </a:cubicBezTo>
                <a:cubicBezTo>
                  <a:pt x="2934713" y="383749"/>
                  <a:pt x="2927708" y="376919"/>
                  <a:pt x="2927708" y="369330"/>
                </a:cubicBezTo>
                <a:cubicBezTo>
                  <a:pt x="2927708" y="360983"/>
                  <a:pt x="2934713" y="354153"/>
                  <a:pt x="2942494" y="354153"/>
                </a:cubicBezTo>
                <a:close/>
                <a:moveTo>
                  <a:pt x="2868293" y="354153"/>
                </a:moveTo>
                <a:cubicBezTo>
                  <a:pt x="2876858" y="354153"/>
                  <a:pt x="2883085" y="360983"/>
                  <a:pt x="2883085" y="369330"/>
                </a:cubicBezTo>
                <a:cubicBezTo>
                  <a:pt x="2883085" y="376919"/>
                  <a:pt x="2876858" y="383749"/>
                  <a:pt x="2868293" y="383749"/>
                </a:cubicBezTo>
                <a:cubicBezTo>
                  <a:pt x="2860512" y="383749"/>
                  <a:pt x="2853504" y="376919"/>
                  <a:pt x="2853504" y="369330"/>
                </a:cubicBezTo>
                <a:cubicBezTo>
                  <a:pt x="2853504" y="360983"/>
                  <a:pt x="2860512" y="354153"/>
                  <a:pt x="2868293" y="354153"/>
                </a:cubicBezTo>
                <a:close/>
                <a:moveTo>
                  <a:pt x="2796535" y="354153"/>
                </a:moveTo>
                <a:cubicBezTo>
                  <a:pt x="2804558" y="354153"/>
                  <a:pt x="2808932" y="360983"/>
                  <a:pt x="2808932" y="369330"/>
                </a:cubicBezTo>
                <a:cubicBezTo>
                  <a:pt x="2808932" y="376919"/>
                  <a:pt x="2804558" y="383749"/>
                  <a:pt x="2796535" y="383749"/>
                </a:cubicBezTo>
                <a:cubicBezTo>
                  <a:pt x="2789243" y="383749"/>
                  <a:pt x="2782678" y="376919"/>
                  <a:pt x="2782678" y="369330"/>
                </a:cubicBezTo>
                <a:cubicBezTo>
                  <a:pt x="2782678" y="360983"/>
                  <a:pt x="2789243" y="354153"/>
                  <a:pt x="2796535" y="354153"/>
                </a:cubicBezTo>
                <a:close/>
                <a:moveTo>
                  <a:pt x="2725695" y="354153"/>
                </a:moveTo>
                <a:cubicBezTo>
                  <a:pt x="2731532" y="354153"/>
                  <a:pt x="2738100" y="360983"/>
                  <a:pt x="2738100" y="369330"/>
                </a:cubicBezTo>
                <a:cubicBezTo>
                  <a:pt x="2738100" y="376919"/>
                  <a:pt x="2731532" y="383749"/>
                  <a:pt x="2725695" y="383749"/>
                </a:cubicBezTo>
                <a:cubicBezTo>
                  <a:pt x="2717681" y="383749"/>
                  <a:pt x="2711846" y="376919"/>
                  <a:pt x="2711846" y="369330"/>
                </a:cubicBezTo>
                <a:cubicBezTo>
                  <a:pt x="2711846" y="360983"/>
                  <a:pt x="2717681" y="354153"/>
                  <a:pt x="2725695" y="354153"/>
                </a:cubicBezTo>
                <a:close/>
                <a:moveTo>
                  <a:pt x="2653415" y="354153"/>
                </a:moveTo>
                <a:cubicBezTo>
                  <a:pt x="2660705" y="354153"/>
                  <a:pt x="2667270" y="360983"/>
                  <a:pt x="2667270" y="369330"/>
                </a:cubicBezTo>
                <a:cubicBezTo>
                  <a:pt x="2667270" y="376919"/>
                  <a:pt x="2660705" y="383749"/>
                  <a:pt x="2653415" y="383749"/>
                </a:cubicBezTo>
                <a:cubicBezTo>
                  <a:pt x="2646857" y="383749"/>
                  <a:pt x="2641021" y="376919"/>
                  <a:pt x="2641021" y="369330"/>
                </a:cubicBezTo>
                <a:cubicBezTo>
                  <a:pt x="2641021" y="360983"/>
                  <a:pt x="2646857" y="354153"/>
                  <a:pt x="2653415" y="354153"/>
                </a:cubicBezTo>
                <a:close/>
                <a:moveTo>
                  <a:pt x="2582583" y="354153"/>
                </a:moveTo>
                <a:cubicBezTo>
                  <a:pt x="2589875" y="354153"/>
                  <a:pt x="2596439" y="360983"/>
                  <a:pt x="2596439" y="369330"/>
                </a:cubicBezTo>
                <a:cubicBezTo>
                  <a:pt x="2596439" y="376919"/>
                  <a:pt x="2589875" y="383749"/>
                  <a:pt x="2582583" y="383749"/>
                </a:cubicBezTo>
                <a:cubicBezTo>
                  <a:pt x="2576019" y="383749"/>
                  <a:pt x="2570184" y="376919"/>
                  <a:pt x="2570184" y="369330"/>
                </a:cubicBezTo>
                <a:cubicBezTo>
                  <a:pt x="2570184" y="360983"/>
                  <a:pt x="2576019" y="354153"/>
                  <a:pt x="2582583" y="354153"/>
                </a:cubicBezTo>
                <a:close/>
                <a:moveTo>
                  <a:pt x="2511029" y="354153"/>
                </a:moveTo>
                <a:cubicBezTo>
                  <a:pt x="2519050" y="354153"/>
                  <a:pt x="2525613" y="360983"/>
                  <a:pt x="2525613" y="369330"/>
                </a:cubicBezTo>
                <a:cubicBezTo>
                  <a:pt x="2525613" y="376919"/>
                  <a:pt x="2519050" y="383749"/>
                  <a:pt x="2511029" y="383749"/>
                </a:cubicBezTo>
                <a:cubicBezTo>
                  <a:pt x="2503737" y="383749"/>
                  <a:pt x="2499361" y="376919"/>
                  <a:pt x="2499361" y="369330"/>
                </a:cubicBezTo>
                <a:cubicBezTo>
                  <a:pt x="2499361" y="360983"/>
                  <a:pt x="2503737" y="354153"/>
                  <a:pt x="2511029" y="354153"/>
                </a:cubicBezTo>
                <a:close/>
                <a:moveTo>
                  <a:pt x="2439946" y="354153"/>
                </a:moveTo>
                <a:cubicBezTo>
                  <a:pt x="2448505" y="354153"/>
                  <a:pt x="2454732" y="360983"/>
                  <a:pt x="2454732" y="369330"/>
                </a:cubicBezTo>
                <a:cubicBezTo>
                  <a:pt x="2454732" y="376919"/>
                  <a:pt x="2448505" y="383749"/>
                  <a:pt x="2439946" y="383749"/>
                </a:cubicBezTo>
                <a:cubicBezTo>
                  <a:pt x="2432160" y="383749"/>
                  <a:pt x="2425156" y="376919"/>
                  <a:pt x="2425156" y="369330"/>
                </a:cubicBezTo>
                <a:cubicBezTo>
                  <a:pt x="2425156" y="360983"/>
                  <a:pt x="2432160" y="354153"/>
                  <a:pt x="2439946" y="354153"/>
                </a:cubicBezTo>
                <a:close/>
                <a:moveTo>
                  <a:pt x="2369110" y="354153"/>
                </a:moveTo>
                <a:cubicBezTo>
                  <a:pt x="2377672" y="354153"/>
                  <a:pt x="2383899" y="360983"/>
                  <a:pt x="2383899" y="369330"/>
                </a:cubicBezTo>
                <a:cubicBezTo>
                  <a:pt x="2383899" y="376919"/>
                  <a:pt x="2377672" y="383749"/>
                  <a:pt x="2369110" y="383749"/>
                </a:cubicBezTo>
                <a:cubicBezTo>
                  <a:pt x="2361327" y="383749"/>
                  <a:pt x="2354319" y="376919"/>
                  <a:pt x="2354319" y="369330"/>
                </a:cubicBezTo>
                <a:cubicBezTo>
                  <a:pt x="2354319" y="360983"/>
                  <a:pt x="2361327" y="354153"/>
                  <a:pt x="2369110" y="354153"/>
                </a:cubicBezTo>
                <a:close/>
                <a:moveTo>
                  <a:pt x="2298280" y="354153"/>
                </a:moveTo>
                <a:cubicBezTo>
                  <a:pt x="2306842" y="354153"/>
                  <a:pt x="2313068" y="360983"/>
                  <a:pt x="2313068" y="369330"/>
                </a:cubicBezTo>
                <a:cubicBezTo>
                  <a:pt x="2313068" y="376919"/>
                  <a:pt x="2306842" y="383749"/>
                  <a:pt x="2298280" y="383749"/>
                </a:cubicBezTo>
                <a:cubicBezTo>
                  <a:pt x="2290497" y="383749"/>
                  <a:pt x="2283490" y="376919"/>
                  <a:pt x="2283490" y="369330"/>
                </a:cubicBezTo>
                <a:cubicBezTo>
                  <a:pt x="2283490" y="360983"/>
                  <a:pt x="2290497" y="354153"/>
                  <a:pt x="2298280" y="354153"/>
                </a:cubicBezTo>
                <a:close/>
                <a:moveTo>
                  <a:pt x="2226517" y="354153"/>
                </a:moveTo>
                <a:cubicBezTo>
                  <a:pt x="2234538" y="354153"/>
                  <a:pt x="2238914" y="360983"/>
                  <a:pt x="2238914" y="369330"/>
                </a:cubicBezTo>
                <a:cubicBezTo>
                  <a:pt x="2238914" y="376919"/>
                  <a:pt x="2234538" y="383749"/>
                  <a:pt x="2226517" y="383749"/>
                </a:cubicBezTo>
                <a:cubicBezTo>
                  <a:pt x="2218495" y="383749"/>
                  <a:pt x="2212658" y="376919"/>
                  <a:pt x="2212658" y="369330"/>
                </a:cubicBezTo>
                <a:cubicBezTo>
                  <a:pt x="2212658" y="360983"/>
                  <a:pt x="2218495" y="354153"/>
                  <a:pt x="2226517" y="354153"/>
                </a:cubicBezTo>
                <a:close/>
                <a:moveTo>
                  <a:pt x="2155683" y="354153"/>
                </a:moveTo>
                <a:cubicBezTo>
                  <a:pt x="2161519" y="354153"/>
                  <a:pt x="2168081" y="360983"/>
                  <a:pt x="2168081" y="369330"/>
                </a:cubicBezTo>
                <a:cubicBezTo>
                  <a:pt x="2168081" y="376919"/>
                  <a:pt x="2161519" y="383749"/>
                  <a:pt x="2155683" y="383749"/>
                </a:cubicBezTo>
                <a:cubicBezTo>
                  <a:pt x="2147663" y="383749"/>
                  <a:pt x="2141827" y="376919"/>
                  <a:pt x="2141827" y="369330"/>
                </a:cubicBezTo>
                <a:cubicBezTo>
                  <a:pt x="2141827" y="360983"/>
                  <a:pt x="2147663" y="354153"/>
                  <a:pt x="2155683" y="354153"/>
                </a:cubicBezTo>
                <a:close/>
                <a:moveTo>
                  <a:pt x="2084849" y="354153"/>
                </a:moveTo>
                <a:cubicBezTo>
                  <a:pt x="2090683" y="354153"/>
                  <a:pt x="2097248" y="360983"/>
                  <a:pt x="2097248" y="369330"/>
                </a:cubicBezTo>
                <a:cubicBezTo>
                  <a:pt x="2097248" y="376919"/>
                  <a:pt x="2090683" y="383749"/>
                  <a:pt x="2084849" y="383749"/>
                </a:cubicBezTo>
                <a:cubicBezTo>
                  <a:pt x="2076828" y="383749"/>
                  <a:pt x="2070994" y="376919"/>
                  <a:pt x="2070994" y="369330"/>
                </a:cubicBezTo>
                <a:cubicBezTo>
                  <a:pt x="2070994" y="360983"/>
                  <a:pt x="2076828" y="354153"/>
                  <a:pt x="2084849" y="354153"/>
                </a:cubicBezTo>
                <a:close/>
                <a:moveTo>
                  <a:pt x="2011835" y="354153"/>
                </a:moveTo>
                <a:cubicBezTo>
                  <a:pt x="2019855" y="354153"/>
                  <a:pt x="2026421" y="360983"/>
                  <a:pt x="2026421" y="369330"/>
                </a:cubicBezTo>
                <a:cubicBezTo>
                  <a:pt x="2026421" y="376919"/>
                  <a:pt x="2019855" y="383749"/>
                  <a:pt x="2011835" y="383749"/>
                </a:cubicBezTo>
                <a:cubicBezTo>
                  <a:pt x="2006000" y="383749"/>
                  <a:pt x="2000166" y="376919"/>
                  <a:pt x="2000166" y="369330"/>
                </a:cubicBezTo>
                <a:cubicBezTo>
                  <a:pt x="2000166" y="360983"/>
                  <a:pt x="2006000" y="354153"/>
                  <a:pt x="2011835" y="354153"/>
                </a:cubicBezTo>
                <a:close/>
                <a:moveTo>
                  <a:pt x="1938362" y="354153"/>
                </a:moveTo>
                <a:cubicBezTo>
                  <a:pt x="1946385" y="354153"/>
                  <a:pt x="1952222" y="360983"/>
                  <a:pt x="1952222" y="369330"/>
                </a:cubicBezTo>
                <a:cubicBezTo>
                  <a:pt x="1952222" y="376919"/>
                  <a:pt x="1946385" y="383749"/>
                  <a:pt x="1938362" y="383749"/>
                </a:cubicBezTo>
                <a:cubicBezTo>
                  <a:pt x="1932528" y="383749"/>
                  <a:pt x="1925968" y="376919"/>
                  <a:pt x="1925968" y="369330"/>
                </a:cubicBezTo>
                <a:cubicBezTo>
                  <a:pt x="1925968" y="360983"/>
                  <a:pt x="1932528" y="354153"/>
                  <a:pt x="1938362" y="354153"/>
                </a:cubicBezTo>
                <a:close/>
                <a:moveTo>
                  <a:pt x="1867527" y="354153"/>
                </a:moveTo>
                <a:cubicBezTo>
                  <a:pt x="1875550" y="354153"/>
                  <a:pt x="1881384" y="360983"/>
                  <a:pt x="1881384" y="369330"/>
                </a:cubicBezTo>
                <a:cubicBezTo>
                  <a:pt x="1881384" y="376919"/>
                  <a:pt x="1875550" y="383749"/>
                  <a:pt x="1867527" y="383749"/>
                </a:cubicBezTo>
                <a:cubicBezTo>
                  <a:pt x="1860235" y="383749"/>
                  <a:pt x="1855129" y="376919"/>
                  <a:pt x="1855129" y="369330"/>
                </a:cubicBezTo>
                <a:cubicBezTo>
                  <a:pt x="1855129" y="360983"/>
                  <a:pt x="1860235" y="354153"/>
                  <a:pt x="1867527" y="354153"/>
                </a:cubicBezTo>
                <a:close/>
                <a:moveTo>
                  <a:pt x="1225708" y="284879"/>
                </a:moveTo>
                <a:cubicBezTo>
                  <a:pt x="1233489" y="283322"/>
                  <a:pt x="1240493" y="290327"/>
                  <a:pt x="1240493" y="298111"/>
                </a:cubicBezTo>
                <a:cubicBezTo>
                  <a:pt x="1240493" y="306673"/>
                  <a:pt x="1233489" y="312900"/>
                  <a:pt x="1225708" y="312900"/>
                </a:cubicBezTo>
                <a:cubicBezTo>
                  <a:pt x="1217159" y="312900"/>
                  <a:pt x="1210931" y="306673"/>
                  <a:pt x="1210931" y="298111"/>
                </a:cubicBezTo>
                <a:cubicBezTo>
                  <a:pt x="1210931" y="290327"/>
                  <a:pt x="1217159" y="284879"/>
                  <a:pt x="1225708" y="284879"/>
                </a:cubicBezTo>
                <a:close/>
                <a:moveTo>
                  <a:pt x="3440686" y="283322"/>
                </a:moveTo>
                <a:cubicBezTo>
                  <a:pt x="3448708" y="283322"/>
                  <a:pt x="3453083" y="289885"/>
                  <a:pt x="3453083" y="297178"/>
                </a:cubicBezTo>
                <a:cubicBezTo>
                  <a:pt x="3453083" y="305200"/>
                  <a:pt x="3448708" y="309576"/>
                  <a:pt x="3440686" y="309576"/>
                </a:cubicBezTo>
                <a:cubicBezTo>
                  <a:pt x="3433393" y="309576"/>
                  <a:pt x="3426830" y="305200"/>
                  <a:pt x="3426830" y="297178"/>
                </a:cubicBezTo>
                <a:cubicBezTo>
                  <a:pt x="3426830" y="289885"/>
                  <a:pt x="3433393" y="283322"/>
                  <a:pt x="3440686" y="283322"/>
                </a:cubicBezTo>
                <a:close/>
                <a:moveTo>
                  <a:pt x="3369857" y="283322"/>
                </a:moveTo>
                <a:cubicBezTo>
                  <a:pt x="3376420" y="283322"/>
                  <a:pt x="3382254" y="289885"/>
                  <a:pt x="3382254" y="297178"/>
                </a:cubicBezTo>
                <a:cubicBezTo>
                  <a:pt x="3382254" y="305200"/>
                  <a:pt x="3376420" y="309576"/>
                  <a:pt x="3369857" y="309576"/>
                </a:cubicBezTo>
                <a:cubicBezTo>
                  <a:pt x="3362564" y="309576"/>
                  <a:pt x="3356001" y="305200"/>
                  <a:pt x="3356001" y="297178"/>
                </a:cubicBezTo>
                <a:cubicBezTo>
                  <a:pt x="3356001" y="289885"/>
                  <a:pt x="3362564" y="283322"/>
                  <a:pt x="3369857" y="283322"/>
                </a:cubicBezTo>
                <a:close/>
                <a:moveTo>
                  <a:pt x="3299100" y="283322"/>
                </a:moveTo>
                <a:cubicBezTo>
                  <a:pt x="3305662" y="283322"/>
                  <a:pt x="3311496" y="289885"/>
                  <a:pt x="3311496" y="297178"/>
                </a:cubicBezTo>
                <a:cubicBezTo>
                  <a:pt x="3311496" y="305200"/>
                  <a:pt x="3305662" y="309576"/>
                  <a:pt x="3299100" y="309576"/>
                </a:cubicBezTo>
                <a:cubicBezTo>
                  <a:pt x="3291804" y="309576"/>
                  <a:pt x="3285242" y="305200"/>
                  <a:pt x="3285242" y="297178"/>
                </a:cubicBezTo>
                <a:cubicBezTo>
                  <a:pt x="3285242" y="289885"/>
                  <a:pt x="3291804" y="283322"/>
                  <a:pt x="3299100" y="283322"/>
                </a:cubicBezTo>
                <a:close/>
                <a:moveTo>
                  <a:pt x="3226808" y="283322"/>
                </a:moveTo>
                <a:cubicBezTo>
                  <a:pt x="3234828" y="283322"/>
                  <a:pt x="3240664" y="289885"/>
                  <a:pt x="3240664" y="297178"/>
                </a:cubicBezTo>
                <a:cubicBezTo>
                  <a:pt x="3240664" y="305200"/>
                  <a:pt x="3234828" y="309576"/>
                  <a:pt x="3226808" y="309576"/>
                </a:cubicBezTo>
                <a:cubicBezTo>
                  <a:pt x="3220245" y="309576"/>
                  <a:pt x="3214410" y="305200"/>
                  <a:pt x="3214410" y="297178"/>
                </a:cubicBezTo>
                <a:cubicBezTo>
                  <a:pt x="3214410" y="289885"/>
                  <a:pt x="3220245" y="283322"/>
                  <a:pt x="3226808" y="283322"/>
                </a:cubicBezTo>
                <a:close/>
                <a:moveTo>
                  <a:pt x="3152605" y="283322"/>
                </a:moveTo>
                <a:cubicBezTo>
                  <a:pt x="3159898" y="283322"/>
                  <a:pt x="3166462" y="289885"/>
                  <a:pt x="3166462" y="297178"/>
                </a:cubicBezTo>
                <a:cubicBezTo>
                  <a:pt x="3166462" y="305200"/>
                  <a:pt x="3159898" y="309576"/>
                  <a:pt x="3152605" y="309576"/>
                </a:cubicBezTo>
                <a:cubicBezTo>
                  <a:pt x="3146041" y="309576"/>
                  <a:pt x="3140209" y="305200"/>
                  <a:pt x="3140209" y="297178"/>
                </a:cubicBezTo>
                <a:cubicBezTo>
                  <a:pt x="3140209" y="289885"/>
                  <a:pt x="3146041" y="283322"/>
                  <a:pt x="3152605" y="283322"/>
                </a:cubicBezTo>
                <a:close/>
                <a:moveTo>
                  <a:pt x="3081774" y="283322"/>
                </a:moveTo>
                <a:cubicBezTo>
                  <a:pt x="3089066" y="283322"/>
                  <a:pt x="3095628" y="289885"/>
                  <a:pt x="3095628" y="297178"/>
                </a:cubicBezTo>
                <a:cubicBezTo>
                  <a:pt x="3095628" y="305200"/>
                  <a:pt x="3089066" y="309576"/>
                  <a:pt x="3081774" y="309576"/>
                </a:cubicBezTo>
                <a:cubicBezTo>
                  <a:pt x="3073750" y="309576"/>
                  <a:pt x="3069375" y="305200"/>
                  <a:pt x="3069375" y="297178"/>
                </a:cubicBezTo>
                <a:cubicBezTo>
                  <a:pt x="3069375" y="289885"/>
                  <a:pt x="3073750" y="283322"/>
                  <a:pt x="3081774" y="283322"/>
                </a:cubicBezTo>
                <a:close/>
                <a:moveTo>
                  <a:pt x="3013717" y="283322"/>
                </a:moveTo>
                <a:cubicBezTo>
                  <a:pt x="3021307" y="283322"/>
                  <a:pt x="3028135" y="289885"/>
                  <a:pt x="3028135" y="297178"/>
                </a:cubicBezTo>
                <a:cubicBezTo>
                  <a:pt x="3028135" y="305200"/>
                  <a:pt x="3021307" y="309576"/>
                  <a:pt x="3013717" y="309576"/>
                </a:cubicBezTo>
                <a:cubicBezTo>
                  <a:pt x="3005371" y="309576"/>
                  <a:pt x="2998539" y="305200"/>
                  <a:pt x="2998539" y="297178"/>
                </a:cubicBezTo>
                <a:cubicBezTo>
                  <a:pt x="2998539" y="289885"/>
                  <a:pt x="3005371" y="283322"/>
                  <a:pt x="3013717" y="283322"/>
                </a:cubicBezTo>
                <a:close/>
                <a:moveTo>
                  <a:pt x="2942494" y="283322"/>
                </a:moveTo>
                <a:cubicBezTo>
                  <a:pt x="2951055" y="283322"/>
                  <a:pt x="2957288" y="290327"/>
                  <a:pt x="2957288" y="298111"/>
                </a:cubicBezTo>
                <a:cubicBezTo>
                  <a:pt x="2957288" y="306673"/>
                  <a:pt x="2951055" y="312900"/>
                  <a:pt x="2942494" y="312900"/>
                </a:cubicBezTo>
                <a:cubicBezTo>
                  <a:pt x="2934713" y="312900"/>
                  <a:pt x="2927711" y="306673"/>
                  <a:pt x="2927711" y="298111"/>
                </a:cubicBezTo>
                <a:cubicBezTo>
                  <a:pt x="2927711" y="290327"/>
                  <a:pt x="2934713" y="283322"/>
                  <a:pt x="2942494" y="283322"/>
                </a:cubicBezTo>
                <a:close/>
                <a:moveTo>
                  <a:pt x="2868293" y="283322"/>
                </a:moveTo>
                <a:cubicBezTo>
                  <a:pt x="2876858" y="283322"/>
                  <a:pt x="2883087" y="290327"/>
                  <a:pt x="2883087" y="298111"/>
                </a:cubicBezTo>
                <a:cubicBezTo>
                  <a:pt x="2883087" y="306673"/>
                  <a:pt x="2876858" y="312900"/>
                  <a:pt x="2868293" y="312900"/>
                </a:cubicBezTo>
                <a:cubicBezTo>
                  <a:pt x="2860512" y="312900"/>
                  <a:pt x="2853507" y="306673"/>
                  <a:pt x="2853507" y="298111"/>
                </a:cubicBezTo>
                <a:cubicBezTo>
                  <a:pt x="2853507" y="290327"/>
                  <a:pt x="2860512" y="283322"/>
                  <a:pt x="2868293" y="283322"/>
                </a:cubicBezTo>
                <a:close/>
                <a:moveTo>
                  <a:pt x="2796535" y="283322"/>
                </a:moveTo>
                <a:cubicBezTo>
                  <a:pt x="2804558" y="283322"/>
                  <a:pt x="2808934" y="290327"/>
                  <a:pt x="2808934" y="298111"/>
                </a:cubicBezTo>
                <a:cubicBezTo>
                  <a:pt x="2808934" y="306673"/>
                  <a:pt x="2804558" y="312900"/>
                  <a:pt x="2796535" y="312900"/>
                </a:cubicBezTo>
                <a:cubicBezTo>
                  <a:pt x="2789243" y="312900"/>
                  <a:pt x="2782678" y="306673"/>
                  <a:pt x="2782678" y="298111"/>
                </a:cubicBezTo>
                <a:cubicBezTo>
                  <a:pt x="2782678" y="290327"/>
                  <a:pt x="2789243" y="283322"/>
                  <a:pt x="2796535" y="283322"/>
                </a:cubicBezTo>
                <a:close/>
                <a:moveTo>
                  <a:pt x="2725698" y="283322"/>
                </a:moveTo>
                <a:cubicBezTo>
                  <a:pt x="2731532" y="283322"/>
                  <a:pt x="2738100" y="290327"/>
                  <a:pt x="2738100" y="298111"/>
                </a:cubicBezTo>
                <a:cubicBezTo>
                  <a:pt x="2738100" y="306673"/>
                  <a:pt x="2731532" y="312900"/>
                  <a:pt x="2725698" y="312900"/>
                </a:cubicBezTo>
                <a:cubicBezTo>
                  <a:pt x="2717681" y="312900"/>
                  <a:pt x="2711846" y="306673"/>
                  <a:pt x="2711846" y="298111"/>
                </a:cubicBezTo>
                <a:cubicBezTo>
                  <a:pt x="2711846" y="290327"/>
                  <a:pt x="2717681" y="283322"/>
                  <a:pt x="2725698" y="283322"/>
                </a:cubicBezTo>
                <a:close/>
                <a:moveTo>
                  <a:pt x="2653415" y="283322"/>
                </a:moveTo>
                <a:cubicBezTo>
                  <a:pt x="2660705" y="283322"/>
                  <a:pt x="2667270" y="290327"/>
                  <a:pt x="2667270" y="298111"/>
                </a:cubicBezTo>
                <a:cubicBezTo>
                  <a:pt x="2667270" y="306673"/>
                  <a:pt x="2660705" y="312900"/>
                  <a:pt x="2653415" y="312900"/>
                </a:cubicBezTo>
                <a:cubicBezTo>
                  <a:pt x="2646857" y="312900"/>
                  <a:pt x="2641021" y="306673"/>
                  <a:pt x="2641021" y="298111"/>
                </a:cubicBezTo>
                <a:cubicBezTo>
                  <a:pt x="2641021" y="290327"/>
                  <a:pt x="2646857" y="283322"/>
                  <a:pt x="2653415" y="283322"/>
                </a:cubicBezTo>
                <a:close/>
                <a:moveTo>
                  <a:pt x="2582583" y="283322"/>
                </a:moveTo>
                <a:cubicBezTo>
                  <a:pt x="2589875" y="283322"/>
                  <a:pt x="2596439" y="290327"/>
                  <a:pt x="2596439" y="298111"/>
                </a:cubicBezTo>
                <a:cubicBezTo>
                  <a:pt x="2596439" y="306673"/>
                  <a:pt x="2589875" y="312900"/>
                  <a:pt x="2582583" y="312900"/>
                </a:cubicBezTo>
                <a:cubicBezTo>
                  <a:pt x="2576019" y="312900"/>
                  <a:pt x="2570189" y="306673"/>
                  <a:pt x="2570189" y="298111"/>
                </a:cubicBezTo>
                <a:cubicBezTo>
                  <a:pt x="2570189" y="290327"/>
                  <a:pt x="2576019" y="283322"/>
                  <a:pt x="2582583" y="283322"/>
                </a:cubicBezTo>
                <a:close/>
                <a:moveTo>
                  <a:pt x="2511029" y="283322"/>
                </a:moveTo>
                <a:cubicBezTo>
                  <a:pt x="2519050" y="283322"/>
                  <a:pt x="2525613" y="290327"/>
                  <a:pt x="2525613" y="298111"/>
                </a:cubicBezTo>
                <a:cubicBezTo>
                  <a:pt x="2525613" y="306673"/>
                  <a:pt x="2519050" y="312900"/>
                  <a:pt x="2511029" y="312900"/>
                </a:cubicBezTo>
                <a:cubicBezTo>
                  <a:pt x="2503740" y="312900"/>
                  <a:pt x="2499361" y="306673"/>
                  <a:pt x="2499361" y="298111"/>
                </a:cubicBezTo>
                <a:cubicBezTo>
                  <a:pt x="2499361" y="290327"/>
                  <a:pt x="2503740" y="283322"/>
                  <a:pt x="2511029" y="283322"/>
                </a:cubicBezTo>
                <a:close/>
                <a:moveTo>
                  <a:pt x="2439946" y="283322"/>
                </a:moveTo>
                <a:cubicBezTo>
                  <a:pt x="2448505" y="283322"/>
                  <a:pt x="2454732" y="290327"/>
                  <a:pt x="2454732" y="298111"/>
                </a:cubicBezTo>
                <a:cubicBezTo>
                  <a:pt x="2454732" y="306673"/>
                  <a:pt x="2448505" y="312900"/>
                  <a:pt x="2439946" y="312900"/>
                </a:cubicBezTo>
                <a:cubicBezTo>
                  <a:pt x="2432160" y="312900"/>
                  <a:pt x="2425156" y="306673"/>
                  <a:pt x="2425156" y="298111"/>
                </a:cubicBezTo>
                <a:cubicBezTo>
                  <a:pt x="2425156" y="290327"/>
                  <a:pt x="2432160" y="283322"/>
                  <a:pt x="2439946" y="283322"/>
                </a:cubicBezTo>
                <a:close/>
                <a:moveTo>
                  <a:pt x="2369110" y="283322"/>
                </a:moveTo>
                <a:cubicBezTo>
                  <a:pt x="2377672" y="283322"/>
                  <a:pt x="2383899" y="290327"/>
                  <a:pt x="2383899" y="298111"/>
                </a:cubicBezTo>
                <a:cubicBezTo>
                  <a:pt x="2383899" y="306673"/>
                  <a:pt x="2377672" y="312900"/>
                  <a:pt x="2369110" y="312900"/>
                </a:cubicBezTo>
                <a:cubicBezTo>
                  <a:pt x="2361327" y="312900"/>
                  <a:pt x="2354319" y="306673"/>
                  <a:pt x="2354319" y="298111"/>
                </a:cubicBezTo>
                <a:cubicBezTo>
                  <a:pt x="2354319" y="290327"/>
                  <a:pt x="2361327" y="283322"/>
                  <a:pt x="2369110" y="283322"/>
                </a:cubicBezTo>
                <a:close/>
                <a:moveTo>
                  <a:pt x="2298280" y="283322"/>
                </a:moveTo>
                <a:cubicBezTo>
                  <a:pt x="2306842" y="283322"/>
                  <a:pt x="2313068" y="290327"/>
                  <a:pt x="2313068" y="298111"/>
                </a:cubicBezTo>
                <a:cubicBezTo>
                  <a:pt x="2313068" y="306673"/>
                  <a:pt x="2306842" y="312900"/>
                  <a:pt x="2298280" y="312900"/>
                </a:cubicBezTo>
                <a:cubicBezTo>
                  <a:pt x="2290497" y="312900"/>
                  <a:pt x="2283490" y="306673"/>
                  <a:pt x="2283490" y="298111"/>
                </a:cubicBezTo>
                <a:cubicBezTo>
                  <a:pt x="2283490" y="290327"/>
                  <a:pt x="2290497" y="283322"/>
                  <a:pt x="2298280" y="283322"/>
                </a:cubicBezTo>
                <a:close/>
                <a:moveTo>
                  <a:pt x="2226517" y="283322"/>
                </a:moveTo>
                <a:cubicBezTo>
                  <a:pt x="2234538" y="283322"/>
                  <a:pt x="2238914" y="290327"/>
                  <a:pt x="2238914" y="298111"/>
                </a:cubicBezTo>
                <a:cubicBezTo>
                  <a:pt x="2238914" y="306673"/>
                  <a:pt x="2234538" y="312900"/>
                  <a:pt x="2226517" y="312900"/>
                </a:cubicBezTo>
                <a:cubicBezTo>
                  <a:pt x="2218495" y="312900"/>
                  <a:pt x="2212658" y="306673"/>
                  <a:pt x="2212658" y="298111"/>
                </a:cubicBezTo>
                <a:cubicBezTo>
                  <a:pt x="2212658" y="290327"/>
                  <a:pt x="2218495" y="283322"/>
                  <a:pt x="2226517" y="283322"/>
                </a:cubicBezTo>
                <a:close/>
                <a:moveTo>
                  <a:pt x="2155683" y="283322"/>
                </a:moveTo>
                <a:cubicBezTo>
                  <a:pt x="2161519" y="283322"/>
                  <a:pt x="2168081" y="290327"/>
                  <a:pt x="2168081" y="298111"/>
                </a:cubicBezTo>
                <a:cubicBezTo>
                  <a:pt x="2168081" y="306673"/>
                  <a:pt x="2161519" y="312900"/>
                  <a:pt x="2155683" y="312900"/>
                </a:cubicBezTo>
                <a:cubicBezTo>
                  <a:pt x="2147663" y="312900"/>
                  <a:pt x="2141827" y="306673"/>
                  <a:pt x="2141827" y="298111"/>
                </a:cubicBezTo>
                <a:cubicBezTo>
                  <a:pt x="2141827" y="290327"/>
                  <a:pt x="2147663" y="283322"/>
                  <a:pt x="2155683" y="283322"/>
                </a:cubicBezTo>
                <a:close/>
                <a:moveTo>
                  <a:pt x="2084849" y="283322"/>
                </a:moveTo>
                <a:cubicBezTo>
                  <a:pt x="2090685" y="283322"/>
                  <a:pt x="2097248" y="290327"/>
                  <a:pt x="2097248" y="298111"/>
                </a:cubicBezTo>
                <a:cubicBezTo>
                  <a:pt x="2097248" y="306673"/>
                  <a:pt x="2090685" y="312900"/>
                  <a:pt x="2084849" y="312900"/>
                </a:cubicBezTo>
                <a:cubicBezTo>
                  <a:pt x="2076828" y="312900"/>
                  <a:pt x="2070994" y="306673"/>
                  <a:pt x="2070994" y="298111"/>
                </a:cubicBezTo>
                <a:cubicBezTo>
                  <a:pt x="2070994" y="290327"/>
                  <a:pt x="2076828" y="283322"/>
                  <a:pt x="2084849" y="283322"/>
                </a:cubicBezTo>
                <a:close/>
                <a:moveTo>
                  <a:pt x="2011835" y="283322"/>
                </a:moveTo>
                <a:cubicBezTo>
                  <a:pt x="2019855" y="283322"/>
                  <a:pt x="2026421" y="290327"/>
                  <a:pt x="2026421" y="298111"/>
                </a:cubicBezTo>
                <a:cubicBezTo>
                  <a:pt x="2026421" y="306673"/>
                  <a:pt x="2019855" y="312900"/>
                  <a:pt x="2011835" y="312900"/>
                </a:cubicBezTo>
                <a:cubicBezTo>
                  <a:pt x="2006002" y="312900"/>
                  <a:pt x="2000168" y="306673"/>
                  <a:pt x="2000168" y="298111"/>
                </a:cubicBezTo>
                <a:cubicBezTo>
                  <a:pt x="2000168" y="290327"/>
                  <a:pt x="2006002" y="283322"/>
                  <a:pt x="2011835" y="283322"/>
                </a:cubicBezTo>
                <a:close/>
                <a:moveTo>
                  <a:pt x="1938362" y="283322"/>
                </a:moveTo>
                <a:cubicBezTo>
                  <a:pt x="1946385" y="283322"/>
                  <a:pt x="1952222" y="290327"/>
                  <a:pt x="1952222" y="298111"/>
                </a:cubicBezTo>
                <a:cubicBezTo>
                  <a:pt x="1952222" y="306673"/>
                  <a:pt x="1946385" y="312900"/>
                  <a:pt x="1938362" y="312900"/>
                </a:cubicBezTo>
                <a:cubicBezTo>
                  <a:pt x="1932531" y="312900"/>
                  <a:pt x="1925968" y="306673"/>
                  <a:pt x="1925968" y="298111"/>
                </a:cubicBezTo>
                <a:cubicBezTo>
                  <a:pt x="1925968" y="290327"/>
                  <a:pt x="1932531" y="283322"/>
                  <a:pt x="1938362" y="283322"/>
                </a:cubicBezTo>
                <a:close/>
                <a:moveTo>
                  <a:pt x="1867527" y="283322"/>
                </a:moveTo>
                <a:cubicBezTo>
                  <a:pt x="1875550" y="283322"/>
                  <a:pt x="1881384" y="290327"/>
                  <a:pt x="1881384" y="298111"/>
                </a:cubicBezTo>
                <a:cubicBezTo>
                  <a:pt x="1881384" y="306673"/>
                  <a:pt x="1875550" y="312900"/>
                  <a:pt x="1867527" y="312900"/>
                </a:cubicBezTo>
                <a:cubicBezTo>
                  <a:pt x="1860235" y="312900"/>
                  <a:pt x="1855129" y="306673"/>
                  <a:pt x="1855129" y="298111"/>
                </a:cubicBezTo>
                <a:cubicBezTo>
                  <a:pt x="1855129" y="290327"/>
                  <a:pt x="1860235" y="283322"/>
                  <a:pt x="1867527" y="283322"/>
                </a:cubicBezTo>
                <a:close/>
                <a:moveTo>
                  <a:pt x="1799085" y="283322"/>
                </a:moveTo>
                <a:cubicBezTo>
                  <a:pt x="1807647" y="283322"/>
                  <a:pt x="1813876" y="290327"/>
                  <a:pt x="1813876" y="298111"/>
                </a:cubicBezTo>
                <a:cubicBezTo>
                  <a:pt x="1813876" y="306673"/>
                  <a:pt x="1807647" y="312900"/>
                  <a:pt x="1799085" y="312900"/>
                </a:cubicBezTo>
                <a:cubicBezTo>
                  <a:pt x="1790525" y="312900"/>
                  <a:pt x="1784300" y="306673"/>
                  <a:pt x="1784300" y="298111"/>
                </a:cubicBezTo>
                <a:cubicBezTo>
                  <a:pt x="1784300" y="290327"/>
                  <a:pt x="1790525" y="283322"/>
                  <a:pt x="1799085" y="283322"/>
                </a:cubicBezTo>
                <a:close/>
                <a:moveTo>
                  <a:pt x="1728262" y="283322"/>
                </a:moveTo>
                <a:cubicBezTo>
                  <a:pt x="1736825" y="283322"/>
                  <a:pt x="1743052" y="290327"/>
                  <a:pt x="1743052" y="298111"/>
                </a:cubicBezTo>
                <a:cubicBezTo>
                  <a:pt x="1743052" y="306673"/>
                  <a:pt x="1736825" y="312900"/>
                  <a:pt x="1728262" y="312900"/>
                </a:cubicBezTo>
                <a:cubicBezTo>
                  <a:pt x="1719697" y="312900"/>
                  <a:pt x="1713472" y="306673"/>
                  <a:pt x="1713472" y="298111"/>
                </a:cubicBezTo>
                <a:cubicBezTo>
                  <a:pt x="1713472" y="290327"/>
                  <a:pt x="1719697" y="283322"/>
                  <a:pt x="1728262" y="283322"/>
                </a:cubicBezTo>
                <a:close/>
                <a:moveTo>
                  <a:pt x="1656498" y="283322"/>
                </a:moveTo>
                <a:cubicBezTo>
                  <a:pt x="1663792" y="283322"/>
                  <a:pt x="1668897" y="290327"/>
                  <a:pt x="1668897" y="298111"/>
                </a:cubicBezTo>
                <a:cubicBezTo>
                  <a:pt x="1668897" y="306673"/>
                  <a:pt x="1663792" y="312900"/>
                  <a:pt x="1656498" y="312900"/>
                </a:cubicBezTo>
                <a:cubicBezTo>
                  <a:pt x="1648481" y="312900"/>
                  <a:pt x="1642650" y="306673"/>
                  <a:pt x="1642650" y="298111"/>
                </a:cubicBezTo>
                <a:cubicBezTo>
                  <a:pt x="1642650" y="290327"/>
                  <a:pt x="1648481" y="283322"/>
                  <a:pt x="1656498" y="283322"/>
                </a:cubicBezTo>
                <a:close/>
                <a:moveTo>
                  <a:pt x="1582299" y="283322"/>
                </a:moveTo>
                <a:cubicBezTo>
                  <a:pt x="1588131" y="283322"/>
                  <a:pt x="1594704" y="290327"/>
                  <a:pt x="1594704" y="298111"/>
                </a:cubicBezTo>
                <a:cubicBezTo>
                  <a:pt x="1594704" y="306673"/>
                  <a:pt x="1588131" y="312900"/>
                  <a:pt x="1582299" y="312900"/>
                </a:cubicBezTo>
                <a:cubicBezTo>
                  <a:pt x="1574277" y="312900"/>
                  <a:pt x="1568441" y="306673"/>
                  <a:pt x="1568441" y="298111"/>
                </a:cubicBezTo>
                <a:cubicBezTo>
                  <a:pt x="1568441" y="290327"/>
                  <a:pt x="1574277" y="283322"/>
                  <a:pt x="1582299" y="283322"/>
                </a:cubicBezTo>
                <a:close/>
                <a:moveTo>
                  <a:pt x="1512198" y="283322"/>
                </a:moveTo>
                <a:cubicBezTo>
                  <a:pt x="1518032" y="283322"/>
                  <a:pt x="1523865" y="290327"/>
                  <a:pt x="1523865" y="298111"/>
                </a:cubicBezTo>
                <a:cubicBezTo>
                  <a:pt x="1523865" y="306673"/>
                  <a:pt x="1518032" y="312900"/>
                  <a:pt x="1512198" y="312900"/>
                </a:cubicBezTo>
                <a:cubicBezTo>
                  <a:pt x="1504174" y="312900"/>
                  <a:pt x="1497612" y="306673"/>
                  <a:pt x="1497612" y="298111"/>
                </a:cubicBezTo>
                <a:cubicBezTo>
                  <a:pt x="1497612" y="290327"/>
                  <a:pt x="1504174" y="283322"/>
                  <a:pt x="1512198" y="283322"/>
                </a:cubicBezTo>
                <a:close/>
                <a:moveTo>
                  <a:pt x="1439173" y="283322"/>
                </a:moveTo>
                <a:cubicBezTo>
                  <a:pt x="1447191" y="283322"/>
                  <a:pt x="1453026" y="290327"/>
                  <a:pt x="1453026" y="298111"/>
                </a:cubicBezTo>
                <a:cubicBezTo>
                  <a:pt x="1453026" y="306673"/>
                  <a:pt x="1447191" y="312900"/>
                  <a:pt x="1439173" y="312900"/>
                </a:cubicBezTo>
                <a:cubicBezTo>
                  <a:pt x="1433336" y="312900"/>
                  <a:pt x="1426777" y="306673"/>
                  <a:pt x="1426777" y="298111"/>
                </a:cubicBezTo>
                <a:cubicBezTo>
                  <a:pt x="1426777" y="290327"/>
                  <a:pt x="1433336" y="283322"/>
                  <a:pt x="1439173" y="283322"/>
                </a:cubicBezTo>
                <a:close/>
                <a:moveTo>
                  <a:pt x="1368347" y="283322"/>
                </a:moveTo>
                <a:cubicBezTo>
                  <a:pt x="1376368" y="283322"/>
                  <a:pt x="1382200" y="290327"/>
                  <a:pt x="1382200" y="298111"/>
                </a:cubicBezTo>
                <a:cubicBezTo>
                  <a:pt x="1382200" y="306673"/>
                  <a:pt x="1376368" y="312900"/>
                  <a:pt x="1368347" y="312900"/>
                </a:cubicBezTo>
                <a:cubicBezTo>
                  <a:pt x="1362513" y="312900"/>
                  <a:pt x="1355949" y="306673"/>
                  <a:pt x="1355949" y="298111"/>
                </a:cubicBezTo>
                <a:cubicBezTo>
                  <a:pt x="1355949" y="290327"/>
                  <a:pt x="1362513" y="283322"/>
                  <a:pt x="1368347" y="283322"/>
                </a:cubicBezTo>
                <a:close/>
                <a:moveTo>
                  <a:pt x="1297518" y="283322"/>
                </a:moveTo>
                <a:cubicBezTo>
                  <a:pt x="1305540" y="283322"/>
                  <a:pt x="1311374" y="290327"/>
                  <a:pt x="1311374" y="298111"/>
                </a:cubicBezTo>
                <a:cubicBezTo>
                  <a:pt x="1311374" y="306673"/>
                  <a:pt x="1305540" y="312900"/>
                  <a:pt x="1297518" y="312900"/>
                </a:cubicBezTo>
                <a:cubicBezTo>
                  <a:pt x="1289498" y="312900"/>
                  <a:pt x="1285121" y="306673"/>
                  <a:pt x="1285121" y="298111"/>
                </a:cubicBezTo>
                <a:cubicBezTo>
                  <a:pt x="1285121" y="290327"/>
                  <a:pt x="1289498" y="283322"/>
                  <a:pt x="1297518" y="283322"/>
                </a:cubicBezTo>
                <a:close/>
                <a:moveTo>
                  <a:pt x="1154890" y="283322"/>
                </a:moveTo>
                <a:cubicBezTo>
                  <a:pt x="1162674" y="283322"/>
                  <a:pt x="1169683" y="288427"/>
                  <a:pt x="1169683" y="295719"/>
                </a:cubicBezTo>
                <a:cubicBezTo>
                  <a:pt x="1169683" y="303741"/>
                  <a:pt x="1162674" y="309576"/>
                  <a:pt x="1154890" y="309576"/>
                </a:cubicBezTo>
                <a:cubicBezTo>
                  <a:pt x="1146329" y="309576"/>
                  <a:pt x="1140101" y="303741"/>
                  <a:pt x="1140101" y="295719"/>
                </a:cubicBezTo>
                <a:cubicBezTo>
                  <a:pt x="1140101" y="288427"/>
                  <a:pt x="1146329" y="283322"/>
                  <a:pt x="1154890" y="283322"/>
                </a:cubicBezTo>
                <a:close/>
                <a:moveTo>
                  <a:pt x="1084059" y="283322"/>
                </a:moveTo>
                <a:cubicBezTo>
                  <a:pt x="1091842" y="283322"/>
                  <a:pt x="1098847" y="288427"/>
                  <a:pt x="1098847" y="295719"/>
                </a:cubicBezTo>
                <a:cubicBezTo>
                  <a:pt x="1098847" y="303741"/>
                  <a:pt x="1091842" y="309576"/>
                  <a:pt x="1084059" y="309576"/>
                </a:cubicBezTo>
                <a:cubicBezTo>
                  <a:pt x="1075503" y="309576"/>
                  <a:pt x="1069272" y="303741"/>
                  <a:pt x="1069272" y="295719"/>
                </a:cubicBezTo>
                <a:cubicBezTo>
                  <a:pt x="1069272" y="288427"/>
                  <a:pt x="1075503" y="283322"/>
                  <a:pt x="1084059" y="283322"/>
                </a:cubicBezTo>
                <a:close/>
                <a:moveTo>
                  <a:pt x="1013024" y="283322"/>
                </a:moveTo>
                <a:cubicBezTo>
                  <a:pt x="1020314" y="283322"/>
                  <a:pt x="1024691" y="288427"/>
                  <a:pt x="1024691" y="295719"/>
                </a:cubicBezTo>
                <a:cubicBezTo>
                  <a:pt x="1024691" y="303741"/>
                  <a:pt x="1020314" y="309576"/>
                  <a:pt x="1013024" y="309576"/>
                </a:cubicBezTo>
                <a:cubicBezTo>
                  <a:pt x="1005003" y="309576"/>
                  <a:pt x="998442" y="303741"/>
                  <a:pt x="998442" y="295719"/>
                </a:cubicBezTo>
                <a:cubicBezTo>
                  <a:pt x="998442" y="288427"/>
                  <a:pt x="1005003" y="283322"/>
                  <a:pt x="1013024" y="283322"/>
                </a:cubicBezTo>
                <a:close/>
                <a:moveTo>
                  <a:pt x="941467" y="283322"/>
                </a:moveTo>
                <a:cubicBezTo>
                  <a:pt x="948032" y="283322"/>
                  <a:pt x="953869" y="288427"/>
                  <a:pt x="953869" y="295719"/>
                </a:cubicBezTo>
                <a:cubicBezTo>
                  <a:pt x="953869" y="303741"/>
                  <a:pt x="948032" y="309576"/>
                  <a:pt x="941467" y="309576"/>
                </a:cubicBezTo>
                <a:cubicBezTo>
                  <a:pt x="934173" y="309576"/>
                  <a:pt x="927612" y="303741"/>
                  <a:pt x="927612" y="295719"/>
                </a:cubicBezTo>
                <a:cubicBezTo>
                  <a:pt x="927612" y="288427"/>
                  <a:pt x="934173" y="283322"/>
                  <a:pt x="941467" y="283322"/>
                </a:cubicBezTo>
                <a:close/>
                <a:moveTo>
                  <a:pt x="3299102" y="212492"/>
                </a:moveTo>
                <a:cubicBezTo>
                  <a:pt x="3305664" y="212492"/>
                  <a:pt x="3311499" y="219055"/>
                  <a:pt x="3311499" y="226348"/>
                </a:cubicBezTo>
                <a:cubicBezTo>
                  <a:pt x="3311499" y="232911"/>
                  <a:pt x="3305664" y="238746"/>
                  <a:pt x="3299102" y="238746"/>
                </a:cubicBezTo>
                <a:cubicBezTo>
                  <a:pt x="3291807" y="238746"/>
                  <a:pt x="3285245" y="232911"/>
                  <a:pt x="3285245" y="226348"/>
                </a:cubicBezTo>
                <a:cubicBezTo>
                  <a:pt x="3285245" y="219055"/>
                  <a:pt x="3291807" y="212492"/>
                  <a:pt x="3299102" y="212492"/>
                </a:cubicBezTo>
                <a:close/>
                <a:moveTo>
                  <a:pt x="3226811" y="212492"/>
                </a:moveTo>
                <a:cubicBezTo>
                  <a:pt x="3234831" y="212492"/>
                  <a:pt x="3240667" y="219055"/>
                  <a:pt x="3240667" y="226348"/>
                </a:cubicBezTo>
                <a:cubicBezTo>
                  <a:pt x="3240667" y="232911"/>
                  <a:pt x="3234831" y="238746"/>
                  <a:pt x="3226811" y="238746"/>
                </a:cubicBezTo>
                <a:cubicBezTo>
                  <a:pt x="3220250" y="238746"/>
                  <a:pt x="3214412" y="232911"/>
                  <a:pt x="3214412" y="226348"/>
                </a:cubicBezTo>
                <a:cubicBezTo>
                  <a:pt x="3214412" y="219055"/>
                  <a:pt x="3220250" y="212492"/>
                  <a:pt x="3226811" y="212492"/>
                </a:cubicBezTo>
                <a:close/>
                <a:moveTo>
                  <a:pt x="3152608" y="212492"/>
                </a:moveTo>
                <a:cubicBezTo>
                  <a:pt x="3159900" y="212492"/>
                  <a:pt x="3166462" y="219055"/>
                  <a:pt x="3166462" y="226348"/>
                </a:cubicBezTo>
                <a:cubicBezTo>
                  <a:pt x="3166462" y="232911"/>
                  <a:pt x="3159900" y="238746"/>
                  <a:pt x="3152608" y="238746"/>
                </a:cubicBezTo>
                <a:cubicBezTo>
                  <a:pt x="3146043" y="238746"/>
                  <a:pt x="3140211" y="232911"/>
                  <a:pt x="3140211" y="226348"/>
                </a:cubicBezTo>
                <a:cubicBezTo>
                  <a:pt x="3140211" y="219055"/>
                  <a:pt x="3146043" y="212492"/>
                  <a:pt x="3152608" y="212492"/>
                </a:cubicBezTo>
                <a:close/>
                <a:moveTo>
                  <a:pt x="3081775" y="212492"/>
                </a:moveTo>
                <a:cubicBezTo>
                  <a:pt x="3089069" y="212492"/>
                  <a:pt x="3095628" y="219055"/>
                  <a:pt x="3095628" y="226348"/>
                </a:cubicBezTo>
                <a:cubicBezTo>
                  <a:pt x="3095628" y="232911"/>
                  <a:pt x="3089069" y="238746"/>
                  <a:pt x="3081775" y="238746"/>
                </a:cubicBezTo>
                <a:cubicBezTo>
                  <a:pt x="3073753" y="238746"/>
                  <a:pt x="3069375" y="232911"/>
                  <a:pt x="3069375" y="226348"/>
                </a:cubicBezTo>
                <a:cubicBezTo>
                  <a:pt x="3069375" y="219055"/>
                  <a:pt x="3073753" y="212492"/>
                  <a:pt x="3081775" y="212492"/>
                </a:cubicBezTo>
                <a:close/>
                <a:moveTo>
                  <a:pt x="3013720" y="212492"/>
                </a:moveTo>
                <a:cubicBezTo>
                  <a:pt x="3021310" y="212492"/>
                  <a:pt x="3028140" y="219055"/>
                  <a:pt x="3028140" y="226348"/>
                </a:cubicBezTo>
                <a:cubicBezTo>
                  <a:pt x="3028140" y="232911"/>
                  <a:pt x="3021310" y="238746"/>
                  <a:pt x="3013720" y="238746"/>
                </a:cubicBezTo>
                <a:cubicBezTo>
                  <a:pt x="3005373" y="238746"/>
                  <a:pt x="2998542" y="234370"/>
                  <a:pt x="2998542" y="226348"/>
                </a:cubicBezTo>
                <a:cubicBezTo>
                  <a:pt x="2998542" y="219055"/>
                  <a:pt x="3005373" y="212492"/>
                  <a:pt x="3013720" y="212492"/>
                </a:cubicBezTo>
                <a:close/>
                <a:moveTo>
                  <a:pt x="2942497" y="212492"/>
                </a:moveTo>
                <a:cubicBezTo>
                  <a:pt x="2951061" y="212492"/>
                  <a:pt x="2957293" y="219055"/>
                  <a:pt x="2957293" y="226348"/>
                </a:cubicBezTo>
                <a:cubicBezTo>
                  <a:pt x="2957293" y="234370"/>
                  <a:pt x="2951061" y="238746"/>
                  <a:pt x="2942497" y="238746"/>
                </a:cubicBezTo>
                <a:cubicBezTo>
                  <a:pt x="2934719" y="238746"/>
                  <a:pt x="2927716" y="234370"/>
                  <a:pt x="2927716" y="226348"/>
                </a:cubicBezTo>
                <a:cubicBezTo>
                  <a:pt x="2927716" y="219055"/>
                  <a:pt x="2934719" y="212492"/>
                  <a:pt x="2942497" y="212492"/>
                </a:cubicBezTo>
                <a:close/>
                <a:moveTo>
                  <a:pt x="2867363" y="212492"/>
                </a:moveTo>
                <a:cubicBezTo>
                  <a:pt x="2875389" y="212492"/>
                  <a:pt x="2879765" y="219055"/>
                  <a:pt x="2879765" y="226348"/>
                </a:cubicBezTo>
                <a:cubicBezTo>
                  <a:pt x="2879765" y="234370"/>
                  <a:pt x="2875389" y="238746"/>
                  <a:pt x="2867363" y="238746"/>
                </a:cubicBezTo>
                <a:cubicBezTo>
                  <a:pt x="2860073" y="238746"/>
                  <a:pt x="2853510" y="234370"/>
                  <a:pt x="2853510" y="226348"/>
                </a:cubicBezTo>
                <a:cubicBezTo>
                  <a:pt x="2853510" y="219055"/>
                  <a:pt x="2860073" y="212492"/>
                  <a:pt x="2867363" y="212492"/>
                </a:cubicBezTo>
                <a:close/>
                <a:moveTo>
                  <a:pt x="2796538" y="212492"/>
                </a:moveTo>
                <a:cubicBezTo>
                  <a:pt x="2803103" y="212492"/>
                  <a:pt x="2808934" y="219055"/>
                  <a:pt x="2808934" y="226348"/>
                </a:cubicBezTo>
                <a:cubicBezTo>
                  <a:pt x="2808934" y="234370"/>
                  <a:pt x="2803103" y="238746"/>
                  <a:pt x="2796538" y="238746"/>
                </a:cubicBezTo>
                <a:cubicBezTo>
                  <a:pt x="2789246" y="238746"/>
                  <a:pt x="2782680" y="234370"/>
                  <a:pt x="2782680" y="226348"/>
                </a:cubicBezTo>
                <a:cubicBezTo>
                  <a:pt x="2782680" y="219055"/>
                  <a:pt x="2789246" y="212492"/>
                  <a:pt x="2796538" y="212492"/>
                </a:cubicBezTo>
                <a:close/>
                <a:moveTo>
                  <a:pt x="2725698" y="212492"/>
                </a:moveTo>
                <a:cubicBezTo>
                  <a:pt x="2731538" y="212492"/>
                  <a:pt x="2738102" y="219055"/>
                  <a:pt x="2738102" y="226348"/>
                </a:cubicBezTo>
                <a:cubicBezTo>
                  <a:pt x="2738102" y="234370"/>
                  <a:pt x="2731538" y="238746"/>
                  <a:pt x="2725698" y="238746"/>
                </a:cubicBezTo>
                <a:cubicBezTo>
                  <a:pt x="2717686" y="238746"/>
                  <a:pt x="2711852" y="234370"/>
                  <a:pt x="2711852" y="226348"/>
                </a:cubicBezTo>
                <a:cubicBezTo>
                  <a:pt x="2711852" y="219055"/>
                  <a:pt x="2717686" y="212492"/>
                  <a:pt x="2725698" y="212492"/>
                </a:cubicBezTo>
                <a:close/>
                <a:moveTo>
                  <a:pt x="2653420" y="212492"/>
                </a:moveTo>
                <a:cubicBezTo>
                  <a:pt x="2660711" y="212492"/>
                  <a:pt x="2667273" y="219055"/>
                  <a:pt x="2667273" y="226348"/>
                </a:cubicBezTo>
                <a:cubicBezTo>
                  <a:pt x="2667273" y="234370"/>
                  <a:pt x="2660711" y="238746"/>
                  <a:pt x="2653420" y="238746"/>
                </a:cubicBezTo>
                <a:cubicBezTo>
                  <a:pt x="2646857" y="238746"/>
                  <a:pt x="2641021" y="234370"/>
                  <a:pt x="2641021" y="226348"/>
                </a:cubicBezTo>
                <a:cubicBezTo>
                  <a:pt x="2641021" y="219055"/>
                  <a:pt x="2646857" y="212492"/>
                  <a:pt x="2653420" y="212492"/>
                </a:cubicBezTo>
                <a:close/>
                <a:moveTo>
                  <a:pt x="2582586" y="212492"/>
                </a:moveTo>
                <a:cubicBezTo>
                  <a:pt x="2589878" y="212492"/>
                  <a:pt x="2596439" y="219055"/>
                  <a:pt x="2596439" y="226348"/>
                </a:cubicBezTo>
                <a:cubicBezTo>
                  <a:pt x="2596439" y="234370"/>
                  <a:pt x="2589878" y="238746"/>
                  <a:pt x="2582586" y="238746"/>
                </a:cubicBezTo>
                <a:cubicBezTo>
                  <a:pt x="2576024" y="238746"/>
                  <a:pt x="2570189" y="234370"/>
                  <a:pt x="2570189" y="226348"/>
                </a:cubicBezTo>
                <a:cubicBezTo>
                  <a:pt x="2570189" y="219055"/>
                  <a:pt x="2576024" y="212492"/>
                  <a:pt x="2582586" y="212492"/>
                </a:cubicBezTo>
                <a:close/>
                <a:moveTo>
                  <a:pt x="2511029" y="212492"/>
                </a:moveTo>
                <a:cubicBezTo>
                  <a:pt x="2519052" y="212492"/>
                  <a:pt x="2525616" y="219055"/>
                  <a:pt x="2525616" y="226348"/>
                </a:cubicBezTo>
                <a:cubicBezTo>
                  <a:pt x="2525616" y="234370"/>
                  <a:pt x="2519052" y="238746"/>
                  <a:pt x="2511029" y="238746"/>
                </a:cubicBezTo>
                <a:cubicBezTo>
                  <a:pt x="2503740" y="238746"/>
                  <a:pt x="2499364" y="234370"/>
                  <a:pt x="2499364" y="226348"/>
                </a:cubicBezTo>
                <a:cubicBezTo>
                  <a:pt x="2499364" y="219055"/>
                  <a:pt x="2503740" y="212492"/>
                  <a:pt x="2511029" y="212492"/>
                </a:cubicBezTo>
                <a:close/>
                <a:moveTo>
                  <a:pt x="2439946" y="212492"/>
                </a:moveTo>
                <a:cubicBezTo>
                  <a:pt x="2448505" y="212492"/>
                  <a:pt x="2454732" y="219055"/>
                  <a:pt x="2454732" y="226348"/>
                </a:cubicBezTo>
                <a:cubicBezTo>
                  <a:pt x="2454732" y="234370"/>
                  <a:pt x="2448505" y="238746"/>
                  <a:pt x="2439946" y="238746"/>
                </a:cubicBezTo>
                <a:cubicBezTo>
                  <a:pt x="2432163" y="238746"/>
                  <a:pt x="2425156" y="234370"/>
                  <a:pt x="2425156" y="226348"/>
                </a:cubicBezTo>
                <a:cubicBezTo>
                  <a:pt x="2425156" y="219055"/>
                  <a:pt x="2432163" y="212492"/>
                  <a:pt x="2439946" y="212492"/>
                </a:cubicBezTo>
                <a:close/>
                <a:moveTo>
                  <a:pt x="2369110" y="212492"/>
                </a:moveTo>
                <a:cubicBezTo>
                  <a:pt x="2377672" y="212492"/>
                  <a:pt x="2383900" y="219055"/>
                  <a:pt x="2383900" y="226348"/>
                </a:cubicBezTo>
                <a:cubicBezTo>
                  <a:pt x="2383900" y="234370"/>
                  <a:pt x="2377672" y="238746"/>
                  <a:pt x="2369110" y="238746"/>
                </a:cubicBezTo>
                <a:cubicBezTo>
                  <a:pt x="2361329" y="238746"/>
                  <a:pt x="2354323" y="234370"/>
                  <a:pt x="2354323" y="226348"/>
                </a:cubicBezTo>
                <a:cubicBezTo>
                  <a:pt x="2354323" y="219055"/>
                  <a:pt x="2361329" y="212492"/>
                  <a:pt x="2369110" y="212492"/>
                </a:cubicBezTo>
                <a:close/>
                <a:moveTo>
                  <a:pt x="2298283" y="212492"/>
                </a:moveTo>
                <a:cubicBezTo>
                  <a:pt x="2306842" y="212492"/>
                  <a:pt x="2313070" y="219497"/>
                  <a:pt x="2313070" y="227280"/>
                </a:cubicBezTo>
                <a:cubicBezTo>
                  <a:pt x="2313070" y="235842"/>
                  <a:pt x="2306842" y="242069"/>
                  <a:pt x="2298283" y="242069"/>
                </a:cubicBezTo>
                <a:cubicBezTo>
                  <a:pt x="2290497" y="242069"/>
                  <a:pt x="2283493" y="235842"/>
                  <a:pt x="2283493" y="227280"/>
                </a:cubicBezTo>
                <a:cubicBezTo>
                  <a:pt x="2283493" y="219497"/>
                  <a:pt x="2290497" y="212492"/>
                  <a:pt x="2298283" y="212492"/>
                </a:cubicBezTo>
                <a:close/>
                <a:moveTo>
                  <a:pt x="2226517" y="212492"/>
                </a:moveTo>
                <a:cubicBezTo>
                  <a:pt x="2234540" y="212492"/>
                  <a:pt x="2238916" y="219497"/>
                  <a:pt x="2238916" y="227280"/>
                </a:cubicBezTo>
                <a:cubicBezTo>
                  <a:pt x="2238916" y="235842"/>
                  <a:pt x="2234540" y="242069"/>
                  <a:pt x="2226517" y="242069"/>
                </a:cubicBezTo>
                <a:cubicBezTo>
                  <a:pt x="2218495" y="242069"/>
                  <a:pt x="2212659" y="235842"/>
                  <a:pt x="2212659" y="227280"/>
                </a:cubicBezTo>
                <a:cubicBezTo>
                  <a:pt x="2212659" y="219497"/>
                  <a:pt x="2218495" y="212492"/>
                  <a:pt x="2226517" y="212492"/>
                </a:cubicBezTo>
                <a:close/>
                <a:moveTo>
                  <a:pt x="2155683" y="212492"/>
                </a:moveTo>
                <a:cubicBezTo>
                  <a:pt x="2161519" y="212492"/>
                  <a:pt x="2168081" y="219497"/>
                  <a:pt x="2168081" y="227280"/>
                </a:cubicBezTo>
                <a:cubicBezTo>
                  <a:pt x="2168081" y="235842"/>
                  <a:pt x="2161519" y="242069"/>
                  <a:pt x="2155683" y="242069"/>
                </a:cubicBezTo>
                <a:cubicBezTo>
                  <a:pt x="2147663" y="242069"/>
                  <a:pt x="2141827" y="235842"/>
                  <a:pt x="2141827" y="227280"/>
                </a:cubicBezTo>
                <a:cubicBezTo>
                  <a:pt x="2141827" y="219497"/>
                  <a:pt x="2147663" y="212492"/>
                  <a:pt x="2155683" y="212492"/>
                </a:cubicBezTo>
                <a:close/>
                <a:moveTo>
                  <a:pt x="2084851" y="212492"/>
                </a:moveTo>
                <a:cubicBezTo>
                  <a:pt x="2090686" y="212492"/>
                  <a:pt x="2097249" y="219497"/>
                  <a:pt x="2097249" y="227280"/>
                </a:cubicBezTo>
                <a:cubicBezTo>
                  <a:pt x="2097249" y="235842"/>
                  <a:pt x="2090686" y="242069"/>
                  <a:pt x="2084851" y="242069"/>
                </a:cubicBezTo>
                <a:cubicBezTo>
                  <a:pt x="2076829" y="242069"/>
                  <a:pt x="2070995" y="235842"/>
                  <a:pt x="2070995" y="227280"/>
                </a:cubicBezTo>
                <a:cubicBezTo>
                  <a:pt x="2070995" y="219497"/>
                  <a:pt x="2076829" y="212492"/>
                  <a:pt x="2084851" y="212492"/>
                </a:cubicBezTo>
                <a:close/>
                <a:moveTo>
                  <a:pt x="2011835" y="212492"/>
                </a:moveTo>
                <a:cubicBezTo>
                  <a:pt x="2019855" y="212492"/>
                  <a:pt x="2026421" y="219497"/>
                  <a:pt x="2026421" y="227280"/>
                </a:cubicBezTo>
                <a:cubicBezTo>
                  <a:pt x="2026421" y="235842"/>
                  <a:pt x="2019855" y="242069"/>
                  <a:pt x="2011835" y="242069"/>
                </a:cubicBezTo>
                <a:cubicBezTo>
                  <a:pt x="2006003" y="242069"/>
                  <a:pt x="2000168" y="235842"/>
                  <a:pt x="2000168" y="227280"/>
                </a:cubicBezTo>
                <a:cubicBezTo>
                  <a:pt x="2000168" y="219497"/>
                  <a:pt x="2006003" y="212492"/>
                  <a:pt x="2011835" y="212492"/>
                </a:cubicBezTo>
                <a:close/>
                <a:moveTo>
                  <a:pt x="1938362" y="212492"/>
                </a:moveTo>
                <a:cubicBezTo>
                  <a:pt x="1946388" y="212492"/>
                  <a:pt x="1952222" y="219497"/>
                  <a:pt x="1952222" y="227280"/>
                </a:cubicBezTo>
                <a:cubicBezTo>
                  <a:pt x="1952222" y="235842"/>
                  <a:pt x="1946388" y="242069"/>
                  <a:pt x="1938362" y="242069"/>
                </a:cubicBezTo>
                <a:cubicBezTo>
                  <a:pt x="1932531" y="242069"/>
                  <a:pt x="1925971" y="235842"/>
                  <a:pt x="1925971" y="227280"/>
                </a:cubicBezTo>
                <a:cubicBezTo>
                  <a:pt x="1925971" y="219497"/>
                  <a:pt x="1931072" y="212492"/>
                  <a:pt x="1938362" y="212492"/>
                </a:cubicBezTo>
                <a:close/>
                <a:moveTo>
                  <a:pt x="1867530" y="212492"/>
                </a:moveTo>
                <a:cubicBezTo>
                  <a:pt x="1875550" y="212492"/>
                  <a:pt x="1881387" y="219497"/>
                  <a:pt x="1881387" y="227280"/>
                </a:cubicBezTo>
                <a:cubicBezTo>
                  <a:pt x="1881387" y="235842"/>
                  <a:pt x="1875550" y="242069"/>
                  <a:pt x="1867530" y="242069"/>
                </a:cubicBezTo>
                <a:cubicBezTo>
                  <a:pt x="1860238" y="242069"/>
                  <a:pt x="1855129" y="235842"/>
                  <a:pt x="1855129" y="227280"/>
                </a:cubicBezTo>
                <a:cubicBezTo>
                  <a:pt x="1855129" y="219497"/>
                  <a:pt x="1860238" y="212492"/>
                  <a:pt x="1867530" y="212492"/>
                </a:cubicBezTo>
                <a:close/>
                <a:moveTo>
                  <a:pt x="1799087" y="212492"/>
                </a:moveTo>
                <a:cubicBezTo>
                  <a:pt x="1807649" y="212492"/>
                  <a:pt x="1813879" y="219497"/>
                  <a:pt x="1813879" y="227280"/>
                </a:cubicBezTo>
                <a:cubicBezTo>
                  <a:pt x="1813879" y="235842"/>
                  <a:pt x="1807649" y="242069"/>
                  <a:pt x="1799087" y="242069"/>
                </a:cubicBezTo>
                <a:cubicBezTo>
                  <a:pt x="1790527" y="242069"/>
                  <a:pt x="1784303" y="235842"/>
                  <a:pt x="1784303" y="227280"/>
                </a:cubicBezTo>
                <a:cubicBezTo>
                  <a:pt x="1784303" y="219497"/>
                  <a:pt x="1790527" y="212492"/>
                  <a:pt x="1799087" y="212492"/>
                </a:cubicBezTo>
                <a:close/>
                <a:moveTo>
                  <a:pt x="1728262" y="212492"/>
                </a:moveTo>
                <a:cubicBezTo>
                  <a:pt x="1736828" y="212492"/>
                  <a:pt x="1743052" y="219497"/>
                  <a:pt x="1743052" y="227280"/>
                </a:cubicBezTo>
                <a:cubicBezTo>
                  <a:pt x="1743052" y="235842"/>
                  <a:pt x="1736828" y="242069"/>
                  <a:pt x="1728262" y="242069"/>
                </a:cubicBezTo>
                <a:cubicBezTo>
                  <a:pt x="1719700" y="242069"/>
                  <a:pt x="1713472" y="235842"/>
                  <a:pt x="1713472" y="227280"/>
                </a:cubicBezTo>
                <a:cubicBezTo>
                  <a:pt x="1713472" y="219497"/>
                  <a:pt x="1719700" y="212492"/>
                  <a:pt x="1728262" y="212492"/>
                </a:cubicBezTo>
                <a:close/>
                <a:moveTo>
                  <a:pt x="1656498" y="212492"/>
                </a:moveTo>
                <a:cubicBezTo>
                  <a:pt x="1663792" y="212492"/>
                  <a:pt x="1668900" y="219497"/>
                  <a:pt x="1668900" y="227280"/>
                </a:cubicBezTo>
                <a:cubicBezTo>
                  <a:pt x="1668900" y="235842"/>
                  <a:pt x="1663792" y="242069"/>
                  <a:pt x="1656498" y="242069"/>
                </a:cubicBezTo>
                <a:cubicBezTo>
                  <a:pt x="1648481" y="242069"/>
                  <a:pt x="1642655" y="235842"/>
                  <a:pt x="1642655" y="227280"/>
                </a:cubicBezTo>
                <a:cubicBezTo>
                  <a:pt x="1642655" y="219497"/>
                  <a:pt x="1648481" y="212492"/>
                  <a:pt x="1656498" y="212492"/>
                </a:cubicBezTo>
                <a:close/>
                <a:moveTo>
                  <a:pt x="1582299" y="212492"/>
                </a:moveTo>
                <a:cubicBezTo>
                  <a:pt x="1588134" y="212492"/>
                  <a:pt x="1594704" y="219497"/>
                  <a:pt x="1594704" y="227280"/>
                </a:cubicBezTo>
                <a:cubicBezTo>
                  <a:pt x="1594704" y="235842"/>
                  <a:pt x="1588134" y="242069"/>
                  <a:pt x="1582299" y="242069"/>
                </a:cubicBezTo>
                <a:cubicBezTo>
                  <a:pt x="1574277" y="242069"/>
                  <a:pt x="1568441" y="235842"/>
                  <a:pt x="1568441" y="227280"/>
                </a:cubicBezTo>
                <a:cubicBezTo>
                  <a:pt x="1568441" y="219497"/>
                  <a:pt x="1574277" y="212492"/>
                  <a:pt x="1582299" y="212492"/>
                </a:cubicBezTo>
                <a:close/>
                <a:moveTo>
                  <a:pt x="1512198" y="212492"/>
                </a:moveTo>
                <a:cubicBezTo>
                  <a:pt x="1518035" y="212492"/>
                  <a:pt x="1523867" y="219497"/>
                  <a:pt x="1523867" y="227280"/>
                </a:cubicBezTo>
                <a:cubicBezTo>
                  <a:pt x="1523867" y="235842"/>
                  <a:pt x="1518035" y="242069"/>
                  <a:pt x="1512198" y="242069"/>
                </a:cubicBezTo>
                <a:cubicBezTo>
                  <a:pt x="1504174" y="242069"/>
                  <a:pt x="1497612" y="235842"/>
                  <a:pt x="1497612" y="227280"/>
                </a:cubicBezTo>
                <a:cubicBezTo>
                  <a:pt x="1497612" y="219497"/>
                  <a:pt x="1504174" y="212492"/>
                  <a:pt x="1512198" y="212492"/>
                </a:cubicBezTo>
                <a:close/>
                <a:moveTo>
                  <a:pt x="1439173" y="212492"/>
                </a:moveTo>
                <a:cubicBezTo>
                  <a:pt x="1447191" y="212492"/>
                  <a:pt x="1453026" y="219497"/>
                  <a:pt x="1453026" y="227280"/>
                </a:cubicBezTo>
                <a:cubicBezTo>
                  <a:pt x="1453026" y="235842"/>
                  <a:pt x="1447191" y="242069"/>
                  <a:pt x="1439173" y="242069"/>
                </a:cubicBezTo>
                <a:cubicBezTo>
                  <a:pt x="1433339" y="242069"/>
                  <a:pt x="1426777" y="235842"/>
                  <a:pt x="1426777" y="227280"/>
                </a:cubicBezTo>
                <a:cubicBezTo>
                  <a:pt x="1426777" y="219497"/>
                  <a:pt x="1433339" y="212492"/>
                  <a:pt x="1439173" y="212492"/>
                </a:cubicBezTo>
                <a:close/>
                <a:moveTo>
                  <a:pt x="1368349" y="212492"/>
                </a:moveTo>
                <a:cubicBezTo>
                  <a:pt x="1376368" y="212492"/>
                  <a:pt x="1382203" y="219497"/>
                  <a:pt x="1382203" y="227280"/>
                </a:cubicBezTo>
                <a:cubicBezTo>
                  <a:pt x="1382203" y="235842"/>
                  <a:pt x="1376368" y="242069"/>
                  <a:pt x="1368349" y="242069"/>
                </a:cubicBezTo>
                <a:cubicBezTo>
                  <a:pt x="1362513" y="242069"/>
                  <a:pt x="1355950" y="235842"/>
                  <a:pt x="1355950" y="227280"/>
                </a:cubicBezTo>
                <a:cubicBezTo>
                  <a:pt x="1355950" y="219497"/>
                  <a:pt x="1362513" y="212492"/>
                  <a:pt x="1368349" y="212492"/>
                </a:cubicBezTo>
                <a:close/>
                <a:moveTo>
                  <a:pt x="1297520" y="212492"/>
                </a:moveTo>
                <a:cubicBezTo>
                  <a:pt x="1305540" y="212492"/>
                  <a:pt x="1311374" y="219497"/>
                  <a:pt x="1311374" y="227280"/>
                </a:cubicBezTo>
                <a:cubicBezTo>
                  <a:pt x="1311374" y="235842"/>
                  <a:pt x="1305540" y="242069"/>
                  <a:pt x="1297520" y="242069"/>
                </a:cubicBezTo>
                <a:cubicBezTo>
                  <a:pt x="1289498" y="242069"/>
                  <a:pt x="1285121" y="235842"/>
                  <a:pt x="1285121" y="227280"/>
                </a:cubicBezTo>
                <a:cubicBezTo>
                  <a:pt x="1285121" y="219497"/>
                  <a:pt x="1289498" y="212492"/>
                  <a:pt x="1297520" y="212492"/>
                </a:cubicBezTo>
                <a:close/>
                <a:moveTo>
                  <a:pt x="1225708" y="212492"/>
                </a:moveTo>
                <a:cubicBezTo>
                  <a:pt x="1233489" y="212492"/>
                  <a:pt x="1240496" y="219497"/>
                  <a:pt x="1240496" y="227280"/>
                </a:cubicBezTo>
                <a:cubicBezTo>
                  <a:pt x="1240496" y="235842"/>
                  <a:pt x="1233489" y="242069"/>
                  <a:pt x="1225708" y="242069"/>
                </a:cubicBezTo>
                <a:cubicBezTo>
                  <a:pt x="1217159" y="242069"/>
                  <a:pt x="1210934" y="235842"/>
                  <a:pt x="1210934" y="227280"/>
                </a:cubicBezTo>
                <a:cubicBezTo>
                  <a:pt x="1210934" y="219497"/>
                  <a:pt x="1217159" y="212492"/>
                  <a:pt x="1225708" y="212492"/>
                </a:cubicBezTo>
                <a:close/>
                <a:moveTo>
                  <a:pt x="1154891" y="212492"/>
                </a:moveTo>
                <a:cubicBezTo>
                  <a:pt x="1162674" y="212492"/>
                  <a:pt x="1169683" y="219497"/>
                  <a:pt x="1169683" y="227280"/>
                </a:cubicBezTo>
                <a:cubicBezTo>
                  <a:pt x="1169683" y="235842"/>
                  <a:pt x="1162674" y="242069"/>
                  <a:pt x="1154891" y="242069"/>
                </a:cubicBezTo>
                <a:cubicBezTo>
                  <a:pt x="1146329" y="242069"/>
                  <a:pt x="1140105" y="235842"/>
                  <a:pt x="1140105" y="227280"/>
                </a:cubicBezTo>
                <a:cubicBezTo>
                  <a:pt x="1140105" y="219497"/>
                  <a:pt x="1146329" y="212492"/>
                  <a:pt x="1154891" y="212492"/>
                </a:cubicBezTo>
                <a:close/>
                <a:moveTo>
                  <a:pt x="1084063" y="212492"/>
                </a:moveTo>
                <a:cubicBezTo>
                  <a:pt x="1091842" y="212492"/>
                  <a:pt x="1098847" y="219497"/>
                  <a:pt x="1098847" y="227280"/>
                </a:cubicBezTo>
                <a:cubicBezTo>
                  <a:pt x="1098847" y="235842"/>
                  <a:pt x="1091842" y="242069"/>
                  <a:pt x="1084063" y="242069"/>
                </a:cubicBezTo>
                <a:cubicBezTo>
                  <a:pt x="1075503" y="242069"/>
                  <a:pt x="1069276" y="235842"/>
                  <a:pt x="1069276" y="227280"/>
                </a:cubicBezTo>
                <a:cubicBezTo>
                  <a:pt x="1069276" y="219497"/>
                  <a:pt x="1075503" y="212492"/>
                  <a:pt x="1084063" y="212492"/>
                </a:cubicBezTo>
                <a:close/>
                <a:moveTo>
                  <a:pt x="3013723" y="141661"/>
                </a:moveTo>
                <a:cubicBezTo>
                  <a:pt x="3021310" y="141661"/>
                  <a:pt x="3028140" y="148224"/>
                  <a:pt x="3028140" y="155517"/>
                </a:cubicBezTo>
                <a:cubicBezTo>
                  <a:pt x="3028140" y="162080"/>
                  <a:pt x="3021310" y="167915"/>
                  <a:pt x="3013723" y="167915"/>
                </a:cubicBezTo>
                <a:cubicBezTo>
                  <a:pt x="3005376" y="167915"/>
                  <a:pt x="2998545" y="162080"/>
                  <a:pt x="2998545" y="155517"/>
                </a:cubicBezTo>
                <a:cubicBezTo>
                  <a:pt x="2998545" y="148224"/>
                  <a:pt x="3005376" y="141661"/>
                  <a:pt x="3013723" y="141661"/>
                </a:cubicBezTo>
                <a:close/>
                <a:moveTo>
                  <a:pt x="2942497" y="141661"/>
                </a:moveTo>
                <a:cubicBezTo>
                  <a:pt x="2951061" y="141661"/>
                  <a:pt x="2957293" y="148224"/>
                  <a:pt x="2957293" y="155517"/>
                </a:cubicBezTo>
                <a:cubicBezTo>
                  <a:pt x="2957293" y="162080"/>
                  <a:pt x="2951061" y="167915"/>
                  <a:pt x="2942497" y="167915"/>
                </a:cubicBezTo>
                <a:cubicBezTo>
                  <a:pt x="2934719" y="167915"/>
                  <a:pt x="2927716" y="162080"/>
                  <a:pt x="2927716" y="155517"/>
                </a:cubicBezTo>
                <a:cubicBezTo>
                  <a:pt x="2927716" y="148224"/>
                  <a:pt x="2934719" y="141661"/>
                  <a:pt x="2942497" y="141661"/>
                </a:cubicBezTo>
                <a:close/>
                <a:moveTo>
                  <a:pt x="2867363" y="141661"/>
                </a:moveTo>
                <a:cubicBezTo>
                  <a:pt x="2875389" y="141661"/>
                  <a:pt x="2879765" y="148224"/>
                  <a:pt x="2879765" y="155517"/>
                </a:cubicBezTo>
                <a:cubicBezTo>
                  <a:pt x="2879765" y="162080"/>
                  <a:pt x="2875389" y="167915"/>
                  <a:pt x="2867363" y="167915"/>
                </a:cubicBezTo>
                <a:cubicBezTo>
                  <a:pt x="2860073" y="167915"/>
                  <a:pt x="2853510" y="162080"/>
                  <a:pt x="2853510" y="155517"/>
                </a:cubicBezTo>
                <a:cubicBezTo>
                  <a:pt x="2853510" y="148224"/>
                  <a:pt x="2860073" y="141661"/>
                  <a:pt x="2867363" y="141661"/>
                </a:cubicBezTo>
                <a:close/>
                <a:moveTo>
                  <a:pt x="2796538" y="141661"/>
                </a:moveTo>
                <a:cubicBezTo>
                  <a:pt x="2803103" y="141661"/>
                  <a:pt x="2808940" y="148224"/>
                  <a:pt x="2808940" y="155517"/>
                </a:cubicBezTo>
                <a:cubicBezTo>
                  <a:pt x="2808940" y="162080"/>
                  <a:pt x="2803103" y="167915"/>
                  <a:pt x="2796538" y="167915"/>
                </a:cubicBezTo>
                <a:cubicBezTo>
                  <a:pt x="2789246" y="167915"/>
                  <a:pt x="2782683" y="162080"/>
                  <a:pt x="2782683" y="155517"/>
                </a:cubicBezTo>
                <a:cubicBezTo>
                  <a:pt x="2782683" y="148224"/>
                  <a:pt x="2789246" y="141661"/>
                  <a:pt x="2796538" y="141661"/>
                </a:cubicBezTo>
                <a:close/>
                <a:moveTo>
                  <a:pt x="2725703" y="141661"/>
                </a:moveTo>
                <a:cubicBezTo>
                  <a:pt x="2731538" y="141661"/>
                  <a:pt x="2738105" y="148224"/>
                  <a:pt x="2738105" y="155517"/>
                </a:cubicBezTo>
                <a:cubicBezTo>
                  <a:pt x="2738105" y="162080"/>
                  <a:pt x="2731538" y="167915"/>
                  <a:pt x="2725703" y="167915"/>
                </a:cubicBezTo>
                <a:cubicBezTo>
                  <a:pt x="2717686" y="167915"/>
                  <a:pt x="2711852" y="162080"/>
                  <a:pt x="2711852" y="155517"/>
                </a:cubicBezTo>
                <a:cubicBezTo>
                  <a:pt x="2711852" y="148224"/>
                  <a:pt x="2717686" y="141661"/>
                  <a:pt x="2725703" y="141661"/>
                </a:cubicBezTo>
                <a:close/>
                <a:moveTo>
                  <a:pt x="2653420" y="141661"/>
                </a:moveTo>
                <a:cubicBezTo>
                  <a:pt x="2660711" y="141661"/>
                  <a:pt x="2667273" y="148224"/>
                  <a:pt x="2667273" y="155517"/>
                </a:cubicBezTo>
                <a:cubicBezTo>
                  <a:pt x="2667273" y="162080"/>
                  <a:pt x="2660711" y="167915"/>
                  <a:pt x="2653420" y="167915"/>
                </a:cubicBezTo>
                <a:cubicBezTo>
                  <a:pt x="2646857" y="167915"/>
                  <a:pt x="2641021" y="162080"/>
                  <a:pt x="2641021" y="155517"/>
                </a:cubicBezTo>
                <a:cubicBezTo>
                  <a:pt x="2641021" y="148224"/>
                  <a:pt x="2646857" y="141661"/>
                  <a:pt x="2653420" y="141661"/>
                </a:cubicBezTo>
                <a:close/>
                <a:moveTo>
                  <a:pt x="2582586" y="141661"/>
                </a:moveTo>
                <a:cubicBezTo>
                  <a:pt x="2589878" y="141661"/>
                  <a:pt x="2596442" y="148224"/>
                  <a:pt x="2596442" y="155517"/>
                </a:cubicBezTo>
                <a:cubicBezTo>
                  <a:pt x="2596442" y="162080"/>
                  <a:pt x="2589878" y="167915"/>
                  <a:pt x="2582586" y="167915"/>
                </a:cubicBezTo>
                <a:cubicBezTo>
                  <a:pt x="2576024" y="167915"/>
                  <a:pt x="2570189" y="162080"/>
                  <a:pt x="2570189" y="155517"/>
                </a:cubicBezTo>
                <a:cubicBezTo>
                  <a:pt x="2570189" y="148224"/>
                  <a:pt x="2576024" y="141661"/>
                  <a:pt x="2582586" y="141661"/>
                </a:cubicBezTo>
                <a:close/>
                <a:moveTo>
                  <a:pt x="2511034" y="141661"/>
                </a:moveTo>
                <a:cubicBezTo>
                  <a:pt x="2519052" y="141661"/>
                  <a:pt x="2525616" y="148224"/>
                  <a:pt x="2525616" y="155517"/>
                </a:cubicBezTo>
                <a:cubicBezTo>
                  <a:pt x="2525616" y="162080"/>
                  <a:pt x="2519052" y="167915"/>
                  <a:pt x="2511034" y="167915"/>
                </a:cubicBezTo>
                <a:cubicBezTo>
                  <a:pt x="2503743" y="167915"/>
                  <a:pt x="2499364" y="162080"/>
                  <a:pt x="2499364" y="155517"/>
                </a:cubicBezTo>
                <a:cubicBezTo>
                  <a:pt x="2499364" y="148224"/>
                  <a:pt x="2503743" y="141661"/>
                  <a:pt x="2511034" y="141661"/>
                </a:cubicBezTo>
                <a:close/>
                <a:moveTo>
                  <a:pt x="2439946" y="141661"/>
                </a:moveTo>
                <a:cubicBezTo>
                  <a:pt x="2448505" y="141661"/>
                  <a:pt x="2454734" y="148224"/>
                  <a:pt x="2454734" y="155517"/>
                </a:cubicBezTo>
                <a:cubicBezTo>
                  <a:pt x="2454734" y="162080"/>
                  <a:pt x="2448505" y="167915"/>
                  <a:pt x="2439946" y="167915"/>
                </a:cubicBezTo>
                <a:cubicBezTo>
                  <a:pt x="2432165" y="167915"/>
                  <a:pt x="2425159" y="162080"/>
                  <a:pt x="2425159" y="155517"/>
                </a:cubicBezTo>
                <a:cubicBezTo>
                  <a:pt x="2425159" y="148224"/>
                  <a:pt x="2432165" y="141661"/>
                  <a:pt x="2439946" y="141661"/>
                </a:cubicBezTo>
                <a:close/>
                <a:moveTo>
                  <a:pt x="2369114" y="141661"/>
                </a:moveTo>
                <a:cubicBezTo>
                  <a:pt x="2377674" y="141661"/>
                  <a:pt x="2383900" y="148224"/>
                  <a:pt x="2383900" y="155517"/>
                </a:cubicBezTo>
                <a:cubicBezTo>
                  <a:pt x="2383900" y="162080"/>
                  <a:pt x="2377674" y="167915"/>
                  <a:pt x="2369114" y="167915"/>
                </a:cubicBezTo>
                <a:cubicBezTo>
                  <a:pt x="2361331" y="167915"/>
                  <a:pt x="2354323" y="163539"/>
                  <a:pt x="2354323" y="155517"/>
                </a:cubicBezTo>
                <a:cubicBezTo>
                  <a:pt x="2354323" y="148224"/>
                  <a:pt x="2361331" y="141661"/>
                  <a:pt x="2369114" y="141661"/>
                </a:cubicBezTo>
                <a:close/>
                <a:moveTo>
                  <a:pt x="2298283" y="141661"/>
                </a:moveTo>
                <a:cubicBezTo>
                  <a:pt x="2306842" y="141661"/>
                  <a:pt x="2313070" y="148224"/>
                  <a:pt x="2313070" y="155517"/>
                </a:cubicBezTo>
                <a:cubicBezTo>
                  <a:pt x="2313070" y="163539"/>
                  <a:pt x="2306842" y="167915"/>
                  <a:pt x="2298283" y="167915"/>
                </a:cubicBezTo>
                <a:cubicBezTo>
                  <a:pt x="2290497" y="167915"/>
                  <a:pt x="2283493" y="163539"/>
                  <a:pt x="2283493" y="155517"/>
                </a:cubicBezTo>
                <a:cubicBezTo>
                  <a:pt x="2283493" y="148224"/>
                  <a:pt x="2290497" y="141661"/>
                  <a:pt x="2298283" y="141661"/>
                </a:cubicBezTo>
                <a:close/>
                <a:moveTo>
                  <a:pt x="2226517" y="141661"/>
                </a:moveTo>
                <a:cubicBezTo>
                  <a:pt x="2234542" y="141661"/>
                  <a:pt x="2238916" y="148224"/>
                  <a:pt x="2238916" y="155517"/>
                </a:cubicBezTo>
                <a:cubicBezTo>
                  <a:pt x="2238916" y="163539"/>
                  <a:pt x="2234542" y="167915"/>
                  <a:pt x="2226517" y="167915"/>
                </a:cubicBezTo>
                <a:cubicBezTo>
                  <a:pt x="2218495" y="167915"/>
                  <a:pt x="2212659" y="163539"/>
                  <a:pt x="2212659" y="155517"/>
                </a:cubicBezTo>
                <a:cubicBezTo>
                  <a:pt x="2212659" y="148224"/>
                  <a:pt x="2218495" y="141661"/>
                  <a:pt x="2226517" y="141661"/>
                </a:cubicBezTo>
                <a:close/>
                <a:moveTo>
                  <a:pt x="2155683" y="141661"/>
                </a:moveTo>
                <a:cubicBezTo>
                  <a:pt x="2161520" y="141661"/>
                  <a:pt x="2168084" y="148224"/>
                  <a:pt x="2168084" y="155517"/>
                </a:cubicBezTo>
                <a:cubicBezTo>
                  <a:pt x="2168084" y="163539"/>
                  <a:pt x="2161520" y="167915"/>
                  <a:pt x="2155683" y="167915"/>
                </a:cubicBezTo>
                <a:cubicBezTo>
                  <a:pt x="2147663" y="167915"/>
                  <a:pt x="2141827" y="163539"/>
                  <a:pt x="2141827" y="155517"/>
                </a:cubicBezTo>
                <a:cubicBezTo>
                  <a:pt x="2141827" y="148224"/>
                  <a:pt x="2147663" y="141661"/>
                  <a:pt x="2155683" y="141661"/>
                </a:cubicBezTo>
                <a:close/>
                <a:moveTo>
                  <a:pt x="2084851" y="141661"/>
                </a:moveTo>
                <a:cubicBezTo>
                  <a:pt x="2090686" y="141661"/>
                  <a:pt x="2097249" y="148224"/>
                  <a:pt x="2097249" y="155517"/>
                </a:cubicBezTo>
                <a:cubicBezTo>
                  <a:pt x="2097249" y="163539"/>
                  <a:pt x="2090686" y="167915"/>
                  <a:pt x="2084851" y="167915"/>
                </a:cubicBezTo>
                <a:cubicBezTo>
                  <a:pt x="2076829" y="167915"/>
                  <a:pt x="2070995" y="163539"/>
                  <a:pt x="2070995" y="155517"/>
                </a:cubicBezTo>
                <a:cubicBezTo>
                  <a:pt x="2070995" y="148224"/>
                  <a:pt x="2076829" y="141661"/>
                  <a:pt x="2084851" y="141661"/>
                </a:cubicBezTo>
                <a:close/>
                <a:moveTo>
                  <a:pt x="2011835" y="141661"/>
                </a:moveTo>
                <a:cubicBezTo>
                  <a:pt x="2019855" y="141661"/>
                  <a:pt x="2026421" y="148224"/>
                  <a:pt x="2026421" y="155517"/>
                </a:cubicBezTo>
                <a:cubicBezTo>
                  <a:pt x="2026421" y="163539"/>
                  <a:pt x="2019855" y="167915"/>
                  <a:pt x="2011835" y="167915"/>
                </a:cubicBezTo>
                <a:cubicBezTo>
                  <a:pt x="2006003" y="167915"/>
                  <a:pt x="2000168" y="163539"/>
                  <a:pt x="2000168" y="155517"/>
                </a:cubicBezTo>
                <a:cubicBezTo>
                  <a:pt x="2000168" y="148224"/>
                  <a:pt x="2006003" y="141661"/>
                  <a:pt x="2011835" y="141661"/>
                </a:cubicBezTo>
                <a:close/>
                <a:moveTo>
                  <a:pt x="1938365" y="141661"/>
                </a:moveTo>
                <a:cubicBezTo>
                  <a:pt x="1946388" y="141661"/>
                  <a:pt x="1952222" y="148224"/>
                  <a:pt x="1952222" y="155517"/>
                </a:cubicBezTo>
                <a:cubicBezTo>
                  <a:pt x="1952222" y="163539"/>
                  <a:pt x="1946388" y="167915"/>
                  <a:pt x="1938365" y="167915"/>
                </a:cubicBezTo>
                <a:cubicBezTo>
                  <a:pt x="1931072" y="167915"/>
                  <a:pt x="1925971" y="163539"/>
                  <a:pt x="1925971" y="155517"/>
                </a:cubicBezTo>
                <a:cubicBezTo>
                  <a:pt x="1925971" y="148224"/>
                  <a:pt x="1931072" y="141661"/>
                  <a:pt x="1938365" y="141661"/>
                </a:cubicBezTo>
                <a:close/>
                <a:moveTo>
                  <a:pt x="1869922" y="141661"/>
                </a:moveTo>
                <a:cubicBezTo>
                  <a:pt x="1878483" y="141661"/>
                  <a:pt x="1884712" y="148224"/>
                  <a:pt x="1884712" y="155517"/>
                </a:cubicBezTo>
                <a:cubicBezTo>
                  <a:pt x="1884712" y="163539"/>
                  <a:pt x="1878483" y="167915"/>
                  <a:pt x="1869922" y="167915"/>
                </a:cubicBezTo>
                <a:cubicBezTo>
                  <a:pt x="1862138" y="167915"/>
                  <a:pt x="1855131" y="163539"/>
                  <a:pt x="1855131" y="155517"/>
                </a:cubicBezTo>
                <a:cubicBezTo>
                  <a:pt x="1855131" y="148224"/>
                  <a:pt x="1862138" y="141661"/>
                  <a:pt x="1869922" y="141661"/>
                </a:cubicBezTo>
                <a:close/>
                <a:moveTo>
                  <a:pt x="1799087" y="141661"/>
                </a:moveTo>
                <a:cubicBezTo>
                  <a:pt x="1807649" y="141661"/>
                  <a:pt x="1813879" y="148224"/>
                  <a:pt x="1813879" y="155517"/>
                </a:cubicBezTo>
                <a:cubicBezTo>
                  <a:pt x="1813879" y="163539"/>
                  <a:pt x="1807649" y="167915"/>
                  <a:pt x="1799087" y="167915"/>
                </a:cubicBezTo>
                <a:cubicBezTo>
                  <a:pt x="1790527" y="167915"/>
                  <a:pt x="1784303" y="163539"/>
                  <a:pt x="1784303" y="155517"/>
                </a:cubicBezTo>
                <a:cubicBezTo>
                  <a:pt x="1784303" y="148224"/>
                  <a:pt x="1790527" y="141661"/>
                  <a:pt x="1799087" y="141661"/>
                </a:cubicBezTo>
                <a:close/>
                <a:moveTo>
                  <a:pt x="1728262" y="141661"/>
                </a:moveTo>
                <a:cubicBezTo>
                  <a:pt x="1736828" y="141661"/>
                  <a:pt x="1743052" y="148224"/>
                  <a:pt x="1743052" y="155517"/>
                </a:cubicBezTo>
                <a:cubicBezTo>
                  <a:pt x="1743052" y="163539"/>
                  <a:pt x="1736828" y="167915"/>
                  <a:pt x="1728262" y="167915"/>
                </a:cubicBezTo>
                <a:cubicBezTo>
                  <a:pt x="1719700" y="167915"/>
                  <a:pt x="1713474" y="163539"/>
                  <a:pt x="1713474" y="155517"/>
                </a:cubicBezTo>
                <a:cubicBezTo>
                  <a:pt x="1713474" y="148224"/>
                  <a:pt x="1719700" y="141661"/>
                  <a:pt x="1728262" y="141661"/>
                </a:cubicBezTo>
                <a:close/>
                <a:moveTo>
                  <a:pt x="1656501" y="141661"/>
                </a:moveTo>
                <a:cubicBezTo>
                  <a:pt x="1663792" y="141661"/>
                  <a:pt x="1668900" y="148666"/>
                  <a:pt x="1668900" y="156450"/>
                </a:cubicBezTo>
                <a:cubicBezTo>
                  <a:pt x="1668900" y="165012"/>
                  <a:pt x="1663792" y="171239"/>
                  <a:pt x="1656501" y="171239"/>
                </a:cubicBezTo>
                <a:cubicBezTo>
                  <a:pt x="1648481" y="171239"/>
                  <a:pt x="1642655" y="165012"/>
                  <a:pt x="1642655" y="156450"/>
                </a:cubicBezTo>
                <a:cubicBezTo>
                  <a:pt x="1642655" y="148666"/>
                  <a:pt x="1648481" y="141661"/>
                  <a:pt x="1656501" y="141661"/>
                </a:cubicBezTo>
                <a:close/>
                <a:moveTo>
                  <a:pt x="1582299" y="141661"/>
                </a:moveTo>
                <a:cubicBezTo>
                  <a:pt x="1588134" y="141661"/>
                  <a:pt x="1594704" y="148666"/>
                  <a:pt x="1594704" y="156450"/>
                </a:cubicBezTo>
                <a:cubicBezTo>
                  <a:pt x="1594704" y="165012"/>
                  <a:pt x="1588134" y="171239"/>
                  <a:pt x="1582299" y="171239"/>
                </a:cubicBezTo>
                <a:cubicBezTo>
                  <a:pt x="1574277" y="171239"/>
                  <a:pt x="1568444" y="165012"/>
                  <a:pt x="1568444" y="156450"/>
                </a:cubicBezTo>
                <a:cubicBezTo>
                  <a:pt x="1568444" y="148666"/>
                  <a:pt x="1574277" y="141661"/>
                  <a:pt x="1582299" y="141661"/>
                </a:cubicBezTo>
                <a:close/>
                <a:moveTo>
                  <a:pt x="1512199" y="141661"/>
                </a:moveTo>
                <a:cubicBezTo>
                  <a:pt x="1518035" y="141661"/>
                  <a:pt x="1523867" y="148666"/>
                  <a:pt x="1523867" y="156450"/>
                </a:cubicBezTo>
                <a:cubicBezTo>
                  <a:pt x="1523867" y="165012"/>
                  <a:pt x="1518035" y="171239"/>
                  <a:pt x="1512199" y="171239"/>
                </a:cubicBezTo>
                <a:cubicBezTo>
                  <a:pt x="1504174" y="171239"/>
                  <a:pt x="1497612" y="165012"/>
                  <a:pt x="1497612" y="156450"/>
                </a:cubicBezTo>
                <a:cubicBezTo>
                  <a:pt x="1497612" y="148666"/>
                  <a:pt x="1504174" y="141661"/>
                  <a:pt x="1512199" y="141661"/>
                </a:cubicBezTo>
                <a:close/>
                <a:moveTo>
                  <a:pt x="1439173" y="141661"/>
                </a:moveTo>
                <a:cubicBezTo>
                  <a:pt x="1447191" y="141661"/>
                  <a:pt x="1453026" y="148666"/>
                  <a:pt x="1453026" y="156450"/>
                </a:cubicBezTo>
                <a:cubicBezTo>
                  <a:pt x="1453026" y="165012"/>
                  <a:pt x="1447191" y="171239"/>
                  <a:pt x="1439173" y="171239"/>
                </a:cubicBezTo>
                <a:cubicBezTo>
                  <a:pt x="1433339" y="171239"/>
                  <a:pt x="1426777" y="165012"/>
                  <a:pt x="1426777" y="156450"/>
                </a:cubicBezTo>
                <a:cubicBezTo>
                  <a:pt x="1426777" y="148666"/>
                  <a:pt x="1433339" y="141661"/>
                  <a:pt x="1439173" y="141661"/>
                </a:cubicBezTo>
                <a:close/>
                <a:moveTo>
                  <a:pt x="1368349" y="141661"/>
                </a:moveTo>
                <a:cubicBezTo>
                  <a:pt x="1376368" y="141661"/>
                  <a:pt x="1382203" y="148666"/>
                  <a:pt x="1382203" y="156450"/>
                </a:cubicBezTo>
                <a:cubicBezTo>
                  <a:pt x="1382203" y="165012"/>
                  <a:pt x="1376368" y="171239"/>
                  <a:pt x="1368349" y="171239"/>
                </a:cubicBezTo>
                <a:cubicBezTo>
                  <a:pt x="1362516" y="171239"/>
                  <a:pt x="1355953" y="165012"/>
                  <a:pt x="1355953" y="156450"/>
                </a:cubicBezTo>
                <a:cubicBezTo>
                  <a:pt x="1355953" y="148666"/>
                  <a:pt x="1362516" y="141661"/>
                  <a:pt x="1368349" y="141661"/>
                </a:cubicBezTo>
                <a:close/>
                <a:moveTo>
                  <a:pt x="1297520" y="141661"/>
                </a:moveTo>
                <a:cubicBezTo>
                  <a:pt x="1305540" y="141661"/>
                  <a:pt x="1311374" y="148666"/>
                  <a:pt x="1311374" y="156450"/>
                </a:cubicBezTo>
                <a:cubicBezTo>
                  <a:pt x="1311374" y="165012"/>
                  <a:pt x="1305540" y="171239"/>
                  <a:pt x="1297520" y="171239"/>
                </a:cubicBezTo>
                <a:cubicBezTo>
                  <a:pt x="1289498" y="171239"/>
                  <a:pt x="1285121" y="165012"/>
                  <a:pt x="1285121" y="156450"/>
                </a:cubicBezTo>
                <a:cubicBezTo>
                  <a:pt x="1285121" y="148666"/>
                  <a:pt x="1289498" y="141661"/>
                  <a:pt x="1297520" y="141661"/>
                </a:cubicBezTo>
                <a:close/>
                <a:moveTo>
                  <a:pt x="2796538" y="70831"/>
                </a:moveTo>
                <a:cubicBezTo>
                  <a:pt x="2803103" y="70831"/>
                  <a:pt x="2808940" y="76665"/>
                  <a:pt x="2808940" y="84687"/>
                </a:cubicBezTo>
                <a:cubicBezTo>
                  <a:pt x="2808940" y="90521"/>
                  <a:pt x="2803103" y="97085"/>
                  <a:pt x="2796538" y="97085"/>
                </a:cubicBezTo>
                <a:cubicBezTo>
                  <a:pt x="2789246" y="97085"/>
                  <a:pt x="2782683" y="90521"/>
                  <a:pt x="2782683" y="84687"/>
                </a:cubicBezTo>
                <a:cubicBezTo>
                  <a:pt x="2782683" y="76665"/>
                  <a:pt x="2789246" y="70831"/>
                  <a:pt x="2796538" y="70831"/>
                </a:cubicBezTo>
                <a:close/>
                <a:moveTo>
                  <a:pt x="2725703" y="70831"/>
                </a:moveTo>
                <a:cubicBezTo>
                  <a:pt x="2731538" y="70831"/>
                  <a:pt x="2738105" y="76665"/>
                  <a:pt x="2738105" y="84687"/>
                </a:cubicBezTo>
                <a:cubicBezTo>
                  <a:pt x="2738105" y="90521"/>
                  <a:pt x="2731538" y="97085"/>
                  <a:pt x="2725703" y="97085"/>
                </a:cubicBezTo>
                <a:cubicBezTo>
                  <a:pt x="2717686" y="97085"/>
                  <a:pt x="2711852" y="90521"/>
                  <a:pt x="2711852" y="84687"/>
                </a:cubicBezTo>
                <a:cubicBezTo>
                  <a:pt x="2711852" y="76665"/>
                  <a:pt x="2717686" y="70831"/>
                  <a:pt x="2725703" y="70831"/>
                </a:cubicBezTo>
                <a:close/>
                <a:moveTo>
                  <a:pt x="2653420" y="70831"/>
                </a:moveTo>
                <a:cubicBezTo>
                  <a:pt x="2660711" y="70831"/>
                  <a:pt x="2667273" y="76665"/>
                  <a:pt x="2667273" y="84687"/>
                </a:cubicBezTo>
                <a:cubicBezTo>
                  <a:pt x="2667273" y="90521"/>
                  <a:pt x="2660711" y="97085"/>
                  <a:pt x="2653420" y="97085"/>
                </a:cubicBezTo>
                <a:cubicBezTo>
                  <a:pt x="2646857" y="97085"/>
                  <a:pt x="2641021" y="90521"/>
                  <a:pt x="2641021" y="84687"/>
                </a:cubicBezTo>
                <a:cubicBezTo>
                  <a:pt x="2641021" y="76665"/>
                  <a:pt x="2646857" y="70831"/>
                  <a:pt x="2653420" y="70831"/>
                </a:cubicBezTo>
                <a:close/>
                <a:moveTo>
                  <a:pt x="2582586" y="70831"/>
                </a:moveTo>
                <a:cubicBezTo>
                  <a:pt x="2589878" y="70831"/>
                  <a:pt x="2596442" y="76665"/>
                  <a:pt x="2596442" y="84687"/>
                </a:cubicBezTo>
                <a:cubicBezTo>
                  <a:pt x="2596442" y="90521"/>
                  <a:pt x="2589878" y="97085"/>
                  <a:pt x="2582586" y="97085"/>
                </a:cubicBezTo>
                <a:cubicBezTo>
                  <a:pt x="2576024" y="97085"/>
                  <a:pt x="2570189" y="90521"/>
                  <a:pt x="2570189" y="84687"/>
                </a:cubicBezTo>
                <a:cubicBezTo>
                  <a:pt x="2570189" y="76665"/>
                  <a:pt x="2576024" y="70831"/>
                  <a:pt x="2582586" y="70831"/>
                </a:cubicBezTo>
                <a:close/>
                <a:moveTo>
                  <a:pt x="2511034" y="70831"/>
                </a:moveTo>
                <a:cubicBezTo>
                  <a:pt x="2519052" y="70831"/>
                  <a:pt x="2525616" y="76665"/>
                  <a:pt x="2525616" y="84687"/>
                </a:cubicBezTo>
                <a:cubicBezTo>
                  <a:pt x="2525616" y="90521"/>
                  <a:pt x="2519052" y="97085"/>
                  <a:pt x="2511034" y="97085"/>
                </a:cubicBezTo>
                <a:cubicBezTo>
                  <a:pt x="2503743" y="97085"/>
                  <a:pt x="2499364" y="90521"/>
                  <a:pt x="2499364" y="84687"/>
                </a:cubicBezTo>
                <a:cubicBezTo>
                  <a:pt x="2499364" y="76665"/>
                  <a:pt x="2503743" y="70831"/>
                  <a:pt x="2511034" y="70831"/>
                </a:cubicBezTo>
                <a:close/>
                <a:moveTo>
                  <a:pt x="2439946" y="70831"/>
                </a:moveTo>
                <a:cubicBezTo>
                  <a:pt x="2448505" y="70831"/>
                  <a:pt x="2454737" y="76665"/>
                  <a:pt x="2454737" y="84687"/>
                </a:cubicBezTo>
                <a:cubicBezTo>
                  <a:pt x="2454737" y="90521"/>
                  <a:pt x="2448505" y="97085"/>
                  <a:pt x="2439946" y="97085"/>
                </a:cubicBezTo>
                <a:cubicBezTo>
                  <a:pt x="2432165" y="97085"/>
                  <a:pt x="2425159" y="90521"/>
                  <a:pt x="2425159" y="84687"/>
                </a:cubicBezTo>
                <a:cubicBezTo>
                  <a:pt x="2425159" y="76665"/>
                  <a:pt x="2432165" y="70831"/>
                  <a:pt x="2439946" y="70831"/>
                </a:cubicBezTo>
                <a:close/>
                <a:moveTo>
                  <a:pt x="2369114" y="70831"/>
                </a:moveTo>
                <a:cubicBezTo>
                  <a:pt x="2377674" y="70831"/>
                  <a:pt x="2383900" y="76665"/>
                  <a:pt x="2383900" y="84687"/>
                </a:cubicBezTo>
                <a:cubicBezTo>
                  <a:pt x="2383900" y="90521"/>
                  <a:pt x="2377674" y="97085"/>
                  <a:pt x="2369114" y="97085"/>
                </a:cubicBezTo>
                <a:cubicBezTo>
                  <a:pt x="2361331" y="97085"/>
                  <a:pt x="2354323" y="90521"/>
                  <a:pt x="2354323" y="84687"/>
                </a:cubicBezTo>
                <a:cubicBezTo>
                  <a:pt x="2354323" y="76665"/>
                  <a:pt x="2361331" y="70831"/>
                  <a:pt x="2369114" y="70831"/>
                </a:cubicBezTo>
                <a:close/>
                <a:moveTo>
                  <a:pt x="2298283" y="70831"/>
                </a:moveTo>
                <a:cubicBezTo>
                  <a:pt x="2306842" y="70831"/>
                  <a:pt x="2313070" y="76665"/>
                  <a:pt x="2313070" y="84687"/>
                </a:cubicBezTo>
                <a:cubicBezTo>
                  <a:pt x="2313070" y="90521"/>
                  <a:pt x="2306842" y="97085"/>
                  <a:pt x="2298283" y="97085"/>
                </a:cubicBezTo>
                <a:cubicBezTo>
                  <a:pt x="2290497" y="97085"/>
                  <a:pt x="2283493" y="90521"/>
                  <a:pt x="2283493" y="84687"/>
                </a:cubicBezTo>
                <a:cubicBezTo>
                  <a:pt x="2283493" y="76665"/>
                  <a:pt x="2290497" y="70831"/>
                  <a:pt x="2298283" y="70831"/>
                </a:cubicBezTo>
                <a:close/>
                <a:moveTo>
                  <a:pt x="2226517" y="70831"/>
                </a:moveTo>
                <a:cubicBezTo>
                  <a:pt x="2234542" y="70831"/>
                  <a:pt x="2238916" y="76665"/>
                  <a:pt x="2238916" y="84687"/>
                </a:cubicBezTo>
                <a:cubicBezTo>
                  <a:pt x="2238916" y="90521"/>
                  <a:pt x="2234542" y="97085"/>
                  <a:pt x="2226517" y="97085"/>
                </a:cubicBezTo>
                <a:cubicBezTo>
                  <a:pt x="2218495" y="97085"/>
                  <a:pt x="2212659" y="90521"/>
                  <a:pt x="2212659" y="84687"/>
                </a:cubicBezTo>
                <a:cubicBezTo>
                  <a:pt x="2212659" y="76665"/>
                  <a:pt x="2218495" y="70831"/>
                  <a:pt x="2226517" y="70831"/>
                </a:cubicBezTo>
                <a:close/>
                <a:moveTo>
                  <a:pt x="2155683" y="70831"/>
                </a:moveTo>
                <a:cubicBezTo>
                  <a:pt x="2161520" y="70831"/>
                  <a:pt x="2168084" y="76665"/>
                  <a:pt x="2168084" y="84687"/>
                </a:cubicBezTo>
                <a:cubicBezTo>
                  <a:pt x="2168084" y="90521"/>
                  <a:pt x="2161520" y="97085"/>
                  <a:pt x="2155683" y="97085"/>
                </a:cubicBezTo>
                <a:cubicBezTo>
                  <a:pt x="2147663" y="97085"/>
                  <a:pt x="2141827" y="90521"/>
                  <a:pt x="2141827" y="84687"/>
                </a:cubicBezTo>
                <a:cubicBezTo>
                  <a:pt x="2141827" y="76665"/>
                  <a:pt x="2147663" y="70831"/>
                  <a:pt x="2155683" y="70831"/>
                </a:cubicBezTo>
                <a:close/>
                <a:moveTo>
                  <a:pt x="2083393" y="70831"/>
                </a:moveTo>
                <a:cubicBezTo>
                  <a:pt x="2090686" y="70831"/>
                  <a:pt x="2097249" y="76665"/>
                  <a:pt x="2097249" y="84687"/>
                </a:cubicBezTo>
                <a:cubicBezTo>
                  <a:pt x="2097249" y="90521"/>
                  <a:pt x="2090686" y="97085"/>
                  <a:pt x="2083393" y="97085"/>
                </a:cubicBezTo>
                <a:cubicBezTo>
                  <a:pt x="2076829" y="97085"/>
                  <a:pt x="2070995" y="90521"/>
                  <a:pt x="2070995" y="84687"/>
                </a:cubicBezTo>
                <a:cubicBezTo>
                  <a:pt x="2070995" y="76665"/>
                  <a:pt x="2076829" y="70831"/>
                  <a:pt x="2083393" y="70831"/>
                </a:cubicBezTo>
                <a:close/>
                <a:moveTo>
                  <a:pt x="2011835" y="70831"/>
                </a:moveTo>
                <a:cubicBezTo>
                  <a:pt x="2019855" y="70831"/>
                  <a:pt x="2026421" y="76665"/>
                  <a:pt x="2026421" y="84687"/>
                </a:cubicBezTo>
                <a:cubicBezTo>
                  <a:pt x="2026421" y="90521"/>
                  <a:pt x="2019855" y="97085"/>
                  <a:pt x="2011835" y="97085"/>
                </a:cubicBezTo>
                <a:cubicBezTo>
                  <a:pt x="2006003" y="97085"/>
                  <a:pt x="2000168" y="90521"/>
                  <a:pt x="2000168" y="84687"/>
                </a:cubicBezTo>
                <a:cubicBezTo>
                  <a:pt x="2000168" y="76665"/>
                  <a:pt x="2006003" y="70831"/>
                  <a:pt x="2011835" y="70831"/>
                </a:cubicBezTo>
                <a:close/>
                <a:moveTo>
                  <a:pt x="1938365" y="70831"/>
                </a:moveTo>
                <a:cubicBezTo>
                  <a:pt x="1946388" y="70831"/>
                  <a:pt x="1952222" y="76665"/>
                  <a:pt x="1952222" y="84687"/>
                </a:cubicBezTo>
                <a:cubicBezTo>
                  <a:pt x="1952222" y="90521"/>
                  <a:pt x="1946388" y="97085"/>
                  <a:pt x="1938365" y="97085"/>
                </a:cubicBezTo>
                <a:cubicBezTo>
                  <a:pt x="1931072" y="97085"/>
                  <a:pt x="1925971" y="90521"/>
                  <a:pt x="1925971" y="84687"/>
                </a:cubicBezTo>
                <a:cubicBezTo>
                  <a:pt x="1925971" y="76665"/>
                  <a:pt x="1931072" y="70831"/>
                  <a:pt x="1938365" y="70831"/>
                </a:cubicBezTo>
                <a:close/>
                <a:moveTo>
                  <a:pt x="1869922" y="70831"/>
                </a:moveTo>
                <a:cubicBezTo>
                  <a:pt x="1878483" y="70831"/>
                  <a:pt x="1884712" y="76665"/>
                  <a:pt x="1884712" y="84687"/>
                </a:cubicBezTo>
                <a:cubicBezTo>
                  <a:pt x="1884712" y="90521"/>
                  <a:pt x="1878483" y="97085"/>
                  <a:pt x="1869922" y="97085"/>
                </a:cubicBezTo>
                <a:cubicBezTo>
                  <a:pt x="1862138" y="97085"/>
                  <a:pt x="1855131" y="90521"/>
                  <a:pt x="1855131" y="84687"/>
                </a:cubicBezTo>
                <a:cubicBezTo>
                  <a:pt x="1855131" y="76665"/>
                  <a:pt x="1862138" y="70831"/>
                  <a:pt x="1869922" y="70831"/>
                </a:cubicBezTo>
                <a:close/>
                <a:moveTo>
                  <a:pt x="1799087" y="70831"/>
                </a:moveTo>
                <a:cubicBezTo>
                  <a:pt x="1807649" y="70831"/>
                  <a:pt x="1813879" y="76665"/>
                  <a:pt x="1813879" y="84687"/>
                </a:cubicBezTo>
                <a:cubicBezTo>
                  <a:pt x="1813879" y="90521"/>
                  <a:pt x="1807649" y="97085"/>
                  <a:pt x="1799087" y="97085"/>
                </a:cubicBezTo>
                <a:cubicBezTo>
                  <a:pt x="1790527" y="97085"/>
                  <a:pt x="1784303" y="92709"/>
                  <a:pt x="1784303" y="84687"/>
                </a:cubicBezTo>
                <a:cubicBezTo>
                  <a:pt x="1784303" y="76665"/>
                  <a:pt x="1790527" y="70831"/>
                  <a:pt x="1799087" y="70831"/>
                </a:cubicBezTo>
                <a:close/>
                <a:moveTo>
                  <a:pt x="1728262" y="70831"/>
                </a:moveTo>
                <a:cubicBezTo>
                  <a:pt x="1736828" y="70831"/>
                  <a:pt x="1743052" y="76665"/>
                  <a:pt x="1743052" y="84687"/>
                </a:cubicBezTo>
                <a:cubicBezTo>
                  <a:pt x="1743052" y="92709"/>
                  <a:pt x="1736828" y="97085"/>
                  <a:pt x="1728262" y="97085"/>
                </a:cubicBezTo>
                <a:cubicBezTo>
                  <a:pt x="1719700" y="97085"/>
                  <a:pt x="1713474" y="92709"/>
                  <a:pt x="1713474" y="84687"/>
                </a:cubicBezTo>
                <a:cubicBezTo>
                  <a:pt x="1713474" y="76665"/>
                  <a:pt x="1719700" y="70831"/>
                  <a:pt x="1728262" y="70831"/>
                </a:cubicBezTo>
                <a:close/>
                <a:moveTo>
                  <a:pt x="1656501" y="70831"/>
                </a:moveTo>
                <a:cubicBezTo>
                  <a:pt x="1663792" y="70831"/>
                  <a:pt x="1668900" y="76665"/>
                  <a:pt x="1668900" y="84687"/>
                </a:cubicBezTo>
                <a:cubicBezTo>
                  <a:pt x="1668900" y="92709"/>
                  <a:pt x="1663792" y="97085"/>
                  <a:pt x="1656501" y="97085"/>
                </a:cubicBezTo>
                <a:cubicBezTo>
                  <a:pt x="1648481" y="97085"/>
                  <a:pt x="1642655" y="92709"/>
                  <a:pt x="1642655" y="84687"/>
                </a:cubicBezTo>
                <a:cubicBezTo>
                  <a:pt x="1642655" y="76665"/>
                  <a:pt x="1648481" y="70831"/>
                  <a:pt x="1656501" y="70831"/>
                </a:cubicBezTo>
                <a:close/>
                <a:moveTo>
                  <a:pt x="1582299" y="70831"/>
                </a:moveTo>
                <a:cubicBezTo>
                  <a:pt x="1588134" y="70831"/>
                  <a:pt x="1594704" y="76665"/>
                  <a:pt x="1594704" y="84687"/>
                </a:cubicBezTo>
                <a:cubicBezTo>
                  <a:pt x="1594704" y="92709"/>
                  <a:pt x="1588134" y="97085"/>
                  <a:pt x="1582299" y="97085"/>
                </a:cubicBezTo>
                <a:cubicBezTo>
                  <a:pt x="1574277" y="97085"/>
                  <a:pt x="1568444" y="92709"/>
                  <a:pt x="1568444" y="84687"/>
                </a:cubicBezTo>
                <a:cubicBezTo>
                  <a:pt x="1568444" y="76665"/>
                  <a:pt x="1574277" y="70831"/>
                  <a:pt x="1582299" y="70831"/>
                </a:cubicBezTo>
                <a:close/>
                <a:moveTo>
                  <a:pt x="2796538" y="0"/>
                </a:moveTo>
                <a:cubicBezTo>
                  <a:pt x="2803103" y="0"/>
                  <a:pt x="2808940" y="5834"/>
                  <a:pt x="2808940" y="12397"/>
                </a:cubicBezTo>
                <a:cubicBezTo>
                  <a:pt x="2808940" y="19690"/>
                  <a:pt x="2803103" y="26254"/>
                  <a:pt x="2796538" y="26254"/>
                </a:cubicBezTo>
                <a:cubicBezTo>
                  <a:pt x="2789246" y="26254"/>
                  <a:pt x="2782683" y="19690"/>
                  <a:pt x="2782683" y="12397"/>
                </a:cubicBezTo>
                <a:cubicBezTo>
                  <a:pt x="2782683" y="5834"/>
                  <a:pt x="2789246" y="0"/>
                  <a:pt x="2796538" y="0"/>
                </a:cubicBezTo>
                <a:close/>
                <a:moveTo>
                  <a:pt x="2725703" y="0"/>
                </a:moveTo>
                <a:cubicBezTo>
                  <a:pt x="2731538" y="0"/>
                  <a:pt x="2738105" y="5834"/>
                  <a:pt x="2738105" y="12397"/>
                </a:cubicBezTo>
                <a:cubicBezTo>
                  <a:pt x="2738105" y="19690"/>
                  <a:pt x="2731538" y="26254"/>
                  <a:pt x="2725703" y="26254"/>
                </a:cubicBezTo>
                <a:cubicBezTo>
                  <a:pt x="2717686" y="26254"/>
                  <a:pt x="2711852" y="19690"/>
                  <a:pt x="2711852" y="12397"/>
                </a:cubicBezTo>
                <a:cubicBezTo>
                  <a:pt x="2711852" y="5834"/>
                  <a:pt x="2717686" y="0"/>
                  <a:pt x="2725703" y="0"/>
                </a:cubicBezTo>
                <a:close/>
                <a:moveTo>
                  <a:pt x="2653420" y="0"/>
                </a:moveTo>
                <a:cubicBezTo>
                  <a:pt x="2660711" y="0"/>
                  <a:pt x="2667273" y="5834"/>
                  <a:pt x="2667273" y="12397"/>
                </a:cubicBezTo>
                <a:cubicBezTo>
                  <a:pt x="2667273" y="19690"/>
                  <a:pt x="2660711" y="26254"/>
                  <a:pt x="2653420" y="26254"/>
                </a:cubicBezTo>
                <a:cubicBezTo>
                  <a:pt x="2646857" y="26254"/>
                  <a:pt x="2641021" y="19690"/>
                  <a:pt x="2641021" y="12397"/>
                </a:cubicBezTo>
                <a:cubicBezTo>
                  <a:pt x="2641021" y="5834"/>
                  <a:pt x="2646857" y="0"/>
                  <a:pt x="2653420" y="0"/>
                </a:cubicBezTo>
                <a:close/>
                <a:moveTo>
                  <a:pt x="2582586" y="0"/>
                </a:moveTo>
                <a:cubicBezTo>
                  <a:pt x="2589878" y="0"/>
                  <a:pt x="2596442" y="5834"/>
                  <a:pt x="2596442" y="12397"/>
                </a:cubicBezTo>
                <a:cubicBezTo>
                  <a:pt x="2596442" y="19690"/>
                  <a:pt x="2589878" y="26254"/>
                  <a:pt x="2582586" y="26254"/>
                </a:cubicBezTo>
                <a:cubicBezTo>
                  <a:pt x="2576024" y="26254"/>
                  <a:pt x="2570189" y="19690"/>
                  <a:pt x="2570189" y="12397"/>
                </a:cubicBezTo>
                <a:cubicBezTo>
                  <a:pt x="2570189" y="5834"/>
                  <a:pt x="2576024" y="0"/>
                  <a:pt x="2582586" y="0"/>
                </a:cubicBezTo>
                <a:close/>
                <a:moveTo>
                  <a:pt x="2511034" y="0"/>
                </a:moveTo>
                <a:cubicBezTo>
                  <a:pt x="2519052" y="0"/>
                  <a:pt x="2525616" y="5834"/>
                  <a:pt x="2525616" y="12397"/>
                </a:cubicBezTo>
                <a:cubicBezTo>
                  <a:pt x="2525616" y="19690"/>
                  <a:pt x="2519052" y="26254"/>
                  <a:pt x="2511034" y="26254"/>
                </a:cubicBezTo>
                <a:cubicBezTo>
                  <a:pt x="2503743" y="26254"/>
                  <a:pt x="2499364" y="19690"/>
                  <a:pt x="2499364" y="12397"/>
                </a:cubicBezTo>
                <a:cubicBezTo>
                  <a:pt x="2499364" y="5834"/>
                  <a:pt x="2503743" y="0"/>
                  <a:pt x="2511034" y="0"/>
                </a:cubicBezTo>
                <a:close/>
                <a:moveTo>
                  <a:pt x="2439946" y="0"/>
                </a:moveTo>
                <a:cubicBezTo>
                  <a:pt x="2448505" y="0"/>
                  <a:pt x="2454737" y="5834"/>
                  <a:pt x="2454737" y="12397"/>
                </a:cubicBezTo>
                <a:cubicBezTo>
                  <a:pt x="2454737" y="19690"/>
                  <a:pt x="2448505" y="26254"/>
                  <a:pt x="2439946" y="26254"/>
                </a:cubicBezTo>
                <a:cubicBezTo>
                  <a:pt x="2432165" y="26254"/>
                  <a:pt x="2425159" y="19690"/>
                  <a:pt x="2425159" y="12397"/>
                </a:cubicBezTo>
                <a:cubicBezTo>
                  <a:pt x="2425159" y="5834"/>
                  <a:pt x="2432165" y="0"/>
                  <a:pt x="2439946" y="0"/>
                </a:cubicBezTo>
                <a:close/>
                <a:moveTo>
                  <a:pt x="2369114" y="0"/>
                </a:moveTo>
                <a:cubicBezTo>
                  <a:pt x="2377674" y="0"/>
                  <a:pt x="2383900" y="5834"/>
                  <a:pt x="2383900" y="12397"/>
                </a:cubicBezTo>
                <a:cubicBezTo>
                  <a:pt x="2383900" y="19690"/>
                  <a:pt x="2377674" y="26254"/>
                  <a:pt x="2369114" y="26254"/>
                </a:cubicBezTo>
                <a:cubicBezTo>
                  <a:pt x="2361331" y="26254"/>
                  <a:pt x="2354323" y="19690"/>
                  <a:pt x="2354323" y="12397"/>
                </a:cubicBezTo>
                <a:cubicBezTo>
                  <a:pt x="2354323" y="5834"/>
                  <a:pt x="2361331" y="0"/>
                  <a:pt x="2369114" y="0"/>
                </a:cubicBezTo>
                <a:close/>
                <a:moveTo>
                  <a:pt x="2298283" y="0"/>
                </a:moveTo>
                <a:cubicBezTo>
                  <a:pt x="2306842" y="0"/>
                  <a:pt x="2313070" y="5834"/>
                  <a:pt x="2313070" y="12397"/>
                </a:cubicBezTo>
                <a:cubicBezTo>
                  <a:pt x="2313070" y="19690"/>
                  <a:pt x="2306842" y="26254"/>
                  <a:pt x="2298283" y="26254"/>
                </a:cubicBezTo>
                <a:cubicBezTo>
                  <a:pt x="2290497" y="26254"/>
                  <a:pt x="2283493" y="19690"/>
                  <a:pt x="2283493" y="12397"/>
                </a:cubicBezTo>
                <a:cubicBezTo>
                  <a:pt x="2283493" y="5834"/>
                  <a:pt x="2290497" y="0"/>
                  <a:pt x="2298283" y="0"/>
                </a:cubicBezTo>
                <a:close/>
                <a:moveTo>
                  <a:pt x="2226517" y="0"/>
                </a:moveTo>
                <a:cubicBezTo>
                  <a:pt x="2234542" y="0"/>
                  <a:pt x="2238916" y="5834"/>
                  <a:pt x="2238916" y="13856"/>
                </a:cubicBezTo>
                <a:cubicBezTo>
                  <a:pt x="2238916" y="19690"/>
                  <a:pt x="2234542" y="26254"/>
                  <a:pt x="2226517" y="26254"/>
                </a:cubicBezTo>
                <a:cubicBezTo>
                  <a:pt x="2218495" y="26254"/>
                  <a:pt x="2212659" y="19690"/>
                  <a:pt x="2212659" y="13856"/>
                </a:cubicBezTo>
                <a:cubicBezTo>
                  <a:pt x="2212659" y="5834"/>
                  <a:pt x="2218495" y="0"/>
                  <a:pt x="2226517" y="0"/>
                </a:cubicBezTo>
                <a:close/>
                <a:moveTo>
                  <a:pt x="2155683" y="0"/>
                </a:moveTo>
                <a:cubicBezTo>
                  <a:pt x="2161520" y="0"/>
                  <a:pt x="2168084" y="5834"/>
                  <a:pt x="2168084" y="13856"/>
                </a:cubicBezTo>
                <a:cubicBezTo>
                  <a:pt x="2168084" y="19690"/>
                  <a:pt x="2161520" y="26254"/>
                  <a:pt x="2155683" y="26254"/>
                </a:cubicBezTo>
                <a:cubicBezTo>
                  <a:pt x="2147663" y="26254"/>
                  <a:pt x="2141827" y="19690"/>
                  <a:pt x="2141827" y="13856"/>
                </a:cubicBezTo>
                <a:cubicBezTo>
                  <a:pt x="2141827" y="5834"/>
                  <a:pt x="2147663" y="0"/>
                  <a:pt x="2155683" y="0"/>
                </a:cubicBezTo>
                <a:close/>
                <a:moveTo>
                  <a:pt x="2083393" y="0"/>
                </a:moveTo>
                <a:cubicBezTo>
                  <a:pt x="2090686" y="0"/>
                  <a:pt x="2097249" y="5834"/>
                  <a:pt x="2097249" y="13856"/>
                </a:cubicBezTo>
                <a:cubicBezTo>
                  <a:pt x="2097249" y="19690"/>
                  <a:pt x="2090686" y="26254"/>
                  <a:pt x="2083393" y="26254"/>
                </a:cubicBezTo>
                <a:cubicBezTo>
                  <a:pt x="2076829" y="26254"/>
                  <a:pt x="2070995" y="19690"/>
                  <a:pt x="2070995" y="13856"/>
                </a:cubicBezTo>
                <a:cubicBezTo>
                  <a:pt x="2070995" y="5834"/>
                  <a:pt x="2076829" y="0"/>
                  <a:pt x="2083393" y="0"/>
                </a:cubicBezTo>
                <a:close/>
                <a:moveTo>
                  <a:pt x="2011835" y="0"/>
                </a:moveTo>
                <a:cubicBezTo>
                  <a:pt x="2019855" y="0"/>
                  <a:pt x="2026421" y="5834"/>
                  <a:pt x="2026421" y="13856"/>
                </a:cubicBezTo>
                <a:cubicBezTo>
                  <a:pt x="2026421" y="19690"/>
                  <a:pt x="2019855" y="26254"/>
                  <a:pt x="2011835" y="26254"/>
                </a:cubicBezTo>
                <a:cubicBezTo>
                  <a:pt x="2006003" y="26254"/>
                  <a:pt x="2000168" y="19690"/>
                  <a:pt x="2000168" y="13856"/>
                </a:cubicBezTo>
                <a:cubicBezTo>
                  <a:pt x="2000168" y="5834"/>
                  <a:pt x="2006003" y="0"/>
                  <a:pt x="2011835" y="0"/>
                </a:cubicBezTo>
                <a:close/>
                <a:moveTo>
                  <a:pt x="1938365" y="0"/>
                </a:moveTo>
                <a:cubicBezTo>
                  <a:pt x="1946388" y="0"/>
                  <a:pt x="1952222" y="5834"/>
                  <a:pt x="1952222" y="13856"/>
                </a:cubicBezTo>
                <a:cubicBezTo>
                  <a:pt x="1952222" y="19690"/>
                  <a:pt x="1946388" y="26254"/>
                  <a:pt x="1938365" y="26254"/>
                </a:cubicBezTo>
                <a:cubicBezTo>
                  <a:pt x="1931072" y="26254"/>
                  <a:pt x="1925971" y="19690"/>
                  <a:pt x="1925971" y="13856"/>
                </a:cubicBezTo>
                <a:cubicBezTo>
                  <a:pt x="1925971" y="5834"/>
                  <a:pt x="1931072" y="0"/>
                  <a:pt x="1938365" y="0"/>
                </a:cubicBezTo>
                <a:close/>
                <a:moveTo>
                  <a:pt x="1869922" y="0"/>
                </a:moveTo>
                <a:cubicBezTo>
                  <a:pt x="1878483" y="0"/>
                  <a:pt x="1884712" y="5834"/>
                  <a:pt x="1884712" y="13856"/>
                </a:cubicBezTo>
                <a:cubicBezTo>
                  <a:pt x="1884712" y="19690"/>
                  <a:pt x="1878483" y="26254"/>
                  <a:pt x="1869922" y="26254"/>
                </a:cubicBezTo>
                <a:cubicBezTo>
                  <a:pt x="1862138" y="26254"/>
                  <a:pt x="1855131" y="19690"/>
                  <a:pt x="1855131" y="13856"/>
                </a:cubicBezTo>
                <a:cubicBezTo>
                  <a:pt x="1855131" y="5834"/>
                  <a:pt x="1862138" y="0"/>
                  <a:pt x="1869922" y="0"/>
                </a:cubicBezTo>
                <a:close/>
                <a:moveTo>
                  <a:pt x="1799087" y="0"/>
                </a:moveTo>
                <a:cubicBezTo>
                  <a:pt x="1807649" y="0"/>
                  <a:pt x="1813879" y="5834"/>
                  <a:pt x="1813879" y="13856"/>
                </a:cubicBezTo>
                <a:cubicBezTo>
                  <a:pt x="1813879" y="19690"/>
                  <a:pt x="1807649" y="26254"/>
                  <a:pt x="1799087" y="26254"/>
                </a:cubicBezTo>
                <a:cubicBezTo>
                  <a:pt x="1790527" y="26254"/>
                  <a:pt x="1784303" y="19690"/>
                  <a:pt x="1784303" y="13856"/>
                </a:cubicBezTo>
                <a:cubicBezTo>
                  <a:pt x="1784303" y="5834"/>
                  <a:pt x="1790527" y="0"/>
                  <a:pt x="1799087" y="0"/>
                </a:cubicBezTo>
                <a:close/>
                <a:moveTo>
                  <a:pt x="1728262" y="0"/>
                </a:moveTo>
                <a:cubicBezTo>
                  <a:pt x="1736828" y="0"/>
                  <a:pt x="1743052" y="5834"/>
                  <a:pt x="1743052" y="13856"/>
                </a:cubicBezTo>
                <a:cubicBezTo>
                  <a:pt x="1743052" y="19690"/>
                  <a:pt x="1736828" y="26254"/>
                  <a:pt x="1728262" y="26254"/>
                </a:cubicBezTo>
                <a:cubicBezTo>
                  <a:pt x="1719700" y="26254"/>
                  <a:pt x="1713474" y="19690"/>
                  <a:pt x="1713474" y="13856"/>
                </a:cubicBezTo>
                <a:cubicBezTo>
                  <a:pt x="1713474" y="5834"/>
                  <a:pt x="1719700" y="0"/>
                  <a:pt x="1728262" y="0"/>
                </a:cubicBezTo>
                <a:close/>
                <a:moveTo>
                  <a:pt x="1656501" y="0"/>
                </a:moveTo>
                <a:cubicBezTo>
                  <a:pt x="1663792" y="0"/>
                  <a:pt x="1668900" y="5834"/>
                  <a:pt x="1668900" y="13856"/>
                </a:cubicBezTo>
                <a:cubicBezTo>
                  <a:pt x="1668900" y="19690"/>
                  <a:pt x="1663792" y="26254"/>
                  <a:pt x="1656501" y="26254"/>
                </a:cubicBezTo>
                <a:cubicBezTo>
                  <a:pt x="1648481" y="26254"/>
                  <a:pt x="1642655" y="19690"/>
                  <a:pt x="1642655" y="13856"/>
                </a:cubicBezTo>
                <a:cubicBezTo>
                  <a:pt x="1642655" y="5834"/>
                  <a:pt x="1648481" y="0"/>
                  <a:pt x="1656501" y="0"/>
                </a:cubicBezTo>
                <a:close/>
                <a:moveTo>
                  <a:pt x="1582299" y="0"/>
                </a:moveTo>
                <a:cubicBezTo>
                  <a:pt x="1588134" y="0"/>
                  <a:pt x="1594704" y="5834"/>
                  <a:pt x="1594704" y="13856"/>
                </a:cubicBezTo>
                <a:cubicBezTo>
                  <a:pt x="1594704" y="19690"/>
                  <a:pt x="1588134" y="26254"/>
                  <a:pt x="1582299" y="26254"/>
                </a:cubicBezTo>
                <a:cubicBezTo>
                  <a:pt x="1574277" y="26254"/>
                  <a:pt x="1568444" y="19690"/>
                  <a:pt x="1568444" y="13856"/>
                </a:cubicBezTo>
                <a:cubicBezTo>
                  <a:pt x="1568444" y="5834"/>
                  <a:pt x="1574277" y="0"/>
                  <a:pt x="1582299" y="0"/>
                </a:cubicBezTo>
                <a:close/>
              </a:path>
            </a:pathLst>
          </a:custGeom>
          <a:solidFill>
            <a:srgbClr val="6800FF">
              <a:alpha val="30196"/>
            </a:srgbClr>
          </a:solidFill>
          <a:ln>
            <a:noFill/>
          </a:ln>
          <a:effectLst/>
        </p:spPr>
        <p:txBody>
          <a:bodyPr wrap="square" anchor="ctr">
            <a:noAutofit/>
          </a:bodyPr>
          <a:lstStyle/>
          <a:p>
            <a:pPr marL="0" marR="0" lvl="0" indent="0" algn="l" defTabSz="2741828" rtl="0" eaLnBrk="1" fontAlgn="auto" latinLnBrk="0" hangingPunct="1">
              <a:lnSpc>
                <a:spcPct val="100000"/>
              </a:lnSpc>
              <a:spcBef>
                <a:spcPts val="0"/>
              </a:spcBef>
              <a:spcAft>
                <a:spcPts val="0"/>
              </a:spcAft>
              <a:buClrTx/>
              <a:buSzTx/>
              <a:buFont typeface="Arial"/>
              <a:buNone/>
              <a:tabLst/>
              <a:defRPr/>
            </a:pPr>
            <a:endParaRPr kumimoji="0" lang="en-US" sz="9796" b="0" i="0" u="none" strike="noStrike" kern="0" cap="none" spc="0" normalizeH="0" baseline="0" noProof="0">
              <a:ln>
                <a:noFill/>
              </a:ln>
              <a:solidFill>
                <a:srgbClr val="666666"/>
              </a:solidFill>
              <a:effectLst/>
              <a:uLnTx/>
              <a:uFillTx/>
              <a:latin typeface="Nunito Sans ExtraLight" pitchFamily="2" charset="77"/>
              <a:ea typeface="MS PGothic"/>
              <a:cs typeface="Arial"/>
              <a:sym typeface="Arial"/>
            </a:endParaRPr>
          </a:p>
        </p:txBody>
      </p:sp>
      <p:sp>
        <p:nvSpPr>
          <p:cNvPr id="7" name="Google Shape;332;g169e3e8f587_0_24">
            <a:extLst>
              <a:ext uri="{FF2B5EF4-FFF2-40B4-BE49-F238E27FC236}">
                <a16:creationId xmlns:a16="http://schemas.microsoft.com/office/drawing/2014/main" id="{BA12B776-A5F5-C68F-AC11-F447541D4BAD}"/>
              </a:ext>
            </a:extLst>
          </p:cNvPr>
          <p:cNvSpPr/>
          <p:nvPr/>
        </p:nvSpPr>
        <p:spPr>
          <a:xfrm>
            <a:off x="13780634" y="7455154"/>
            <a:ext cx="2945538" cy="985758"/>
          </a:xfrm>
          <a:prstGeom prst="rect">
            <a:avLst/>
          </a:prstGeom>
          <a:noFill/>
          <a:ln>
            <a:noFill/>
          </a:ln>
        </p:spPr>
        <p:txBody>
          <a:bodyPr spcFirstLastPara="1" wrap="square" lIns="182850" tIns="91400" rIns="182850" bIns="91400" anchor="t" anchorCtr="0">
            <a:noAutofit/>
          </a:bodyPr>
          <a:lstStyle/>
          <a:p>
            <a:pPr marL="0" marR="0" lvl="0" indent="0" algn="r" defTabSz="1828800" rtl="0" eaLnBrk="1" fontAlgn="auto" latinLnBrk="0" hangingPunct="1">
              <a:lnSpc>
                <a:spcPct val="100000"/>
              </a:lnSpc>
              <a:spcBef>
                <a:spcPts val="0"/>
              </a:spcBef>
              <a:spcAft>
                <a:spcPts val="0"/>
              </a:spcAft>
              <a:buClr>
                <a:srgbClr val="000000"/>
              </a:buClr>
              <a:buSzPts val="2000"/>
              <a:buFontTx/>
              <a:buNone/>
              <a:tabLst/>
              <a:defRPr/>
            </a:pPr>
            <a:r>
              <a:rPr kumimoji="0" lang="en-US" sz="1800" b="0" i="0" u="none" strike="noStrike" kern="0" cap="none" spc="0" normalizeH="0" baseline="0" noProof="0">
                <a:ln>
                  <a:noFill/>
                </a:ln>
                <a:solidFill>
                  <a:srgbClr val="6800FF"/>
                </a:solidFill>
                <a:effectLst/>
                <a:uLnTx/>
                <a:uFillTx/>
                <a:latin typeface="Montserrat ExtraBold" pitchFamily="2" charset="0"/>
                <a:ea typeface="Montserrat"/>
                <a:cs typeface="Montserrat"/>
                <a:sym typeface="Montserrat"/>
              </a:rPr>
              <a:t>3.000+</a:t>
            </a:r>
          </a:p>
          <a:p>
            <a:pPr marL="0" marR="0" lvl="0" indent="0" algn="r" defTabSz="1828800" rtl="0" eaLnBrk="1" fontAlgn="auto" latinLnBrk="0" hangingPunct="1">
              <a:lnSpc>
                <a:spcPct val="100000"/>
              </a:lnSpc>
              <a:spcBef>
                <a:spcPts val="0"/>
              </a:spcBef>
              <a:spcAft>
                <a:spcPts val="0"/>
              </a:spcAft>
              <a:buClr>
                <a:srgbClr val="000000"/>
              </a:buClr>
              <a:buSzPts val="2000"/>
              <a:buFontTx/>
              <a:buNone/>
              <a:tabLst/>
              <a:defRPr/>
            </a:pPr>
            <a:r>
              <a:rPr kumimoji="0" lang="en-US" sz="1800" b="0" i="0" u="none" strike="noStrike" kern="0" cap="none" spc="0" normalizeH="0" baseline="0" noProof="0">
                <a:ln>
                  <a:noFill/>
                </a:ln>
                <a:solidFill>
                  <a:srgbClr val="222222"/>
                </a:solidFill>
                <a:effectLst/>
                <a:uLnTx/>
                <a:uFillTx/>
                <a:latin typeface="Montserrat SemiBold" pitchFamily="2" charset="0"/>
                <a:ea typeface="Montserrat"/>
                <a:cs typeface="Montserrat"/>
                <a:sym typeface="Montserrat"/>
              </a:rPr>
              <a:t>National and international talents</a:t>
            </a:r>
            <a:endParaRPr kumimoji="0" lang="en-US" sz="1200" b="0" i="0" u="none" strike="noStrike" kern="0" cap="none" spc="0" normalizeH="0" baseline="0" noProof="0">
              <a:ln>
                <a:noFill/>
              </a:ln>
              <a:solidFill>
                <a:srgbClr val="222222"/>
              </a:solidFill>
              <a:effectLst/>
              <a:uLnTx/>
              <a:uFillTx/>
              <a:latin typeface="Montserrat SemiBold" pitchFamily="2" charset="0"/>
              <a:ea typeface="Montserrat"/>
              <a:cs typeface="Montserrat"/>
              <a:sym typeface="Montserrat"/>
            </a:endParaRPr>
          </a:p>
        </p:txBody>
      </p:sp>
      <p:sp>
        <p:nvSpPr>
          <p:cNvPr id="9" name="Google Shape;332;g169e3e8f587_0_24">
            <a:extLst>
              <a:ext uri="{FF2B5EF4-FFF2-40B4-BE49-F238E27FC236}">
                <a16:creationId xmlns:a16="http://schemas.microsoft.com/office/drawing/2014/main" id="{57935A1D-13CB-F975-215F-7C51CDC3D739}"/>
              </a:ext>
            </a:extLst>
          </p:cNvPr>
          <p:cNvSpPr/>
          <p:nvPr/>
        </p:nvSpPr>
        <p:spPr>
          <a:xfrm>
            <a:off x="13780634" y="6190129"/>
            <a:ext cx="2996335" cy="1165429"/>
          </a:xfrm>
          <a:prstGeom prst="rect">
            <a:avLst/>
          </a:prstGeom>
          <a:noFill/>
          <a:ln>
            <a:noFill/>
          </a:ln>
        </p:spPr>
        <p:txBody>
          <a:bodyPr spcFirstLastPara="1" wrap="square" lIns="182850" tIns="91400" rIns="182850" bIns="91400" anchor="t" anchorCtr="0">
            <a:noAutofit/>
          </a:bodyPr>
          <a:lstStyle/>
          <a:p>
            <a:pPr marL="0" marR="0" lvl="0" indent="0" algn="r" defTabSz="1828800" rtl="0" eaLnBrk="1" fontAlgn="auto" latinLnBrk="0" hangingPunct="1">
              <a:lnSpc>
                <a:spcPct val="100000"/>
              </a:lnSpc>
              <a:spcBef>
                <a:spcPts val="0"/>
              </a:spcBef>
              <a:spcAft>
                <a:spcPts val="0"/>
              </a:spcAft>
              <a:buClr>
                <a:srgbClr val="000000"/>
              </a:buClr>
              <a:buSzPts val="2000"/>
              <a:buFontTx/>
              <a:buNone/>
              <a:tabLst/>
              <a:defRPr/>
            </a:pPr>
            <a:r>
              <a:rPr kumimoji="0" lang="en-US" sz="1800" b="1" i="0" u="none" strike="noStrike" kern="0" cap="none" spc="0" normalizeH="0" baseline="0" noProof="0">
                <a:ln>
                  <a:noFill/>
                </a:ln>
                <a:solidFill>
                  <a:srgbClr val="6800FF"/>
                </a:solidFill>
                <a:effectLst/>
                <a:uLnTx/>
                <a:uFillTx/>
                <a:latin typeface="Montserrat ExtraBold" pitchFamily="2" charset="0"/>
                <a:ea typeface="Montserrat"/>
                <a:cs typeface="Montserrat"/>
                <a:sym typeface="Montserrat"/>
              </a:rPr>
              <a:t>Top 100</a:t>
            </a:r>
          </a:p>
          <a:p>
            <a:pPr marL="0" marR="0" lvl="0" indent="0" algn="r" defTabSz="1828800" rtl="0" eaLnBrk="1" fontAlgn="auto" latinLnBrk="0" hangingPunct="1">
              <a:lnSpc>
                <a:spcPct val="100000"/>
              </a:lnSpc>
              <a:spcBef>
                <a:spcPts val="0"/>
              </a:spcBef>
              <a:spcAft>
                <a:spcPts val="0"/>
              </a:spcAft>
              <a:buClr>
                <a:srgbClr val="000000"/>
              </a:buClr>
              <a:buSzPts val="2000"/>
              <a:buFontTx/>
              <a:buNone/>
              <a:tabLst/>
              <a:defRPr/>
            </a:pPr>
            <a:r>
              <a:rPr kumimoji="0" lang="en-US" sz="1800" b="0" i="0" u="none" strike="noStrike" kern="0" cap="none" spc="0" normalizeH="0" baseline="0" noProof="0">
                <a:ln>
                  <a:noFill/>
                </a:ln>
                <a:solidFill>
                  <a:srgbClr val="222222"/>
                </a:solidFill>
                <a:effectLst/>
                <a:uLnTx/>
                <a:uFillTx/>
                <a:latin typeface="Montserrat SemiBold" pitchFamily="2" charset="0"/>
                <a:ea typeface="Montserrat"/>
                <a:cs typeface="Montserrat"/>
                <a:sym typeface="Montserrat"/>
              </a:rPr>
              <a:t>Most innovative companies in Brazil </a:t>
            </a:r>
          </a:p>
          <a:p>
            <a:pPr marL="0" marR="0" lvl="0" indent="0" algn="r" defTabSz="1828800" rtl="0" eaLnBrk="1" fontAlgn="auto" latinLnBrk="0" hangingPunct="1">
              <a:lnSpc>
                <a:spcPct val="100000"/>
              </a:lnSpc>
              <a:spcBef>
                <a:spcPts val="0"/>
              </a:spcBef>
              <a:spcAft>
                <a:spcPts val="0"/>
              </a:spcAft>
              <a:buClr>
                <a:srgbClr val="000000"/>
              </a:buClr>
              <a:buSzPts val="2000"/>
              <a:buFont typeface="Arial"/>
              <a:buNone/>
              <a:tabLst/>
              <a:defRPr/>
            </a:pPr>
            <a:r>
              <a:rPr kumimoji="0" lang="en-US" sz="1200" b="0" i="0" u="none" strike="noStrike" kern="0" cap="none" spc="0" normalizeH="0" baseline="0" noProof="0">
                <a:ln>
                  <a:noFill/>
                </a:ln>
                <a:solidFill>
                  <a:srgbClr val="363636"/>
                </a:solidFill>
                <a:effectLst/>
                <a:uLnTx/>
                <a:uFillTx/>
                <a:latin typeface="Montserrat Medium" pitchFamily="2" charset="0"/>
                <a:ea typeface="Montserrat"/>
                <a:cs typeface="Montserrat"/>
                <a:sym typeface="Montserrat"/>
              </a:rPr>
              <a:t>by IT </a:t>
            </a:r>
            <a:r>
              <a:rPr kumimoji="0" lang="en-US" sz="1200" b="0" i="0" u="none" strike="noStrike" kern="0" cap="none" spc="0" normalizeH="0" baseline="0" noProof="0" err="1">
                <a:ln>
                  <a:noFill/>
                </a:ln>
                <a:solidFill>
                  <a:srgbClr val="363636"/>
                </a:solidFill>
                <a:effectLst/>
                <a:uLnTx/>
                <a:uFillTx/>
                <a:latin typeface="Montserrat Medium" pitchFamily="2" charset="0"/>
                <a:ea typeface="Montserrat"/>
                <a:cs typeface="Montserrat"/>
                <a:sym typeface="Montserrat"/>
              </a:rPr>
              <a:t>Mídia</a:t>
            </a:r>
            <a:r>
              <a:rPr kumimoji="0" lang="en-US" sz="1200" b="0" i="0" u="none" strike="noStrike" kern="0" cap="none" spc="0" normalizeH="0" baseline="0" noProof="0">
                <a:ln>
                  <a:noFill/>
                </a:ln>
                <a:solidFill>
                  <a:srgbClr val="363636"/>
                </a:solidFill>
                <a:effectLst/>
                <a:uLnTx/>
                <a:uFillTx/>
                <a:latin typeface="Montserrat Medium" pitchFamily="2" charset="0"/>
                <a:ea typeface="Montserrat"/>
                <a:cs typeface="Montserrat"/>
                <a:sym typeface="Montserrat"/>
              </a:rPr>
              <a:t> &amp; PwC</a:t>
            </a:r>
            <a:endParaRPr kumimoji="0" lang="en-US" sz="1200" b="1" i="0" u="none" strike="noStrike" kern="0" cap="none" spc="0" normalizeH="0" baseline="0" noProof="0">
              <a:ln>
                <a:noFill/>
              </a:ln>
              <a:solidFill>
                <a:srgbClr val="222222"/>
              </a:solidFill>
              <a:effectLst/>
              <a:uLnTx/>
              <a:uFillTx/>
              <a:latin typeface="Montserrat Medium" pitchFamily="2" charset="0"/>
              <a:ea typeface="Montserrat"/>
              <a:cs typeface="Montserrat"/>
              <a:sym typeface="Montserrat"/>
            </a:endParaRPr>
          </a:p>
        </p:txBody>
      </p:sp>
      <p:sp>
        <p:nvSpPr>
          <p:cNvPr id="12" name="TextBox 195">
            <a:extLst>
              <a:ext uri="{FF2B5EF4-FFF2-40B4-BE49-F238E27FC236}">
                <a16:creationId xmlns:a16="http://schemas.microsoft.com/office/drawing/2014/main" id="{207E83C6-64F4-8EA8-8BC4-267C568ED7F1}"/>
              </a:ext>
            </a:extLst>
          </p:cNvPr>
          <p:cNvSpPr txBox="1"/>
          <p:nvPr/>
        </p:nvSpPr>
        <p:spPr>
          <a:xfrm>
            <a:off x="12498620" y="4965001"/>
            <a:ext cx="3269652" cy="614852"/>
          </a:xfrm>
          <a:prstGeom prst="rect">
            <a:avLst/>
          </a:prstGeom>
          <a:noFill/>
          <a:ln>
            <a:noFill/>
          </a:ln>
        </p:spPr>
        <p:txBody>
          <a:bodyPr spcFirstLastPara="1" wrap="square" lIns="182850" tIns="182850" rIns="182850" bIns="182850" anchor="t" anchorCtr="0">
            <a:noAutofit/>
          </a:bodyPr>
          <a:lstStyle>
            <a:defPPr marR="0" lvl="0" algn="l" rtl="0">
              <a:lnSpc>
                <a:spcPct val="100000"/>
              </a:lnSpc>
              <a:spcBef>
                <a:spcPts val="0"/>
              </a:spcBef>
              <a:spcAft>
                <a:spcPts val="0"/>
              </a:spcAft>
              <a:defRPr lang="en-US"/>
            </a:defPPr>
            <a:lvl1pPr marR="0" lvl="0">
              <a:lnSpc>
                <a:spcPct val="100000"/>
              </a:lnSpc>
              <a:spcBef>
                <a:spcPts val="0"/>
              </a:spcBef>
              <a:spcAft>
                <a:spcPts val="0"/>
              </a:spcAft>
              <a:buClr>
                <a:schemeClr val="dk1"/>
              </a:buClr>
              <a:buSzPts val="2000"/>
              <a:buFont typeface="Montserrat"/>
              <a:buNone/>
              <a:defRPr sz="1600" b="1" i="0" u="none" strike="noStrike" cap="none">
                <a:solidFill>
                  <a:srgbClr val="5626C4"/>
                </a:solidFill>
                <a:latin typeface="Montserrat"/>
                <a:ea typeface="Montserrat"/>
                <a:cs typeface="Montserrat"/>
              </a:defRPr>
            </a:lvl1pPr>
            <a:lvl2pPr marR="0" lvl="1">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defRPr>
            </a:lvl2pPr>
            <a:lvl3pPr marR="0" lvl="2">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defRPr>
            </a:lvl3pPr>
            <a:lvl4pPr marR="0" lvl="3">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defRPr>
            </a:lvl4pPr>
            <a:lvl5pPr marR="0" lvl="4">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defRPr>
            </a:lvl5pPr>
            <a:lvl6pPr marR="0" lvl="5">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defRPr>
            </a:lvl6pPr>
            <a:lvl7pPr marR="0" lvl="6">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defRPr>
            </a:lvl7pPr>
            <a:lvl8pPr marR="0" lvl="7">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defRPr>
            </a:lvl8pPr>
            <a:lvl9pPr marR="0" lvl="8">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defRPr>
            </a:lvl9pPr>
          </a:lstStyle>
          <a:p>
            <a:pPr marL="0" marR="0" lvl="0" indent="0" algn="l" defTabSz="1371600" rtl="0" eaLnBrk="1" fontAlgn="auto" latinLnBrk="0" hangingPunct="1">
              <a:lnSpc>
                <a:spcPct val="100000"/>
              </a:lnSpc>
              <a:spcBef>
                <a:spcPts val="0"/>
              </a:spcBef>
              <a:spcAft>
                <a:spcPts val="0"/>
              </a:spcAft>
              <a:buClr>
                <a:srgbClr val="FFFFFF"/>
              </a:buClr>
              <a:buSzPts val="2000"/>
              <a:buFont typeface="Montserrat"/>
              <a:buNone/>
              <a:tabLst/>
              <a:defRPr/>
            </a:pPr>
            <a:r>
              <a:rPr kumimoji="0" lang="en-US" sz="1100" b="1" i="0" u="none" strike="noStrike" kern="1200" cap="none" spc="0" normalizeH="0" baseline="0" noProof="0">
                <a:ln>
                  <a:noFill/>
                </a:ln>
                <a:solidFill>
                  <a:srgbClr val="B01C7F"/>
                </a:solidFill>
                <a:effectLst/>
                <a:uLnTx/>
                <a:uFillTx/>
                <a:latin typeface="Montserrat SemiBold" pitchFamily="2" charset="0"/>
                <a:sym typeface="Arial"/>
              </a:rPr>
              <a:t>Global Delivery Centers</a:t>
            </a:r>
          </a:p>
          <a:p>
            <a:pPr marL="0" marR="0" lvl="0" indent="0" algn="l" defTabSz="1371600" rtl="0" eaLnBrk="1" fontAlgn="auto" latinLnBrk="0" hangingPunct="1">
              <a:lnSpc>
                <a:spcPct val="100000"/>
              </a:lnSpc>
              <a:spcBef>
                <a:spcPts val="0"/>
              </a:spcBef>
              <a:spcAft>
                <a:spcPts val="0"/>
              </a:spcAft>
              <a:buClr>
                <a:srgbClr val="FFFFFF"/>
              </a:buClr>
              <a:buSzPts val="2000"/>
              <a:buFont typeface="Montserrat"/>
              <a:buNone/>
              <a:tabLst/>
              <a:defRPr/>
            </a:pPr>
            <a:r>
              <a:rPr kumimoji="0" lang="en-US" sz="1100" b="0" i="0" u="none" strike="noStrike" kern="1200" cap="none" spc="0" normalizeH="0" baseline="0" noProof="0">
                <a:ln>
                  <a:noFill/>
                </a:ln>
                <a:solidFill>
                  <a:srgbClr val="5626C4"/>
                </a:solidFill>
                <a:effectLst/>
                <a:uLnTx/>
                <a:uFillTx/>
                <a:latin typeface="Montserrat SemiBold" pitchFamily="2" charset="0"/>
                <a:sym typeface="Arial"/>
              </a:rPr>
              <a:t>Local Client Intimacy Team</a:t>
            </a:r>
          </a:p>
        </p:txBody>
      </p:sp>
      <p:sp>
        <p:nvSpPr>
          <p:cNvPr id="14" name="Subtitle 2">
            <a:extLst>
              <a:ext uri="{FF2B5EF4-FFF2-40B4-BE49-F238E27FC236}">
                <a16:creationId xmlns:a16="http://schemas.microsoft.com/office/drawing/2014/main" id="{8FE6FD94-F76C-0D66-F9E8-68F737C8BF0F}"/>
              </a:ext>
            </a:extLst>
          </p:cNvPr>
          <p:cNvSpPr txBox="1">
            <a:spLocks/>
          </p:cNvSpPr>
          <p:nvPr/>
        </p:nvSpPr>
        <p:spPr>
          <a:xfrm>
            <a:off x="178978" y="2307223"/>
            <a:ext cx="2882718" cy="1336996"/>
          </a:xfrm>
          <a:prstGeom prst="rect">
            <a:avLst/>
          </a:prstGeom>
        </p:spPr>
        <p:txBody>
          <a:bodyPr vert="horz" wrap="square" lIns="137124" tIns="68562" rIns="137124" bIns="68562"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just" defTabSz="1630966" rtl="0" eaLnBrk="1" fontAlgn="auto" latinLnBrk="0" hangingPunct="1">
              <a:lnSpc>
                <a:spcPts val="2400"/>
              </a:lnSpc>
              <a:spcBef>
                <a:spcPts val="0"/>
              </a:spcBef>
              <a:spcAft>
                <a:spcPts val="0"/>
              </a:spcAft>
              <a:buClrTx/>
              <a:buSzTx/>
              <a:buFont typeface="Arial"/>
              <a:buNone/>
              <a:tabLst/>
              <a:defRPr/>
            </a:pPr>
            <a:r>
              <a:rPr kumimoji="0" lang="en-US" sz="1400" b="0" i="0" u="none" strike="noStrike" kern="1200" cap="none" spc="0" normalizeH="0" baseline="0" noProof="0">
                <a:ln>
                  <a:noFill/>
                </a:ln>
                <a:solidFill>
                  <a:srgbClr val="212121">
                    <a:lumMod val="50000"/>
                    <a:lumOff val="50000"/>
                  </a:srgbClr>
                </a:solidFill>
                <a:effectLst/>
                <a:uLnTx/>
                <a:uFillTx/>
                <a:latin typeface="Montserrat" pitchFamily="2" charset="0"/>
                <a:ea typeface="Lato Light" panose="020F0502020204030203" pitchFamily="34" charset="0"/>
                <a:cs typeface="Arial" panose="020B0604020202020204" pitchFamily="34" charset="0"/>
                <a:sym typeface="Arial"/>
              </a:rPr>
              <a:t>Experience Management</a:t>
            </a:r>
          </a:p>
          <a:p>
            <a:pPr marL="0" marR="0" lvl="0" indent="0" algn="just" defTabSz="1630966" rtl="0" eaLnBrk="1" fontAlgn="auto" latinLnBrk="0" hangingPunct="1">
              <a:lnSpc>
                <a:spcPts val="2400"/>
              </a:lnSpc>
              <a:spcBef>
                <a:spcPts val="0"/>
              </a:spcBef>
              <a:spcAft>
                <a:spcPts val="0"/>
              </a:spcAft>
              <a:buClrTx/>
              <a:buSzTx/>
              <a:buFont typeface="Arial"/>
              <a:buNone/>
              <a:tabLst/>
              <a:defRPr/>
            </a:pPr>
            <a:r>
              <a:rPr kumimoji="0" lang="en-US" sz="1400" b="0" i="0" u="none" strike="noStrike" kern="1200" cap="none" spc="0" normalizeH="0" baseline="0" noProof="0">
                <a:ln>
                  <a:noFill/>
                </a:ln>
                <a:solidFill>
                  <a:srgbClr val="212121">
                    <a:lumMod val="50000"/>
                    <a:lumOff val="50000"/>
                  </a:srgbClr>
                </a:solidFill>
                <a:effectLst/>
                <a:uLnTx/>
                <a:uFillTx/>
                <a:latin typeface="Montserrat" pitchFamily="2" charset="0"/>
                <a:ea typeface="Lato Light" panose="020F0502020204030203" pitchFamily="34" charset="0"/>
                <a:cs typeface="Arial" panose="020B0604020202020204" pitchFamily="34" charset="0"/>
                <a:sym typeface="Arial"/>
              </a:rPr>
              <a:t>Agile Automation</a:t>
            </a:r>
          </a:p>
          <a:p>
            <a:pPr marL="0" marR="0" lvl="0" indent="0" algn="just" defTabSz="1630966" rtl="0" eaLnBrk="1" fontAlgn="auto" latinLnBrk="0" hangingPunct="1">
              <a:lnSpc>
                <a:spcPts val="2400"/>
              </a:lnSpc>
              <a:spcBef>
                <a:spcPts val="0"/>
              </a:spcBef>
              <a:spcAft>
                <a:spcPts val="0"/>
              </a:spcAft>
              <a:buClrTx/>
              <a:buSzTx/>
              <a:buFont typeface="Arial"/>
              <a:buNone/>
              <a:tabLst/>
              <a:defRPr/>
            </a:pPr>
            <a:r>
              <a:rPr kumimoji="0" lang="en-US" sz="1400" b="0" i="0" u="none" strike="noStrike" kern="1200" cap="none" spc="0" normalizeH="0" baseline="0" noProof="0">
                <a:ln>
                  <a:noFill/>
                </a:ln>
                <a:solidFill>
                  <a:srgbClr val="212121">
                    <a:lumMod val="50000"/>
                    <a:lumOff val="50000"/>
                  </a:srgbClr>
                </a:solidFill>
                <a:effectLst/>
                <a:uLnTx/>
                <a:uFillTx/>
                <a:latin typeface="Montserrat" pitchFamily="2" charset="0"/>
                <a:ea typeface="Lato Light" panose="020F0502020204030203" pitchFamily="34" charset="0"/>
                <a:cs typeface="Arial" panose="020B0604020202020204" pitchFamily="34" charset="0"/>
                <a:sym typeface="Arial"/>
              </a:rPr>
              <a:t>Decision Science &amp; AI</a:t>
            </a:r>
          </a:p>
          <a:p>
            <a:pPr marL="0" marR="0" lvl="0" indent="0" algn="just" defTabSz="1630966" rtl="0" eaLnBrk="1" fontAlgn="auto" latinLnBrk="0" hangingPunct="1">
              <a:lnSpc>
                <a:spcPts val="2400"/>
              </a:lnSpc>
              <a:spcBef>
                <a:spcPts val="0"/>
              </a:spcBef>
              <a:spcAft>
                <a:spcPts val="0"/>
              </a:spcAft>
              <a:buClrTx/>
              <a:buSzTx/>
              <a:buFont typeface="Arial"/>
              <a:buNone/>
              <a:tabLst/>
              <a:defRPr/>
            </a:pPr>
            <a:r>
              <a:rPr kumimoji="0" lang="en-US" sz="1400" b="0" i="0" u="none" strike="noStrike" kern="1200" cap="none" spc="0" normalizeH="0" baseline="0" noProof="0">
                <a:ln>
                  <a:noFill/>
                </a:ln>
                <a:solidFill>
                  <a:srgbClr val="212121">
                    <a:lumMod val="50000"/>
                    <a:lumOff val="50000"/>
                  </a:srgbClr>
                </a:solidFill>
                <a:effectLst/>
                <a:uLnTx/>
                <a:uFillTx/>
                <a:latin typeface="Montserrat" pitchFamily="2" charset="0"/>
                <a:ea typeface="Lato Light" panose="020F0502020204030203" pitchFamily="34" charset="0"/>
                <a:cs typeface="Arial" panose="020B0604020202020204" pitchFamily="34" charset="0"/>
                <a:sym typeface="Arial"/>
              </a:rPr>
              <a:t>Open Innovation</a:t>
            </a:r>
          </a:p>
        </p:txBody>
      </p:sp>
      <p:sp>
        <p:nvSpPr>
          <p:cNvPr id="42" name="Google Shape;332;g169e3e8f587_0_24">
            <a:extLst>
              <a:ext uri="{FF2B5EF4-FFF2-40B4-BE49-F238E27FC236}">
                <a16:creationId xmlns:a16="http://schemas.microsoft.com/office/drawing/2014/main" id="{BA12B776-A5F5-C68F-AC11-F447541D4BAD}"/>
              </a:ext>
            </a:extLst>
          </p:cNvPr>
          <p:cNvSpPr/>
          <p:nvPr/>
        </p:nvSpPr>
        <p:spPr>
          <a:xfrm>
            <a:off x="13780634" y="8540508"/>
            <a:ext cx="2945538" cy="985758"/>
          </a:xfrm>
          <a:prstGeom prst="rect">
            <a:avLst/>
          </a:prstGeom>
          <a:noFill/>
          <a:ln>
            <a:noFill/>
          </a:ln>
        </p:spPr>
        <p:txBody>
          <a:bodyPr spcFirstLastPara="1" wrap="square" lIns="182850" tIns="91400" rIns="182850" bIns="91400" anchor="t" anchorCtr="0">
            <a:noAutofit/>
          </a:bodyPr>
          <a:lstStyle/>
          <a:p>
            <a:pPr marL="0" marR="0" lvl="0" indent="0" algn="r" defTabSz="1828800" rtl="0" eaLnBrk="1" fontAlgn="auto" latinLnBrk="0" hangingPunct="1">
              <a:lnSpc>
                <a:spcPct val="100000"/>
              </a:lnSpc>
              <a:spcBef>
                <a:spcPts val="0"/>
              </a:spcBef>
              <a:spcAft>
                <a:spcPts val="0"/>
              </a:spcAft>
              <a:buClr>
                <a:srgbClr val="000000"/>
              </a:buClr>
              <a:buSzPts val="2000"/>
              <a:buFontTx/>
              <a:buNone/>
              <a:tabLst/>
              <a:defRPr/>
            </a:pPr>
            <a:r>
              <a:rPr kumimoji="0" lang="en-US" sz="1800" b="0" i="0" u="none" strike="noStrike" kern="0" cap="none" spc="0" normalizeH="0" baseline="0" noProof="0">
                <a:ln>
                  <a:noFill/>
                </a:ln>
                <a:solidFill>
                  <a:srgbClr val="6800FF"/>
                </a:solidFill>
                <a:effectLst/>
                <a:uLnTx/>
                <a:uFillTx/>
                <a:latin typeface="Montserrat ExtraBold" pitchFamily="2" charset="0"/>
                <a:ea typeface="Montserrat"/>
                <a:cs typeface="Montserrat"/>
                <a:sym typeface="Montserrat"/>
              </a:rPr>
              <a:t>800+</a:t>
            </a:r>
          </a:p>
          <a:p>
            <a:pPr marL="0" marR="0" lvl="0" indent="0" algn="r" defTabSz="1828800" rtl="0" eaLnBrk="1" fontAlgn="auto" latinLnBrk="0" hangingPunct="1">
              <a:lnSpc>
                <a:spcPct val="100000"/>
              </a:lnSpc>
              <a:spcBef>
                <a:spcPts val="0"/>
              </a:spcBef>
              <a:spcAft>
                <a:spcPts val="0"/>
              </a:spcAft>
              <a:buClr>
                <a:srgbClr val="000000"/>
              </a:buClr>
              <a:buSzPts val="2000"/>
              <a:buFontTx/>
              <a:buNone/>
              <a:tabLst/>
              <a:defRPr/>
            </a:pPr>
            <a:r>
              <a:rPr kumimoji="0" lang="en-US" sz="1800" b="0" i="0" u="none" strike="noStrike" kern="0" cap="none" spc="0" normalizeH="0" baseline="0" noProof="0">
                <a:ln>
                  <a:noFill/>
                </a:ln>
                <a:solidFill>
                  <a:srgbClr val="222222"/>
                </a:solidFill>
                <a:effectLst/>
                <a:uLnTx/>
                <a:uFillTx/>
                <a:latin typeface="Montserrat SemiBold" pitchFamily="2" charset="0"/>
                <a:ea typeface="Montserrat"/>
                <a:cs typeface="Montserrat"/>
                <a:sym typeface="Montserrat"/>
              </a:rPr>
              <a:t>Customers in </a:t>
            </a:r>
            <a:r>
              <a:rPr kumimoji="0" lang="en-US" sz="1800" b="0" i="0" u="none" strike="noStrike" kern="0" cap="none" spc="0" normalizeH="0" baseline="0" noProof="0">
                <a:ln>
                  <a:noFill/>
                </a:ln>
                <a:solidFill>
                  <a:srgbClr val="6800FF"/>
                </a:solidFill>
                <a:effectLst/>
                <a:uLnTx/>
                <a:uFillTx/>
                <a:latin typeface="Montserrat ExtraBold" pitchFamily="2" charset="0"/>
                <a:ea typeface="Montserrat"/>
                <a:cs typeface="Montserrat"/>
                <a:sym typeface="Montserrat"/>
              </a:rPr>
              <a:t>9</a:t>
            </a:r>
            <a:r>
              <a:rPr kumimoji="0" lang="en-US" sz="1800" b="0" i="0" u="none" strike="noStrike" kern="0" cap="none" spc="0" normalizeH="0" baseline="0" noProof="0">
                <a:ln>
                  <a:noFill/>
                </a:ln>
                <a:solidFill>
                  <a:srgbClr val="222222"/>
                </a:solidFill>
                <a:effectLst/>
                <a:uLnTx/>
                <a:uFillTx/>
                <a:latin typeface="Montserrat SemiBold" pitchFamily="2" charset="0"/>
                <a:ea typeface="Montserrat"/>
                <a:cs typeface="Montserrat"/>
                <a:sym typeface="Montserrat"/>
              </a:rPr>
              <a:t> countries on </a:t>
            </a:r>
            <a:r>
              <a:rPr kumimoji="0" lang="en-US" sz="1800" b="0" i="0" u="none" strike="noStrike" kern="0" cap="none" spc="0" normalizeH="0" baseline="0" noProof="0">
                <a:ln>
                  <a:noFill/>
                </a:ln>
                <a:solidFill>
                  <a:srgbClr val="6800FF"/>
                </a:solidFill>
                <a:effectLst/>
                <a:uLnTx/>
                <a:uFillTx/>
                <a:latin typeface="Montserrat ExtraBold" pitchFamily="2" charset="0"/>
                <a:ea typeface="Montserrat"/>
                <a:cs typeface="Montserrat"/>
                <a:sym typeface="Montserrat"/>
              </a:rPr>
              <a:t>14</a:t>
            </a:r>
            <a:r>
              <a:rPr kumimoji="0" lang="en-US" sz="1800" b="0" i="0" u="none" strike="noStrike" kern="0" cap="none" spc="0" normalizeH="0" baseline="0" noProof="0">
                <a:ln>
                  <a:noFill/>
                </a:ln>
                <a:solidFill>
                  <a:srgbClr val="222222"/>
                </a:solidFill>
                <a:effectLst/>
                <a:uLnTx/>
                <a:uFillTx/>
                <a:latin typeface="Montserrat SemiBold" pitchFamily="2" charset="0"/>
                <a:ea typeface="Montserrat"/>
                <a:cs typeface="Montserrat"/>
                <a:sym typeface="Montserrat"/>
              </a:rPr>
              <a:t> sites</a:t>
            </a:r>
            <a:endParaRPr kumimoji="0" lang="en-US" sz="1200" b="0" i="0" u="none" strike="noStrike" kern="0" cap="none" spc="0" normalizeH="0" baseline="0" noProof="0">
              <a:ln>
                <a:noFill/>
              </a:ln>
              <a:solidFill>
                <a:srgbClr val="222222"/>
              </a:solidFill>
              <a:effectLst/>
              <a:uLnTx/>
              <a:uFillTx/>
              <a:latin typeface="Montserrat SemiBold" pitchFamily="2" charset="0"/>
              <a:ea typeface="Montserrat"/>
              <a:cs typeface="Montserrat"/>
              <a:sym typeface="Montserrat"/>
            </a:endParaRPr>
          </a:p>
        </p:txBody>
      </p:sp>
      <p:pic>
        <p:nvPicPr>
          <p:cNvPr id="4" name="Imagem 3" descr="Mapa&#10;&#10;Descrição gerada automaticamente">
            <a:extLst>
              <a:ext uri="{FF2B5EF4-FFF2-40B4-BE49-F238E27FC236}">
                <a16:creationId xmlns:a16="http://schemas.microsoft.com/office/drawing/2014/main" id="{081CDAE7-69F8-DFF5-F891-999045F0B743}"/>
              </a:ext>
            </a:extLst>
          </p:cNvPr>
          <p:cNvPicPr>
            <a:picLocks noChangeAspect="1"/>
          </p:cNvPicPr>
          <p:nvPr/>
        </p:nvPicPr>
        <p:blipFill>
          <a:blip r:embed="rId7"/>
          <a:stretch>
            <a:fillRect/>
          </a:stretch>
        </p:blipFill>
        <p:spPr>
          <a:xfrm>
            <a:off x="10223088" y="1021462"/>
            <a:ext cx="7679533" cy="4112659"/>
          </a:xfrm>
          <a:prstGeom prst="rect">
            <a:avLst/>
          </a:prstGeom>
        </p:spPr>
      </p:pic>
      <p:sp>
        <p:nvSpPr>
          <p:cNvPr id="6" name="Google Shape;295;g8cff37a39f_0_44">
            <a:extLst>
              <a:ext uri="{FF2B5EF4-FFF2-40B4-BE49-F238E27FC236}">
                <a16:creationId xmlns:a16="http://schemas.microsoft.com/office/drawing/2014/main" id="{3E6DEFA6-7317-76E3-740D-9DFF6B7D4089}"/>
              </a:ext>
            </a:extLst>
          </p:cNvPr>
          <p:cNvSpPr txBox="1">
            <a:spLocks/>
          </p:cNvSpPr>
          <p:nvPr/>
        </p:nvSpPr>
        <p:spPr>
          <a:xfrm>
            <a:off x="17230353" y="9499600"/>
            <a:ext cx="1096962" cy="787400"/>
          </a:xfrm>
          <a:prstGeom prst="rect">
            <a:avLst/>
          </a:prstGeom>
          <a:noFill/>
          <a:ln>
            <a:noFill/>
          </a:ln>
        </p:spPr>
        <p:txBody>
          <a:bodyPr spcFirstLastPara="1" wrap="square" lIns="365700" tIns="365700" rIns="365700" bIns="365700"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buNone/>
              <a:defRPr sz="2000" b="0" i="0" u="none" strike="noStrike" cap="none">
                <a:solidFill>
                  <a:schemeClr val="lt2"/>
                </a:solidFill>
                <a:latin typeface="Arial"/>
                <a:ea typeface="Arial"/>
                <a:cs typeface="Arial"/>
                <a:sym typeface="Arial"/>
              </a:defRPr>
            </a:lvl1pPr>
            <a:lvl2pPr marR="0" lvl="1" algn="r" rtl="0">
              <a:lnSpc>
                <a:spcPct val="100000"/>
              </a:lnSpc>
              <a:spcBef>
                <a:spcPts val="0"/>
              </a:spcBef>
              <a:spcAft>
                <a:spcPts val="0"/>
              </a:spcAft>
              <a:buClr>
                <a:srgbClr val="000000"/>
              </a:buClr>
              <a:buFont typeface="Arial"/>
              <a:buNone/>
              <a:defRPr sz="2000" b="0" i="0" u="none" strike="noStrike" cap="none">
                <a:solidFill>
                  <a:schemeClr val="lt2"/>
                </a:solidFill>
                <a:latin typeface="Arial"/>
                <a:ea typeface="Arial"/>
                <a:cs typeface="Arial"/>
                <a:sym typeface="Arial"/>
              </a:defRPr>
            </a:lvl2pPr>
            <a:lvl3pPr marR="0" lvl="2" algn="r" rtl="0">
              <a:lnSpc>
                <a:spcPct val="100000"/>
              </a:lnSpc>
              <a:spcBef>
                <a:spcPts val="0"/>
              </a:spcBef>
              <a:spcAft>
                <a:spcPts val="0"/>
              </a:spcAft>
              <a:buClr>
                <a:srgbClr val="000000"/>
              </a:buClr>
              <a:buFont typeface="Arial"/>
              <a:buNone/>
              <a:defRPr sz="2000" b="0" i="0" u="none" strike="noStrike" cap="none">
                <a:solidFill>
                  <a:schemeClr val="lt2"/>
                </a:solidFill>
                <a:latin typeface="Arial"/>
                <a:ea typeface="Arial"/>
                <a:cs typeface="Arial"/>
                <a:sym typeface="Arial"/>
              </a:defRPr>
            </a:lvl3pPr>
            <a:lvl4pPr marR="0" lvl="3" algn="r" rtl="0">
              <a:lnSpc>
                <a:spcPct val="100000"/>
              </a:lnSpc>
              <a:spcBef>
                <a:spcPts val="0"/>
              </a:spcBef>
              <a:spcAft>
                <a:spcPts val="0"/>
              </a:spcAft>
              <a:buClr>
                <a:srgbClr val="000000"/>
              </a:buClr>
              <a:buFont typeface="Arial"/>
              <a:buNone/>
              <a:defRPr sz="2000" b="0" i="0" u="none" strike="noStrike" cap="none">
                <a:solidFill>
                  <a:schemeClr val="lt2"/>
                </a:solidFill>
                <a:latin typeface="Arial"/>
                <a:ea typeface="Arial"/>
                <a:cs typeface="Arial"/>
                <a:sym typeface="Arial"/>
              </a:defRPr>
            </a:lvl4pPr>
            <a:lvl5pPr marR="0" lvl="4" algn="r" rtl="0">
              <a:lnSpc>
                <a:spcPct val="100000"/>
              </a:lnSpc>
              <a:spcBef>
                <a:spcPts val="0"/>
              </a:spcBef>
              <a:spcAft>
                <a:spcPts val="0"/>
              </a:spcAft>
              <a:buClr>
                <a:srgbClr val="000000"/>
              </a:buClr>
              <a:buFont typeface="Arial"/>
              <a:buNone/>
              <a:defRPr sz="2000" b="0" i="0" u="none" strike="noStrike" cap="none">
                <a:solidFill>
                  <a:schemeClr val="lt2"/>
                </a:solidFill>
                <a:latin typeface="Arial"/>
                <a:ea typeface="Arial"/>
                <a:cs typeface="Arial"/>
                <a:sym typeface="Arial"/>
              </a:defRPr>
            </a:lvl5pPr>
            <a:lvl6pPr marR="0" lvl="5" algn="r" rtl="0">
              <a:lnSpc>
                <a:spcPct val="100000"/>
              </a:lnSpc>
              <a:spcBef>
                <a:spcPts val="0"/>
              </a:spcBef>
              <a:spcAft>
                <a:spcPts val="0"/>
              </a:spcAft>
              <a:buClr>
                <a:srgbClr val="000000"/>
              </a:buClr>
              <a:buFont typeface="Arial"/>
              <a:buNone/>
              <a:defRPr sz="2000" b="0" i="0" u="none" strike="noStrike" cap="none">
                <a:solidFill>
                  <a:schemeClr val="lt2"/>
                </a:solidFill>
                <a:latin typeface="Arial"/>
                <a:ea typeface="Arial"/>
                <a:cs typeface="Arial"/>
                <a:sym typeface="Arial"/>
              </a:defRPr>
            </a:lvl6pPr>
            <a:lvl7pPr marR="0" lvl="6" algn="r" rtl="0">
              <a:lnSpc>
                <a:spcPct val="100000"/>
              </a:lnSpc>
              <a:spcBef>
                <a:spcPts val="0"/>
              </a:spcBef>
              <a:spcAft>
                <a:spcPts val="0"/>
              </a:spcAft>
              <a:buClr>
                <a:srgbClr val="000000"/>
              </a:buClr>
              <a:buFont typeface="Arial"/>
              <a:buNone/>
              <a:defRPr sz="2000" b="0" i="0" u="none" strike="noStrike" cap="none">
                <a:solidFill>
                  <a:schemeClr val="lt2"/>
                </a:solidFill>
                <a:latin typeface="Arial"/>
                <a:ea typeface="Arial"/>
                <a:cs typeface="Arial"/>
                <a:sym typeface="Arial"/>
              </a:defRPr>
            </a:lvl7pPr>
            <a:lvl8pPr marR="0" lvl="7" algn="r" rtl="0">
              <a:lnSpc>
                <a:spcPct val="100000"/>
              </a:lnSpc>
              <a:spcBef>
                <a:spcPts val="0"/>
              </a:spcBef>
              <a:spcAft>
                <a:spcPts val="0"/>
              </a:spcAft>
              <a:buClr>
                <a:srgbClr val="000000"/>
              </a:buClr>
              <a:buFont typeface="Arial"/>
              <a:buNone/>
              <a:defRPr sz="2000" b="0" i="0" u="none" strike="noStrike" cap="none">
                <a:solidFill>
                  <a:schemeClr val="lt2"/>
                </a:solidFill>
                <a:latin typeface="Arial"/>
                <a:ea typeface="Arial"/>
                <a:cs typeface="Arial"/>
                <a:sym typeface="Arial"/>
              </a:defRPr>
            </a:lvl8pPr>
            <a:lvl9pPr marR="0" lvl="8" algn="r" rtl="0">
              <a:lnSpc>
                <a:spcPct val="100000"/>
              </a:lnSpc>
              <a:spcBef>
                <a:spcPts val="0"/>
              </a:spcBef>
              <a:spcAft>
                <a:spcPts val="0"/>
              </a:spcAft>
              <a:buClr>
                <a:srgbClr val="000000"/>
              </a:buClr>
              <a:buFont typeface="Arial"/>
              <a:buNone/>
              <a:defRPr sz="2000" b="0" i="0" u="none" strike="noStrike" cap="none">
                <a:solidFill>
                  <a:schemeClr val="lt2"/>
                </a:solidFill>
                <a:latin typeface="Arial"/>
                <a:ea typeface="Arial"/>
                <a:cs typeface="Arial"/>
                <a:sym typeface="Arial"/>
              </a:defRPr>
            </a:lvl9pPr>
          </a:lstStyle>
          <a:p>
            <a:pPr marL="0" marR="0" lvl="0" indent="0" algn="r" defTabSz="1828756"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600" b="0" i="0" u="none" strike="noStrike" kern="0" cap="none" spc="0" normalizeH="0" baseline="0" noProof="0" smtClean="0">
                <a:ln>
                  <a:noFill/>
                </a:ln>
                <a:solidFill>
                  <a:srgbClr val="ADADAD"/>
                </a:solidFill>
                <a:effectLst/>
                <a:uLnTx/>
                <a:uFillTx/>
                <a:latin typeface="Montserrat" panose="00000500000000000000" pitchFamily="2" charset="0"/>
                <a:cs typeface="Arial"/>
                <a:sym typeface="Arial"/>
              </a:rPr>
              <a:pPr marL="0" marR="0" lvl="0" indent="0" algn="r" defTabSz="1828756" rtl="0" eaLnBrk="1" fontAlgn="auto" latinLnBrk="0" hangingPunct="1">
                <a:lnSpc>
                  <a:spcPct val="100000"/>
                </a:lnSpc>
                <a:spcBef>
                  <a:spcPts val="0"/>
                </a:spcBef>
                <a:spcAft>
                  <a:spcPts val="0"/>
                </a:spcAft>
                <a:buClr>
                  <a:srgbClr val="000000"/>
                </a:buClr>
                <a:buSzTx/>
                <a:buFont typeface="Arial"/>
                <a:buNone/>
                <a:tabLst/>
                <a:defRPr/>
              </a:pPr>
              <a:t>2</a:t>
            </a:fld>
            <a:endParaRPr kumimoji="0" lang="en-US" sz="1600" b="0" i="0" u="none" strike="noStrike" kern="0" cap="none" spc="0" normalizeH="0" baseline="0" noProof="0">
              <a:ln>
                <a:noFill/>
              </a:ln>
              <a:solidFill>
                <a:srgbClr val="ADADAD"/>
              </a:solidFill>
              <a:effectLst/>
              <a:uLnTx/>
              <a:uFillTx/>
              <a:latin typeface="Montserrat" panose="00000500000000000000" pitchFamily="2" charset="0"/>
              <a:cs typeface="Arial"/>
              <a:sym typeface="Arial"/>
            </a:endParaRPr>
          </a:p>
        </p:txBody>
      </p:sp>
      <p:sp>
        <p:nvSpPr>
          <p:cNvPr id="5" name="Colchete Esquerdo 2">
            <a:extLst>
              <a:ext uri="{FF2B5EF4-FFF2-40B4-BE49-F238E27FC236}">
                <a16:creationId xmlns:a16="http://schemas.microsoft.com/office/drawing/2014/main" id="{56FB4A1F-886C-3DF1-7CE8-852837CDAA5A}"/>
              </a:ext>
            </a:extLst>
          </p:cNvPr>
          <p:cNvSpPr/>
          <p:nvPr/>
        </p:nvSpPr>
        <p:spPr>
          <a:xfrm flipH="1">
            <a:off x="13653513" y="2403463"/>
            <a:ext cx="3064901" cy="7158432"/>
          </a:xfrm>
          <a:prstGeom prst="leftBracket">
            <a:avLst>
              <a:gd name="adj" fmla="val 0"/>
            </a:avLst>
          </a:prstGeom>
          <a:ln w="12700">
            <a:solidFill>
              <a:srgbClr val="6800FF"/>
            </a:solidFill>
            <a:headEnd type="none" w="med" len="med"/>
            <a:tailEnd type="none" w="med" len="med"/>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pt-BR"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0" name="Retângulo 4">
            <a:extLst>
              <a:ext uri="{FF2B5EF4-FFF2-40B4-BE49-F238E27FC236}">
                <a16:creationId xmlns:a16="http://schemas.microsoft.com/office/drawing/2014/main" id="{7D366794-849C-9B3A-46F3-815825103EAE}"/>
              </a:ext>
            </a:extLst>
          </p:cNvPr>
          <p:cNvSpPr/>
          <p:nvPr/>
        </p:nvSpPr>
        <p:spPr>
          <a:xfrm rot="16200000">
            <a:off x="12262513" y="5290500"/>
            <a:ext cx="396569" cy="72000"/>
          </a:xfrm>
          <a:prstGeom prst="rect">
            <a:avLst/>
          </a:prstGeom>
          <a:solidFill>
            <a:schemeClr val="bg2">
              <a:lumMod val="10000"/>
              <a:lumOff val="9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pt-BR" sz="1400" b="0" i="0" u="none" strike="noStrike" kern="0" cap="none" spc="0" normalizeH="0" baseline="0" noProof="0">
              <a:ln>
                <a:noFill/>
              </a:ln>
              <a:solidFill>
                <a:srgbClr val="212121"/>
              </a:solidFill>
              <a:effectLst/>
              <a:uLnTx/>
              <a:uFillTx/>
              <a:latin typeface="Arial"/>
              <a:ea typeface="+mn-ea"/>
              <a:cs typeface="+mn-cs"/>
              <a:sym typeface="Arial"/>
            </a:endParaRPr>
          </a:p>
        </p:txBody>
      </p:sp>
    </p:spTree>
    <p:extLst>
      <p:ext uri="{BB962C8B-B14F-4D97-AF65-F5344CB8AC3E}">
        <p14:creationId xmlns:p14="http://schemas.microsoft.com/office/powerpoint/2010/main" val="14767093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5A9778CD-BE06-CA5A-A686-18E55CCBC5DA}"/>
            </a:ext>
          </a:extLst>
        </p:cNvPr>
        <p:cNvGrpSpPr/>
        <p:nvPr/>
      </p:nvGrpSpPr>
      <p:grpSpPr>
        <a:xfrm>
          <a:off x="0" y="0"/>
          <a:ext cx="0" cy="0"/>
          <a:chOff x="0" y="0"/>
          <a:chExt cx="0" cy="0"/>
        </a:xfrm>
      </p:grpSpPr>
      <p:sp>
        <p:nvSpPr>
          <p:cNvPr id="14" name="bg">
            <a:extLst>
              <a:ext uri="{FF2B5EF4-FFF2-40B4-BE49-F238E27FC236}">
                <a16:creationId xmlns:a16="http://schemas.microsoft.com/office/drawing/2014/main" id="{090ABF2E-7BB2-6E6A-EDA1-A00A8594EF7B}"/>
              </a:ext>
            </a:extLst>
          </p:cNvPr>
          <p:cNvSpPr/>
          <p:nvPr/>
        </p:nvSpPr>
        <p:spPr>
          <a:xfrm>
            <a:off x="0" y="0"/>
            <a:ext cx="7533750" cy="10284487"/>
          </a:xfrm>
          <a:prstGeom prst="rect">
            <a:avLst/>
          </a:prstGeom>
          <a:solidFill>
            <a:srgbClr val="6800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13" name="Picture 12">
            <a:extLst>
              <a:ext uri="{FF2B5EF4-FFF2-40B4-BE49-F238E27FC236}">
                <a16:creationId xmlns:a16="http://schemas.microsoft.com/office/drawing/2014/main" id="{26DDC443-7D4A-670B-7BC9-88F8F199B2CE}"/>
              </a:ext>
            </a:extLst>
          </p:cNvPr>
          <p:cNvPicPr>
            <a:picLocks noChangeAspect="1"/>
          </p:cNvPicPr>
          <p:nvPr/>
        </p:nvPicPr>
        <p:blipFill>
          <a:blip r:embed="rId3" cstate="email">
            <a:alphaModFix amt="28000"/>
            <a:extLst>
              <a:ext uri="{28A0092B-C50C-407E-A947-70E740481C1C}">
                <a14:useLocalDpi xmlns:a14="http://schemas.microsoft.com/office/drawing/2010/main"/>
              </a:ext>
            </a:extLst>
          </a:blip>
          <a:srcRect/>
          <a:stretch/>
        </p:blipFill>
        <p:spPr>
          <a:xfrm>
            <a:off x="0" y="0"/>
            <a:ext cx="7535416" cy="10289485"/>
          </a:xfrm>
          <a:prstGeom prst="rect">
            <a:avLst/>
          </a:prstGeom>
        </p:spPr>
      </p:pic>
      <p:sp>
        <p:nvSpPr>
          <p:cNvPr id="2" name="Título 1">
            <a:extLst>
              <a:ext uri="{FF2B5EF4-FFF2-40B4-BE49-F238E27FC236}">
                <a16:creationId xmlns:a16="http://schemas.microsoft.com/office/drawing/2014/main" id="{0AAF1DE7-B633-9B70-BCF1-F9E8116EF83A}"/>
              </a:ext>
            </a:extLst>
          </p:cNvPr>
          <p:cNvSpPr txBox="1">
            <a:spLocks/>
          </p:cNvSpPr>
          <p:nvPr/>
        </p:nvSpPr>
        <p:spPr>
          <a:xfrm>
            <a:off x="524542" y="3094104"/>
            <a:ext cx="6541133" cy="1228152"/>
          </a:xfrm>
          <a:prstGeom prst="rect">
            <a:avLst/>
          </a:prstGeom>
        </p:spPr>
        <p:txBody>
          <a:bodyPr lIns="91440" tIns="45720" rIns="91440" bIns="45720" anchor="t"/>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1371600" rtl="0" eaLnBrk="1" fontAlgn="auto" latinLnBrk="0" hangingPunct="1">
              <a:lnSpc>
                <a:spcPct val="150000"/>
              </a:lnSpc>
              <a:spcBef>
                <a:spcPts val="0"/>
              </a:spcBef>
              <a:spcAft>
                <a:spcPts val="0"/>
              </a:spcAft>
              <a:buClr>
                <a:srgbClr val="000000"/>
              </a:buClr>
              <a:buSzTx/>
              <a:buFont typeface="Arial"/>
              <a:buNone/>
              <a:tabLst/>
              <a:defRPr/>
            </a:pPr>
            <a:r>
              <a:rPr lang="en-US" sz="6000" b="1" kern="1200">
                <a:solidFill>
                  <a:srgbClr val="FFFFFF"/>
                </a:solidFill>
                <a:latin typeface="Montserrat Bold"/>
              </a:rPr>
              <a:t>Qintess’s</a:t>
            </a:r>
            <a:r>
              <a:rPr kumimoji="0" lang="en-US" sz="6000" b="1" i="0" u="none" strike="noStrike" kern="1200" cap="none" spc="0" normalizeH="0" baseline="0" noProof="0">
                <a:ln>
                  <a:noFill/>
                </a:ln>
                <a:solidFill>
                  <a:srgbClr val="FFFFFF"/>
                </a:solidFill>
                <a:effectLst/>
                <a:uLnTx/>
                <a:uFillTx/>
                <a:latin typeface="Montserrat Bold"/>
                <a:cs typeface="Arial"/>
                <a:sym typeface="Arial"/>
              </a:rPr>
              <a:t> Vision</a:t>
            </a:r>
            <a:endParaRPr lang="en-US" sz="6000" b="1" i="0" u="none" strike="noStrike" kern="1200" cap="none" spc="0" normalizeH="0" baseline="0" noProof="0">
              <a:ln>
                <a:noFill/>
              </a:ln>
              <a:solidFill>
                <a:srgbClr val="FFFFFF"/>
              </a:solidFill>
              <a:effectLst/>
              <a:uLnTx/>
              <a:uFillTx/>
              <a:latin typeface="Montserrat Bold"/>
              <a:cs typeface="Arial"/>
            </a:endParaRPr>
          </a:p>
        </p:txBody>
      </p:sp>
      <p:sp>
        <p:nvSpPr>
          <p:cNvPr id="3" name="Título 1">
            <a:extLst>
              <a:ext uri="{FF2B5EF4-FFF2-40B4-BE49-F238E27FC236}">
                <a16:creationId xmlns:a16="http://schemas.microsoft.com/office/drawing/2014/main" id="{9197A038-F6A9-6A86-7196-A138F6941D1E}"/>
              </a:ext>
            </a:extLst>
          </p:cNvPr>
          <p:cNvSpPr txBox="1">
            <a:spLocks/>
          </p:cNvSpPr>
          <p:nvPr/>
        </p:nvSpPr>
        <p:spPr>
          <a:xfrm>
            <a:off x="524542" y="4706001"/>
            <a:ext cx="6680027" cy="763526"/>
          </a:xfrm>
          <a:prstGeom prst="rect">
            <a:avLst/>
          </a:prstGeom>
        </p:spPr>
        <p:txBody>
          <a:bodyPr lIns="91440" tIns="45720" rIns="91440" bIns="45720" anchor="t"/>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1371600">
              <a:defRPr/>
            </a:pPr>
            <a:r>
              <a:rPr kumimoji="0" lang="en-US" sz="2000" b="0" i="0" u="none" strike="noStrike" kern="1200" cap="none" spc="0" normalizeH="0" baseline="0" noProof="0">
                <a:ln>
                  <a:noFill/>
                </a:ln>
                <a:solidFill>
                  <a:srgbClr val="FFFFFF"/>
                </a:solidFill>
                <a:effectLst/>
                <a:uLnTx/>
                <a:uFillTx/>
                <a:latin typeface="Montserrat Light"/>
                <a:cs typeface="Arial"/>
                <a:sym typeface="Arial"/>
              </a:rPr>
              <a:t>We strongly believe in the need to build trust on AI by creating the </a:t>
            </a:r>
            <a:r>
              <a:rPr lang="en-US" sz="2000" kern="1200">
                <a:solidFill>
                  <a:srgbClr val="FFFFFF"/>
                </a:solidFill>
                <a:latin typeface="Montserrat Light"/>
              </a:rPr>
              <a:t> </a:t>
            </a:r>
            <a:r>
              <a:rPr kumimoji="0" lang="en-US" sz="2000" b="1" i="0" u="none" strike="noStrike" kern="1200" cap="none" spc="0" normalizeH="0" baseline="0" noProof="0">
                <a:ln>
                  <a:noFill/>
                </a:ln>
                <a:solidFill>
                  <a:srgbClr val="6800FF"/>
                </a:solidFill>
                <a:effectLst/>
                <a:highlight>
                  <a:srgbClr val="FFFFFF"/>
                </a:highlight>
                <a:uLnTx/>
                <a:uFillTx/>
                <a:latin typeface="Montserrat"/>
                <a:cs typeface="Arial"/>
                <a:sym typeface="Arial"/>
              </a:rPr>
              <a:t>Human Digital Twin </a:t>
            </a:r>
            <a:r>
              <a:rPr lang="en-US" sz="2000" b="1" kern="1200">
                <a:solidFill>
                  <a:srgbClr val="FFFFFF"/>
                </a:solidFill>
                <a:latin typeface="Montserrat"/>
              </a:rPr>
              <a:t> </a:t>
            </a:r>
            <a:r>
              <a:rPr kumimoji="0" lang="en-US" sz="2000" b="0" i="0" u="none" strike="noStrike" kern="1200" cap="none" spc="0" normalizeH="0" baseline="0" noProof="0">
                <a:ln>
                  <a:noFill/>
                </a:ln>
                <a:solidFill>
                  <a:srgbClr val="FFFFFF"/>
                </a:solidFill>
                <a:effectLst/>
                <a:uLnTx/>
                <a:uFillTx/>
                <a:latin typeface="Montserrat Light"/>
                <a:cs typeface="Arial"/>
                <a:sym typeface="Arial"/>
              </a:rPr>
              <a:t>concept</a:t>
            </a:r>
            <a:endParaRPr lang="en-US" sz="1100" noProof="0">
              <a:solidFill>
                <a:srgbClr val="FFFFFF"/>
              </a:solidFill>
              <a:latin typeface="Montserrat Light"/>
            </a:endParaRPr>
          </a:p>
        </p:txBody>
      </p:sp>
      <p:grpSp>
        <p:nvGrpSpPr>
          <p:cNvPr id="8" name="Group 7">
            <a:extLst>
              <a:ext uri="{FF2B5EF4-FFF2-40B4-BE49-F238E27FC236}">
                <a16:creationId xmlns:a16="http://schemas.microsoft.com/office/drawing/2014/main" id="{9555A4A7-8F9D-D79B-1BAC-6296460B4EA9}"/>
              </a:ext>
            </a:extLst>
          </p:cNvPr>
          <p:cNvGrpSpPr/>
          <p:nvPr/>
        </p:nvGrpSpPr>
        <p:grpSpPr>
          <a:xfrm>
            <a:off x="7387210" y="2"/>
            <a:ext cx="10520865" cy="10287000"/>
            <a:chOff x="7387210" y="2"/>
            <a:chExt cx="10520865" cy="10287000"/>
          </a:xfrm>
        </p:grpSpPr>
        <p:sp>
          <p:nvSpPr>
            <p:cNvPr id="12" name="Freeform 2">
              <a:extLst>
                <a:ext uri="{FF2B5EF4-FFF2-40B4-BE49-F238E27FC236}">
                  <a16:creationId xmlns:a16="http://schemas.microsoft.com/office/drawing/2014/main" id="{14B0AC95-5970-8821-4C16-64AD45201370}"/>
                </a:ext>
              </a:extLst>
            </p:cNvPr>
            <p:cNvSpPr/>
            <p:nvPr/>
          </p:nvSpPr>
          <p:spPr>
            <a:xfrm rot="5400000">
              <a:off x="7504143" y="-116931"/>
              <a:ext cx="10287000" cy="10520865"/>
            </a:xfrm>
            <a:custGeom>
              <a:avLst/>
              <a:gdLst/>
              <a:ahLst/>
              <a:cxnLst/>
              <a:rect l="l" t="t" r="r" b="b"/>
              <a:pathLst>
                <a:path w="10287000" h="9506921">
                  <a:moveTo>
                    <a:pt x="0" y="0"/>
                  </a:moveTo>
                  <a:lnTo>
                    <a:pt x="10287000" y="0"/>
                  </a:lnTo>
                  <a:lnTo>
                    <a:pt x="10287000" y="9506922"/>
                  </a:lnTo>
                  <a:lnTo>
                    <a:pt x="0" y="9506922"/>
                  </a:lnTo>
                  <a:lnTo>
                    <a:pt x="0" y="0"/>
                  </a:lnTo>
                  <a:close/>
                </a:path>
              </a:pathLst>
            </a:custGeom>
            <a:blipFill>
              <a:blip r:embed="rId4" cstate="email">
                <a:extLst>
                  <a:ext uri="{28A0092B-C50C-407E-A947-70E740481C1C}">
                    <a14:useLocalDpi xmlns:a14="http://schemas.microsoft.com/office/drawing/2010/main"/>
                  </a:ext>
                </a:extLst>
              </a:blip>
              <a:stretch>
                <a:fillRect/>
              </a:stretch>
            </a:blipFill>
          </p:spPr>
          <p:txBody>
            <a:bodyPr/>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
          <p:nvSpPr>
            <p:cNvPr id="4" name="Título 1">
              <a:extLst>
                <a:ext uri="{FF2B5EF4-FFF2-40B4-BE49-F238E27FC236}">
                  <a16:creationId xmlns:a16="http://schemas.microsoft.com/office/drawing/2014/main" id="{5AA43376-350F-DB4C-FAFE-4C4C5719C738}"/>
                </a:ext>
              </a:extLst>
            </p:cNvPr>
            <p:cNvSpPr txBox="1">
              <a:spLocks/>
            </p:cNvSpPr>
            <p:nvPr/>
          </p:nvSpPr>
          <p:spPr>
            <a:xfrm>
              <a:off x="7888958" y="567331"/>
              <a:ext cx="6813471" cy="718086"/>
            </a:xfrm>
            <a:prstGeom prst="rect">
              <a:avLst/>
            </a:prstGeom>
          </p:spPr>
          <p:txBody>
            <a:bodyPr lIns="91440" tIns="45720" rIns="91440" bIns="45720" anchor="t"/>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1371600" rtl="0" eaLnBrk="1" fontAlgn="auto" latinLnBrk="0" hangingPunct="1">
                <a:lnSpc>
                  <a:spcPct val="150000"/>
                </a:lnSpc>
                <a:spcBef>
                  <a:spcPts val="0"/>
                </a:spcBef>
                <a:spcAft>
                  <a:spcPts val="0"/>
                </a:spcAft>
                <a:buClr>
                  <a:srgbClr val="000000"/>
                </a:buClr>
                <a:buSzTx/>
                <a:buFont typeface="Arial"/>
                <a:buNone/>
                <a:tabLst/>
                <a:defRPr/>
              </a:pPr>
              <a:r>
                <a:rPr kumimoji="0" lang="en-US" sz="2000" b="1" i="0" u="none" strike="noStrike" kern="1200" cap="none" spc="0" normalizeH="0" baseline="0" noProof="0">
                  <a:ln>
                    <a:noFill/>
                  </a:ln>
                  <a:solidFill>
                    <a:srgbClr val="6800FF"/>
                  </a:solidFill>
                  <a:effectLst/>
                  <a:uLnTx/>
                  <a:uFillTx/>
                  <a:latin typeface="Montserrat"/>
                  <a:cs typeface="Arial"/>
                  <a:sym typeface="Arial"/>
                </a:rPr>
                <a:t>Human Digital Twin</a:t>
              </a:r>
              <a:endParaRPr lang="en-US" sz="2000" b="1" i="0" u="none" strike="noStrike" kern="1200" cap="none" spc="0" normalizeH="0" baseline="0" noProof="0">
                <a:ln>
                  <a:noFill/>
                </a:ln>
                <a:solidFill>
                  <a:srgbClr val="6800FF"/>
                </a:solidFill>
                <a:effectLst/>
                <a:uLnTx/>
                <a:uFillTx/>
                <a:latin typeface="Montserrat"/>
                <a:cs typeface="Arial"/>
              </a:endParaRPr>
            </a:p>
          </p:txBody>
        </p:sp>
        <p:sp>
          <p:nvSpPr>
            <p:cNvPr id="6" name="CaixaDeTexto 10">
              <a:extLst>
                <a:ext uri="{FF2B5EF4-FFF2-40B4-BE49-F238E27FC236}">
                  <a16:creationId xmlns:a16="http://schemas.microsoft.com/office/drawing/2014/main" id="{8E2C066E-17E2-87F0-4F60-F034ED2C6829}"/>
                </a:ext>
              </a:extLst>
            </p:cNvPr>
            <p:cNvSpPr txBox="1"/>
            <p:nvPr/>
          </p:nvSpPr>
          <p:spPr>
            <a:xfrm>
              <a:off x="7888958" y="1112670"/>
              <a:ext cx="9122689" cy="1922434"/>
            </a:xfrm>
            <a:prstGeom prst="rect">
              <a:avLst/>
            </a:prstGeom>
            <a:noFill/>
          </p:spPr>
          <p:txBody>
            <a:bodyPr wrap="square" lIns="91440" tIns="45720" rIns="91440" bIns="45720" rtlCol="0" anchor="t">
              <a:spAutoFit/>
            </a:bodyPr>
            <a:lstStyle/>
            <a:p>
              <a:pPr marL="257175" marR="0" lvl="0" indent="-257175" algn="l" defTabSz="1371600" rtl="0" eaLnBrk="1" fontAlgn="auto" latinLnBrk="0" hangingPunct="1">
                <a:lnSpc>
                  <a:spcPct val="150000"/>
                </a:lnSpc>
                <a:spcBef>
                  <a:spcPts val="0"/>
                </a:spcBef>
                <a:spcAft>
                  <a:spcPts val="0"/>
                </a:spcAft>
                <a:buClr>
                  <a:prstClr val="black"/>
                </a:buClr>
                <a:buSzTx/>
                <a:buFont typeface="Arial" panose="020B0604020202020204" pitchFamily="34" charset="0"/>
                <a:buChar char="•"/>
                <a:tabLst/>
                <a:defRPr/>
              </a:pPr>
              <a:r>
                <a:rPr kumimoji="0" lang="en-US" sz="1600" b="1" i="0" u="none" strike="noStrike" kern="1200" cap="none" spc="0" normalizeH="0" baseline="0" noProof="0">
                  <a:ln>
                    <a:noFill/>
                  </a:ln>
                  <a:solidFill>
                    <a:prstClr val="black"/>
                  </a:solidFill>
                  <a:effectLst/>
                  <a:uLnTx/>
                  <a:uFillTx/>
                  <a:latin typeface="Montserrat"/>
                  <a:ea typeface="+mn-ea"/>
                  <a:cs typeface="Arial"/>
                  <a:sym typeface="Arial"/>
                </a:rPr>
                <a:t>Humans trust Humans and not machines</a:t>
              </a:r>
              <a:r>
                <a:rPr kumimoji="0" lang="en-US" sz="1600" b="0" i="0" u="none" strike="noStrike" kern="1200" cap="none" spc="0" normalizeH="0" baseline="0" noProof="0">
                  <a:ln>
                    <a:noFill/>
                  </a:ln>
                  <a:solidFill>
                    <a:prstClr val="black"/>
                  </a:solidFill>
                  <a:effectLst/>
                  <a:uLnTx/>
                  <a:uFillTx/>
                  <a:latin typeface="Montserrat"/>
                  <a:ea typeface="+mn-ea"/>
                  <a:cs typeface="Arial"/>
                  <a:sym typeface="Arial"/>
                </a:rPr>
                <a:t>. Some are afraid of </a:t>
              </a:r>
              <a:r>
                <a:rPr lang="en-US" sz="1600" kern="1200" noProof="0">
                  <a:solidFill>
                    <a:prstClr val="black"/>
                  </a:solidFill>
                  <a:latin typeface="Montserrat"/>
                  <a:ea typeface="+mn-ea"/>
                </a:rPr>
                <a:t>losing</a:t>
              </a:r>
              <a:r>
                <a:rPr kumimoji="0" lang="en-US" sz="1600" b="0" i="0" u="none" strike="noStrike" kern="1200" cap="none" spc="0" normalizeH="0" baseline="0" noProof="0">
                  <a:ln>
                    <a:noFill/>
                  </a:ln>
                  <a:solidFill>
                    <a:prstClr val="black"/>
                  </a:solidFill>
                  <a:effectLst/>
                  <a:uLnTx/>
                  <a:uFillTx/>
                  <a:latin typeface="Montserrat"/>
                  <a:ea typeface="+mn-ea"/>
                  <a:cs typeface="Arial"/>
                  <a:sym typeface="Arial"/>
                </a:rPr>
                <a:t> their jobs and that makes it </a:t>
              </a:r>
              <a:r>
                <a:rPr kumimoji="0" lang="en-US" sz="1600" b="1" i="0" u="none" strike="noStrike" kern="1200" cap="none" spc="0" normalizeH="0" baseline="0" noProof="0">
                  <a:ln>
                    <a:noFill/>
                  </a:ln>
                  <a:solidFill>
                    <a:prstClr val="black"/>
                  </a:solidFill>
                  <a:effectLst/>
                  <a:uLnTx/>
                  <a:uFillTx/>
                  <a:latin typeface="Montserrat"/>
                  <a:ea typeface="+mn-ea"/>
                  <a:cs typeface="Arial"/>
                  <a:sym typeface="Arial"/>
                </a:rPr>
                <a:t>harder to share knowledge</a:t>
              </a:r>
              <a:r>
                <a:rPr kumimoji="0" lang="en-US" sz="1600" b="0" i="0" u="none" strike="noStrike" kern="1200" cap="none" spc="0" normalizeH="0" baseline="0" noProof="0">
                  <a:ln>
                    <a:noFill/>
                  </a:ln>
                  <a:solidFill>
                    <a:prstClr val="black"/>
                  </a:solidFill>
                  <a:effectLst/>
                  <a:uLnTx/>
                  <a:uFillTx/>
                  <a:latin typeface="Montserrat"/>
                  <a:ea typeface="+mn-ea"/>
                  <a:cs typeface="Arial"/>
                  <a:sym typeface="Arial"/>
                </a:rPr>
                <a:t>.</a:t>
              </a:r>
            </a:p>
            <a:p>
              <a:pPr marL="257175" marR="0" lvl="0" indent="-257175" algn="l" defTabSz="1371600" rtl="0" eaLnBrk="1" fontAlgn="auto" latinLnBrk="0" hangingPunct="1">
                <a:lnSpc>
                  <a:spcPct val="150000"/>
                </a:lnSpc>
                <a:spcBef>
                  <a:spcPts val="0"/>
                </a:spcBef>
                <a:spcAft>
                  <a:spcPts val="0"/>
                </a:spcAft>
                <a:buClr>
                  <a:prstClr val="black"/>
                </a:buClr>
                <a:buSzTx/>
                <a:buFont typeface="Arial" panose="020B0604020202020204" pitchFamily="34" charset="0"/>
                <a:buChar char="•"/>
                <a:tabLst/>
                <a:defRPr/>
              </a:pPr>
              <a:r>
                <a:rPr kumimoji="0" lang="en-US" sz="1600" b="1" i="0" u="none" strike="noStrike" kern="1200" cap="none" spc="0" normalizeH="0" baseline="0" noProof="0">
                  <a:ln>
                    <a:noFill/>
                  </a:ln>
                  <a:solidFill>
                    <a:prstClr val="black"/>
                  </a:solidFill>
                  <a:effectLst/>
                  <a:uLnTx/>
                  <a:uFillTx/>
                  <a:latin typeface="Montserrat"/>
                  <a:ea typeface="+mn-ea"/>
                  <a:cs typeface="Arial"/>
                  <a:sym typeface="Arial"/>
                </a:rPr>
                <a:t>Organizations</a:t>
              </a:r>
              <a:r>
                <a:rPr kumimoji="0" lang="en-US" sz="1600" b="0" i="0" u="none" strike="noStrike" kern="1200" cap="none" spc="0" normalizeH="0" baseline="0" noProof="0">
                  <a:ln>
                    <a:noFill/>
                  </a:ln>
                  <a:solidFill>
                    <a:prstClr val="black"/>
                  </a:solidFill>
                  <a:effectLst/>
                  <a:uLnTx/>
                  <a:uFillTx/>
                  <a:latin typeface="Montserrat"/>
                  <a:ea typeface="+mn-ea"/>
                  <a:cs typeface="Arial"/>
                  <a:sym typeface="Arial"/>
                </a:rPr>
                <a:t> cannot be dependent on specific SMEs and </a:t>
              </a:r>
              <a:r>
                <a:rPr kumimoji="0" lang="en-US" sz="1600" b="1" i="0" u="none" strike="noStrike" kern="1200" cap="none" spc="0" normalizeH="0" baseline="0" noProof="0">
                  <a:ln>
                    <a:noFill/>
                  </a:ln>
                  <a:solidFill>
                    <a:prstClr val="black"/>
                  </a:solidFill>
                  <a:effectLst/>
                  <a:uLnTx/>
                  <a:uFillTx/>
                  <a:latin typeface="Montserrat"/>
                  <a:ea typeface="+mn-ea"/>
                  <a:cs typeface="Arial"/>
                  <a:sym typeface="Arial"/>
                </a:rPr>
                <a:t>must be able to scale</a:t>
              </a:r>
              <a:r>
                <a:rPr kumimoji="0" lang="en-US" sz="1600" b="0" i="0" u="none" strike="noStrike" kern="1200" cap="none" spc="0" normalizeH="0" baseline="0" noProof="0">
                  <a:ln>
                    <a:noFill/>
                  </a:ln>
                  <a:solidFill>
                    <a:prstClr val="black"/>
                  </a:solidFill>
                  <a:effectLst/>
                  <a:uLnTx/>
                  <a:uFillTx/>
                  <a:latin typeface="Montserrat"/>
                  <a:ea typeface="+mn-ea"/>
                  <a:cs typeface="Arial"/>
                  <a:sym typeface="Arial"/>
                </a:rPr>
                <a:t>.</a:t>
              </a:r>
              <a:endParaRPr lang="en-US" sz="1600" b="0" i="0" u="none" strike="noStrike" kern="1200" cap="none" spc="0" normalizeH="0" baseline="0" noProof="0">
                <a:ln>
                  <a:noFill/>
                </a:ln>
                <a:solidFill>
                  <a:prstClr val="black"/>
                </a:solidFill>
                <a:effectLst/>
                <a:uLnTx/>
                <a:uFillTx/>
                <a:latin typeface="Montserrat"/>
                <a:ea typeface="+mn-ea"/>
                <a:cs typeface="Arial"/>
              </a:endParaRPr>
            </a:p>
            <a:p>
              <a:pPr marL="257175" marR="0" lvl="0" indent="-257175" algn="l" defTabSz="1371600" rtl="0" eaLnBrk="1" fontAlgn="auto" latinLnBrk="0" hangingPunct="1">
                <a:lnSpc>
                  <a:spcPct val="150000"/>
                </a:lnSpc>
                <a:spcBef>
                  <a:spcPts val="0"/>
                </a:spcBef>
                <a:spcAft>
                  <a:spcPts val="0"/>
                </a:spcAft>
                <a:buClr>
                  <a:prstClr val="black"/>
                </a:buClr>
                <a:buSzTx/>
                <a:buFont typeface="Arial" panose="020B0604020202020204" pitchFamily="34" charset="0"/>
                <a:buChar char="•"/>
                <a:tabLst/>
                <a:defRPr/>
              </a:pPr>
              <a:r>
                <a:rPr kumimoji="0" lang="en-US" sz="1600" b="1" i="0" u="none" strike="noStrike" kern="1200" cap="none" spc="0" normalizeH="0" baseline="0" noProof="0">
                  <a:ln>
                    <a:noFill/>
                  </a:ln>
                  <a:solidFill>
                    <a:prstClr val="black"/>
                  </a:solidFill>
                  <a:effectLst/>
                  <a:uLnTx/>
                  <a:uFillTx/>
                  <a:latin typeface="Montserrat"/>
                  <a:ea typeface="+mn-ea"/>
                  <a:cs typeface="Arial"/>
                  <a:sym typeface="Arial"/>
                </a:rPr>
                <a:t>Mapping the human decision-making process</a:t>
              </a:r>
              <a:r>
                <a:rPr kumimoji="0" lang="en-US" sz="1600" b="0" i="0" u="none" strike="noStrike" kern="1200" cap="none" spc="0" normalizeH="0" baseline="0" noProof="0">
                  <a:ln>
                    <a:noFill/>
                  </a:ln>
                  <a:solidFill>
                    <a:prstClr val="black"/>
                  </a:solidFill>
                  <a:effectLst/>
                  <a:uLnTx/>
                  <a:uFillTx/>
                  <a:latin typeface="Montserrat"/>
                  <a:ea typeface="+mn-ea"/>
                  <a:cs typeface="Arial"/>
                  <a:sym typeface="Arial"/>
                </a:rPr>
                <a:t> and creating the </a:t>
              </a:r>
              <a:r>
                <a:rPr kumimoji="0" lang="en-US" sz="1600" b="1" i="1" u="none" strike="noStrike" kern="1200" cap="none" spc="0" normalizeH="0" baseline="0" noProof="0">
                  <a:ln>
                    <a:noFill/>
                  </a:ln>
                  <a:solidFill>
                    <a:prstClr val="black"/>
                  </a:solidFill>
                  <a:effectLst/>
                  <a:uLnTx/>
                  <a:uFillTx/>
                  <a:latin typeface="Montserrat"/>
                  <a:ea typeface="+mn-ea"/>
                  <a:cs typeface="Arial"/>
                  <a:sym typeface="Arial"/>
                </a:rPr>
                <a:t>Human Digital Twin </a:t>
              </a:r>
              <a:r>
                <a:rPr kumimoji="0" lang="en-US" sz="1600" b="0" i="0" u="none" strike="noStrike" kern="1200" cap="none" spc="0" normalizeH="0" baseline="0" noProof="0">
                  <a:ln>
                    <a:noFill/>
                  </a:ln>
                  <a:solidFill>
                    <a:prstClr val="black"/>
                  </a:solidFill>
                  <a:effectLst/>
                  <a:uLnTx/>
                  <a:uFillTx/>
                  <a:latin typeface="Montserrat"/>
                  <a:ea typeface="+mn-ea"/>
                  <a:cs typeface="Arial"/>
                  <a:sym typeface="Arial"/>
                </a:rPr>
                <a:t>becomes a priority for the organization.</a:t>
              </a:r>
              <a:endParaRPr lang="en-US" sz="1600" b="0" i="0" u="none" strike="noStrike" kern="1200" cap="none" spc="0" normalizeH="0" baseline="0" noProof="0">
                <a:ln>
                  <a:noFill/>
                </a:ln>
                <a:solidFill>
                  <a:prstClr val="black"/>
                </a:solidFill>
                <a:effectLst/>
                <a:uLnTx/>
                <a:uFillTx/>
                <a:latin typeface="Montserrat"/>
                <a:ea typeface="+mn-ea"/>
                <a:cs typeface="Arial"/>
              </a:endParaRPr>
            </a:p>
          </p:txBody>
        </p:sp>
        <p:sp>
          <p:nvSpPr>
            <p:cNvPr id="7" name="Título 1">
              <a:extLst>
                <a:ext uri="{FF2B5EF4-FFF2-40B4-BE49-F238E27FC236}">
                  <a16:creationId xmlns:a16="http://schemas.microsoft.com/office/drawing/2014/main" id="{7CB457F5-54C7-3698-3C30-0402F78C1093}"/>
                </a:ext>
              </a:extLst>
            </p:cNvPr>
            <p:cNvSpPr txBox="1">
              <a:spLocks/>
            </p:cNvSpPr>
            <p:nvPr/>
          </p:nvSpPr>
          <p:spPr>
            <a:xfrm>
              <a:off x="7943728" y="3269464"/>
              <a:ext cx="7117520" cy="718086"/>
            </a:xfrm>
            <a:prstGeom prst="rect">
              <a:avLst/>
            </a:prstGeom>
          </p:spPr>
          <p:txBody>
            <a:bodyPr lIns="91440" tIns="45720" rIns="91440" bIns="45720" anchor="t"/>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1371600" rtl="0" eaLnBrk="1" fontAlgn="auto" latinLnBrk="0" hangingPunct="1">
                <a:lnSpc>
                  <a:spcPct val="150000"/>
                </a:lnSpc>
                <a:spcBef>
                  <a:spcPts val="0"/>
                </a:spcBef>
                <a:spcAft>
                  <a:spcPts val="0"/>
                </a:spcAft>
                <a:buClr>
                  <a:srgbClr val="000000"/>
                </a:buClr>
                <a:buSzTx/>
                <a:buFont typeface="Arial"/>
                <a:buNone/>
                <a:tabLst/>
                <a:defRPr/>
              </a:pPr>
              <a:r>
                <a:rPr kumimoji="0" lang="en-US" sz="2000" b="1" i="0" u="none" strike="noStrike" kern="1200" cap="none" spc="0" normalizeH="0" baseline="0" noProof="0">
                  <a:ln>
                    <a:noFill/>
                  </a:ln>
                  <a:solidFill>
                    <a:srgbClr val="6800FF"/>
                  </a:solidFill>
                  <a:effectLst/>
                  <a:uLnTx/>
                  <a:uFillTx/>
                  <a:latin typeface="Montserrat"/>
                  <a:cs typeface="Arial"/>
                  <a:sym typeface="Arial"/>
                </a:rPr>
                <a:t>Knowledge and Decision First</a:t>
              </a:r>
              <a:endParaRPr lang="en-US" sz="2000" b="1" i="0" u="none" strike="noStrike" kern="1200" cap="none" spc="0" normalizeH="0" baseline="0" noProof="0">
                <a:ln>
                  <a:noFill/>
                </a:ln>
                <a:solidFill>
                  <a:srgbClr val="6800FF"/>
                </a:solidFill>
                <a:effectLst/>
                <a:uLnTx/>
                <a:uFillTx/>
                <a:latin typeface="Montserrat"/>
                <a:cs typeface="Arial"/>
              </a:endParaRPr>
            </a:p>
          </p:txBody>
        </p:sp>
        <p:sp>
          <p:nvSpPr>
            <p:cNvPr id="9" name="Título 1">
              <a:extLst>
                <a:ext uri="{FF2B5EF4-FFF2-40B4-BE49-F238E27FC236}">
                  <a16:creationId xmlns:a16="http://schemas.microsoft.com/office/drawing/2014/main" id="{9F1B8D44-A0C5-4F0C-BFAC-32819345D88F}"/>
                </a:ext>
              </a:extLst>
            </p:cNvPr>
            <p:cNvSpPr txBox="1">
              <a:spLocks/>
            </p:cNvSpPr>
            <p:nvPr/>
          </p:nvSpPr>
          <p:spPr>
            <a:xfrm>
              <a:off x="7887051" y="7646892"/>
              <a:ext cx="8699793" cy="519714"/>
            </a:xfrm>
            <a:prstGeom prst="rect">
              <a:avLst/>
            </a:prstGeom>
          </p:spPr>
          <p:txBody>
            <a:bodyPr lIns="91440" tIns="45720" rIns="91440" bIns="45720" anchor="t"/>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13716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1200" cap="none" spc="0" normalizeH="0" baseline="0" noProof="0">
                  <a:ln>
                    <a:noFill/>
                  </a:ln>
                  <a:solidFill>
                    <a:srgbClr val="6800FF"/>
                  </a:solidFill>
                  <a:effectLst/>
                  <a:uLnTx/>
                  <a:uFillTx/>
                  <a:latin typeface="Montserrat"/>
                  <a:cs typeface="Arial"/>
                  <a:sym typeface="Arial"/>
                </a:rPr>
                <a:t>Trust Decisions made with existent Data (or find the gap on it)</a:t>
              </a:r>
              <a:endParaRPr lang="en-US" sz="2000" b="1" i="0" u="none" strike="noStrike" kern="1200" cap="none" spc="0" normalizeH="0" baseline="0" noProof="0">
                <a:ln>
                  <a:noFill/>
                </a:ln>
                <a:solidFill>
                  <a:srgbClr val="6800FF"/>
                </a:solidFill>
                <a:effectLst/>
                <a:uLnTx/>
                <a:uFillTx/>
                <a:latin typeface="Montserrat"/>
                <a:cs typeface="Arial"/>
              </a:endParaRPr>
            </a:p>
          </p:txBody>
        </p:sp>
        <p:sp>
          <p:nvSpPr>
            <p:cNvPr id="10" name="CaixaDeTexto 15">
              <a:extLst>
                <a:ext uri="{FF2B5EF4-FFF2-40B4-BE49-F238E27FC236}">
                  <a16:creationId xmlns:a16="http://schemas.microsoft.com/office/drawing/2014/main" id="{BAFD84D5-F60F-A90A-3D46-0FDC29DD6B7B}"/>
                </a:ext>
              </a:extLst>
            </p:cNvPr>
            <p:cNvSpPr txBox="1"/>
            <p:nvPr/>
          </p:nvSpPr>
          <p:spPr>
            <a:xfrm>
              <a:off x="7943727" y="8071243"/>
              <a:ext cx="9062825" cy="1527982"/>
            </a:xfrm>
            <a:prstGeom prst="rect">
              <a:avLst/>
            </a:prstGeom>
            <a:noFill/>
          </p:spPr>
          <p:txBody>
            <a:bodyPr wrap="square" rtlCol="0">
              <a:spAutoFit/>
            </a:bodyPr>
            <a:lstStyle/>
            <a:p>
              <a:pPr marL="346077" marR="0" lvl="0" indent="-257175" algn="l" defTabSz="1371600" rtl="0" eaLnBrk="1" fontAlgn="auto" latinLnBrk="0" hangingPunct="1">
                <a:lnSpc>
                  <a:spcPct val="150000"/>
                </a:lnSpc>
                <a:spcBef>
                  <a:spcPts val="0"/>
                </a:spcBef>
                <a:spcAft>
                  <a:spcPts val="0"/>
                </a:spcAft>
                <a:buClr>
                  <a:prstClr val="black"/>
                </a:buClr>
                <a:buSzTx/>
                <a:buFont typeface="Arial" panose="020B0604020202020204" pitchFamily="34" charset="0"/>
                <a:buChar char="•"/>
                <a:tabLst>
                  <a:tab pos="358784" algn="l"/>
                </a:tabLst>
                <a:defRPr/>
              </a:pPr>
              <a:r>
                <a:rPr kumimoji="0" lang="en-US" sz="1600" b="1" i="0" u="none" strike="noStrike" kern="1200" cap="none" spc="0" normalizeH="0" baseline="0" noProof="0">
                  <a:ln>
                    <a:noFill/>
                  </a:ln>
                  <a:solidFill>
                    <a:prstClr val="black"/>
                  </a:solidFill>
                  <a:effectLst/>
                  <a:uLnTx/>
                  <a:uFillTx/>
                  <a:latin typeface="Montserrat" panose="00000500000000000000" pitchFamily="2" charset="0"/>
                  <a:ea typeface="+mn-ea"/>
                  <a:cs typeface="Arial"/>
                  <a:sym typeface="Arial"/>
                </a:rPr>
                <a:t>Empower the SMEs to build trust on the </a:t>
              </a:r>
              <a:r>
                <a:rPr kumimoji="0" lang="en-US" sz="1600" b="1" i="1" u="none" strike="noStrike" kern="1200" cap="none" spc="0" normalizeH="0" baseline="0" noProof="0">
                  <a:ln>
                    <a:noFill/>
                  </a:ln>
                  <a:solidFill>
                    <a:prstClr val="black"/>
                  </a:solidFill>
                  <a:effectLst/>
                  <a:uLnTx/>
                  <a:uFillTx/>
                  <a:latin typeface="Montserrat" panose="00000500000000000000" pitchFamily="2" charset="0"/>
                  <a:ea typeface="+mn-ea"/>
                  <a:cs typeface="Arial"/>
                  <a:sym typeface="Arial"/>
                </a:rPr>
                <a:t>Human Digital Twin</a:t>
              </a:r>
            </a:p>
            <a:p>
              <a:pPr marL="346077" marR="0" lvl="0" indent="-257175" algn="l" defTabSz="1371600" rtl="0" eaLnBrk="1" fontAlgn="auto" latinLnBrk="0" hangingPunct="1">
                <a:lnSpc>
                  <a:spcPct val="150000"/>
                </a:lnSpc>
                <a:spcBef>
                  <a:spcPts val="0"/>
                </a:spcBef>
                <a:spcAft>
                  <a:spcPts val="0"/>
                </a:spcAft>
                <a:buClr>
                  <a:prstClr val="black"/>
                </a:buClr>
                <a:buSzTx/>
                <a:buFont typeface="Arial" panose="020B0604020202020204" pitchFamily="34" charset="0"/>
                <a:buChar char="•"/>
                <a:tabLst>
                  <a:tab pos="358784" algn="l"/>
                </a:tabLst>
                <a:defRPr/>
              </a:pPr>
              <a:r>
                <a:rPr kumimoji="0" lang="en-US" sz="1600" b="0" i="0" u="none" strike="noStrike" kern="1200" cap="none" spc="0" normalizeH="0" baseline="0" noProof="0">
                  <a:ln>
                    <a:noFill/>
                  </a:ln>
                  <a:solidFill>
                    <a:prstClr val="black"/>
                  </a:solidFill>
                  <a:effectLst/>
                  <a:uLnTx/>
                  <a:uFillTx/>
                  <a:latin typeface="Montserrat" panose="00000500000000000000" pitchFamily="2" charset="0"/>
                  <a:ea typeface="+mn-ea"/>
                  <a:cs typeface="Arial"/>
                  <a:sym typeface="Arial"/>
                </a:rPr>
                <a:t>Use trustworthy data to </a:t>
              </a:r>
              <a:r>
                <a:rPr kumimoji="0" lang="en-US" sz="1600" b="1" i="0" u="none" strike="noStrike" kern="1200" cap="none" spc="0" normalizeH="0" baseline="0" noProof="0">
                  <a:ln>
                    <a:noFill/>
                  </a:ln>
                  <a:solidFill>
                    <a:prstClr val="black"/>
                  </a:solidFill>
                  <a:effectLst/>
                  <a:uLnTx/>
                  <a:uFillTx/>
                  <a:latin typeface="Montserrat" panose="00000500000000000000" pitchFamily="2" charset="0"/>
                  <a:ea typeface="+mn-ea"/>
                  <a:cs typeface="Arial"/>
                  <a:sym typeface="Arial"/>
                </a:rPr>
                <a:t>test the models</a:t>
              </a:r>
              <a:r>
                <a:rPr kumimoji="0" lang="en-US" sz="1600" b="0" i="0" u="none" strike="noStrike" kern="1200" cap="none" spc="0" normalizeH="0" baseline="0" noProof="0">
                  <a:ln>
                    <a:noFill/>
                  </a:ln>
                  <a:solidFill>
                    <a:prstClr val="black"/>
                  </a:solidFill>
                  <a:effectLst/>
                  <a:uLnTx/>
                  <a:uFillTx/>
                  <a:latin typeface="Montserrat" panose="00000500000000000000" pitchFamily="2" charset="0"/>
                  <a:ea typeface="+mn-ea"/>
                  <a:cs typeface="Arial"/>
                  <a:sym typeface="Arial"/>
                </a:rPr>
                <a:t> and </a:t>
              </a:r>
              <a:r>
                <a:rPr kumimoji="0" lang="en-US" sz="1600" b="1" i="0" u="none" strike="noStrike" kern="1200" cap="none" spc="0" normalizeH="0" baseline="0" noProof="0">
                  <a:ln>
                    <a:noFill/>
                  </a:ln>
                  <a:solidFill>
                    <a:prstClr val="black"/>
                  </a:solidFill>
                  <a:effectLst/>
                  <a:uLnTx/>
                  <a:uFillTx/>
                  <a:latin typeface="Montserrat" panose="00000500000000000000" pitchFamily="2" charset="0"/>
                  <a:ea typeface="+mn-ea"/>
                  <a:cs typeface="Arial"/>
                  <a:sym typeface="Arial"/>
                </a:rPr>
                <a:t>identify data quality gaps</a:t>
              </a:r>
            </a:p>
            <a:p>
              <a:pPr marL="346077" marR="0" lvl="0" indent="-257175" algn="l" defTabSz="1371600" rtl="0" eaLnBrk="1" fontAlgn="auto" latinLnBrk="0" hangingPunct="1">
                <a:lnSpc>
                  <a:spcPct val="150000"/>
                </a:lnSpc>
                <a:spcBef>
                  <a:spcPts val="0"/>
                </a:spcBef>
                <a:spcAft>
                  <a:spcPts val="0"/>
                </a:spcAft>
                <a:buClr>
                  <a:prstClr val="black"/>
                </a:buClr>
                <a:buSzTx/>
                <a:buFont typeface="Arial" panose="020B0604020202020204" pitchFamily="34" charset="0"/>
                <a:buChar char="•"/>
                <a:tabLst>
                  <a:tab pos="358784" algn="l"/>
                </a:tabLst>
                <a:defRPr/>
              </a:pPr>
              <a:r>
                <a:rPr kumimoji="0" lang="en-US" sz="1600" b="1" i="0" u="none" strike="noStrike" kern="1200" cap="none" spc="0" normalizeH="0" baseline="0" noProof="0">
                  <a:ln>
                    <a:noFill/>
                  </a:ln>
                  <a:solidFill>
                    <a:prstClr val="black"/>
                  </a:solidFill>
                  <a:effectLst/>
                  <a:uLnTx/>
                  <a:uFillTx/>
                  <a:latin typeface="Montserrat" panose="00000500000000000000" pitchFamily="2" charset="0"/>
                  <a:ea typeface="+mn-ea"/>
                  <a:cs typeface="Arial"/>
                  <a:sym typeface="Arial"/>
                </a:rPr>
                <a:t>Fix data trust issues</a:t>
              </a:r>
              <a:r>
                <a:rPr kumimoji="0" lang="en-US" sz="1600" b="0" i="0" u="none" strike="noStrike" kern="1200" cap="none" spc="0" normalizeH="0" baseline="0" noProof="0">
                  <a:ln>
                    <a:noFill/>
                  </a:ln>
                  <a:solidFill>
                    <a:prstClr val="black"/>
                  </a:solidFill>
                  <a:effectLst/>
                  <a:uLnTx/>
                  <a:uFillTx/>
                  <a:latin typeface="Montserrat" panose="00000500000000000000" pitchFamily="2" charset="0"/>
                  <a:ea typeface="+mn-ea"/>
                  <a:cs typeface="Arial"/>
                  <a:sym typeface="Arial"/>
                </a:rPr>
                <a:t> and </a:t>
              </a:r>
              <a:r>
                <a:rPr kumimoji="0" lang="en-US" sz="1600" b="1" i="0" u="none" strike="noStrike" kern="1200" cap="none" spc="0" normalizeH="0" baseline="0" noProof="0">
                  <a:ln>
                    <a:noFill/>
                  </a:ln>
                  <a:solidFill>
                    <a:prstClr val="black"/>
                  </a:solidFill>
                  <a:effectLst/>
                  <a:uLnTx/>
                  <a:uFillTx/>
                  <a:latin typeface="Montserrat" panose="00000500000000000000" pitchFamily="2" charset="0"/>
                  <a:ea typeface="+mn-ea"/>
                  <a:cs typeface="Arial"/>
                  <a:sym typeface="Arial"/>
                </a:rPr>
                <a:t>refine the model</a:t>
              </a:r>
            </a:p>
            <a:p>
              <a:pPr marL="346077" marR="0" lvl="0" indent="-257175" algn="l" defTabSz="1371600" rtl="0" eaLnBrk="1" fontAlgn="auto" latinLnBrk="0" hangingPunct="1">
                <a:lnSpc>
                  <a:spcPct val="150000"/>
                </a:lnSpc>
                <a:spcBef>
                  <a:spcPts val="0"/>
                </a:spcBef>
                <a:spcAft>
                  <a:spcPts val="0"/>
                </a:spcAft>
                <a:buClr>
                  <a:prstClr val="black"/>
                </a:buClr>
                <a:buSzTx/>
                <a:buFont typeface="Arial" panose="020B0604020202020204" pitchFamily="34" charset="0"/>
                <a:buChar char="•"/>
                <a:tabLst>
                  <a:tab pos="358784" algn="l"/>
                </a:tabLst>
                <a:defRPr/>
              </a:pPr>
              <a:endParaRPr kumimoji="0" lang="en-US" sz="1600" b="1" i="0" u="none" strike="noStrike" kern="1200" cap="none" spc="0" normalizeH="0" baseline="0" noProof="0">
                <a:ln>
                  <a:noFill/>
                </a:ln>
                <a:solidFill>
                  <a:prstClr val="black"/>
                </a:solidFill>
                <a:effectLst/>
                <a:uLnTx/>
                <a:uFillTx/>
                <a:latin typeface="Montserrat" panose="00000500000000000000" pitchFamily="2" charset="0"/>
                <a:ea typeface="+mn-ea"/>
                <a:cs typeface="Arial"/>
                <a:sym typeface="Arial"/>
              </a:endParaRPr>
            </a:p>
          </p:txBody>
        </p:sp>
        <p:sp>
          <p:nvSpPr>
            <p:cNvPr id="11" name="CaixaDeTexto 10">
              <a:extLst>
                <a:ext uri="{FF2B5EF4-FFF2-40B4-BE49-F238E27FC236}">
                  <a16:creationId xmlns:a16="http://schemas.microsoft.com/office/drawing/2014/main" id="{C3CD0E56-3BCE-88EC-EDAB-8CA72902E23D}"/>
                </a:ext>
              </a:extLst>
            </p:cNvPr>
            <p:cNvSpPr txBox="1"/>
            <p:nvPr/>
          </p:nvSpPr>
          <p:spPr>
            <a:xfrm>
              <a:off x="7943727" y="3808124"/>
              <a:ext cx="9055360" cy="3374642"/>
            </a:xfrm>
            <a:prstGeom prst="rect">
              <a:avLst/>
            </a:prstGeom>
            <a:noFill/>
          </p:spPr>
          <p:txBody>
            <a:bodyPr wrap="square" rtlCol="0">
              <a:spAutoFit/>
            </a:bodyPr>
            <a:lstStyle/>
            <a:p>
              <a:pPr marL="257175" marR="0" lvl="0" indent="-257175" algn="l" defTabSz="1371600" rtl="0" eaLnBrk="1" fontAlgn="auto" latinLnBrk="0" hangingPunct="1">
                <a:lnSpc>
                  <a:spcPct val="150000"/>
                </a:lnSpc>
                <a:spcBef>
                  <a:spcPts val="0"/>
                </a:spcBef>
                <a:spcAft>
                  <a:spcPts val="0"/>
                </a:spcAft>
                <a:buClr>
                  <a:prstClr val="black"/>
                </a:buClr>
                <a:buSzTx/>
                <a:buFont typeface="Arial" panose="020B0604020202020204" pitchFamily="34" charset="0"/>
                <a:buChar char="•"/>
                <a:tabLst/>
                <a:defRPr/>
              </a:pPr>
              <a:r>
                <a:rPr kumimoji="0" lang="en-US" sz="1600" b="1" i="0" u="none" strike="noStrike" kern="1200" cap="none" spc="0" normalizeH="0" baseline="0" noProof="0">
                  <a:ln>
                    <a:noFill/>
                  </a:ln>
                  <a:solidFill>
                    <a:prstClr val="black"/>
                  </a:solidFill>
                  <a:effectLst/>
                  <a:uLnTx/>
                  <a:uFillTx/>
                  <a:latin typeface="Montserrat" panose="00000500000000000000" pitchFamily="2" charset="0"/>
                  <a:ea typeface="+mn-ea"/>
                  <a:cs typeface="Arial"/>
                  <a:sym typeface="Arial"/>
                </a:rPr>
                <a:t>Knowledge is represented as extended graphs </a:t>
              </a:r>
              <a:r>
                <a:rPr kumimoji="0" lang="en-US" sz="1600" b="0" i="0" u="none" strike="noStrike" kern="1200" cap="none" spc="0" normalizeH="0" baseline="0" noProof="0">
                  <a:ln>
                    <a:noFill/>
                  </a:ln>
                  <a:solidFill>
                    <a:prstClr val="black"/>
                  </a:solidFill>
                  <a:effectLst/>
                  <a:uLnTx/>
                  <a:uFillTx/>
                  <a:latin typeface="Montserrat" panose="00000500000000000000" pitchFamily="2" charset="0"/>
                  <a:ea typeface="+mn-ea"/>
                  <a:cs typeface="Arial"/>
                  <a:sym typeface="Arial"/>
                </a:rPr>
                <a:t>based on formal documentation (</a:t>
              </a:r>
              <a:r>
                <a:rPr kumimoji="0" lang="en-US" sz="1600" b="0" i="0" u="none" strike="noStrike" kern="1200" cap="none" spc="0" normalizeH="0" baseline="0" noProof="0" err="1">
                  <a:ln>
                    <a:noFill/>
                  </a:ln>
                  <a:solidFill>
                    <a:prstClr val="black"/>
                  </a:solidFill>
                  <a:effectLst/>
                  <a:uLnTx/>
                  <a:uFillTx/>
                  <a:latin typeface="Montserrat" panose="00000500000000000000" pitchFamily="2" charset="0"/>
                  <a:ea typeface="+mn-ea"/>
                  <a:cs typeface="Arial"/>
                  <a:sym typeface="Arial"/>
                </a:rPr>
                <a:t>eg</a:t>
              </a:r>
              <a:r>
                <a:rPr kumimoji="0" lang="en-US" sz="1600" b="0" i="0" u="none" strike="noStrike" kern="1200" cap="none" spc="0" normalizeH="0" baseline="0" noProof="0">
                  <a:ln>
                    <a:noFill/>
                  </a:ln>
                  <a:solidFill>
                    <a:prstClr val="black"/>
                  </a:solidFill>
                  <a:effectLst/>
                  <a:uLnTx/>
                  <a:uFillTx/>
                  <a:latin typeface="Montserrat" panose="00000500000000000000" pitchFamily="2" charset="0"/>
                  <a:ea typeface="+mn-ea"/>
                  <a:cs typeface="Arial"/>
                  <a:sym typeface="Arial"/>
                </a:rPr>
                <a:t> policy, regulations), expert knowledge or both - with </a:t>
              </a:r>
              <a:r>
                <a:rPr kumimoji="0" lang="en-US" sz="1600" b="1" i="0" u="none" strike="noStrike" kern="1200" cap="none" spc="0" normalizeH="0" baseline="0" noProof="0">
                  <a:ln>
                    <a:noFill/>
                  </a:ln>
                  <a:solidFill>
                    <a:prstClr val="black"/>
                  </a:solidFill>
                  <a:effectLst/>
                  <a:uLnTx/>
                  <a:uFillTx/>
                  <a:latin typeface="Montserrat" panose="00000500000000000000" pitchFamily="2" charset="0"/>
                  <a:ea typeface="+mn-ea"/>
                  <a:cs typeface="Arial"/>
                  <a:sym typeface="Arial"/>
                </a:rPr>
                <a:t>no training data required. </a:t>
              </a:r>
              <a:r>
                <a:rPr kumimoji="0" lang="en-US" sz="1600" b="0" i="0" u="none" strike="noStrike" kern="1200" cap="none" spc="0" normalizeH="0" baseline="0" noProof="0">
                  <a:ln>
                    <a:noFill/>
                  </a:ln>
                  <a:solidFill>
                    <a:prstClr val="black"/>
                  </a:solidFill>
                  <a:effectLst/>
                  <a:uLnTx/>
                  <a:uFillTx/>
                  <a:latin typeface="Montserrat" panose="00000500000000000000" pitchFamily="2" charset="0"/>
                  <a:ea typeface="+mn-ea"/>
                  <a:cs typeface="Arial"/>
                  <a:sym typeface="Arial"/>
                </a:rPr>
                <a:t>Focus on a symbolic Reasoning Engine over these graphs — with their data connections — to make </a:t>
              </a:r>
              <a:r>
                <a:rPr kumimoji="0" lang="en-US" sz="1600" b="1" i="0" u="none" strike="noStrike" kern="1200" cap="none" spc="0" normalizeH="0" baseline="0" noProof="0">
                  <a:ln>
                    <a:noFill/>
                  </a:ln>
                  <a:solidFill>
                    <a:prstClr val="black"/>
                  </a:solidFill>
                  <a:effectLst/>
                  <a:uLnTx/>
                  <a:uFillTx/>
                  <a:latin typeface="Montserrat" panose="00000500000000000000" pitchFamily="2" charset="0"/>
                  <a:ea typeface="+mn-ea"/>
                  <a:cs typeface="Arial"/>
                  <a:sym typeface="Arial"/>
                </a:rPr>
                <a:t>high quality evidence-based decisions. Graphs are human-readable </a:t>
              </a:r>
              <a:r>
                <a:rPr kumimoji="0" lang="en-US" sz="1600" b="0" i="0" u="none" strike="noStrike" kern="1200" cap="none" spc="0" normalizeH="0" baseline="0" noProof="0">
                  <a:ln>
                    <a:noFill/>
                  </a:ln>
                  <a:solidFill>
                    <a:prstClr val="black"/>
                  </a:solidFill>
                  <a:effectLst/>
                  <a:uLnTx/>
                  <a:uFillTx/>
                  <a:latin typeface="Montserrat" panose="00000500000000000000" pitchFamily="2" charset="0"/>
                  <a:ea typeface="+mn-ea"/>
                  <a:cs typeface="Arial"/>
                  <a:sym typeface="Arial"/>
                </a:rPr>
                <a:t>and easy to understand and test.</a:t>
              </a:r>
            </a:p>
            <a:p>
              <a:pPr marL="257175" marR="0" lvl="0" indent="-257175" algn="l" defTabSz="1371600" rtl="0" eaLnBrk="1" fontAlgn="auto" latinLnBrk="0" hangingPunct="1">
                <a:lnSpc>
                  <a:spcPct val="150000"/>
                </a:lnSpc>
                <a:spcBef>
                  <a:spcPts val="0"/>
                </a:spcBef>
                <a:spcAft>
                  <a:spcPts val="0"/>
                </a:spcAft>
                <a:buClr>
                  <a:prstClr val="black"/>
                </a:buClr>
                <a:buSzTx/>
                <a:buFont typeface="Arial" panose="020B0604020202020204" pitchFamily="34" charset="0"/>
                <a:buChar char="•"/>
                <a:tabLst/>
                <a:defRPr/>
              </a:pPr>
              <a:r>
                <a:rPr kumimoji="0" lang="en-US" sz="1600" b="1" i="0" u="none" strike="noStrike" kern="1200" cap="none" spc="0" normalizeH="0" baseline="0" noProof="0">
                  <a:ln>
                    <a:noFill/>
                  </a:ln>
                  <a:solidFill>
                    <a:prstClr val="black"/>
                  </a:solidFill>
                  <a:effectLst/>
                  <a:uLnTx/>
                  <a:uFillTx/>
                  <a:latin typeface="Montserrat" panose="00000500000000000000" pitchFamily="2" charset="0"/>
                  <a:ea typeface="+mn-ea"/>
                  <a:cs typeface="Arial"/>
                  <a:sym typeface="Arial"/>
                </a:rPr>
                <a:t>Decision outcomes are explainable, reliable, traceable.</a:t>
              </a:r>
            </a:p>
            <a:p>
              <a:pPr marL="257175" marR="0" lvl="0" indent="-257175" algn="l" defTabSz="1371600" rtl="0" eaLnBrk="1" fontAlgn="auto" latinLnBrk="0" hangingPunct="1">
                <a:lnSpc>
                  <a:spcPct val="150000"/>
                </a:lnSpc>
                <a:spcBef>
                  <a:spcPts val="0"/>
                </a:spcBef>
                <a:spcAft>
                  <a:spcPts val="0"/>
                </a:spcAft>
                <a:buClr>
                  <a:prstClr val="black"/>
                </a:buClr>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ontserrat" panose="00000500000000000000" pitchFamily="2" charset="0"/>
                  <a:ea typeface="+mn-ea"/>
                  <a:cs typeface="Arial"/>
                  <a:sym typeface="Arial"/>
                </a:rPr>
                <a:t>Graphs can</a:t>
              </a:r>
              <a:r>
                <a:rPr kumimoji="0" lang="en-US" sz="1600" b="1" i="0" u="none" strike="noStrike" kern="1200" cap="none" spc="0" normalizeH="0" baseline="0" noProof="0">
                  <a:ln>
                    <a:noFill/>
                  </a:ln>
                  <a:solidFill>
                    <a:prstClr val="black"/>
                  </a:solidFill>
                  <a:effectLst/>
                  <a:uLnTx/>
                  <a:uFillTx/>
                  <a:latin typeface="Montserrat" panose="00000500000000000000" pitchFamily="2" charset="0"/>
                  <a:ea typeface="+mn-ea"/>
                  <a:cs typeface="Arial"/>
                  <a:sym typeface="Arial"/>
                </a:rPr>
                <a:t> include nonlinear business rules </a:t>
              </a:r>
              <a:r>
                <a:rPr kumimoji="0" lang="en-US" sz="1600" b="0" i="0" u="none" strike="noStrike" kern="1200" cap="none" spc="0" normalizeH="0" baseline="0" noProof="0">
                  <a:ln>
                    <a:noFill/>
                  </a:ln>
                  <a:solidFill>
                    <a:prstClr val="black"/>
                  </a:solidFill>
                  <a:effectLst/>
                  <a:uLnTx/>
                  <a:uFillTx/>
                  <a:latin typeface="Montserrat" panose="00000500000000000000" pitchFamily="2" charset="0"/>
                  <a:ea typeface="+mn-ea"/>
                  <a:cs typeface="Arial"/>
                  <a:sym typeface="Arial"/>
                </a:rPr>
                <a:t>with weights and certainty set by experts or informed by data</a:t>
              </a:r>
              <a:r>
                <a:rPr kumimoji="0" lang="en-US" sz="1600" b="1" i="0" u="none" strike="noStrike" kern="1200" cap="none" spc="0" normalizeH="0" baseline="0" noProof="0">
                  <a:ln>
                    <a:noFill/>
                  </a:ln>
                  <a:solidFill>
                    <a:prstClr val="black"/>
                  </a:solidFill>
                  <a:effectLst/>
                  <a:uLnTx/>
                  <a:uFillTx/>
                  <a:latin typeface="Montserrat" panose="00000500000000000000" pitchFamily="2" charset="0"/>
                  <a:ea typeface="+mn-ea"/>
                  <a:cs typeface="Arial"/>
                  <a:sym typeface="Arial"/>
                </a:rPr>
                <a:t>. Multiple knowledge graphs can be connected to each other and to numerous data sources. </a:t>
              </a:r>
            </a:p>
          </p:txBody>
        </p:sp>
      </p:grpSp>
      <p:pic>
        <p:nvPicPr>
          <p:cNvPr id="5" name="Google Shape;72;p11">
            <a:extLst>
              <a:ext uri="{FF2B5EF4-FFF2-40B4-BE49-F238E27FC236}">
                <a16:creationId xmlns:a16="http://schemas.microsoft.com/office/drawing/2014/main" id="{C7CEB6E7-C05F-041E-8840-8DDF5DDF4254}"/>
              </a:ext>
            </a:extLst>
          </p:cNvPr>
          <p:cNvPicPr preferRelativeResize="0"/>
          <p:nvPr/>
        </p:nvPicPr>
        <p:blipFill>
          <a:blip r:embed="rId5" cstate="email">
            <a:alphaModFix/>
            <a:extLst>
              <a:ext uri="{28A0092B-C50C-407E-A947-70E740481C1C}">
                <a14:useLocalDpi xmlns:a14="http://schemas.microsoft.com/office/drawing/2010/main"/>
              </a:ext>
            </a:extLst>
          </a:blip>
          <a:stretch>
            <a:fillRect/>
          </a:stretch>
        </p:blipFill>
        <p:spPr>
          <a:xfrm>
            <a:off x="16112332" y="8944620"/>
            <a:ext cx="1635443" cy="1635443"/>
          </a:xfrm>
          <a:prstGeom prst="rect">
            <a:avLst/>
          </a:prstGeom>
          <a:noFill/>
          <a:ln>
            <a:noFill/>
          </a:ln>
        </p:spPr>
      </p:pic>
      <p:sp>
        <p:nvSpPr>
          <p:cNvPr id="16" name="TextBox 4">
            <a:extLst>
              <a:ext uri="{FF2B5EF4-FFF2-40B4-BE49-F238E27FC236}">
                <a16:creationId xmlns:a16="http://schemas.microsoft.com/office/drawing/2014/main" id="{FE1FE52F-D049-3CAF-8F1D-B744C6833E0E}"/>
              </a:ext>
            </a:extLst>
          </p:cNvPr>
          <p:cNvSpPr txBox="1"/>
          <p:nvPr/>
        </p:nvSpPr>
        <p:spPr>
          <a:xfrm>
            <a:off x="719138" y="9377725"/>
            <a:ext cx="3255318" cy="326436"/>
          </a:xfrm>
          <a:prstGeom prst="rect">
            <a:avLst/>
          </a:prstGeom>
        </p:spPr>
        <p:txBody>
          <a:bodyPr lIns="0" tIns="0" rIns="0" bIns="0" rtlCol="0" anchor="t">
            <a:spAutoFit/>
          </a:bodyPr>
          <a:lstStyle/>
          <a:p>
            <a:pPr algn="l">
              <a:lnSpc>
                <a:spcPts val="2940"/>
              </a:lnSpc>
            </a:pPr>
            <a:r>
              <a:rPr lang="en-US" sz="1500">
                <a:solidFill>
                  <a:schemeClr val="bg1"/>
                </a:solidFill>
                <a:latin typeface="Montserrat"/>
                <a:ea typeface="Montserrat"/>
                <a:cs typeface="Montserrat"/>
                <a:sym typeface="Montserrat"/>
              </a:rPr>
              <a:t>accelerate your essence</a:t>
            </a:r>
            <a:endParaRPr lang="en-US" sz="1500">
              <a:solidFill>
                <a:schemeClr val="bg1"/>
              </a:solidFill>
              <a:latin typeface="Montserrat"/>
              <a:ea typeface="Montserrat"/>
              <a:cs typeface="Montserrat"/>
            </a:endParaRPr>
          </a:p>
        </p:txBody>
      </p:sp>
    </p:spTree>
    <p:extLst>
      <p:ext uri="{BB962C8B-B14F-4D97-AF65-F5344CB8AC3E}">
        <p14:creationId xmlns:p14="http://schemas.microsoft.com/office/powerpoint/2010/main" val="339797312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0FE504-00CE-FE5F-9872-C96CF750C4C9}"/>
              </a:ext>
            </a:extLst>
          </p:cNvPr>
          <p:cNvSpPr>
            <a:spLocks noGrp="1"/>
          </p:cNvSpPr>
          <p:nvPr>
            <p:ph type="title" idx="4294967295"/>
          </p:nvPr>
        </p:nvSpPr>
        <p:spPr>
          <a:xfrm>
            <a:off x="576905" y="693738"/>
            <a:ext cx="13027286" cy="1145400"/>
          </a:xfrm>
        </p:spPr>
        <p:txBody>
          <a:bodyPr/>
          <a:lstStyle/>
          <a:p>
            <a:r>
              <a:rPr lang="en-US" sz="4000" kern="1200" noProof="0">
                <a:solidFill>
                  <a:schemeClr val="bg1"/>
                </a:solidFill>
                <a:ea typeface="+mn-ea"/>
                <a:cs typeface="+mn-cs"/>
              </a:rPr>
              <a:t>AI </a:t>
            </a:r>
            <a:r>
              <a:rPr lang="en-US" sz="4000" kern="1200">
                <a:solidFill>
                  <a:schemeClr val="bg1"/>
                </a:solidFill>
                <a:ea typeface="+mn-ea"/>
                <a:cs typeface="+mn-cs"/>
              </a:rPr>
              <a:t>adoption journey in decision making</a:t>
            </a:r>
            <a:br>
              <a:rPr lang="en-US" sz="4000" kern="1200">
                <a:solidFill>
                  <a:schemeClr val="bg1"/>
                </a:solidFill>
                <a:ea typeface="+mn-ea"/>
                <a:cs typeface="+mn-cs"/>
              </a:rPr>
            </a:br>
            <a:r>
              <a:rPr lang="en-US" sz="2800" kern="1200">
                <a:solidFill>
                  <a:srgbClr val="6800FF"/>
                </a:solidFill>
                <a:latin typeface="Montserrat Light"/>
                <a:ea typeface="+mn-ea"/>
                <a:cs typeface="+mn-cs"/>
              </a:rPr>
              <a:t>From</a:t>
            </a:r>
            <a:r>
              <a:rPr lang="en-US" sz="2800" kern="1200" noProof="0">
                <a:solidFill>
                  <a:srgbClr val="6800FF"/>
                </a:solidFill>
                <a:latin typeface="Montserrat Light"/>
                <a:ea typeface="+mn-ea"/>
                <a:cs typeface="+mn-cs"/>
              </a:rPr>
              <a:t> prediction to reasoning: the need for trust</a:t>
            </a:r>
          </a:p>
        </p:txBody>
      </p:sp>
      <p:grpSp>
        <p:nvGrpSpPr>
          <p:cNvPr id="3" name="Group 2">
            <a:extLst>
              <a:ext uri="{FF2B5EF4-FFF2-40B4-BE49-F238E27FC236}">
                <a16:creationId xmlns:a16="http://schemas.microsoft.com/office/drawing/2014/main" id="{670866DD-3990-85C3-8694-3ACC8B23B59E}"/>
              </a:ext>
            </a:extLst>
          </p:cNvPr>
          <p:cNvGrpSpPr/>
          <p:nvPr/>
        </p:nvGrpSpPr>
        <p:grpSpPr>
          <a:xfrm>
            <a:off x="235691" y="2278091"/>
            <a:ext cx="17811971" cy="6605873"/>
            <a:chOff x="298321" y="2528612"/>
            <a:chExt cx="17811971" cy="6605873"/>
          </a:xfrm>
        </p:grpSpPr>
        <p:grpSp>
          <p:nvGrpSpPr>
            <p:cNvPr id="54" name="Group 53">
              <a:extLst>
                <a:ext uri="{FF2B5EF4-FFF2-40B4-BE49-F238E27FC236}">
                  <a16:creationId xmlns:a16="http://schemas.microsoft.com/office/drawing/2014/main" id="{CBFA167C-817D-C5C7-AE5C-9AEF14AECEB7}"/>
                </a:ext>
              </a:extLst>
            </p:cNvPr>
            <p:cNvGrpSpPr/>
            <p:nvPr/>
          </p:nvGrpSpPr>
          <p:grpSpPr>
            <a:xfrm>
              <a:off x="892401" y="4975226"/>
              <a:ext cx="2358000" cy="3569290"/>
              <a:chOff x="892401" y="5664616"/>
              <a:chExt cx="2358000" cy="3569290"/>
            </a:xfrm>
          </p:grpSpPr>
          <p:sp>
            <p:nvSpPr>
              <p:cNvPr id="25" name="Google Shape;7221;p763">
                <a:extLst>
                  <a:ext uri="{FF2B5EF4-FFF2-40B4-BE49-F238E27FC236}">
                    <a16:creationId xmlns:a16="http://schemas.microsoft.com/office/drawing/2014/main" id="{AA6436EC-078F-E85A-4006-255CEE2C16F3}"/>
                  </a:ext>
                </a:extLst>
              </p:cNvPr>
              <p:cNvSpPr/>
              <p:nvPr/>
            </p:nvSpPr>
            <p:spPr>
              <a:xfrm>
                <a:off x="892401" y="5664616"/>
                <a:ext cx="2358000" cy="3569290"/>
              </a:xfrm>
              <a:prstGeom prst="roundRect">
                <a:avLst>
                  <a:gd name="adj" fmla="val 4682"/>
                </a:avLst>
              </a:prstGeom>
              <a:solidFill>
                <a:sysClr val="window" lastClr="FFFFFF">
                  <a:lumMod val="85000"/>
                  <a:alpha val="30000"/>
                </a:sysClr>
              </a:solidFill>
              <a:ln>
                <a:noFill/>
              </a:ln>
            </p:spPr>
            <p:txBody>
              <a:bodyPr spcFirstLastPara="1" wrap="square" lIns="68575" tIns="68575" rIns="68575" bIns="68575" anchor="t" anchorCtr="0">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Montserrat Medium" panose="00000600000000000000" pitchFamily="2" charset="0"/>
                    <a:ea typeface="+mn-ea"/>
                    <a:sym typeface="Roboto Medium"/>
                  </a:rPr>
                  <a:t>LLM Only (GPT)</a:t>
                </a:r>
              </a:p>
            </p:txBody>
          </p:sp>
          <p:sp>
            <p:nvSpPr>
              <p:cNvPr id="26" name="Google Shape;7222;p763">
                <a:extLst>
                  <a:ext uri="{FF2B5EF4-FFF2-40B4-BE49-F238E27FC236}">
                    <a16:creationId xmlns:a16="http://schemas.microsoft.com/office/drawing/2014/main" id="{CA40D6B8-4987-441B-1FE9-5FE5F3614489}"/>
                  </a:ext>
                </a:extLst>
              </p:cNvPr>
              <p:cNvSpPr/>
              <p:nvPr/>
            </p:nvSpPr>
            <p:spPr>
              <a:xfrm>
                <a:off x="985486" y="6096000"/>
                <a:ext cx="2172506" cy="3069026"/>
              </a:xfrm>
              <a:prstGeom prst="roundRect">
                <a:avLst>
                  <a:gd name="adj" fmla="val 5608"/>
                </a:avLst>
              </a:prstGeom>
              <a:solidFill>
                <a:srgbClr val="FFFFFF"/>
              </a:solidFill>
              <a:ln>
                <a:solidFill>
                  <a:sysClr val="windowText" lastClr="000000"/>
                </a:solidFill>
              </a:ln>
            </p:spPr>
            <p:txBody>
              <a:bodyPr spcFirstLastPara="1" wrap="square" lIns="68575" tIns="68575" rIns="68575" bIns="68575" anchor="ctr" anchorCtr="0">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Montserrat" panose="00000500000000000000" pitchFamily="2" charset="0"/>
                  <a:ea typeface="Salesforce Sans"/>
                  <a:cs typeface="Salesforce Sans"/>
                  <a:sym typeface="Salesforce Sans"/>
                </a:endParaRPr>
              </a:p>
            </p:txBody>
          </p:sp>
          <p:graphicFrame>
            <p:nvGraphicFramePr>
              <p:cNvPr id="27" name="Google Shape;7223;p763">
                <a:extLst>
                  <a:ext uri="{FF2B5EF4-FFF2-40B4-BE49-F238E27FC236}">
                    <a16:creationId xmlns:a16="http://schemas.microsoft.com/office/drawing/2014/main" id="{A3CEE763-E97D-D52D-2E9E-FD2F859DC84D}"/>
                  </a:ext>
                </a:extLst>
              </p:cNvPr>
              <p:cNvGraphicFramePr/>
              <p:nvPr>
                <p:extLst>
                  <p:ext uri="{D42A27DB-BD31-4B8C-83A1-F6EECF244321}">
                    <p14:modId xmlns:p14="http://schemas.microsoft.com/office/powerpoint/2010/main" val="3357941561"/>
                  </p:ext>
                </p:extLst>
              </p:nvPr>
            </p:nvGraphicFramePr>
            <p:xfrm>
              <a:off x="1049811" y="6228028"/>
              <a:ext cx="2036285" cy="2966139"/>
            </p:xfrm>
            <a:graphic>
              <a:graphicData uri="http://schemas.openxmlformats.org/drawingml/2006/table">
                <a:tbl>
                  <a:tblPr>
                    <a:noFill/>
                  </a:tblPr>
                  <a:tblGrid>
                    <a:gridCol w="2036285">
                      <a:extLst>
                        <a:ext uri="{9D8B030D-6E8A-4147-A177-3AD203B41FA5}">
                          <a16:colId xmlns:a16="http://schemas.microsoft.com/office/drawing/2014/main" val="20000"/>
                        </a:ext>
                      </a:extLst>
                    </a:gridCol>
                  </a:tblGrid>
                  <a:tr h="703602">
                    <a:tc>
                      <a:txBody>
                        <a:bodyPr/>
                        <a:lstStyle>
                          <a:lvl1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9pPr>
                        </a:lstStyle>
                        <a:p>
                          <a:pPr marL="0" lvl="0" indent="0" algn="l" rtl="0">
                            <a:spcBef>
                              <a:spcPts val="0"/>
                            </a:spcBef>
                            <a:spcAft>
                              <a:spcPts val="0"/>
                            </a:spcAft>
                            <a:buNone/>
                          </a:pPr>
                          <a:r>
                            <a:rPr lang="en-US" sz="1200" b="0" noProof="0">
                              <a:solidFill>
                                <a:schemeClr val="bg1"/>
                              </a:solidFill>
                              <a:latin typeface="Montserrat" panose="00000500000000000000" pitchFamily="2" charset="0"/>
                              <a:ea typeface="Salesforce Sans"/>
                              <a:cs typeface="Salesforce Sans"/>
                              <a:sym typeface="Salesforce Sans"/>
                            </a:rPr>
                            <a:t>Uses LLMs to predict words, without context or reasoning</a:t>
                          </a:r>
                        </a:p>
                      </a:txBody>
                      <a:tcPr marL="68575" marR="68575" marT="68575" marB="68575">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0E2E5E"/>
                          </a:solidFill>
                          <a:prstDash val="dot"/>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519645">
                    <a:tc>
                      <a:txBody>
                        <a:bodyPr/>
                        <a:lstStyle>
                          <a:lvl1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9pPr>
                        </a:lstStyle>
                        <a:p>
                          <a:pPr marL="0" lvl="0" indent="0" algn="l" rtl="0">
                            <a:spcBef>
                              <a:spcPts val="0"/>
                            </a:spcBef>
                            <a:spcAft>
                              <a:spcPts val="0"/>
                            </a:spcAft>
                            <a:buNone/>
                          </a:pPr>
                          <a:r>
                            <a:rPr lang="en-US" sz="1200" b="0" noProof="0">
                              <a:solidFill>
                                <a:schemeClr val="bg1"/>
                              </a:solidFill>
                              <a:latin typeface="Montserrat" panose="00000500000000000000" pitchFamily="2" charset="0"/>
                              <a:ea typeface="Salesforce Sans"/>
                              <a:cs typeface="Salesforce Sans"/>
                              <a:sym typeface="Salesforce Sans"/>
                            </a:rPr>
                            <a:t>Potential hallucination</a:t>
                          </a:r>
                        </a:p>
                      </a:txBody>
                      <a:tcPr marL="68575" marR="68575" marT="68575" marB="68575">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0E2E5E"/>
                          </a:solidFill>
                          <a:prstDash val="dot"/>
                          <a:round/>
                          <a:headEnd type="none" w="sm" len="sm"/>
                          <a:tailEnd type="none" w="sm" len="sm"/>
                        </a:lnT>
                        <a:lnB w="9525" cap="flat" cmpd="sng">
                          <a:solidFill>
                            <a:srgbClr val="0E2E5E"/>
                          </a:solidFill>
                          <a:prstDash val="dot"/>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19645">
                    <a:tc>
                      <a:txBody>
                        <a:bodyPr/>
                        <a:lstStyle>
                          <a:lvl1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9pPr>
                        </a:lstStyle>
                        <a:p>
                          <a:pPr marL="0" lvl="0" indent="0" algn="l" rtl="0">
                            <a:spcBef>
                              <a:spcPts val="0"/>
                            </a:spcBef>
                            <a:spcAft>
                              <a:spcPts val="0"/>
                            </a:spcAft>
                            <a:buNone/>
                          </a:pPr>
                          <a:r>
                            <a:rPr lang="en-US" sz="1200" b="0" noProof="0">
                              <a:solidFill>
                                <a:schemeClr val="bg1"/>
                              </a:solidFill>
                              <a:latin typeface="Montserrat" panose="00000500000000000000" pitchFamily="2" charset="0"/>
                              <a:ea typeface="Salesforce Sans"/>
                              <a:cs typeface="Salesforce Sans"/>
                              <a:sym typeface="Salesforce Sans"/>
                            </a:rPr>
                            <a:t>Generic sources</a:t>
                          </a:r>
                        </a:p>
                      </a:txBody>
                      <a:tcPr marL="68575" marR="68575" marT="68575" marB="68575">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0E2E5E"/>
                          </a:solidFill>
                          <a:prstDash val="dot"/>
                          <a:round/>
                          <a:headEnd type="none" w="sm" len="sm"/>
                          <a:tailEnd type="none" w="sm" len="sm"/>
                        </a:lnT>
                        <a:lnB w="9525" cap="flat" cmpd="sng">
                          <a:solidFill>
                            <a:srgbClr val="0E2E5E"/>
                          </a:solidFill>
                          <a:prstDash val="dot"/>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19645">
                    <a:tc>
                      <a:txBody>
                        <a:bodyPr/>
                        <a:lstStyle>
                          <a:lvl1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9pPr>
                        </a:lstStyle>
                        <a:p>
                          <a:pPr marL="0" lvl="0" indent="0" algn="l" rtl="0">
                            <a:spcBef>
                              <a:spcPts val="0"/>
                            </a:spcBef>
                            <a:spcAft>
                              <a:spcPts val="0"/>
                            </a:spcAft>
                            <a:buNone/>
                          </a:pPr>
                          <a:r>
                            <a:rPr lang="en-US" sz="1200" b="0" noProof="0">
                              <a:solidFill>
                                <a:schemeClr val="bg1"/>
                              </a:solidFill>
                              <a:latin typeface="Montserrat" panose="00000500000000000000" pitchFamily="2" charset="0"/>
                              <a:ea typeface="Salesforce Sans"/>
                              <a:cs typeface="Salesforce Sans"/>
                              <a:sym typeface="Salesforce Sans"/>
                            </a:rPr>
                            <a:t>No logical explanation</a:t>
                          </a:r>
                        </a:p>
                      </a:txBody>
                      <a:tcPr marL="68575" marR="68575" marT="68575" marB="68575">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0E2E5E"/>
                          </a:solidFill>
                          <a:prstDash val="dot"/>
                          <a:round/>
                          <a:headEnd type="none" w="sm" len="sm"/>
                          <a:tailEnd type="none" w="sm" len="sm"/>
                        </a:lnT>
                        <a:lnB w="9525" cap="flat" cmpd="sng">
                          <a:solidFill>
                            <a:srgbClr val="0E2E5E"/>
                          </a:solidFill>
                          <a:prstDash val="dot"/>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703602">
                    <a:tc>
                      <a:txBody>
                        <a:bodyPr/>
                        <a:lstStyle>
                          <a:lvl1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9pPr>
                        </a:lstStyle>
                        <a:p>
                          <a:pPr marL="0" lvl="0" indent="0" algn="l" rtl="0">
                            <a:spcBef>
                              <a:spcPts val="0"/>
                            </a:spcBef>
                            <a:spcAft>
                              <a:spcPts val="0"/>
                            </a:spcAft>
                            <a:buNone/>
                          </a:pPr>
                          <a:r>
                            <a:rPr lang="en-US" sz="1200" b="0" noProof="0">
                              <a:solidFill>
                                <a:schemeClr val="bg1"/>
                              </a:solidFill>
                              <a:latin typeface="Montserrat" panose="00000500000000000000" pitchFamily="2" charset="0"/>
                              <a:ea typeface="Salesforce Sans"/>
                              <a:cs typeface="Salesforce Sans"/>
                              <a:sym typeface="Salesforce Sans"/>
                            </a:rPr>
                            <a:t>Low confidence for decision-making</a:t>
                          </a:r>
                        </a:p>
                      </a:txBody>
                      <a:tcPr marL="68575" marR="68575" marT="68575" marB="68575">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0E2E5E"/>
                          </a:solidFill>
                          <a:prstDash val="dot"/>
                          <a:round/>
                          <a:headEnd type="none" w="sm" len="sm"/>
                          <a:tailEnd type="none" w="sm" len="sm"/>
                        </a:lnT>
                        <a:lnB w="9525" cap="flat" cmpd="sng">
                          <a:solidFill>
                            <a:srgbClr val="9E9E9E">
                              <a:alpha val="0"/>
                            </a:srgbClr>
                          </a:solidFill>
                          <a:prstDash val="solid"/>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grpSp>
        <p:grpSp>
          <p:nvGrpSpPr>
            <p:cNvPr id="47" name="Group 46">
              <a:extLst>
                <a:ext uri="{FF2B5EF4-FFF2-40B4-BE49-F238E27FC236}">
                  <a16:creationId xmlns:a16="http://schemas.microsoft.com/office/drawing/2014/main" id="{086628D9-B905-1BD3-A0A1-19C293C5E51C}"/>
                </a:ext>
              </a:extLst>
            </p:cNvPr>
            <p:cNvGrpSpPr/>
            <p:nvPr/>
          </p:nvGrpSpPr>
          <p:grpSpPr>
            <a:xfrm>
              <a:off x="3772386" y="4577132"/>
              <a:ext cx="2358000" cy="3966924"/>
              <a:chOff x="2896083" y="5266522"/>
              <a:chExt cx="2358000" cy="3966924"/>
            </a:xfrm>
          </p:grpSpPr>
          <p:sp>
            <p:nvSpPr>
              <p:cNvPr id="28" name="Google Shape;7224;p763">
                <a:extLst>
                  <a:ext uri="{FF2B5EF4-FFF2-40B4-BE49-F238E27FC236}">
                    <a16:creationId xmlns:a16="http://schemas.microsoft.com/office/drawing/2014/main" id="{8E39F507-E538-517B-66EC-3B0B397C1B1C}"/>
                  </a:ext>
                </a:extLst>
              </p:cNvPr>
              <p:cNvSpPr/>
              <p:nvPr/>
            </p:nvSpPr>
            <p:spPr>
              <a:xfrm>
                <a:off x="2896083" y="5266522"/>
                <a:ext cx="2358000" cy="3966924"/>
              </a:xfrm>
              <a:prstGeom prst="roundRect">
                <a:avLst>
                  <a:gd name="adj" fmla="val 4682"/>
                </a:avLst>
              </a:prstGeom>
              <a:solidFill>
                <a:sysClr val="window" lastClr="FFFFFF">
                  <a:lumMod val="85000"/>
                  <a:alpha val="30000"/>
                </a:sysClr>
              </a:solidFill>
              <a:ln>
                <a:noFill/>
              </a:ln>
            </p:spPr>
            <p:txBody>
              <a:bodyPr spcFirstLastPara="1" wrap="square" lIns="68575" tIns="68575" rIns="68575" bIns="68575" anchor="t" anchorCtr="0">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prstClr val="black"/>
                    </a:solidFill>
                    <a:effectLst/>
                    <a:uLnTx/>
                    <a:uFillTx/>
                    <a:latin typeface="Montserrat Medium" panose="00000600000000000000" pitchFamily="2" charset="0"/>
                    <a:ea typeface="Salesforce Sans"/>
                    <a:cs typeface="Salesforce Sans"/>
                    <a:sym typeface="Salesforce Sans"/>
                  </a:rPr>
                  <a:t>Retrieval Augmented Generation (RAG)</a:t>
                </a:r>
              </a:p>
            </p:txBody>
          </p:sp>
          <p:sp>
            <p:nvSpPr>
              <p:cNvPr id="29" name="Google Shape;7225;p763">
                <a:extLst>
                  <a:ext uri="{FF2B5EF4-FFF2-40B4-BE49-F238E27FC236}">
                    <a16:creationId xmlns:a16="http://schemas.microsoft.com/office/drawing/2014/main" id="{C6D6BD2F-E8D5-F910-1C29-2DD922B1ED9E}"/>
                  </a:ext>
                </a:extLst>
              </p:cNvPr>
              <p:cNvSpPr/>
              <p:nvPr/>
            </p:nvSpPr>
            <p:spPr>
              <a:xfrm>
                <a:off x="2989167" y="5866681"/>
                <a:ext cx="2154333" cy="3302202"/>
              </a:xfrm>
              <a:prstGeom prst="roundRect">
                <a:avLst>
                  <a:gd name="adj" fmla="val 5608"/>
                </a:avLst>
              </a:prstGeom>
              <a:solidFill>
                <a:srgbClr val="FFFFFF"/>
              </a:solidFill>
              <a:ln>
                <a:solidFill>
                  <a:sysClr val="windowText" lastClr="000000"/>
                </a:solidFill>
              </a:ln>
            </p:spPr>
            <p:txBody>
              <a:bodyPr spcFirstLastPara="1" wrap="square" lIns="68575" tIns="68575" rIns="68575" bIns="68575" anchor="ctr" anchorCtr="0">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Montserrat" panose="00000500000000000000" pitchFamily="2" charset="0"/>
                  <a:ea typeface="Salesforce Sans"/>
                  <a:cs typeface="Salesforce Sans"/>
                  <a:sym typeface="Salesforce Sans"/>
                </a:endParaRPr>
              </a:p>
            </p:txBody>
          </p:sp>
          <p:graphicFrame>
            <p:nvGraphicFramePr>
              <p:cNvPr id="32" name="Google Shape;7228;p763">
                <a:extLst>
                  <a:ext uri="{FF2B5EF4-FFF2-40B4-BE49-F238E27FC236}">
                    <a16:creationId xmlns:a16="http://schemas.microsoft.com/office/drawing/2014/main" id="{A9F5B05A-FEF2-C1E0-E4DA-79D5CACE1EF9}"/>
                  </a:ext>
                </a:extLst>
              </p:cNvPr>
              <p:cNvGraphicFramePr/>
              <p:nvPr>
                <p:extLst>
                  <p:ext uri="{D42A27DB-BD31-4B8C-83A1-F6EECF244321}">
                    <p14:modId xmlns:p14="http://schemas.microsoft.com/office/powerpoint/2010/main" val="4284574628"/>
                  </p:ext>
                </p:extLst>
              </p:nvPr>
            </p:nvGraphicFramePr>
            <p:xfrm>
              <a:off x="3029947" y="5873254"/>
              <a:ext cx="2070009" cy="2956544"/>
            </p:xfrm>
            <a:graphic>
              <a:graphicData uri="http://schemas.openxmlformats.org/drawingml/2006/table">
                <a:tbl>
                  <a:tblPr>
                    <a:noFill/>
                  </a:tblPr>
                  <a:tblGrid>
                    <a:gridCol w="2070009">
                      <a:extLst>
                        <a:ext uri="{9D8B030D-6E8A-4147-A177-3AD203B41FA5}">
                          <a16:colId xmlns:a16="http://schemas.microsoft.com/office/drawing/2014/main" val="20000"/>
                        </a:ext>
                      </a:extLst>
                    </a:gridCol>
                  </a:tblGrid>
                  <a:tr h="707160">
                    <a:tc>
                      <a:txBody>
                        <a:bodyPr/>
                        <a:lstStyle>
                          <a:lvl1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9pPr>
                        </a:lstStyle>
                        <a:p>
                          <a:pPr marL="0" lvl="0" indent="0" algn="l" rtl="0">
                            <a:spcBef>
                              <a:spcPts val="0"/>
                            </a:spcBef>
                            <a:spcAft>
                              <a:spcPts val="0"/>
                            </a:spcAft>
                            <a:buNone/>
                          </a:pPr>
                          <a:r>
                            <a:rPr lang="en-US" sz="1200" b="0" noProof="0">
                              <a:solidFill>
                                <a:schemeClr val="bg1"/>
                              </a:solidFill>
                              <a:latin typeface="Montserrat" panose="00000500000000000000" pitchFamily="2" charset="0"/>
                              <a:ea typeface="Salesforce Sans"/>
                              <a:cs typeface="Salesforce Sans"/>
                              <a:sym typeface="Salesforce Sans"/>
                            </a:rPr>
                            <a:t>Increases predictions with its data, but still lacks logical reasoning</a:t>
                          </a:r>
                          <a:endParaRPr lang="en-US" sz="1050" b="0" noProof="0">
                            <a:solidFill>
                              <a:schemeClr val="bg1"/>
                            </a:solidFill>
                            <a:latin typeface="Montserrat" panose="00000500000000000000" pitchFamily="2" charset="0"/>
                            <a:ea typeface="Salesforce Sans"/>
                            <a:cs typeface="Salesforce Sans"/>
                            <a:sym typeface="Salesforce Sans"/>
                          </a:endParaRPr>
                        </a:p>
                      </a:txBody>
                      <a:tcPr marL="68575" marR="68575" marT="68575" marB="68575">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0E2E5E"/>
                          </a:solidFill>
                          <a:prstDash val="dot"/>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751115">
                    <a:tc>
                      <a:txBody>
                        <a:bodyPr/>
                        <a:lstStyle>
                          <a:lvl1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9pPr>
                        </a:lstStyle>
                        <a:p>
                          <a:pPr marL="0" lvl="0" indent="0" algn="l" rtl="0">
                            <a:spcBef>
                              <a:spcPts val="0"/>
                            </a:spcBef>
                            <a:spcAft>
                              <a:spcPts val="0"/>
                            </a:spcAft>
                            <a:buNone/>
                          </a:pPr>
                          <a:r>
                            <a:rPr lang="en-US" sz="1200" b="0" noProof="0">
                              <a:solidFill>
                                <a:schemeClr val="bg1"/>
                              </a:solidFill>
                              <a:latin typeface="Montserrat" panose="00000500000000000000" pitchFamily="2" charset="0"/>
                              <a:ea typeface="Salesforce Sans"/>
                              <a:cs typeface="Salesforce Sans"/>
                              <a:sym typeface="Salesforce Sans"/>
                            </a:rPr>
                            <a:t>Improves trust by using your own data, but still lacks transparency</a:t>
                          </a:r>
                        </a:p>
                      </a:txBody>
                      <a:tcPr marL="68575" marR="68575" marT="68575" marB="68575">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0E2E5E"/>
                          </a:solidFill>
                          <a:prstDash val="dot"/>
                          <a:round/>
                          <a:headEnd type="none" w="sm" len="sm"/>
                          <a:tailEnd type="none" w="sm" len="sm"/>
                        </a:lnT>
                        <a:lnB w="9525" cap="flat" cmpd="sng">
                          <a:solidFill>
                            <a:srgbClr val="0E2E5E"/>
                          </a:solidFill>
                          <a:prstDash val="dot"/>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24542">
                    <a:tc>
                      <a:txBody>
                        <a:bodyPr/>
                        <a:lstStyle>
                          <a:lvl1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9pPr>
                        </a:lstStyle>
                        <a:p>
                          <a:pPr marL="0" lvl="0" indent="0" algn="l" rtl="0">
                            <a:spcBef>
                              <a:spcPts val="0"/>
                            </a:spcBef>
                            <a:spcAft>
                              <a:spcPts val="0"/>
                            </a:spcAft>
                            <a:buNone/>
                          </a:pPr>
                          <a:r>
                            <a:rPr lang="en-US" sz="1200" b="0" noProof="0">
                              <a:solidFill>
                                <a:schemeClr val="bg1"/>
                              </a:solidFill>
                              <a:latin typeface="Montserrat" panose="00000500000000000000" pitchFamily="2" charset="0"/>
                              <a:ea typeface="Salesforce Sans"/>
                              <a:cs typeface="Salesforce Sans"/>
                              <a:sym typeface="Salesforce Sans"/>
                            </a:rPr>
                            <a:t>Identify sources</a:t>
                          </a:r>
                        </a:p>
                      </a:txBody>
                      <a:tcPr marL="68575" marR="68575" marT="68575" marB="68575">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0E2E5E"/>
                          </a:solidFill>
                          <a:prstDash val="dot"/>
                          <a:round/>
                          <a:headEnd type="none" w="sm" len="sm"/>
                          <a:tailEnd type="none" w="sm" len="sm"/>
                        </a:lnT>
                        <a:lnB w="9525" cap="flat" cmpd="sng">
                          <a:solidFill>
                            <a:srgbClr val="0E2E5E"/>
                          </a:solidFill>
                          <a:prstDash val="dot"/>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19100">
                    <a:tc>
                      <a:txBody>
                        <a:bodyPr/>
                        <a:lstStyle>
                          <a:lvl1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9pPr>
                        </a:lstStyle>
                        <a:p>
                          <a:pPr marL="0" lvl="0" indent="0" algn="l" rtl="0">
                            <a:spcBef>
                              <a:spcPts val="0"/>
                            </a:spcBef>
                            <a:spcAft>
                              <a:spcPts val="0"/>
                            </a:spcAft>
                            <a:buNone/>
                          </a:pPr>
                          <a:r>
                            <a:rPr lang="en-US" sz="1200" b="0" noProof="0">
                              <a:solidFill>
                                <a:schemeClr val="bg1"/>
                              </a:solidFill>
                              <a:latin typeface="Montserrat" panose="00000500000000000000" pitchFamily="2" charset="0"/>
                              <a:ea typeface="Salesforce Sans"/>
                              <a:cs typeface="Salesforce Sans"/>
                              <a:sym typeface="Salesforce Sans"/>
                            </a:rPr>
                            <a:t>Moderate explanation</a:t>
                          </a:r>
                        </a:p>
                      </a:txBody>
                      <a:tcPr marL="68575" marR="68575" marT="68575" marB="68575">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0E2E5E"/>
                          </a:solidFill>
                          <a:prstDash val="dot"/>
                          <a:round/>
                          <a:headEnd type="none" w="sm" len="sm"/>
                          <a:tailEnd type="none" w="sm" len="sm"/>
                        </a:lnT>
                        <a:lnB w="9525" cap="flat" cmpd="sng">
                          <a:solidFill>
                            <a:srgbClr val="0E2E5E"/>
                          </a:solidFill>
                          <a:prstDash val="dot"/>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654627">
                    <a:tc>
                      <a:txBody>
                        <a:bodyPr/>
                        <a:lstStyle>
                          <a:lvl1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9pPr>
                        </a:lstStyle>
                        <a:p>
                          <a:pPr marL="0" lvl="0" indent="0" algn="l" rtl="0">
                            <a:spcBef>
                              <a:spcPts val="0"/>
                            </a:spcBef>
                            <a:spcAft>
                              <a:spcPts val="0"/>
                            </a:spcAft>
                            <a:buNone/>
                          </a:pPr>
                          <a:r>
                            <a:rPr lang="en-US" sz="1200" b="0" noProof="0">
                              <a:solidFill>
                                <a:schemeClr val="bg1"/>
                              </a:solidFill>
                              <a:latin typeface="Montserrat" panose="00000500000000000000" pitchFamily="2" charset="0"/>
                              <a:ea typeface="Salesforce Sans"/>
                              <a:cs typeface="Salesforce Sans"/>
                              <a:sym typeface="Salesforce Sans"/>
                            </a:rPr>
                            <a:t>Improved Confidence</a:t>
                          </a:r>
                        </a:p>
                      </a:txBody>
                      <a:tcPr marL="68575" marR="68575" marT="68575" marB="68575">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0E2E5E"/>
                          </a:solidFill>
                          <a:prstDash val="dot"/>
                          <a:round/>
                          <a:headEnd type="none" w="sm" len="sm"/>
                          <a:tailEnd type="none" w="sm" len="sm"/>
                        </a:lnT>
                        <a:lnB w="9525" cap="flat" cmpd="sng">
                          <a:solidFill>
                            <a:srgbClr val="9E9E9E">
                              <a:alpha val="0"/>
                            </a:srgbClr>
                          </a:solidFill>
                          <a:prstDash val="solid"/>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grpSp>
        <p:grpSp>
          <p:nvGrpSpPr>
            <p:cNvPr id="46" name="Group 45">
              <a:extLst>
                <a:ext uri="{FF2B5EF4-FFF2-40B4-BE49-F238E27FC236}">
                  <a16:creationId xmlns:a16="http://schemas.microsoft.com/office/drawing/2014/main" id="{D26F7F8F-CE7C-48E2-8140-1916361A3EAB}"/>
                </a:ext>
              </a:extLst>
            </p:cNvPr>
            <p:cNvGrpSpPr/>
            <p:nvPr/>
          </p:nvGrpSpPr>
          <p:grpSpPr>
            <a:xfrm>
              <a:off x="6652370" y="3860279"/>
              <a:ext cx="2358829" cy="4725977"/>
              <a:chOff x="6652370" y="4549669"/>
              <a:chExt cx="2358829" cy="4725977"/>
            </a:xfrm>
          </p:grpSpPr>
          <p:sp>
            <p:nvSpPr>
              <p:cNvPr id="30" name="Google Shape;7226;p763">
                <a:extLst>
                  <a:ext uri="{FF2B5EF4-FFF2-40B4-BE49-F238E27FC236}">
                    <a16:creationId xmlns:a16="http://schemas.microsoft.com/office/drawing/2014/main" id="{FAD99015-5514-DFD1-BF21-A8F9DD5D6D82}"/>
                  </a:ext>
                </a:extLst>
              </p:cNvPr>
              <p:cNvSpPr/>
              <p:nvPr/>
            </p:nvSpPr>
            <p:spPr>
              <a:xfrm>
                <a:off x="6652370" y="4549669"/>
                <a:ext cx="2358829" cy="4680000"/>
              </a:xfrm>
              <a:prstGeom prst="roundRect">
                <a:avLst>
                  <a:gd name="adj" fmla="val 4682"/>
                </a:avLst>
              </a:prstGeom>
              <a:solidFill>
                <a:sysClr val="window" lastClr="FFFFFF">
                  <a:lumMod val="85000"/>
                  <a:alpha val="30000"/>
                </a:sysClr>
              </a:solidFill>
              <a:ln>
                <a:noFill/>
              </a:ln>
            </p:spPr>
            <p:txBody>
              <a:bodyPr spcFirstLastPara="1" wrap="square" lIns="68575" tIns="68575" rIns="68575" bIns="68575" anchor="t" anchorCtr="0">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a:ln>
                      <a:noFill/>
                    </a:ln>
                    <a:solidFill>
                      <a:srgbClr val="2E1648"/>
                    </a:solidFill>
                    <a:effectLst/>
                    <a:uLnTx/>
                    <a:uFillTx/>
                    <a:latin typeface="Montserrat Medium" panose="00000600000000000000" pitchFamily="2" charset="0"/>
                  </a:rPr>
                  <a:t>Retrieval Augmented Reasoning </a:t>
                </a:r>
                <a:r>
                  <a:rPr kumimoji="0" lang="en-US" b="1" i="0" u="none" strike="noStrike" kern="1200" cap="none" spc="0" normalizeH="0" baseline="0" noProof="0">
                    <a:ln>
                      <a:noFill/>
                    </a:ln>
                    <a:solidFill>
                      <a:prstClr val="black"/>
                    </a:solidFill>
                    <a:effectLst/>
                    <a:uLnTx/>
                    <a:uFillTx/>
                    <a:latin typeface="Montserrat Medium" panose="00000600000000000000" pitchFamily="2" charset="0"/>
                    <a:ea typeface="Salesforce Sans"/>
                    <a:cs typeface="Salesforce Sans"/>
                    <a:sym typeface="Salesforce Sans"/>
                  </a:rPr>
                  <a:t>(RAR)</a:t>
                </a:r>
              </a:p>
            </p:txBody>
          </p:sp>
          <p:sp>
            <p:nvSpPr>
              <p:cNvPr id="31" name="Google Shape;7227;p763">
                <a:extLst>
                  <a:ext uri="{FF2B5EF4-FFF2-40B4-BE49-F238E27FC236}">
                    <a16:creationId xmlns:a16="http://schemas.microsoft.com/office/drawing/2014/main" id="{3F4060E7-65C6-1086-D109-6154AA9D94E9}"/>
                  </a:ext>
                </a:extLst>
              </p:cNvPr>
              <p:cNvSpPr/>
              <p:nvPr/>
            </p:nvSpPr>
            <p:spPr>
              <a:xfrm>
                <a:off x="6745456" y="5179707"/>
                <a:ext cx="2188093" cy="3985382"/>
              </a:xfrm>
              <a:prstGeom prst="roundRect">
                <a:avLst>
                  <a:gd name="adj" fmla="val 5608"/>
                </a:avLst>
              </a:prstGeom>
              <a:solidFill>
                <a:srgbClr val="FFFFFF"/>
              </a:solidFill>
              <a:ln>
                <a:solidFill>
                  <a:sysClr val="windowText" lastClr="000000"/>
                </a:solidFill>
              </a:ln>
            </p:spPr>
            <p:txBody>
              <a:bodyPr spcFirstLastPara="1" wrap="square" lIns="68575" tIns="68575" rIns="68575" bIns="68575" anchor="ctr" anchorCtr="0">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Montserrat" panose="00000500000000000000" pitchFamily="2" charset="0"/>
                  <a:ea typeface="Salesforce Sans"/>
                  <a:cs typeface="Salesforce Sans"/>
                  <a:sym typeface="Salesforce Sans"/>
                </a:endParaRPr>
              </a:p>
            </p:txBody>
          </p:sp>
          <p:graphicFrame>
            <p:nvGraphicFramePr>
              <p:cNvPr id="33" name="Google Shape;7229;p763">
                <a:extLst>
                  <a:ext uri="{FF2B5EF4-FFF2-40B4-BE49-F238E27FC236}">
                    <a16:creationId xmlns:a16="http://schemas.microsoft.com/office/drawing/2014/main" id="{88DA467D-5F36-0939-4DE1-8DE50B68450D}"/>
                  </a:ext>
                </a:extLst>
              </p:cNvPr>
              <p:cNvGraphicFramePr/>
              <p:nvPr>
                <p:extLst>
                  <p:ext uri="{D42A27DB-BD31-4B8C-83A1-F6EECF244321}">
                    <p14:modId xmlns:p14="http://schemas.microsoft.com/office/powerpoint/2010/main" val="4137263104"/>
                  </p:ext>
                </p:extLst>
              </p:nvPr>
            </p:nvGraphicFramePr>
            <p:xfrm>
              <a:off x="6774165" y="5266522"/>
              <a:ext cx="2128177" cy="4009124"/>
            </p:xfrm>
            <a:graphic>
              <a:graphicData uri="http://schemas.openxmlformats.org/drawingml/2006/table">
                <a:tbl>
                  <a:tblPr>
                    <a:noFill/>
                  </a:tblPr>
                  <a:tblGrid>
                    <a:gridCol w="2128177">
                      <a:extLst>
                        <a:ext uri="{9D8B030D-6E8A-4147-A177-3AD203B41FA5}">
                          <a16:colId xmlns:a16="http://schemas.microsoft.com/office/drawing/2014/main" val="20000"/>
                        </a:ext>
                      </a:extLst>
                    </a:gridCol>
                  </a:tblGrid>
                  <a:tr h="1218091">
                    <a:tc>
                      <a:txBody>
                        <a:bodyPr/>
                        <a:lstStyle>
                          <a:lvl1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9pPr>
                        </a:lstStyle>
                        <a:p>
                          <a:pPr marL="0" lvl="0" indent="0" algn="l" rtl="0">
                            <a:spcBef>
                              <a:spcPts val="0"/>
                            </a:spcBef>
                            <a:spcAft>
                              <a:spcPts val="0"/>
                            </a:spcAft>
                            <a:buNone/>
                          </a:pPr>
                          <a:r>
                            <a:rPr lang="en-US" sz="1200" b="0" noProof="0">
                              <a:solidFill>
                                <a:schemeClr val="bg1"/>
                              </a:solidFill>
                              <a:latin typeface="Montserrat" panose="00000500000000000000" pitchFamily="2" charset="0"/>
                              <a:ea typeface="Salesforce Sans"/>
                              <a:cs typeface="Salesforce Sans"/>
                              <a:sym typeface="Salesforce Sans"/>
                            </a:rPr>
                            <a:t>Combining your knowledge and data, with an engine that can understand and provide reliable recommendations</a:t>
                          </a:r>
                        </a:p>
                      </a:txBody>
                      <a:tcPr marL="68575" marR="68575" marT="68575" marB="6857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0E2E5E"/>
                          </a:solidFill>
                          <a:prstDash val="dot"/>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808519">
                    <a:tc>
                      <a:txBody>
                        <a:bodyPr/>
                        <a:lstStyle>
                          <a:lvl1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9pPr>
                        </a:lstStyle>
                        <a:p>
                          <a:pPr marL="0" lvl="0" indent="0" algn="l" rtl="0">
                            <a:spcBef>
                              <a:spcPts val="0"/>
                            </a:spcBef>
                            <a:spcAft>
                              <a:spcPts val="0"/>
                            </a:spcAft>
                            <a:buNone/>
                          </a:pPr>
                          <a:r>
                            <a:rPr lang="en-US" sz="1200" b="0" noProof="0">
                              <a:solidFill>
                                <a:schemeClr val="bg1"/>
                              </a:solidFill>
                              <a:latin typeface="Montserrat" panose="00000500000000000000" pitchFamily="2" charset="0"/>
                              <a:ea typeface="Salesforce Sans"/>
                              <a:cs typeface="Salesforce Sans"/>
                              <a:sym typeface="Salesforce Sans"/>
                            </a:rPr>
                            <a:t>Knowledge-based reasoning and interacts to gather context</a:t>
                          </a:r>
                        </a:p>
                      </a:txBody>
                      <a:tcPr marL="68575" marR="68575" marT="68575" marB="6857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0E2E5E"/>
                          </a:solidFill>
                          <a:prstDash val="dot"/>
                          <a:round/>
                          <a:headEnd type="none" w="sm" len="sm"/>
                          <a:tailEnd type="none" w="sm" len="sm"/>
                        </a:lnT>
                        <a:lnB w="9525" cap="flat" cmpd="sng">
                          <a:solidFill>
                            <a:srgbClr val="0E2E5E"/>
                          </a:solidFill>
                          <a:prstDash val="dot"/>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957269">
                    <a:tc>
                      <a:txBody>
                        <a:bodyPr/>
                        <a:lstStyle>
                          <a:lvl1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9pPr>
                        </a:lstStyle>
                        <a:p>
                          <a:pPr marL="0" lvl="0" indent="0" algn="l" rtl="0">
                            <a:spcBef>
                              <a:spcPts val="0"/>
                            </a:spcBef>
                            <a:spcAft>
                              <a:spcPts val="0"/>
                            </a:spcAft>
                            <a:buNone/>
                          </a:pPr>
                          <a:r>
                            <a:rPr lang="en-US" sz="1200" b="0" noProof="0">
                              <a:solidFill>
                                <a:schemeClr val="bg1"/>
                              </a:solidFill>
                              <a:latin typeface="Montserrat" panose="00000500000000000000" pitchFamily="2" charset="0"/>
                              <a:ea typeface="Salesforce Sans"/>
                              <a:cs typeface="Salesforce Sans"/>
                              <a:sym typeface="Salesforce Sans"/>
                            </a:rPr>
                            <a:t>A complete chain of auditable evidence to ensure explainability, transparency, and reliability</a:t>
                          </a:r>
                        </a:p>
                      </a:txBody>
                      <a:tcPr marL="68575" marR="68575" marT="68575" marB="68575">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0E2E5E"/>
                          </a:solidFill>
                          <a:prstDash val="dot"/>
                          <a:round/>
                          <a:headEnd type="none" w="sm" len="sm"/>
                          <a:tailEnd type="none" w="sm" len="sm"/>
                        </a:lnT>
                        <a:lnB w="9525" cap="flat" cmpd="sng">
                          <a:solidFill>
                            <a:srgbClr val="0E2E5E"/>
                          </a:solidFill>
                          <a:prstDash val="dot"/>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914625">
                    <a:tc>
                      <a:txBody>
                        <a:bodyPr/>
                        <a:lstStyle>
                          <a:lvl1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tx1"/>
                              </a:solidFill>
                              <a:latin typeface="Arial"/>
                              <a:sym typeface="Arial"/>
                            </a:defRPr>
                          </a:lvl9pPr>
                        </a:lstStyle>
                        <a:p>
                          <a:pPr marL="0" lvl="0" indent="0" algn="l" rtl="0">
                            <a:spcBef>
                              <a:spcPts val="0"/>
                            </a:spcBef>
                            <a:spcAft>
                              <a:spcPts val="0"/>
                            </a:spcAft>
                            <a:buNone/>
                          </a:pPr>
                          <a:r>
                            <a:rPr lang="en-US" sz="1200" b="0" noProof="0">
                              <a:solidFill>
                                <a:schemeClr val="bg1"/>
                              </a:solidFill>
                              <a:latin typeface="Montserrat" panose="00000500000000000000" pitchFamily="2" charset="0"/>
                              <a:ea typeface="Salesforce Sans"/>
                              <a:cs typeface="Salesforce Sans"/>
                              <a:sym typeface="Salesforce Sans"/>
                            </a:rPr>
                            <a:t>High Confidence</a:t>
                          </a:r>
                        </a:p>
                      </a:txBody>
                      <a:tcPr marL="68575" marR="68575" marT="68575" marB="68575">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0E2E5E"/>
                          </a:solidFill>
                          <a:prstDash val="dot"/>
                          <a:round/>
                          <a:headEnd type="none" w="sm" len="sm"/>
                          <a:tailEnd type="none" w="sm" len="sm"/>
                        </a:lnT>
                        <a:lnB w="9525" cap="flat" cmpd="sng">
                          <a:solidFill>
                            <a:srgbClr val="0E2E5E"/>
                          </a:solidFill>
                          <a:prstDash val="dot"/>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grpSp>
        <p:cxnSp>
          <p:nvCxnSpPr>
            <p:cNvPr id="34" name="Google Shape;7231;p763">
              <a:extLst>
                <a:ext uri="{FF2B5EF4-FFF2-40B4-BE49-F238E27FC236}">
                  <a16:creationId xmlns:a16="http://schemas.microsoft.com/office/drawing/2014/main" id="{E1705339-679F-86D6-92FF-33F382D76457}"/>
                </a:ext>
              </a:extLst>
            </p:cNvPr>
            <p:cNvCxnSpPr>
              <a:cxnSpLocks/>
            </p:cNvCxnSpPr>
            <p:nvPr/>
          </p:nvCxnSpPr>
          <p:spPr>
            <a:xfrm rot="5400000" flipH="1" flipV="1">
              <a:off x="3515516" y="3707131"/>
              <a:ext cx="485032" cy="2003682"/>
            </a:xfrm>
            <a:prstGeom prst="curvedConnector3">
              <a:avLst>
                <a:gd name="adj1" fmla="val 147131"/>
              </a:avLst>
            </a:prstGeom>
            <a:noFill/>
            <a:ln w="28575" cap="flat" cmpd="sng">
              <a:solidFill>
                <a:sysClr val="windowText" lastClr="000000"/>
              </a:solidFill>
              <a:prstDash val="solid"/>
              <a:round/>
              <a:headEnd type="none" w="med" len="med"/>
              <a:tailEnd type="triangle" w="med" len="med"/>
            </a:ln>
          </p:spPr>
        </p:cxnSp>
        <p:cxnSp>
          <p:nvCxnSpPr>
            <p:cNvPr id="35" name="Google Shape;7232;p763">
              <a:extLst>
                <a:ext uri="{FF2B5EF4-FFF2-40B4-BE49-F238E27FC236}">
                  <a16:creationId xmlns:a16="http://schemas.microsoft.com/office/drawing/2014/main" id="{CE9553CE-5728-2B6D-7047-301A0A08D8C8}"/>
                </a:ext>
              </a:extLst>
            </p:cNvPr>
            <p:cNvCxnSpPr>
              <a:cxnSpLocks/>
            </p:cNvCxnSpPr>
            <p:nvPr/>
          </p:nvCxnSpPr>
          <p:spPr>
            <a:xfrm rot="5400000" flipH="1" flipV="1">
              <a:off x="6165521" y="3111783"/>
              <a:ext cx="453223" cy="2003682"/>
            </a:xfrm>
            <a:prstGeom prst="curvedConnector3">
              <a:avLst>
                <a:gd name="adj1" fmla="val 168053"/>
              </a:avLst>
            </a:prstGeom>
            <a:noFill/>
            <a:ln w="28575" cap="flat" cmpd="sng">
              <a:solidFill>
                <a:sysClr val="windowText" lastClr="000000"/>
              </a:solidFill>
              <a:prstDash val="solid"/>
              <a:round/>
              <a:headEnd type="none" w="med" len="med"/>
              <a:tailEnd type="triangle" w="med" len="med"/>
            </a:ln>
          </p:spPr>
        </p:cxnSp>
        <p:sp>
          <p:nvSpPr>
            <p:cNvPr id="36" name="Google Shape;7234;p763">
              <a:extLst>
                <a:ext uri="{FF2B5EF4-FFF2-40B4-BE49-F238E27FC236}">
                  <a16:creationId xmlns:a16="http://schemas.microsoft.com/office/drawing/2014/main" id="{DF370EAB-6C49-1869-E06D-A676ACCDB5A6}"/>
                </a:ext>
              </a:extLst>
            </p:cNvPr>
            <p:cNvSpPr txBox="1"/>
            <p:nvPr/>
          </p:nvSpPr>
          <p:spPr>
            <a:xfrm>
              <a:off x="1095701" y="3529261"/>
              <a:ext cx="2269384" cy="1061819"/>
            </a:xfrm>
            <a:prstGeom prst="rect">
              <a:avLst/>
            </a:prstGeom>
            <a:noFill/>
            <a:ln>
              <a:noFill/>
            </a:ln>
          </p:spPr>
          <p:txBody>
            <a:bodyPr spcFirstLastPara="1" wrap="square" lIns="68575" tIns="68575" rIns="68575" bIns="68575" anchor="t" anchorCtr="0">
              <a:spAutoFit/>
            </a:bodyPr>
            <a:lstStyle/>
            <a:p>
              <a:pPr defTabSz="685800">
                <a:buClrTx/>
              </a:pPr>
              <a:r>
                <a:rPr lang="en-US" sz="1200" kern="1200" noProof="0">
                  <a:solidFill>
                    <a:prstClr val="black"/>
                  </a:solidFill>
                  <a:latin typeface="Montserrat" panose="00000500000000000000" pitchFamily="2" charset="0"/>
                  <a:ea typeface="Salesforce Sans"/>
                  <a:cs typeface="Salesforce Sans"/>
                  <a:sym typeface="Salesforce Sans"/>
                </a:rPr>
                <a:t>There is no specific problem-solving focus, with open-ended questions based on probabilistic dialogue</a:t>
              </a:r>
            </a:p>
          </p:txBody>
        </p:sp>
        <p:sp>
          <p:nvSpPr>
            <p:cNvPr id="37" name="Google Shape;7235;p763">
              <a:extLst>
                <a:ext uri="{FF2B5EF4-FFF2-40B4-BE49-F238E27FC236}">
                  <a16:creationId xmlns:a16="http://schemas.microsoft.com/office/drawing/2014/main" id="{008F58BB-0723-7781-4671-77D38C4563A9}"/>
                </a:ext>
              </a:extLst>
            </p:cNvPr>
            <p:cNvSpPr txBox="1"/>
            <p:nvPr/>
          </p:nvSpPr>
          <p:spPr>
            <a:xfrm>
              <a:off x="3679976" y="3282665"/>
              <a:ext cx="1914642" cy="692487"/>
            </a:xfrm>
            <a:prstGeom prst="rect">
              <a:avLst/>
            </a:prstGeom>
            <a:noFill/>
            <a:ln>
              <a:noFill/>
            </a:ln>
          </p:spPr>
          <p:txBody>
            <a:bodyPr spcFirstLastPara="1" wrap="square" lIns="68575" tIns="68575" rIns="68575" bIns="68575" anchor="t" anchorCtr="0">
              <a:spAutoFit/>
            </a:bodyPr>
            <a:lstStyle/>
            <a:p>
              <a:pPr defTabSz="685800">
                <a:buClrTx/>
              </a:pPr>
              <a:r>
                <a:rPr lang="en-US" sz="1200" kern="1200" noProof="0">
                  <a:solidFill>
                    <a:prstClr val="black"/>
                  </a:solidFill>
                  <a:latin typeface="Montserrat" panose="00000500000000000000" pitchFamily="2" charset="0"/>
                  <a:ea typeface="Salesforce Sans"/>
                  <a:cs typeface="Salesforce Sans"/>
                  <a:sym typeface="Salesforce Sans"/>
                </a:rPr>
                <a:t>Combine Specific Data, Expertise, and AI for Decision-Making</a:t>
              </a:r>
            </a:p>
          </p:txBody>
        </p:sp>
        <p:cxnSp>
          <p:nvCxnSpPr>
            <p:cNvPr id="38" name="Google Shape;7236;p763">
              <a:extLst>
                <a:ext uri="{FF2B5EF4-FFF2-40B4-BE49-F238E27FC236}">
                  <a16:creationId xmlns:a16="http://schemas.microsoft.com/office/drawing/2014/main" id="{8E61AC1C-4079-3BFD-29BB-FB4BE9BCF98A}"/>
                </a:ext>
              </a:extLst>
            </p:cNvPr>
            <p:cNvCxnSpPr>
              <a:cxnSpLocks/>
            </p:cNvCxnSpPr>
            <p:nvPr/>
          </p:nvCxnSpPr>
          <p:spPr>
            <a:xfrm flipV="1">
              <a:off x="624998" y="2812094"/>
              <a:ext cx="0" cy="5940000"/>
            </a:xfrm>
            <a:prstGeom prst="straightConnector1">
              <a:avLst/>
            </a:prstGeom>
            <a:noFill/>
            <a:ln w="19050" cap="flat" cmpd="sng">
              <a:solidFill>
                <a:sysClr val="windowText" lastClr="000000"/>
              </a:solidFill>
              <a:prstDash val="solid"/>
              <a:round/>
              <a:headEnd type="none" w="med" len="med"/>
              <a:tailEnd type="stealth" w="med" len="med"/>
            </a:ln>
          </p:spPr>
        </p:cxnSp>
        <p:cxnSp>
          <p:nvCxnSpPr>
            <p:cNvPr id="39" name="Google Shape;7237;p763">
              <a:extLst>
                <a:ext uri="{FF2B5EF4-FFF2-40B4-BE49-F238E27FC236}">
                  <a16:creationId xmlns:a16="http://schemas.microsoft.com/office/drawing/2014/main" id="{B144CD9B-1254-43B5-7C41-F9CBB238A1E0}"/>
                </a:ext>
              </a:extLst>
            </p:cNvPr>
            <p:cNvCxnSpPr/>
            <p:nvPr/>
          </p:nvCxnSpPr>
          <p:spPr>
            <a:xfrm>
              <a:off x="619189" y="8745520"/>
              <a:ext cx="8532000" cy="0"/>
            </a:xfrm>
            <a:prstGeom prst="straightConnector1">
              <a:avLst/>
            </a:prstGeom>
            <a:noFill/>
            <a:ln w="19050" cap="flat" cmpd="sng">
              <a:solidFill>
                <a:sysClr val="windowText" lastClr="000000"/>
              </a:solidFill>
              <a:prstDash val="solid"/>
              <a:round/>
              <a:headEnd type="none" w="med" len="med"/>
              <a:tailEnd type="stealth" w="med" len="med"/>
            </a:ln>
          </p:spPr>
        </p:cxnSp>
        <p:sp>
          <p:nvSpPr>
            <p:cNvPr id="40" name="Google Shape;7238;p763">
              <a:extLst>
                <a:ext uri="{FF2B5EF4-FFF2-40B4-BE49-F238E27FC236}">
                  <a16:creationId xmlns:a16="http://schemas.microsoft.com/office/drawing/2014/main" id="{52F88C98-B9AF-D954-4886-042E90437CE4}"/>
                </a:ext>
              </a:extLst>
            </p:cNvPr>
            <p:cNvSpPr txBox="1"/>
            <p:nvPr/>
          </p:nvSpPr>
          <p:spPr>
            <a:xfrm rot="16200000">
              <a:off x="-50328" y="7605832"/>
              <a:ext cx="1082010" cy="384711"/>
            </a:xfrm>
            <a:prstGeom prst="rect">
              <a:avLst/>
            </a:prstGeom>
            <a:noFill/>
            <a:ln>
              <a:noFill/>
            </a:ln>
          </p:spPr>
          <p:txBody>
            <a:bodyPr spcFirstLastPara="1" wrap="square" lIns="68575" tIns="68575" rIns="68575" bIns="68575" anchor="t" anchorCtr="0">
              <a:spAutoFit/>
            </a:bodyPr>
            <a:lstStyle/>
            <a:p>
              <a:pPr algn="ctr" defTabSz="685800">
                <a:buClrTx/>
              </a:pPr>
              <a:r>
                <a:rPr lang="en-US" sz="1600" b="1" kern="1200" noProof="0">
                  <a:solidFill>
                    <a:prstClr val="black"/>
                  </a:solidFill>
                  <a:latin typeface="Montserrat" panose="00000500000000000000" pitchFamily="2" charset="0"/>
                  <a:ea typeface="Salesforce Sans"/>
                  <a:cs typeface="Salesforce Sans"/>
                  <a:sym typeface="Salesforce Sans"/>
                </a:rPr>
                <a:t>VALUE</a:t>
              </a:r>
            </a:p>
          </p:txBody>
        </p:sp>
        <p:sp>
          <p:nvSpPr>
            <p:cNvPr id="41" name="Google Shape;7239;p763">
              <a:extLst>
                <a:ext uri="{FF2B5EF4-FFF2-40B4-BE49-F238E27FC236}">
                  <a16:creationId xmlns:a16="http://schemas.microsoft.com/office/drawing/2014/main" id="{A0D4DC77-94F2-577B-AD20-AF01F7CA42CB}"/>
                </a:ext>
              </a:extLst>
            </p:cNvPr>
            <p:cNvSpPr txBox="1"/>
            <p:nvPr/>
          </p:nvSpPr>
          <p:spPr>
            <a:xfrm>
              <a:off x="1743734" y="8749774"/>
              <a:ext cx="1342363" cy="384711"/>
            </a:xfrm>
            <a:prstGeom prst="rect">
              <a:avLst/>
            </a:prstGeom>
            <a:noFill/>
            <a:ln>
              <a:noFill/>
            </a:ln>
          </p:spPr>
          <p:txBody>
            <a:bodyPr spcFirstLastPara="1" wrap="square" lIns="68575" tIns="68575" rIns="68575" bIns="68575" anchor="t" anchorCtr="0">
              <a:spAutoFit/>
            </a:bodyPr>
            <a:lstStyle/>
            <a:p>
              <a:pPr algn="ctr" defTabSz="685800">
                <a:buClrTx/>
              </a:pPr>
              <a:r>
                <a:rPr lang="en-US" sz="1600" b="1" kern="1200" noProof="0">
                  <a:solidFill>
                    <a:prstClr val="black"/>
                  </a:solidFill>
                  <a:latin typeface="Montserrat" panose="00000500000000000000" pitchFamily="2" charset="0"/>
                  <a:ea typeface="Salesforce Sans"/>
                  <a:cs typeface="Salesforce Sans"/>
                  <a:sym typeface="Salesforce Sans"/>
                </a:rPr>
                <a:t>MATURITY</a:t>
              </a:r>
            </a:p>
          </p:txBody>
        </p:sp>
        <p:sp>
          <p:nvSpPr>
            <p:cNvPr id="42" name="Google Shape;7235;p763">
              <a:extLst>
                <a:ext uri="{FF2B5EF4-FFF2-40B4-BE49-F238E27FC236}">
                  <a16:creationId xmlns:a16="http://schemas.microsoft.com/office/drawing/2014/main" id="{F42E4A07-7D12-2436-E720-AB70693C8EC2}"/>
                </a:ext>
              </a:extLst>
            </p:cNvPr>
            <p:cNvSpPr txBox="1"/>
            <p:nvPr/>
          </p:nvSpPr>
          <p:spPr>
            <a:xfrm>
              <a:off x="6745456" y="2614422"/>
              <a:ext cx="2188093" cy="877153"/>
            </a:xfrm>
            <a:prstGeom prst="rect">
              <a:avLst/>
            </a:prstGeom>
            <a:noFill/>
            <a:ln>
              <a:noFill/>
            </a:ln>
          </p:spPr>
          <p:txBody>
            <a:bodyPr spcFirstLastPara="1" wrap="square" lIns="68575" tIns="68575" rIns="68575" bIns="68575" anchor="t" anchorCtr="0">
              <a:spAutoFit/>
            </a:bodyPr>
            <a:lstStyle/>
            <a:p>
              <a:pPr defTabSz="685800">
                <a:buClrTx/>
              </a:pPr>
              <a:r>
                <a:rPr lang="en-US" sz="1200" kern="1200" noProof="0">
                  <a:solidFill>
                    <a:prstClr val="black"/>
                  </a:solidFill>
                  <a:latin typeface="Montserrat" panose="00000500000000000000" pitchFamily="2" charset="0"/>
                  <a:ea typeface="Salesforce Sans"/>
                  <a:cs typeface="Salesforce Sans"/>
                  <a:sym typeface="Salesforce Sans"/>
                </a:rPr>
                <a:t>Amplifies parameters and interaction for reliable and traceable decisions, with deterministic results</a:t>
              </a:r>
            </a:p>
          </p:txBody>
        </p:sp>
        <p:sp>
          <p:nvSpPr>
            <p:cNvPr id="43" name="CaixaDeTexto 27">
              <a:extLst>
                <a:ext uri="{FF2B5EF4-FFF2-40B4-BE49-F238E27FC236}">
                  <a16:creationId xmlns:a16="http://schemas.microsoft.com/office/drawing/2014/main" id="{85F05B92-64D1-6354-7158-284119832304}"/>
                </a:ext>
              </a:extLst>
            </p:cNvPr>
            <p:cNvSpPr txBox="1"/>
            <p:nvPr/>
          </p:nvSpPr>
          <p:spPr>
            <a:xfrm rot="16200000">
              <a:off x="-1845832" y="4799238"/>
              <a:ext cx="4677409" cy="307777"/>
            </a:xfrm>
            <a:prstGeom prst="rect">
              <a:avLst/>
            </a:prstGeom>
            <a:noFill/>
            <a:ln>
              <a:noFill/>
            </a:ln>
          </p:spPr>
          <p:txBody>
            <a:bodyPr wrap="square">
              <a:spAutoFit/>
            </a:bodyPr>
            <a:lstStyle/>
            <a:p>
              <a:pPr defTabSz="685800">
                <a:buClrTx/>
              </a:pPr>
              <a:r>
                <a:rPr lang="en-US" kern="1200" noProof="0">
                  <a:solidFill>
                    <a:prstClr val="black"/>
                  </a:solidFill>
                  <a:latin typeface="Montserrat" panose="00000500000000000000" pitchFamily="2" charset="0"/>
                  <a:ea typeface="+mn-ea"/>
                </a:rPr>
                <a:t>Reliability and Transparency in Decision-Making</a:t>
              </a:r>
            </a:p>
          </p:txBody>
        </p:sp>
        <p:sp>
          <p:nvSpPr>
            <p:cNvPr id="44" name="Google Shape;7230;p763">
              <a:extLst>
                <a:ext uri="{FF2B5EF4-FFF2-40B4-BE49-F238E27FC236}">
                  <a16:creationId xmlns:a16="http://schemas.microsoft.com/office/drawing/2014/main" id="{3A9966A4-B78E-93A3-EC6D-1B5D15939649}"/>
                </a:ext>
              </a:extLst>
            </p:cNvPr>
            <p:cNvSpPr/>
            <p:nvPr/>
          </p:nvSpPr>
          <p:spPr>
            <a:xfrm>
              <a:off x="9447910" y="3408043"/>
              <a:ext cx="2872315" cy="3616866"/>
            </a:xfrm>
            <a:prstGeom prst="roundRect">
              <a:avLst>
                <a:gd name="adj" fmla="val 6002"/>
              </a:avLst>
            </a:prstGeom>
            <a:solidFill>
              <a:srgbClr val="7A01FF"/>
            </a:solidFill>
            <a:ln>
              <a:noFill/>
            </a:ln>
            <a:effectLst>
              <a:outerShdw blurRad="57150" dist="19050" dir="5400000" algn="bl" rotWithShape="0">
                <a:srgbClr val="000000">
                  <a:alpha val="50000"/>
                </a:srgbClr>
              </a:outerShdw>
            </a:effectLst>
          </p:spPr>
          <p:txBody>
            <a:bodyPr spcFirstLastPara="1" wrap="square" lIns="68575" tIns="68575" rIns="68575" bIns="68575" anchor="ctr" anchorCtr="0">
              <a:noAutofit/>
            </a:bodyPr>
            <a:lstStyle/>
            <a:p>
              <a:pPr algn="ctr" defTabSz="685800">
                <a:buClrTx/>
              </a:pPr>
              <a:r>
                <a:rPr lang="en-US" sz="2400" b="1" kern="1200" noProof="0">
                  <a:solidFill>
                    <a:srgbClr val="FFFFFF"/>
                  </a:solidFill>
                  <a:latin typeface="Montserrat" panose="00000500000000000000" pitchFamily="2" charset="0"/>
                  <a:ea typeface="Salesforce Sans"/>
                  <a:cs typeface="Salesforce Sans"/>
                  <a:sym typeface="Salesforce Sans"/>
                </a:rPr>
                <a:t>Scale your AI with Reason</a:t>
              </a:r>
              <a:br>
                <a:rPr lang="en-US" b="1" kern="1200" noProof="0">
                  <a:solidFill>
                    <a:srgbClr val="FFFFFF"/>
                  </a:solidFill>
                  <a:latin typeface="Montserrat" panose="00000500000000000000" pitchFamily="2" charset="0"/>
                  <a:ea typeface="Salesforce Sans"/>
                  <a:cs typeface="Salesforce Sans"/>
                  <a:sym typeface="Salesforce Sans"/>
                </a:rPr>
              </a:br>
              <a:endParaRPr lang="en-US" b="1" kern="1200" noProof="0">
                <a:solidFill>
                  <a:srgbClr val="FFFFFF"/>
                </a:solidFill>
                <a:latin typeface="Montserrat" panose="00000500000000000000" pitchFamily="2" charset="0"/>
                <a:ea typeface="Salesforce Sans"/>
                <a:cs typeface="Salesforce Sans"/>
                <a:sym typeface="Salesforce Sans"/>
              </a:endParaRPr>
            </a:p>
            <a:p>
              <a:pPr marL="139697" indent="-152396" defTabSz="685800">
                <a:spcBef>
                  <a:spcPts val="800"/>
                </a:spcBef>
                <a:buClr>
                  <a:srgbClr val="FFFFFF"/>
                </a:buClr>
                <a:buSzPts val="800"/>
                <a:buFont typeface="Salesforce Sans"/>
                <a:buChar char="●"/>
              </a:pPr>
              <a:r>
                <a:rPr lang="en-US" kern="1200" noProof="0">
                  <a:solidFill>
                    <a:srgbClr val="FFFFFF"/>
                  </a:solidFill>
                  <a:latin typeface="Montserrat" panose="00000500000000000000" pitchFamily="2" charset="0"/>
                  <a:ea typeface="Salesforce Sans"/>
                  <a:cs typeface="Salesforce Sans"/>
                  <a:sym typeface="Salesforce Sans"/>
                </a:rPr>
                <a:t>Simplify and Scale complex decisions
Discover and expand to new Areas
Explainable and Auditable Decisions</a:t>
              </a:r>
              <a:br>
                <a:rPr lang="en-US" kern="1200" noProof="0">
                  <a:solidFill>
                    <a:srgbClr val="FFFFFF"/>
                  </a:solidFill>
                  <a:latin typeface="Montserrat" panose="00000500000000000000" pitchFamily="2" charset="0"/>
                  <a:ea typeface="Salesforce Sans"/>
                  <a:cs typeface="Salesforce Sans"/>
                  <a:sym typeface="Salesforce Sans"/>
                </a:rPr>
              </a:br>
              <a:endParaRPr lang="en-US" kern="1200" noProof="0">
                <a:solidFill>
                  <a:srgbClr val="FFFFFF"/>
                </a:solidFill>
                <a:latin typeface="Montserrat" panose="00000500000000000000" pitchFamily="2" charset="0"/>
                <a:ea typeface="Salesforce Sans"/>
                <a:cs typeface="Salesforce Sans"/>
                <a:sym typeface="Salesforce Sans"/>
              </a:endParaRPr>
            </a:p>
          </p:txBody>
        </p:sp>
        <p:sp>
          <p:nvSpPr>
            <p:cNvPr id="45" name="CaixaDeTexto 36">
              <a:extLst>
                <a:ext uri="{FF2B5EF4-FFF2-40B4-BE49-F238E27FC236}">
                  <a16:creationId xmlns:a16="http://schemas.microsoft.com/office/drawing/2014/main" id="{BCBC603A-DD98-712E-496E-FDCA6DF5EA33}"/>
                </a:ext>
              </a:extLst>
            </p:cNvPr>
            <p:cNvSpPr txBox="1"/>
            <p:nvPr/>
          </p:nvSpPr>
          <p:spPr>
            <a:xfrm>
              <a:off x="3178569" y="8780395"/>
              <a:ext cx="7456776" cy="307777"/>
            </a:xfrm>
            <a:prstGeom prst="rect">
              <a:avLst/>
            </a:prstGeom>
            <a:noFill/>
            <a:ln>
              <a:noFill/>
            </a:ln>
          </p:spPr>
          <p:txBody>
            <a:bodyPr wrap="square">
              <a:spAutoFit/>
            </a:bodyPr>
            <a:lstStyle/>
            <a:p>
              <a:pPr defTabSz="685800">
                <a:buClrTx/>
              </a:pPr>
              <a:r>
                <a:rPr lang="en-US" kern="1200" noProof="0">
                  <a:solidFill>
                    <a:prstClr val="black"/>
                  </a:solidFill>
                  <a:latin typeface="Montserrat" panose="00000500000000000000" pitchFamily="2" charset="0"/>
                  <a:ea typeface="+mn-ea"/>
                </a:rPr>
                <a:t>As you add more resources, confidence in the decision increases</a:t>
              </a:r>
            </a:p>
          </p:txBody>
        </p:sp>
        <p:sp>
          <p:nvSpPr>
            <p:cNvPr id="55" name="CuadroTexto 40">
              <a:extLst>
                <a:ext uri="{FF2B5EF4-FFF2-40B4-BE49-F238E27FC236}">
                  <a16:creationId xmlns:a16="http://schemas.microsoft.com/office/drawing/2014/main" id="{71A196F8-147A-1B55-78B8-17D95412410B}"/>
                </a:ext>
              </a:extLst>
            </p:cNvPr>
            <p:cNvSpPr txBox="1"/>
            <p:nvPr/>
          </p:nvSpPr>
          <p:spPr>
            <a:xfrm>
              <a:off x="13380576" y="3359968"/>
              <a:ext cx="4729716" cy="5493170"/>
            </a:xfrm>
            <a:prstGeom prst="rect">
              <a:avLst/>
            </a:prstGeom>
            <a:noFill/>
          </p:spPr>
          <p:txBody>
            <a:bodyPr wrap="square" lIns="137160" tIns="68580" rIns="137160" bIns="68580" rtlCol="0" anchor="t">
              <a:spAutoFit/>
            </a:bodyPr>
            <a:lstStyle/>
            <a:p>
              <a:pPr marL="0" marR="0" lvl="0" indent="0" algn="l" defTabSz="1371600" rtl="0" eaLnBrk="1" fontAlgn="auto" latinLnBrk="0" hangingPunct="1">
                <a:lnSpc>
                  <a:spcPct val="150000"/>
                </a:lnSpc>
                <a:spcBef>
                  <a:spcPts val="0"/>
                </a:spcBef>
                <a:spcAft>
                  <a:spcPts val="0"/>
                </a:spcAft>
                <a:buClrTx/>
                <a:buSzTx/>
                <a:buFont typeface="Arial"/>
                <a:buNone/>
                <a:tabLst/>
                <a:defRPr/>
              </a:pPr>
              <a:r>
                <a:rPr kumimoji="0" lang="en-US" sz="1800" b="0" i="0" u="none" strike="noStrike" kern="1200" cap="none" spc="0" normalizeH="0" baseline="0" noProof="0">
                  <a:ln>
                    <a:noFill/>
                  </a:ln>
                  <a:solidFill>
                    <a:prstClr val="black"/>
                  </a:solidFill>
                  <a:effectLst/>
                  <a:uLnTx/>
                  <a:uFillTx/>
                  <a:latin typeface="Montserrat Light"/>
                  <a:ea typeface="+mn-ea"/>
                  <a:cs typeface="Arial"/>
                  <a:sym typeface="Arial"/>
                </a:rPr>
                <a:t>Fraud</a:t>
              </a:r>
              <a:endParaRPr kumimoji="0" lang="en-US" sz="27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a:p>
              <a:pPr marL="0" marR="0" lvl="0" indent="0" algn="l" defTabSz="1371600" rtl="0" eaLnBrk="1" fontAlgn="auto" latinLnBrk="0" hangingPunct="1">
                <a:lnSpc>
                  <a:spcPct val="150000"/>
                </a:lnSpc>
                <a:spcBef>
                  <a:spcPts val="0"/>
                </a:spcBef>
                <a:spcAft>
                  <a:spcPts val="0"/>
                </a:spcAft>
                <a:buClrTx/>
                <a:buSzTx/>
                <a:buFont typeface="Arial"/>
                <a:buNone/>
                <a:tabLst/>
                <a:defRPr/>
              </a:pPr>
              <a:r>
                <a:rPr kumimoji="0" lang="en-US" sz="1800" b="0" i="0" u="none" strike="noStrike" kern="1200" cap="none" spc="0" normalizeH="0" baseline="0" noProof="0">
                  <a:ln>
                    <a:noFill/>
                  </a:ln>
                  <a:solidFill>
                    <a:prstClr val="black"/>
                  </a:solidFill>
                  <a:effectLst/>
                  <a:uLnTx/>
                  <a:uFillTx/>
                  <a:latin typeface="Montserrat Light"/>
                  <a:ea typeface="Calibri" panose="020F0502020204030204"/>
                  <a:cs typeface="Calibri" panose="020F0502020204030204"/>
                  <a:sym typeface="Arial"/>
                </a:rPr>
                <a:t>Price Optimization</a:t>
              </a:r>
            </a:p>
            <a:p>
              <a:pPr marL="0" marR="0" lvl="0" indent="0" algn="l" defTabSz="1371600" rtl="0" eaLnBrk="1" fontAlgn="auto" latinLnBrk="0" hangingPunct="1">
                <a:lnSpc>
                  <a:spcPct val="150000"/>
                </a:lnSpc>
                <a:spcBef>
                  <a:spcPts val="0"/>
                </a:spcBef>
                <a:spcAft>
                  <a:spcPts val="0"/>
                </a:spcAft>
                <a:buClrTx/>
                <a:buSzTx/>
                <a:buFont typeface="Arial"/>
                <a:buNone/>
                <a:tabLst/>
                <a:defRPr/>
              </a:pPr>
              <a:r>
                <a:rPr kumimoji="0" lang="en-US" sz="1800" b="0" i="0" u="none" strike="noStrike" kern="1200" cap="none" spc="0" normalizeH="0" baseline="0" noProof="0">
                  <a:ln>
                    <a:noFill/>
                  </a:ln>
                  <a:solidFill>
                    <a:prstClr val="black"/>
                  </a:solidFill>
                  <a:effectLst/>
                  <a:uLnTx/>
                  <a:uFillTx/>
                  <a:latin typeface="Montserrat Light"/>
                  <a:ea typeface="Calibri" panose="020F0502020204030204"/>
                  <a:cs typeface="Calibri" panose="020F0502020204030204"/>
                  <a:sym typeface="Arial"/>
                </a:rPr>
                <a:t>Governance</a:t>
              </a:r>
              <a:endParaRPr kumimoji="0" lang="en-US" sz="1800" b="0" i="0" u="none" strike="noStrike" kern="1200" cap="none" spc="0" normalizeH="0" baseline="0" noProof="0">
                <a:ln>
                  <a:noFill/>
                </a:ln>
                <a:solidFill>
                  <a:srgbClr val="808080"/>
                </a:solidFill>
                <a:effectLst/>
                <a:uLnTx/>
                <a:uFillTx/>
                <a:latin typeface="Montserrat Light"/>
                <a:ea typeface="Calibri" panose="020F0502020204030204"/>
                <a:cs typeface="Calibri" panose="020F0502020204030204"/>
                <a:sym typeface="Arial"/>
              </a:endParaRPr>
            </a:p>
            <a:p>
              <a:pPr marL="0" marR="0" lvl="0" indent="0" algn="l" defTabSz="1371600" rtl="0" eaLnBrk="1" fontAlgn="auto" latinLnBrk="0" hangingPunct="1">
                <a:lnSpc>
                  <a:spcPct val="150000"/>
                </a:lnSpc>
                <a:spcBef>
                  <a:spcPts val="0"/>
                </a:spcBef>
                <a:spcAft>
                  <a:spcPts val="0"/>
                </a:spcAft>
                <a:buClrTx/>
                <a:buSzTx/>
                <a:buFont typeface="Arial"/>
                <a:buNone/>
                <a:tabLst/>
                <a:defRPr/>
              </a:pPr>
              <a:r>
                <a:rPr kumimoji="0" lang="en-US" sz="1800" b="0" i="0" u="none" strike="noStrike" kern="1200" cap="none" spc="0" normalizeH="0" baseline="0" noProof="0">
                  <a:ln>
                    <a:noFill/>
                  </a:ln>
                  <a:solidFill>
                    <a:prstClr val="black"/>
                  </a:solidFill>
                  <a:effectLst/>
                  <a:uLnTx/>
                  <a:uFillTx/>
                  <a:latin typeface="Montserrat Light"/>
                  <a:ea typeface="Calibri" panose="020F0502020204030204"/>
                  <a:cs typeface="Calibri" panose="020F0502020204030204"/>
                  <a:sym typeface="Arial"/>
                </a:rPr>
                <a:t>Strategic Business Decisions</a:t>
              </a:r>
              <a:endParaRPr kumimoji="0" lang="en-US" sz="1800" b="0" i="0" u="none" strike="noStrike" kern="1200" cap="none" spc="0" normalizeH="0" baseline="0" noProof="0">
                <a:ln>
                  <a:noFill/>
                </a:ln>
                <a:solidFill>
                  <a:prstClr val="black"/>
                </a:solidFill>
                <a:effectLst/>
                <a:uLnTx/>
                <a:uFillTx/>
                <a:latin typeface="Montserrat Light"/>
                <a:ea typeface="+mn-ea"/>
                <a:cs typeface="Arial"/>
                <a:sym typeface="Arial"/>
              </a:endParaRPr>
            </a:p>
            <a:p>
              <a:pPr marL="0" marR="0" lvl="0" indent="0" algn="l" defTabSz="1371600" rtl="0" eaLnBrk="1" fontAlgn="auto" latinLnBrk="0" hangingPunct="1">
                <a:lnSpc>
                  <a:spcPct val="150000"/>
                </a:lnSpc>
                <a:spcBef>
                  <a:spcPts val="0"/>
                </a:spcBef>
                <a:spcAft>
                  <a:spcPts val="0"/>
                </a:spcAft>
                <a:buClrTx/>
                <a:buSzTx/>
                <a:buFont typeface="Arial"/>
                <a:buNone/>
                <a:tabLst/>
                <a:defRPr/>
              </a:pPr>
              <a:r>
                <a:rPr kumimoji="0" lang="en-US" sz="1800" b="0" i="0" u="none" strike="noStrike" kern="1200" cap="none" spc="0" normalizeH="0" baseline="0" noProof="0">
                  <a:ln>
                    <a:noFill/>
                  </a:ln>
                  <a:solidFill>
                    <a:prstClr val="black"/>
                  </a:solidFill>
                  <a:effectLst/>
                  <a:uLnTx/>
                  <a:uFillTx/>
                  <a:latin typeface="Montserrat Light"/>
                  <a:ea typeface="Calibri" panose="020F0502020204030204"/>
                  <a:cs typeface="Calibri" panose="020F0502020204030204"/>
                  <a:sym typeface="Arial"/>
                </a:rPr>
                <a:t>Tax Assessment</a:t>
              </a:r>
              <a:endParaRPr kumimoji="0" lang="en-US" sz="1800" b="0" i="0" u="none" strike="noStrike" kern="1200" cap="none" spc="0" normalizeH="0" baseline="0" noProof="0">
                <a:ln>
                  <a:noFill/>
                </a:ln>
                <a:solidFill>
                  <a:prstClr val="black"/>
                </a:solidFill>
                <a:effectLst/>
                <a:uLnTx/>
                <a:uFillTx/>
                <a:latin typeface="Montserrat Light"/>
                <a:ea typeface="+mn-ea"/>
                <a:cs typeface="Arial"/>
                <a:sym typeface="Arial"/>
              </a:endParaRPr>
            </a:p>
            <a:p>
              <a:pPr marL="0" marR="0" lvl="0" indent="0" algn="l" defTabSz="1371600" rtl="0" eaLnBrk="1" fontAlgn="auto" latinLnBrk="0" hangingPunct="1">
                <a:lnSpc>
                  <a:spcPct val="150000"/>
                </a:lnSpc>
                <a:spcBef>
                  <a:spcPts val="0"/>
                </a:spcBef>
                <a:spcAft>
                  <a:spcPts val="0"/>
                </a:spcAft>
                <a:buClrTx/>
                <a:buSzTx/>
                <a:buFont typeface="Arial"/>
                <a:buNone/>
                <a:tabLst/>
                <a:defRPr/>
              </a:pPr>
              <a:r>
                <a:rPr kumimoji="0" lang="en-US" sz="1800" b="0" i="0" u="none" strike="noStrike" kern="1200" cap="none" spc="0" normalizeH="0" baseline="0" noProof="0">
                  <a:ln>
                    <a:noFill/>
                  </a:ln>
                  <a:solidFill>
                    <a:prstClr val="black"/>
                  </a:solidFill>
                  <a:effectLst/>
                  <a:uLnTx/>
                  <a:uFillTx/>
                  <a:latin typeface="Montserrat Light"/>
                  <a:ea typeface="Calibri" panose="020F0502020204030204"/>
                  <a:cs typeface="Calibri" panose="020F0502020204030204"/>
                  <a:sym typeface="Arial"/>
                </a:rPr>
                <a:t>Financial Planning &amp; Compliance</a:t>
              </a:r>
              <a:endParaRPr kumimoji="0" lang="en-US" sz="1800" b="0" i="0" u="none" strike="noStrike" kern="1200" cap="none" spc="0" normalizeH="0" baseline="0" noProof="0">
                <a:ln>
                  <a:noFill/>
                </a:ln>
                <a:solidFill>
                  <a:prstClr val="black"/>
                </a:solidFill>
                <a:effectLst/>
                <a:uLnTx/>
                <a:uFillTx/>
                <a:latin typeface="Montserrat Light"/>
                <a:ea typeface="+mn-ea"/>
                <a:cs typeface="Arial"/>
                <a:sym typeface="Arial"/>
              </a:endParaRPr>
            </a:p>
            <a:p>
              <a:pPr marL="0" marR="0" lvl="0" indent="0" algn="l" defTabSz="1371600" rtl="0" eaLnBrk="1" fontAlgn="auto" latinLnBrk="0" hangingPunct="1">
                <a:lnSpc>
                  <a:spcPct val="150000"/>
                </a:lnSpc>
                <a:spcBef>
                  <a:spcPts val="0"/>
                </a:spcBef>
                <a:spcAft>
                  <a:spcPts val="0"/>
                </a:spcAft>
                <a:buClrTx/>
                <a:buSzTx/>
                <a:buFont typeface="Arial"/>
                <a:buNone/>
                <a:tabLst/>
                <a:defRPr/>
              </a:pPr>
              <a:r>
                <a:rPr kumimoji="0" lang="en-US" sz="1800" b="0" i="0" u="none" strike="noStrike" kern="1200" cap="none" spc="0" normalizeH="0" baseline="0" noProof="0">
                  <a:ln>
                    <a:noFill/>
                  </a:ln>
                  <a:solidFill>
                    <a:prstClr val="black"/>
                  </a:solidFill>
                  <a:effectLst/>
                  <a:uLnTx/>
                  <a:uFillTx/>
                  <a:latin typeface="Montserrat Light"/>
                  <a:ea typeface="Calibri" panose="020F0502020204030204"/>
                  <a:cs typeface="Calibri" panose="020F0502020204030204"/>
                  <a:sym typeface="Arial"/>
                </a:rPr>
                <a:t>Risk Assessment </a:t>
              </a:r>
              <a:endParaRPr kumimoji="0" lang="en-US" sz="1800" b="0" i="0" u="none" strike="noStrike" kern="1200" cap="none" spc="0" normalizeH="0" baseline="0" noProof="0">
                <a:ln>
                  <a:noFill/>
                </a:ln>
                <a:solidFill>
                  <a:prstClr val="black"/>
                </a:solidFill>
                <a:effectLst/>
                <a:uLnTx/>
                <a:uFillTx/>
                <a:latin typeface="Montserrat Light"/>
                <a:ea typeface="+mn-ea"/>
                <a:cs typeface="Arial"/>
                <a:sym typeface="Arial"/>
              </a:endParaRPr>
            </a:p>
            <a:p>
              <a:pPr marL="0" marR="0" lvl="0" indent="0" algn="l" defTabSz="1371600" rtl="0" eaLnBrk="1" fontAlgn="auto" latinLnBrk="0" hangingPunct="1">
                <a:lnSpc>
                  <a:spcPct val="150000"/>
                </a:lnSpc>
                <a:spcBef>
                  <a:spcPts val="0"/>
                </a:spcBef>
                <a:spcAft>
                  <a:spcPts val="0"/>
                </a:spcAft>
                <a:buClrTx/>
                <a:buSzTx/>
                <a:buFont typeface="Arial"/>
                <a:buNone/>
                <a:tabLst/>
                <a:defRPr/>
              </a:pPr>
              <a:r>
                <a:rPr kumimoji="0" lang="en-US" sz="1800" b="0" i="0" u="none" strike="noStrike" kern="1200" cap="none" spc="0" normalizeH="0" baseline="0" noProof="0">
                  <a:ln>
                    <a:noFill/>
                  </a:ln>
                  <a:solidFill>
                    <a:prstClr val="black"/>
                  </a:solidFill>
                  <a:effectLst/>
                  <a:uLnTx/>
                  <a:uFillTx/>
                  <a:latin typeface="Montserrat Light"/>
                  <a:ea typeface="Calibri" panose="020F0502020204030204"/>
                  <a:cs typeface="Calibri" panose="020F0502020204030204"/>
                  <a:sym typeface="Arial"/>
                </a:rPr>
                <a:t>Insurance</a:t>
              </a:r>
              <a:endParaRPr kumimoji="0" lang="en-US" sz="1800" b="0" i="0" u="none" strike="noStrike" kern="1200" cap="none" spc="0" normalizeH="0" baseline="0" noProof="0">
                <a:ln>
                  <a:noFill/>
                </a:ln>
                <a:solidFill>
                  <a:prstClr val="black"/>
                </a:solidFill>
                <a:effectLst/>
                <a:uLnTx/>
                <a:uFillTx/>
                <a:latin typeface="Montserrat Light"/>
                <a:ea typeface="+mn-ea"/>
                <a:cs typeface="Arial"/>
                <a:sym typeface="Arial"/>
              </a:endParaRPr>
            </a:p>
            <a:p>
              <a:pPr marL="0" marR="0" lvl="0" indent="0" algn="l" defTabSz="1371600" rtl="0" eaLnBrk="1" fontAlgn="auto" latinLnBrk="0" hangingPunct="1">
                <a:lnSpc>
                  <a:spcPct val="150000"/>
                </a:lnSpc>
                <a:spcBef>
                  <a:spcPts val="0"/>
                </a:spcBef>
                <a:spcAft>
                  <a:spcPts val="0"/>
                </a:spcAft>
                <a:buClrTx/>
                <a:buSzTx/>
                <a:buFont typeface="Arial"/>
                <a:buNone/>
                <a:tabLst/>
                <a:defRPr/>
              </a:pPr>
              <a:r>
                <a:rPr kumimoji="0" lang="en-US" sz="1800" b="0" i="0" u="none" strike="noStrike" kern="1200" cap="none" spc="0" normalizeH="0" baseline="0" noProof="0">
                  <a:ln>
                    <a:noFill/>
                  </a:ln>
                  <a:solidFill>
                    <a:prstClr val="black"/>
                  </a:solidFill>
                  <a:effectLst/>
                  <a:uLnTx/>
                  <a:uFillTx/>
                  <a:latin typeface="Montserrat Light"/>
                  <a:ea typeface="Calibri" panose="020F0502020204030204"/>
                  <a:cs typeface="Calibri" panose="020F0502020204030204"/>
                  <a:sym typeface="Arial"/>
                </a:rPr>
                <a:t>Identification &amp; Compliance</a:t>
              </a:r>
              <a:endParaRPr kumimoji="0" lang="en-US" sz="1800" b="0" i="0" u="none" strike="noStrike" kern="1200" cap="none" spc="0" normalizeH="0" baseline="0" noProof="0">
                <a:ln>
                  <a:noFill/>
                </a:ln>
                <a:solidFill>
                  <a:prstClr val="black"/>
                </a:solidFill>
                <a:effectLst/>
                <a:uLnTx/>
                <a:uFillTx/>
                <a:latin typeface="Montserrat Light"/>
                <a:ea typeface="+mn-ea"/>
                <a:cs typeface="Arial"/>
                <a:sym typeface="Arial"/>
              </a:endParaRPr>
            </a:p>
            <a:p>
              <a:pPr marL="0" marR="0" lvl="0" indent="0" algn="l" defTabSz="1371600" rtl="0" eaLnBrk="1" fontAlgn="auto" latinLnBrk="0" hangingPunct="1">
                <a:lnSpc>
                  <a:spcPct val="150000"/>
                </a:lnSpc>
                <a:spcBef>
                  <a:spcPts val="0"/>
                </a:spcBef>
                <a:spcAft>
                  <a:spcPts val="0"/>
                </a:spcAft>
                <a:buClrTx/>
                <a:buSzTx/>
                <a:buFont typeface="Arial"/>
                <a:buNone/>
                <a:tabLst/>
                <a:defRPr/>
              </a:pPr>
              <a:r>
                <a:rPr kumimoji="0" lang="en-US" sz="1800" b="0" i="0" u="none" strike="noStrike" kern="1200" cap="none" spc="0" normalizeH="0" baseline="0" noProof="0">
                  <a:ln>
                    <a:noFill/>
                  </a:ln>
                  <a:solidFill>
                    <a:prstClr val="black"/>
                  </a:solidFill>
                  <a:effectLst/>
                  <a:uLnTx/>
                  <a:uFillTx/>
                  <a:latin typeface="Montserrat Light"/>
                  <a:ea typeface="Calibri" panose="020F0502020204030204"/>
                  <a:cs typeface="Calibri" panose="020F0502020204030204"/>
                  <a:sym typeface="Arial"/>
                </a:rPr>
                <a:t>Resource Management and Planning</a:t>
              </a:r>
              <a:endParaRPr kumimoji="0" lang="en-US" sz="1800" b="0" i="0" u="none" strike="noStrike" kern="1200" cap="none" spc="0" normalizeH="0" baseline="0" noProof="0">
                <a:ln>
                  <a:noFill/>
                </a:ln>
                <a:solidFill>
                  <a:prstClr val="black"/>
                </a:solidFill>
                <a:effectLst/>
                <a:uLnTx/>
                <a:uFillTx/>
                <a:latin typeface="Montserrat Light"/>
                <a:ea typeface="+mn-ea"/>
                <a:cs typeface="Arial"/>
                <a:sym typeface="Arial"/>
              </a:endParaRPr>
            </a:p>
            <a:p>
              <a:pPr marL="0" marR="0" lvl="0" indent="0" algn="l" defTabSz="1371600" rtl="0" eaLnBrk="1" fontAlgn="auto" latinLnBrk="0" hangingPunct="1">
                <a:lnSpc>
                  <a:spcPct val="150000"/>
                </a:lnSpc>
                <a:spcBef>
                  <a:spcPts val="0"/>
                </a:spcBef>
                <a:spcAft>
                  <a:spcPts val="0"/>
                </a:spcAft>
                <a:buClrTx/>
                <a:buSzTx/>
                <a:buFont typeface="Arial"/>
                <a:buNone/>
                <a:tabLst/>
                <a:defRPr/>
              </a:pPr>
              <a:r>
                <a:rPr kumimoji="0" lang="en-US" sz="1800" b="0" i="0" u="none" strike="noStrike" kern="1200" cap="none" spc="0" normalizeH="0" baseline="0" noProof="0">
                  <a:ln>
                    <a:noFill/>
                  </a:ln>
                  <a:solidFill>
                    <a:prstClr val="black"/>
                  </a:solidFill>
                  <a:effectLst/>
                  <a:uLnTx/>
                  <a:uFillTx/>
                  <a:latin typeface="Montserrat Light"/>
                  <a:ea typeface="Calibri" panose="020F0502020204030204"/>
                  <a:cs typeface="Calibri" panose="020F0502020204030204"/>
                  <a:sym typeface="Arial"/>
                </a:rPr>
                <a:t>Sales</a:t>
              </a:r>
              <a:endParaRPr kumimoji="0" lang="en-US" sz="1800" b="0" i="0" u="none" strike="noStrike" kern="1200" cap="none" spc="0" normalizeH="0" baseline="0" noProof="0">
                <a:ln>
                  <a:noFill/>
                </a:ln>
                <a:solidFill>
                  <a:prstClr val="black"/>
                </a:solidFill>
                <a:effectLst/>
                <a:uLnTx/>
                <a:uFillTx/>
                <a:latin typeface="Montserrat Light"/>
                <a:ea typeface="+mn-ea"/>
                <a:cs typeface="Arial"/>
                <a:sym typeface="Arial"/>
              </a:endParaRPr>
            </a:p>
            <a:p>
              <a:pPr marL="0" marR="0" lvl="0" indent="0" algn="l" defTabSz="1371600" rtl="0" eaLnBrk="1" fontAlgn="auto" latinLnBrk="0" hangingPunct="1">
                <a:lnSpc>
                  <a:spcPct val="150000"/>
                </a:lnSpc>
                <a:spcBef>
                  <a:spcPts val="0"/>
                </a:spcBef>
                <a:spcAft>
                  <a:spcPts val="0"/>
                </a:spcAft>
                <a:buClrTx/>
                <a:buSzTx/>
                <a:buFont typeface="Arial"/>
                <a:buNone/>
                <a:tabLst/>
                <a:defRPr/>
              </a:pPr>
              <a:r>
                <a:rPr kumimoji="0" lang="en-US" sz="1800" b="0" i="0" u="none" strike="noStrike" kern="1200" cap="none" spc="0" normalizeH="0" baseline="0" noProof="0">
                  <a:ln>
                    <a:noFill/>
                  </a:ln>
                  <a:solidFill>
                    <a:prstClr val="black"/>
                  </a:solidFill>
                  <a:effectLst/>
                  <a:uLnTx/>
                  <a:uFillTx/>
                  <a:latin typeface="Montserrat Light"/>
                  <a:ea typeface="Calibri" panose="020F0502020204030204"/>
                  <a:cs typeface="Calibri" panose="020F0502020204030204"/>
                  <a:sym typeface="Arial"/>
                </a:rPr>
                <a:t>Healthcare &amp; Compliance</a:t>
              </a:r>
            </a:p>
            <a:p>
              <a:pPr marL="0" marR="0" lvl="0" indent="0" algn="l" defTabSz="1371600" rtl="0" eaLnBrk="1" fontAlgn="auto" latinLnBrk="0" hangingPunct="1">
                <a:lnSpc>
                  <a:spcPct val="150000"/>
                </a:lnSpc>
                <a:spcBef>
                  <a:spcPts val="0"/>
                </a:spcBef>
                <a:spcAft>
                  <a:spcPts val="0"/>
                </a:spcAft>
                <a:buClrTx/>
                <a:buSzTx/>
                <a:buFont typeface="Arial"/>
                <a:buNone/>
                <a:tabLst/>
                <a:defRPr/>
              </a:pPr>
              <a:r>
                <a:rPr kumimoji="0" lang="en-US" sz="1800" b="0" i="0" u="none" strike="noStrike" kern="1200" cap="none" spc="0" normalizeH="0" baseline="0" noProof="0">
                  <a:ln>
                    <a:noFill/>
                  </a:ln>
                  <a:solidFill>
                    <a:prstClr val="black"/>
                  </a:solidFill>
                  <a:effectLst/>
                  <a:uLnTx/>
                  <a:uFillTx/>
                  <a:latin typeface="Montserrat Light"/>
                  <a:ea typeface="+mn-ea"/>
                  <a:cs typeface="Calibri"/>
                  <a:sym typeface="Arial"/>
                </a:rPr>
                <a:t>… and much more!</a:t>
              </a:r>
            </a:p>
          </p:txBody>
        </p:sp>
        <p:sp>
          <p:nvSpPr>
            <p:cNvPr id="56" name="CuadroTexto 48">
              <a:extLst>
                <a:ext uri="{FF2B5EF4-FFF2-40B4-BE49-F238E27FC236}">
                  <a16:creationId xmlns:a16="http://schemas.microsoft.com/office/drawing/2014/main" id="{60D353A0-24C6-D78D-0A5C-4E8BDE1BC54D}"/>
                </a:ext>
              </a:extLst>
            </p:cNvPr>
            <p:cNvSpPr txBox="1"/>
            <p:nvPr/>
          </p:nvSpPr>
          <p:spPr>
            <a:xfrm>
              <a:off x="13380576" y="2528612"/>
              <a:ext cx="3114444" cy="754053"/>
            </a:xfrm>
            <a:prstGeom prst="rect">
              <a:avLst/>
            </a:prstGeom>
            <a:noFill/>
          </p:spPr>
          <p:txBody>
            <a:bodyPr wrap="square" lIns="137160" tIns="68580" rIns="137160" bIns="68580" rtlCol="0" anchor="t">
              <a:spAutoFit/>
            </a:bodyPr>
            <a:lstStyle/>
            <a:p>
              <a:pPr marL="0" marR="0" lvl="0" indent="0" algn="l" defTabSz="1371600" rtl="0" eaLnBrk="1" fontAlgn="auto" latinLnBrk="0" hangingPunct="1">
                <a:lnSpc>
                  <a:spcPct val="100000"/>
                </a:lnSpc>
                <a:spcBef>
                  <a:spcPts val="0"/>
                </a:spcBef>
                <a:spcAft>
                  <a:spcPts val="0"/>
                </a:spcAft>
                <a:buClrTx/>
                <a:buSzTx/>
                <a:buFont typeface="Arial"/>
                <a:buNone/>
                <a:tabLst/>
                <a:defRPr/>
              </a:pPr>
              <a:r>
                <a:rPr kumimoji="0" lang="en-US" sz="2000" b="1" i="0" u="none" strike="noStrike" kern="1200" cap="none" spc="0" normalizeH="0" baseline="0" noProof="0">
                  <a:ln>
                    <a:noFill/>
                  </a:ln>
                  <a:solidFill>
                    <a:srgbClr val="6800FF"/>
                  </a:solidFill>
                  <a:effectLst/>
                  <a:uLnTx/>
                  <a:uFillTx/>
                  <a:latin typeface="Montserrat"/>
                  <a:ea typeface="+mn-ea"/>
                  <a:cs typeface="Arial"/>
                  <a:sym typeface="Arial"/>
                </a:rPr>
                <a:t>Reason “</a:t>
              </a:r>
              <a:r>
                <a:rPr kumimoji="0" lang="en-US" sz="2000" b="1" i="1" u="none" strike="noStrike" kern="1200" cap="none" spc="0" normalizeH="0" baseline="0" noProof="0">
                  <a:ln>
                    <a:noFill/>
                  </a:ln>
                  <a:solidFill>
                    <a:srgbClr val="6800FF"/>
                  </a:solidFill>
                  <a:effectLst/>
                  <a:uLnTx/>
                  <a:uFillTx/>
                  <a:latin typeface="Montserrat"/>
                  <a:ea typeface="+mn-ea"/>
                  <a:cs typeface="Arial"/>
                  <a:sym typeface="Arial"/>
                </a:rPr>
                <a:t>Marketplace”</a:t>
              </a:r>
              <a:endParaRPr kumimoji="0" lang="en-US" sz="2000" b="1" i="1" u="none" strike="noStrike" kern="1200" cap="none" spc="0" normalizeH="0" baseline="0" noProof="0">
                <a:ln>
                  <a:noFill/>
                </a:ln>
                <a:solidFill>
                  <a:srgbClr val="6800FF"/>
                </a:solidFill>
                <a:effectLst/>
                <a:uLnTx/>
                <a:uFillTx/>
                <a:latin typeface="Montserrat" panose="00000500000000000000" pitchFamily="2" charset="0"/>
                <a:ea typeface="+mn-ea"/>
                <a:cs typeface="Arial"/>
                <a:sym typeface="Arial"/>
              </a:endParaRPr>
            </a:p>
          </p:txBody>
        </p:sp>
        <p:cxnSp>
          <p:nvCxnSpPr>
            <p:cNvPr id="57" name="Conector de Seta Reta 29">
              <a:extLst>
                <a:ext uri="{FF2B5EF4-FFF2-40B4-BE49-F238E27FC236}">
                  <a16:creationId xmlns:a16="http://schemas.microsoft.com/office/drawing/2014/main" id="{3DD75EC7-FA2A-C31D-FBB3-73786C0933D2}"/>
                </a:ext>
              </a:extLst>
            </p:cNvPr>
            <p:cNvCxnSpPr>
              <a:cxnSpLocks/>
            </p:cNvCxnSpPr>
            <p:nvPr/>
          </p:nvCxnSpPr>
          <p:spPr>
            <a:xfrm>
              <a:off x="12731557" y="3650912"/>
              <a:ext cx="578837" cy="8189"/>
            </a:xfrm>
            <a:prstGeom prst="straightConnector1">
              <a:avLst/>
            </a:prstGeom>
            <a:ln w="6350">
              <a:solidFill>
                <a:srgbClr val="6800FF"/>
              </a:solidFill>
              <a:tailEnd type="triangle"/>
            </a:ln>
          </p:spPr>
          <p:style>
            <a:lnRef idx="1">
              <a:schemeClr val="accent1"/>
            </a:lnRef>
            <a:fillRef idx="0">
              <a:schemeClr val="accent1"/>
            </a:fillRef>
            <a:effectRef idx="0">
              <a:schemeClr val="accent1"/>
            </a:effectRef>
            <a:fontRef idx="minor">
              <a:schemeClr val="tx1"/>
            </a:fontRef>
          </p:style>
        </p:cxnSp>
        <p:cxnSp>
          <p:nvCxnSpPr>
            <p:cNvPr id="58" name="Conector de Seta Reta 35">
              <a:extLst>
                <a:ext uri="{FF2B5EF4-FFF2-40B4-BE49-F238E27FC236}">
                  <a16:creationId xmlns:a16="http://schemas.microsoft.com/office/drawing/2014/main" id="{F8A3F51D-0FAE-EC13-4FA7-2CAB356832B8}"/>
                </a:ext>
              </a:extLst>
            </p:cNvPr>
            <p:cNvCxnSpPr>
              <a:cxnSpLocks/>
            </p:cNvCxnSpPr>
            <p:nvPr/>
          </p:nvCxnSpPr>
          <p:spPr>
            <a:xfrm>
              <a:off x="12731557" y="4018933"/>
              <a:ext cx="578837" cy="8189"/>
            </a:xfrm>
            <a:prstGeom prst="straightConnector1">
              <a:avLst/>
            </a:prstGeom>
            <a:ln w="6350">
              <a:solidFill>
                <a:srgbClr val="6800FF"/>
              </a:solidFill>
              <a:tailEnd type="triangle"/>
            </a:ln>
          </p:spPr>
          <p:style>
            <a:lnRef idx="1">
              <a:schemeClr val="accent1"/>
            </a:lnRef>
            <a:fillRef idx="0">
              <a:schemeClr val="accent1"/>
            </a:fillRef>
            <a:effectRef idx="0">
              <a:schemeClr val="accent1"/>
            </a:effectRef>
            <a:fontRef idx="minor">
              <a:schemeClr val="tx1"/>
            </a:fontRef>
          </p:style>
        </p:cxnSp>
        <p:cxnSp>
          <p:nvCxnSpPr>
            <p:cNvPr id="59" name="Conector de Seta Reta 37">
              <a:extLst>
                <a:ext uri="{FF2B5EF4-FFF2-40B4-BE49-F238E27FC236}">
                  <a16:creationId xmlns:a16="http://schemas.microsoft.com/office/drawing/2014/main" id="{EF257211-4012-36C5-75A4-A50CB086FD1F}"/>
                </a:ext>
              </a:extLst>
            </p:cNvPr>
            <p:cNvCxnSpPr>
              <a:cxnSpLocks/>
            </p:cNvCxnSpPr>
            <p:nvPr/>
          </p:nvCxnSpPr>
          <p:spPr>
            <a:xfrm>
              <a:off x="12731557" y="4429295"/>
              <a:ext cx="578837" cy="8189"/>
            </a:xfrm>
            <a:prstGeom prst="straightConnector1">
              <a:avLst/>
            </a:prstGeom>
            <a:ln w="6350">
              <a:solidFill>
                <a:srgbClr val="6800FF"/>
              </a:solidFill>
              <a:tailEnd type="triangle"/>
            </a:ln>
          </p:spPr>
          <p:style>
            <a:lnRef idx="1">
              <a:schemeClr val="accent1"/>
            </a:lnRef>
            <a:fillRef idx="0">
              <a:schemeClr val="accent1"/>
            </a:fillRef>
            <a:effectRef idx="0">
              <a:schemeClr val="accent1"/>
            </a:effectRef>
            <a:fontRef idx="minor">
              <a:schemeClr val="tx1"/>
            </a:fontRef>
          </p:style>
        </p:cxnSp>
        <p:cxnSp>
          <p:nvCxnSpPr>
            <p:cNvPr id="60" name="Conector de Seta Reta 39">
              <a:extLst>
                <a:ext uri="{FF2B5EF4-FFF2-40B4-BE49-F238E27FC236}">
                  <a16:creationId xmlns:a16="http://schemas.microsoft.com/office/drawing/2014/main" id="{A3294FFD-3EE9-9F55-7194-CF0538B31642}"/>
                </a:ext>
              </a:extLst>
            </p:cNvPr>
            <p:cNvCxnSpPr>
              <a:cxnSpLocks/>
            </p:cNvCxnSpPr>
            <p:nvPr/>
          </p:nvCxnSpPr>
          <p:spPr>
            <a:xfrm>
              <a:off x="12731557" y="4850224"/>
              <a:ext cx="578837" cy="8189"/>
            </a:xfrm>
            <a:prstGeom prst="straightConnector1">
              <a:avLst/>
            </a:prstGeom>
            <a:ln w="6350">
              <a:solidFill>
                <a:srgbClr val="6800FF"/>
              </a:solidFill>
              <a:tailEnd type="triangle"/>
            </a:ln>
          </p:spPr>
          <p:style>
            <a:lnRef idx="1">
              <a:schemeClr val="accent1"/>
            </a:lnRef>
            <a:fillRef idx="0">
              <a:schemeClr val="accent1"/>
            </a:fillRef>
            <a:effectRef idx="0">
              <a:schemeClr val="accent1"/>
            </a:effectRef>
            <a:fontRef idx="minor">
              <a:schemeClr val="tx1"/>
            </a:fontRef>
          </p:style>
        </p:cxnSp>
        <p:cxnSp>
          <p:nvCxnSpPr>
            <p:cNvPr id="61" name="Conector de Seta Reta 41">
              <a:extLst>
                <a:ext uri="{FF2B5EF4-FFF2-40B4-BE49-F238E27FC236}">
                  <a16:creationId xmlns:a16="http://schemas.microsoft.com/office/drawing/2014/main" id="{27499905-7A43-C903-F9B5-82D262AB2AA4}"/>
                </a:ext>
              </a:extLst>
            </p:cNvPr>
            <p:cNvCxnSpPr>
              <a:cxnSpLocks/>
            </p:cNvCxnSpPr>
            <p:nvPr/>
          </p:nvCxnSpPr>
          <p:spPr>
            <a:xfrm>
              <a:off x="12731557" y="5260586"/>
              <a:ext cx="578837" cy="8189"/>
            </a:xfrm>
            <a:prstGeom prst="straightConnector1">
              <a:avLst/>
            </a:prstGeom>
            <a:ln w="6350">
              <a:solidFill>
                <a:srgbClr val="6800FF"/>
              </a:solidFill>
              <a:tailEnd type="triangle"/>
            </a:ln>
          </p:spPr>
          <p:style>
            <a:lnRef idx="1">
              <a:schemeClr val="accent1"/>
            </a:lnRef>
            <a:fillRef idx="0">
              <a:schemeClr val="accent1"/>
            </a:fillRef>
            <a:effectRef idx="0">
              <a:schemeClr val="accent1"/>
            </a:effectRef>
            <a:fontRef idx="minor">
              <a:schemeClr val="tx1"/>
            </a:fontRef>
          </p:style>
        </p:cxnSp>
        <p:cxnSp>
          <p:nvCxnSpPr>
            <p:cNvPr id="62" name="Conector de Seta Reta 43">
              <a:extLst>
                <a:ext uri="{FF2B5EF4-FFF2-40B4-BE49-F238E27FC236}">
                  <a16:creationId xmlns:a16="http://schemas.microsoft.com/office/drawing/2014/main" id="{BED1EFA3-EC38-1CAD-E565-0C9BEF7E54BA}"/>
                </a:ext>
              </a:extLst>
            </p:cNvPr>
            <p:cNvCxnSpPr>
              <a:cxnSpLocks/>
            </p:cNvCxnSpPr>
            <p:nvPr/>
          </p:nvCxnSpPr>
          <p:spPr>
            <a:xfrm>
              <a:off x="12731557" y="5681515"/>
              <a:ext cx="578837" cy="8189"/>
            </a:xfrm>
            <a:prstGeom prst="straightConnector1">
              <a:avLst/>
            </a:prstGeom>
            <a:ln w="6350">
              <a:solidFill>
                <a:srgbClr val="6800FF"/>
              </a:solidFill>
              <a:tailEnd type="triangle"/>
            </a:ln>
          </p:spPr>
          <p:style>
            <a:lnRef idx="1">
              <a:schemeClr val="accent1"/>
            </a:lnRef>
            <a:fillRef idx="0">
              <a:schemeClr val="accent1"/>
            </a:fillRef>
            <a:effectRef idx="0">
              <a:schemeClr val="accent1"/>
            </a:effectRef>
            <a:fontRef idx="minor">
              <a:schemeClr val="tx1"/>
            </a:fontRef>
          </p:style>
        </p:cxnSp>
        <p:cxnSp>
          <p:nvCxnSpPr>
            <p:cNvPr id="63" name="Conector de Seta Reta 44">
              <a:extLst>
                <a:ext uri="{FF2B5EF4-FFF2-40B4-BE49-F238E27FC236}">
                  <a16:creationId xmlns:a16="http://schemas.microsoft.com/office/drawing/2014/main" id="{54EB7505-624A-F8AE-D8A3-22784CE95EF5}"/>
                </a:ext>
              </a:extLst>
            </p:cNvPr>
            <p:cNvCxnSpPr>
              <a:cxnSpLocks/>
            </p:cNvCxnSpPr>
            <p:nvPr/>
          </p:nvCxnSpPr>
          <p:spPr>
            <a:xfrm>
              <a:off x="12731557" y="6091877"/>
              <a:ext cx="578837" cy="8189"/>
            </a:xfrm>
            <a:prstGeom prst="straightConnector1">
              <a:avLst/>
            </a:prstGeom>
            <a:ln w="6350">
              <a:solidFill>
                <a:srgbClr val="6800FF"/>
              </a:solidFill>
              <a:tailEnd type="triangle"/>
            </a:ln>
          </p:spPr>
          <p:style>
            <a:lnRef idx="1">
              <a:schemeClr val="accent1"/>
            </a:lnRef>
            <a:fillRef idx="0">
              <a:schemeClr val="accent1"/>
            </a:fillRef>
            <a:effectRef idx="0">
              <a:schemeClr val="accent1"/>
            </a:effectRef>
            <a:fontRef idx="minor">
              <a:schemeClr val="tx1"/>
            </a:fontRef>
          </p:style>
        </p:cxnSp>
        <p:cxnSp>
          <p:nvCxnSpPr>
            <p:cNvPr id="64" name="Conector de Seta Reta 45">
              <a:extLst>
                <a:ext uri="{FF2B5EF4-FFF2-40B4-BE49-F238E27FC236}">
                  <a16:creationId xmlns:a16="http://schemas.microsoft.com/office/drawing/2014/main" id="{426E6796-D39F-D5EE-23F9-BF6CDC009F47}"/>
                </a:ext>
              </a:extLst>
            </p:cNvPr>
            <p:cNvCxnSpPr>
              <a:cxnSpLocks/>
            </p:cNvCxnSpPr>
            <p:nvPr/>
          </p:nvCxnSpPr>
          <p:spPr>
            <a:xfrm>
              <a:off x="12731557" y="6512806"/>
              <a:ext cx="578837" cy="8189"/>
            </a:xfrm>
            <a:prstGeom prst="straightConnector1">
              <a:avLst/>
            </a:prstGeom>
            <a:ln w="6350">
              <a:solidFill>
                <a:srgbClr val="6800FF"/>
              </a:solidFill>
              <a:tailEnd type="triangle"/>
            </a:ln>
          </p:spPr>
          <p:style>
            <a:lnRef idx="1">
              <a:schemeClr val="accent1"/>
            </a:lnRef>
            <a:fillRef idx="0">
              <a:schemeClr val="accent1"/>
            </a:fillRef>
            <a:effectRef idx="0">
              <a:schemeClr val="accent1"/>
            </a:effectRef>
            <a:fontRef idx="minor">
              <a:schemeClr val="tx1"/>
            </a:fontRef>
          </p:style>
        </p:cxnSp>
        <p:cxnSp>
          <p:nvCxnSpPr>
            <p:cNvPr id="65" name="Conector de Seta Reta 46">
              <a:extLst>
                <a:ext uri="{FF2B5EF4-FFF2-40B4-BE49-F238E27FC236}">
                  <a16:creationId xmlns:a16="http://schemas.microsoft.com/office/drawing/2014/main" id="{A1CDDC50-FCA9-E8C8-7BD5-29B486B94F12}"/>
                </a:ext>
              </a:extLst>
            </p:cNvPr>
            <p:cNvCxnSpPr>
              <a:cxnSpLocks/>
            </p:cNvCxnSpPr>
            <p:nvPr/>
          </p:nvCxnSpPr>
          <p:spPr>
            <a:xfrm>
              <a:off x="12731557" y="6933734"/>
              <a:ext cx="578837" cy="8189"/>
            </a:xfrm>
            <a:prstGeom prst="straightConnector1">
              <a:avLst/>
            </a:prstGeom>
            <a:ln w="6350">
              <a:solidFill>
                <a:srgbClr val="6800FF"/>
              </a:solidFill>
              <a:tailEnd type="triangle"/>
            </a:ln>
          </p:spPr>
          <p:style>
            <a:lnRef idx="1">
              <a:schemeClr val="accent1"/>
            </a:lnRef>
            <a:fillRef idx="0">
              <a:schemeClr val="accent1"/>
            </a:fillRef>
            <a:effectRef idx="0">
              <a:schemeClr val="accent1"/>
            </a:effectRef>
            <a:fontRef idx="minor">
              <a:schemeClr val="tx1"/>
            </a:fontRef>
          </p:style>
        </p:cxnSp>
        <p:cxnSp>
          <p:nvCxnSpPr>
            <p:cNvPr id="66" name="Conector de Seta Reta 47">
              <a:extLst>
                <a:ext uri="{FF2B5EF4-FFF2-40B4-BE49-F238E27FC236}">
                  <a16:creationId xmlns:a16="http://schemas.microsoft.com/office/drawing/2014/main" id="{54A82EB7-C594-B5EB-6327-F47DED0BD505}"/>
                </a:ext>
              </a:extLst>
            </p:cNvPr>
            <p:cNvCxnSpPr>
              <a:cxnSpLocks/>
            </p:cNvCxnSpPr>
            <p:nvPr/>
          </p:nvCxnSpPr>
          <p:spPr>
            <a:xfrm>
              <a:off x="12731557" y="7344097"/>
              <a:ext cx="578837" cy="8189"/>
            </a:xfrm>
            <a:prstGeom prst="straightConnector1">
              <a:avLst/>
            </a:prstGeom>
            <a:ln w="6350">
              <a:solidFill>
                <a:srgbClr val="6800FF"/>
              </a:solidFill>
              <a:tailEnd type="triangle"/>
            </a:ln>
          </p:spPr>
          <p:style>
            <a:lnRef idx="1">
              <a:schemeClr val="accent1"/>
            </a:lnRef>
            <a:fillRef idx="0">
              <a:schemeClr val="accent1"/>
            </a:fillRef>
            <a:effectRef idx="0">
              <a:schemeClr val="accent1"/>
            </a:effectRef>
            <a:fontRef idx="minor">
              <a:schemeClr val="tx1"/>
            </a:fontRef>
          </p:style>
        </p:cxnSp>
        <p:sp>
          <p:nvSpPr>
            <p:cNvPr id="77" name="Seta: Divisa 23">
              <a:extLst>
                <a:ext uri="{FF2B5EF4-FFF2-40B4-BE49-F238E27FC236}">
                  <a16:creationId xmlns:a16="http://schemas.microsoft.com/office/drawing/2014/main" id="{DBDAECEE-2745-2E0E-93E8-716E8A9A2CEF}"/>
                </a:ext>
              </a:extLst>
            </p:cNvPr>
            <p:cNvSpPr/>
            <p:nvPr/>
          </p:nvSpPr>
          <p:spPr>
            <a:xfrm>
              <a:off x="10712368" y="7648260"/>
              <a:ext cx="343398" cy="508783"/>
            </a:xfrm>
            <a:prstGeom prst="chevron">
              <a:avLst/>
            </a:prstGeom>
            <a:solidFill>
              <a:srgbClr val="6800FF"/>
            </a:solidFill>
            <a:ln w="12700" cap="flat" cmpd="sng" algn="ctr">
              <a:noFill/>
              <a:prstDash val="solid"/>
              <a:miter lim="800000"/>
            </a:ln>
            <a:effectLst/>
          </p:spPr>
          <p:txBody>
            <a:bodyPr rtlCol="0" anchor="ctr"/>
            <a:lstStyle/>
            <a:p>
              <a:pPr marL="0" marR="0" lvl="0" indent="0" algn="ctr" defTabSz="13716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84" name="Group 83">
              <a:extLst>
                <a:ext uri="{FF2B5EF4-FFF2-40B4-BE49-F238E27FC236}">
                  <a16:creationId xmlns:a16="http://schemas.microsoft.com/office/drawing/2014/main" id="{70E60505-7AAC-AF14-D407-94530ECD109F}"/>
                </a:ext>
              </a:extLst>
            </p:cNvPr>
            <p:cNvGrpSpPr/>
            <p:nvPr/>
          </p:nvGrpSpPr>
          <p:grpSpPr>
            <a:xfrm>
              <a:off x="11240225" y="7379439"/>
              <a:ext cx="1080000" cy="1080000"/>
              <a:chOff x="11060583" y="8068829"/>
              <a:chExt cx="1080000" cy="1080000"/>
            </a:xfrm>
          </p:grpSpPr>
          <p:sp>
            <p:nvSpPr>
              <p:cNvPr id="75" name="Retângulo: Cantos Arredondados 9">
                <a:extLst>
                  <a:ext uri="{FF2B5EF4-FFF2-40B4-BE49-F238E27FC236}">
                    <a16:creationId xmlns:a16="http://schemas.microsoft.com/office/drawing/2014/main" id="{9AFA75BD-EA51-6069-B144-821CC01C7239}"/>
                  </a:ext>
                </a:extLst>
              </p:cNvPr>
              <p:cNvSpPr/>
              <p:nvPr/>
            </p:nvSpPr>
            <p:spPr>
              <a:xfrm>
                <a:off x="11060583" y="8068829"/>
                <a:ext cx="1080000" cy="1080000"/>
              </a:xfrm>
              <a:prstGeom prst="roundRect">
                <a:avLst/>
              </a:prstGeom>
              <a:solidFill>
                <a:sysClr val="window" lastClr="FFFFFF"/>
              </a:solidFill>
              <a:ln w="28575" cap="flat" cmpd="sng" algn="ctr">
                <a:solidFill>
                  <a:srgbClr val="6800FF"/>
                </a:solidFill>
                <a:prstDash val="solid"/>
                <a:miter lim="800000"/>
              </a:ln>
              <a:effectLst/>
            </p:spPr>
            <p:txBody>
              <a:bodyPr lIns="137160" tIns="68580" rIns="137160" bIns="68580" rtlCol="0" anchor="ctr"/>
              <a:lstStyle/>
              <a:p>
                <a:pPr marL="0" marR="0" lvl="0" indent="0" algn="ctr" defTabSz="137160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a:ln>
                      <a:noFill/>
                    </a:ln>
                    <a:solidFill>
                      <a:prstClr val="white"/>
                    </a:solidFill>
                    <a:effectLst/>
                    <a:uLnTx/>
                    <a:uFillTx/>
                    <a:latin typeface="Calibri" panose="020F0502020204030204"/>
                    <a:ea typeface="Calibri"/>
                    <a:cs typeface="Calibri"/>
                  </a:rPr>
                  <a:t>14</a:t>
                </a:r>
                <a:endParaRPr kumimoji="0" lang="en-US" sz="27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8" name="Gráfico 4" descr="Inteligência artificial estrutura de tópicos">
                <a:extLst>
                  <a:ext uri="{FF2B5EF4-FFF2-40B4-BE49-F238E27FC236}">
                    <a16:creationId xmlns:a16="http://schemas.microsoft.com/office/drawing/2014/main" id="{3D458CBD-6AFD-651C-F6AF-00C1A2474B5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150583" y="8158829"/>
                <a:ext cx="900000" cy="900000"/>
              </a:xfrm>
              <a:prstGeom prst="rect">
                <a:avLst/>
              </a:prstGeom>
            </p:spPr>
          </p:pic>
        </p:grpSp>
        <p:grpSp>
          <p:nvGrpSpPr>
            <p:cNvPr id="83" name="Group 82">
              <a:extLst>
                <a:ext uri="{FF2B5EF4-FFF2-40B4-BE49-F238E27FC236}">
                  <a16:creationId xmlns:a16="http://schemas.microsoft.com/office/drawing/2014/main" id="{737829AA-FF7F-9E8F-1488-F4B436D2D6EF}"/>
                </a:ext>
              </a:extLst>
            </p:cNvPr>
            <p:cNvGrpSpPr/>
            <p:nvPr/>
          </p:nvGrpSpPr>
          <p:grpSpPr>
            <a:xfrm>
              <a:off x="9447909" y="7379439"/>
              <a:ext cx="1080000" cy="1080000"/>
              <a:chOff x="9447909" y="8068829"/>
              <a:chExt cx="1080000" cy="1080000"/>
            </a:xfrm>
          </p:grpSpPr>
          <p:sp>
            <p:nvSpPr>
              <p:cNvPr id="76" name="Retângulo: Cantos Arredondados 2">
                <a:extLst>
                  <a:ext uri="{FF2B5EF4-FFF2-40B4-BE49-F238E27FC236}">
                    <a16:creationId xmlns:a16="http://schemas.microsoft.com/office/drawing/2014/main" id="{8F790565-1EBE-7646-EE8B-87752135491C}"/>
                  </a:ext>
                </a:extLst>
              </p:cNvPr>
              <p:cNvSpPr/>
              <p:nvPr/>
            </p:nvSpPr>
            <p:spPr>
              <a:xfrm>
                <a:off x="9447909" y="8068829"/>
                <a:ext cx="1080000" cy="1080000"/>
              </a:xfrm>
              <a:prstGeom prst="roundRect">
                <a:avLst/>
              </a:prstGeom>
              <a:solidFill>
                <a:srgbClr val="6800FF"/>
              </a:solidFill>
              <a:ln w="12700" cap="flat" cmpd="sng" algn="ctr">
                <a:noFill/>
                <a:prstDash val="solid"/>
                <a:miter lim="800000"/>
              </a:ln>
              <a:effectLst/>
            </p:spPr>
            <p:txBody>
              <a:bodyPr rtlCol="0" anchor="ctr"/>
              <a:lstStyle/>
              <a:p>
                <a:pPr marL="0" marR="0" lvl="0" indent="0" algn="ctr" defTabSz="13716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9" name="Gráfico 10" descr="Cerebro en la cabeza contorno">
                <a:extLst>
                  <a:ext uri="{FF2B5EF4-FFF2-40B4-BE49-F238E27FC236}">
                    <a16:creationId xmlns:a16="http://schemas.microsoft.com/office/drawing/2014/main" id="{CA807BEE-57B2-3FC9-459F-7126B4509BC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537909" y="8158829"/>
                <a:ext cx="900000" cy="900000"/>
              </a:xfrm>
              <a:prstGeom prst="rect">
                <a:avLst/>
              </a:prstGeom>
            </p:spPr>
          </p:pic>
        </p:grpSp>
        <p:sp>
          <p:nvSpPr>
            <p:cNvPr id="80" name="CuadroTexto 42">
              <a:extLst>
                <a:ext uri="{FF2B5EF4-FFF2-40B4-BE49-F238E27FC236}">
                  <a16:creationId xmlns:a16="http://schemas.microsoft.com/office/drawing/2014/main" id="{0AA37BB9-7241-C99E-4AB5-2137398126DC}"/>
                </a:ext>
              </a:extLst>
            </p:cNvPr>
            <p:cNvSpPr txBox="1"/>
            <p:nvPr/>
          </p:nvSpPr>
          <p:spPr>
            <a:xfrm>
              <a:off x="9479718" y="8388059"/>
              <a:ext cx="2872315" cy="692498"/>
            </a:xfrm>
            <a:prstGeom prst="rect">
              <a:avLst/>
            </a:prstGeom>
            <a:noFill/>
            <a:ln>
              <a:noFill/>
            </a:ln>
          </p:spPr>
          <p:txBody>
            <a:bodyPr wrap="square" lIns="137160" tIns="68580" rIns="137160" bIns="68580" rtlCol="0" anchor="t">
              <a:spAutoFit/>
            </a:bodyPr>
            <a:lstStyle/>
            <a:p>
              <a:pPr algn="ctr" defTabSz="1371600">
                <a:buClrTx/>
                <a:defRPr/>
              </a:pPr>
              <a:r>
                <a:rPr lang="en-US" sz="1800" b="1" kern="1200" noProof="0">
                  <a:solidFill>
                    <a:srgbClr val="6816FF"/>
                  </a:solidFill>
                  <a:latin typeface="Montserrat"/>
                  <a:ea typeface="+mn-ea"/>
                </a:rPr>
                <a:t>Human</a:t>
              </a:r>
              <a:endParaRPr lang="en-US" sz="2700" kern="1200" noProof="0">
                <a:solidFill>
                  <a:srgbClr val="6816FF"/>
                </a:solidFill>
                <a:latin typeface="Calibri" panose="020F0502020204030204"/>
                <a:ea typeface="+mn-ea"/>
              </a:endParaRPr>
            </a:p>
            <a:p>
              <a:pPr algn="ctr" defTabSz="1371600">
                <a:buClrTx/>
                <a:defRPr/>
              </a:pPr>
              <a:r>
                <a:rPr lang="en-US" sz="1800" b="1" kern="1200" noProof="0">
                  <a:solidFill>
                    <a:srgbClr val="6816FF"/>
                  </a:solidFill>
                  <a:latin typeface="Montserrat"/>
                  <a:ea typeface="+mn-ea"/>
                </a:rPr>
                <a:t>Digital Twin</a:t>
              </a:r>
              <a:endParaRPr lang="en-US" sz="2700" kern="1200" noProof="0">
                <a:solidFill>
                  <a:srgbClr val="6816FF"/>
                </a:solidFill>
                <a:latin typeface="Calibri" panose="020F0502020204030204"/>
                <a:ea typeface="+mn-ea"/>
              </a:endParaRPr>
            </a:p>
          </p:txBody>
        </p:sp>
        <p:cxnSp>
          <p:nvCxnSpPr>
            <p:cNvPr id="85" name="Conector de Seta Reta 47">
              <a:extLst>
                <a:ext uri="{FF2B5EF4-FFF2-40B4-BE49-F238E27FC236}">
                  <a16:creationId xmlns:a16="http://schemas.microsoft.com/office/drawing/2014/main" id="{B21EEE89-4931-1DF4-53F2-25FA6FB16E9F}"/>
                </a:ext>
              </a:extLst>
            </p:cNvPr>
            <p:cNvCxnSpPr>
              <a:cxnSpLocks/>
            </p:cNvCxnSpPr>
            <p:nvPr/>
          </p:nvCxnSpPr>
          <p:spPr>
            <a:xfrm>
              <a:off x="12731557" y="7770818"/>
              <a:ext cx="578837" cy="8189"/>
            </a:xfrm>
            <a:prstGeom prst="straightConnector1">
              <a:avLst/>
            </a:prstGeom>
            <a:ln w="6350">
              <a:solidFill>
                <a:srgbClr val="6800FF"/>
              </a:solidFill>
              <a:tailEnd type="triangle"/>
            </a:ln>
          </p:spPr>
          <p:style>
            <a:lnRef idx="1">
              <a:schemeClr val="accent1"/>
            </a:lnRef>
            <a:fillRef idx="0">
              <a:schemeClr val="accent1"/>
            </a:fillRef>
            <a:effectRef idx="0">
              <a:schemeClr val="accent1"/>
            </a:effectRef>
            <a:fontRef idx="minor">
              <a:schemeClr val="tx1"/>
            </a:fontRef>
          </p:style>
        </p:cxnSp>
        <p:cxnSp>
          <p:nvCxnSpPr>
            <p:cNvPr id="86" name="Conector de Seta Reta 47">
              <a:extLst>
                <a:ext uri="{FF2B5EF4-FFF2-40B4-BE49-F238E27FC236}">
                  <a16:creationId xmlns:a16="http://schemas.microsoft.com/office/drawing/2014/main" id="{8C442FFE-AC4F-267B-1FCC-3E29E24635E3}"/>
                </a:ext>
              </a:extLst>
            </p:cNvPr>
            <p:cNvCxnSpPr>
              <a:cxnSpLocks/>
            </p:cNvCxnSpPr>
            <p:nvPr/>
          </p:nvCxnSpPr>
          <p:spPr>
            <a:xfrm>
              <a:off x="12731557" y="8180911"/>
              <a:ext cx="578837" cy="8189"/>
            </a:xfrm>
            <a:prstGeom prst="straightConnector1">
              <a:avLst/>
            </a:prstGeom>
            <a:ln w="6350">
              <a:solidFill>
                <a:srgbClr val="6800FF"/>
              </a:solidFill>
              <a:tailEnd type="triangle"/>
            </a:ln>
          </p:spPr>
          <p:style>
            <a:lnRef idx="1">
              <a:schemeClr val="accent1"/>
            </a:lnRef>
            <a:fillRef idx="0">
              <a:schemeClr val="accent1"/>
            </a:fillRef>
            <a:effectRef idx="0">
              <a:schemeClr val="accent1"/>
            </a:effectRef>
            <a:fontRef idx="minor">
              <a:schemeClr val="tx1"/>
            </a:fontRef>
          </p:style>
        </p:cxnSp>
      </p:grpSp>
      <p:grpSp>
        <p:nvGrpSpPr>
          <p:cNvPr id="6" name="Group 7">
            <a:extLst>
              <a:ext uri="{FF2B5EF4-FFF2-40B4-BE49-F238E27FC236}">
                <a16:creationId xmlns:a16="http://schemas.microsoft.com/office/drawing/2014/main" id="{D7094D55-A5D6-08B7-7F72-8666D532671F}"/>
              </a:ext>
            </a:extLst>
          </p:cNvPr>
          <p:cNvGrpSpPr/>
          <p:nvPr/>
        </p:nvGrpSpPr>
        <p:grpSpPr>
          <a:xfrm>
            <a:off x="11225345" y="1249522"/>
            <a:ext cx="612363" cy="56823"/>
            <a:chOff x="0" y="0"/>
            <a:chExt cx="1078484" cy="100076"/>
          </a:xfrm>
        </p:grpSpPr>
        <p:sp>
          <p:nvSpPr>
            <p:cNvPr id="5" name="Freeform 8">
              <a:extLst>
                <a:ext uri="{FF2B5EF4-FFF2-40B4-BE49-F238E27FC236}">
                  <a16:creationId xmlns:a16="http://schemas.microsoft.com/office/drawing/2014/main" id="{BD587B11-B1B9-08F6-C940-3254B85EEBEE}"/>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spTree>
    <p:extLst>
      <p:ext uri="{BB962C8B-B14F-4D97-AF65-F5344CB8AC3E}">
        <p14:creationId xmlns:p14="http://schemas.microsoft.com/office/powerpoint/2010/main" val="3495743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3414">
          <a:extLst>
            <a:ext uri="{FF2B5EF4-FFF2-40B4-BE49-F238E27FC236}">
              <a16:creationId xmlns:a16="http://schemas.microsoft.com/office/drawing/2014/main" id="{63C639F0-CA37-BCD6-0009-4A32500BD534}"/>
            </a:ext>
          </a:extLst>
        </p:cNvPr>
        <p:cNvGrpSpPr/>
        <p:nvPr/>
      </p:nvGrpSpPr>
      <p:grpSpPr>
        <a:xfrm>
          <a:off x="0" y="0"/>
          <a:ext cx="0" cy="0"/>
          <a:chOff x="0" y="0"/>
          <a:chExt cx="0" cy="0"/>
        </a:xfrm>
      </p:grpSpPr>
      <p:sp>
        <p:nvSpPr>
          <p:cNvPr id="13415" name="Google Shape;13415;p173">
            <a:extLst>
              <a:ext uri="{FF2B5EF4-FFF2-40B4-BE49-F238E27FC236}">
                <a16:creationId xmlns:a16="http://schemas.microsoft.com/office/drawing/2014/main" id="{5C3C1CAB-C24F-C2B9-EB2E-AD28498A52FF}"/>
              </a:ext>
            </a:extLst>
          </p:cNvPr>
          <p:cNvSpPr txBox="1">
            <a:spLocks noGrp="1"/>
          </p:cNvSpPr>
          <p:nvPr>
            <p:ph type="title" idx="4294967295"/>
          </p:nvPr>
        </p:nvSpPr>
        <p:spPr>
          <a:xfrm>
            <a:off x="1080600" y="596874"/>
            <a:ext cx="14555640" cy="1145400"/>
          </a:xfrm>
          <a:prstGeom prst="rect">
            <a:avLst/>
          </a:prstGeom>
        </p:spPr>
        <p:txBody>
          <a:bodyPr spcFirstLastPara="1" vert="horz" wrap="square" lIns="0" tIns="0" rIns="0" bIns="0" rtlCol="0" anchor="t" anchorCtr="0">
            <a:noAutofit/>
          </a:bodyPr>
          <a:lstStyle/>
          <a:p>
            <a:r>
              <a:rPr lang="en-US" sz="3600">
                <a:solidFill>
                  <a:schemeClr val="bg1"/>
                </a:solidFill>
              </a:rPr>
              <a:t>Applying Reason from prediction to reasoning:</a:t>
            </a:r>
            <a:br>
              <a:rPr lang="en-US" sz="3600">
                <a:solidFill>
                  <a:schemeClr val="bg1"/>
                </a:solidFill>
              </a:rPr>
            </a:br>
            <a:r>
              <a:rPr lang="en-US" sz="3600">
                <a:solidFill>
                  <a:srgbClr val="6816FF"/>
                </a:solidFill>
              </a:rPr>
              <a:t>How it works</a:t>
            </a:r>
            <a:endParaRPr lang="en-US" sz="3600" b="1" noProof="0">
              <a:solidFill>
                <a:srgbClr val="6816FF"/>
              </a:solidFill>
              <a:latin typeface="Montserrat"/>
            </a:endParaRPr>
          </a:p>
        </p:txBody>
      </p:sp>
      <p:grpSp>
        <p:nvGrpSpPr>
          <p:cNvPr id="16" name="Agrupar 15">
            <a:extLst>
              <a:ext uri="{FF2B5EF4-FFF2-40B4-BE49-F238E27FC236}">
                <a16:creationId xmlns:a16="http://schemas.microsoft.com/office/drawing/2014/main" id="{9AA3A8EC-CB87-A2CD-20DA-439E0C7AA24E}"/>
              </a:ext>
            </a:extLst>
          </p:cNvPr>
          <p:cNvGrpSpPr/>
          <p:nvPr/>
        </p:nvGrpSpPr>
        <p:grpSpPr>
          <a:xfrm>
            <a:off x="612056" y="1473259"/>
            <a:ext cx="17047200" cy="7835853"/>
            <a:chOff x="627713" y="1739437"/>
            <a:chExt cx="17047200" cy="7835853"/>
          </a:xfrm>
        </p:grpSpPr>
        <p:sp>
          <p:nvSpPr>
            <p:cNvPr id="13419" name="Google Shape;13419;p173">
              <a:extLst>
                <a:ext uri="{FF2B5EF4-FFF2-40B4-BE49-F238E27FC236}">
                  <a16:creationId xmlns:a16="http://schemas.microsoft.com/office/drawing/2014/main" id="{A83037E3-1023-3F69-D533-E14AEECD5C17}"/>
                </a:ext>
              </a:extLst>
            </p:cNvPr>
            <p:cNvSpPr txBox="1"/>
            <p:nvPr/>
          </p:nvSpPr>
          <p:spPr>
            <a:xfrm>
              <a:off x="630926" y="6784364"/>
              <a:ext cx="4552437" cy="738664"/>
            </a:xfrm>
            <a:prstGeom prst="rect">
              <a:avLst/>
            </a:prstGeom>
            <a:noFill/>
            <a:ln>
              <a:noFill/>
            </a:ln>
          </p:spPr>
          <p:txBody>
            <a:bodyPr spcFirstLastPara="1" wrap="square" lIns="0" tIns="0" rIns="0" bIns="0" anchor="t" anchorCtr="0">
              <a:spAutoFit/>
            </a:bodyPr>
            <a:lstStyle/>
            <a:p>
              <a:pPr marL="76200" defTabSz="1371600">
                <a:buClr>
                  <a:srgbClr val="2E1745"/>
                </a:buClr>
                <a:buSzPct val="100000"/>
                <a:defRPr/>
              </a:pPr>
              <a:r>
                <a:rPr lang="en-US" sz="1200" kern="1200" noProof="0">
                  <a:solidFill>
                    <a:srgbClr val="2E1745"/>
                  </a:solidFill>
                  <a:latin typeface="Montserrat"/>
                  <a:ea typeface="Roboto Light"/>
                  <a:cs typeface="Roboto Light"/>
                  <a:sym typeface="Roboto Light"/>
                </a:rPr>
                <a:t>- </a:t>
              </a:r>
              <a:r>
                <a:rPr kumimoji="0" lang="en-US" sz="1200" b="0" i="0" u="none" strike="noStrike" kern="1200" cap="none" spc="0" normalizeH="0" baseline="0" noProof="0">
                  <a:ln>
                    <a:noFill/>
                  </a:ln>
                  <a:solidFill>
                    <a:srgbClr val="2E1745"/>
                  </a:solidFill>
                  <a:effectLst/>
                  <a:uLnTx/>
                  <a:uFillTx/>
                  <a:latin typeface="Montserrat"/>
                  <a:ea typeface="Roboto Light"/>
                  <a:cs typeface="Roboto Light"/>
                  <a:sym typeface="Roboto Light"/>
                </a:rPr>
                <a:t>Low trust</a:t>
              </a:r>
              <a:endParaRPr lang="en-US" sz="1200" b="0" i="0" u="none" strike="noStrike" kern="1200" cap="none" spc="0" normalizeH="0" baseline="0" noProof="0">
                <a:ln>
                  <a:noFill/>
                </a:ln>
                <a:solidFill>
                  <a:srgbClr val="2E1745"/>
                </a:solidFill>
                <a:effectLst/>
                <a:uLnTx/>
                <a:uFillTx/>
                <a:latin typeface="Montserrat"/>
                <a:ea typeface="Roboto Light"/>
                <a:cs typeface="Roboto Light"/>
              </a:endParaRPr>
            </a:p>
            <a:p>
              <a:pPr marL="76200" defTabSz="1371600">
                <a:buClr>
                  <a:srgbClr val="2E1745"/>
                </a:buClr>
                <a:buSzPct val="100000"/>
                <a:defRPr/>
              </a:pPr>
              <a:r>
                <a:rPr lang="en-US" sz="1200" kern="1200" noProof="0">
                  <a:solidFill>
                    <a:srgbClr val="2E1745"/>
                  </a:solidFill>
                  <a:latin typeface="Montserrat"/>
                  <a:ea typeface="Roboto Light"/>
                  <a:cs typeface="Roboto Light"/>
                  <a:sym typeface="Roboto Light"/>
                </a:rPr>
                <a:t>- </a:t>
              </a:r>
              <a:r>
                <a:rPr kumimoji="0" lang="en-US" sz="1200" b="0" i="0" u="none" strike="noStrike" kern="1200" cap="none" spc="0" normalizeH="0" baseline="0" noProof="0">
                  <a:ln>
                    <a:noFill/>
                  </a:ln>
                  <a:solidFill>
                    <a:srgbClr val="2E1745"/>
                  </a:solidFill>
                  <a:effectLst/>
                  <a:uLnTx/>
                  <a:uFillTx/>
                  <a:latin typeface="Montserrat"/>
                  <a:ea typeface="Roboto Light"/>
                  <a:cs typeface="Roboto Light"/>
                  <a:sym typeface="Roboto Light"/>
                </a:rPr>
                <a:t>High risk of hallucination</a:t>
              </a:r>
              <a:endParaRPr lang="en-US" sz="1200" b="0" i="0" u="none" strike="noStrike" kern="1200" cap="none" spc="0" normalizeH="0" baseline="0" noProof="0">
                <a:ln>
                  <a:noFill/>
                </a:ln>
                <a:solidFill>
                  <a:srgbClr val="2E1745"/>
                </a:solidFill>
                <a:effectLst/>
                <a:uLnTx/>
                <a:uFillTx/>
                <a:latin typeface="Montserrat" panose="00000500000000000000" pitchFamily="2" charset="0"/>
                <a:ea typeface="Roboto Light"/>
                <a:cs typeface="Roboto Light"/>
              </a:endParaRPr>
            </a:p>
            <a:p>
              <a:pPr marL="76200" defTabSz="1371600">
                <a:buClr>
                  <a:srgbClr val="2E1745"/>
                </a:buClr>
                <a:buSzPct val="100000"/>
                <a:defRPr/>
              </a:pPr>
              <a:r>
                <a:rPr lang="en-US" sz="1200" kern="1200" noProof="0">
                  <a:solidFill>
                    <a:srgbClr val="2E1745"/>
                  </a:solidFill>
                  <a:latin typeface="Montserrat"/>
                  <a:ea typeface="Roboto Light"/>
                  <a:cs typeface="Roboto Light"/>
                  <a:sym typeface="Roboto Light"/>
                </a:rPr>
                <a:t>- </a:t>
              </a:r>
              <a:r>
                <a:rPr kumimoji="0" lang="en-US" sz="1200" b="0" i="0" u="none" strike="noStrike" kern="1200" cap="none" spc="0" normalizeH="0" baseline="0" noProof="0">
                  <a:ln>
                    <a:noFill/>
                  </a:ln>
                  <a:solidFill>
                    <a:srgbClr val="2E1745"/>
                  </a:solidFill>
                  <a:effectLst/>
                  <a:uLnTx/>
                  <a:uFillTx/>
                  <a:latin typeface="Montserrat"/>
                  <a:ea typeface="Roboto Light"/>
                  <a:cs typeface="Roboto Light"/>
                  <a:sym typeface="Roboto Light"/>
                </a:rPr>
                <a:t>No understanding of knowledge used</a:t>
              </a:r>
              <a:endParaRPr lang="en-US" sz="1200" b="0" i="0" u="none" strike="noStrike" kern="1200" cap="none" spc="0" normalizeH="0" baseline="0" noProof="0">
                <a:ln>
                  <a:noFill/>
                </a:ln>
                <a:solidFill>
                  <a:srgbClr val="2E1745"/>
                </a:solidFill>
                <a:effectLst/>
                <a:uLnTx/>
                <a:uFillTx/>
                <a:latin typeface="Montserrat" panose="00000500000000000000" pitchFamily="2" charset="0"/>
                <a:ea typeface="Roboto Light"/>
                <a:cs typeface="Roboto Light"/>
              </a:endParaRPr>
            </a:p>
            <a:p>
              <a:pPr marL="76200" defTabSz="1371600">
                <a:buClr>
                  <a:srgbClr val="2E1745"/>
                </a:buClr>
                <a:buSzPct val="100000"/>
                <a:defRPr/>
              </a:pPr>
              <a:r>
                <a:rPr lang="en-US" sz="1200" kern="1200" noProof="0">
                  <a:solidFill>
                    <a:srgbClr val="2E1745"/>
                  </a:solidFill>
                  <a:latin typeface="Montserrat"/>
                  <a:ea typeface="Roboto Light"/>
                  <a:cs typeface="Roboto Light"/>
                  <a:sym typeface="Roboto Light"/>
                </a:rPr>
                <a:t>- </a:t>
              </a:r>
              <a:r>
                <a:rPr kumimoji="0" lang="en-US" sz="1200" b="0" i="0" u="none" strike="noStrike" kern="1200" cap="none" spc="0" normalizeH="0" baseline="0" noProof="0">
                  <a:ln>
                    <a:noFill/>
                  </a:ln>
                  <a:solidFill>
                    <a:srgbClr val="2E1745"/>
                  </a:solidFill>
                  <a:effectLst/>
                  <a:uLnTx/>
                  <a:uFillTx/>
                  <a:latin typeface="Montserrat"/>
                  <a:ea typeface="Roboto Light"/>
                  <a:cs typeface="Roboto Light"/>
                  <a:sym typeface="Roboto Light"/>
                </a:rPr>
                <a:t>No logical explanation</a:t>
              </a:r>
              <a:endParaRPr lang="en-US" sz="1200" b="0" i="0" u="none" strike="noStrike" kern="1200" cap="none" spc="0" normalizeH="0" baseline="0" noProof="0">
                <a:ln>
                  <a:noFill/>
                </a:ln>
                <a:solidFill>
                  <a:srgbClr val="2E1745"/>
                </a:solidFill>
                <a:effectLst/>
                <a:uLnTx/>
                <a:uFillTx/>
                <a:latin typeface="Montserrat"/>
                <a:ea typeface="Roboto Light"/>
                <a:cs typeface="Roboto Light"/>
              </a:endParaRPr>
            </a:p>
          </p:txBody>
        </p:sp>
        <p:sp>
          <p:nvSpPr>
            <p:cNvPr id="13422" name="Google Shape;13422;p173">
              <a:extLst>
                <a:ext uri="{FF2B5EF4-FFF2-40B4-BE49-F238E27FC236}">
                  <a16:creationId xmlns:a16="http://schemas.microsoft.com/office/drawing/2014/main" id="{9C347B9B-0421-A0D9-A79F-297AA72D0E86}"/>
                </a:ext>
              </a:extLst>
            </p:cNvPr>
            <p:cNvSpPr txBox="1"/>
            <p:nvPr/>
          </p:nvSpPr>
          <p:spPr>
            <a:xfrm>
              <a:off x="628070" y="2535790"/>
              <a:ext cx="4683375" cy="846365"/>
            </a:xfrm>
            <a:prstGeom prst="rect">
              <a:avLst/>
            </a:prstGeom>
            <a:noFill/>
            <a:ln>
              <a:noFill/>
            </a:ln>
          </p:spPr>
          <p:txBody>
            <a:bodyPr spcFirstLastPara="1" wrap="square" lIns="68570" tIns="68570" rIns="68570" bIns="68570" anchor="t" anchorCtr="0">
              <a:spAutoFit/>
            </a:bodyPr>
            <a:lstStyle/>
            <a:p>
              <a:pPr marL="0" marR="0" lvl="0" indent="0" algn="l" defTabSz="1371600" rtl="0" eaLnBrk="1" fontAlgn="auto" latinLnBrk="0" hangingPunct="1">
                <a:lnSpc>
                  <a:spcPct val="100000"/>
                </a:lnSpc>
                <a:spcBef>
                  <a:spcPts val="0"/>
                </a:spcBef>
                <a:spcAft>
                  <a:spcPts val="1200"/>
                </a:spcAft>
                <a:buClrTx/>
                <a:buSzTx/>
                <a:buFont typeface="Arial"/>
                <a:buNone/>
                <a:tabLst/>
                <a:defRPr/>
              </a:pPr>
              <a:r>
                <a:rPr kumimoji="0" lang="en-US" sz="1800" b="1" i="0" u="none" strike="noStrike" kern="1200" cap="none" spc="0" normalizeH="0" baseline="0" noProof="0">
                  <a:ln>
                    <a:noFill/>
                  </a:ln>
                  <a:solidFill>
                    <a:srgbClr val="2E1745"/>
                  </a:solidFill>
                  <a:effectLst/>
                  <a:uLnTx/>
                  <a:uFillTx/>
                  <a:latin typeface="Montserrat" panose="00000500000000000000" pitchFamily="2" charset="0"/>
                  <a:ea typeface="Roboto"/>
                  <a:cs typeface="Roboto"/>
                  <a:sym typeface="Roboto"/>
                </a:rPr>
                <a:t>LLMs make word predictions that </a:t>
              </a:r>
              <a:r>
                <a:rPr kumimoji="0" lang="en-US" sz="1800" b="1" i="0" u="none" strike="noStrike" kern="1200" cap="none" spc="0" normalizeH="0" baseline="0" noProof="0">
                  <a:ln>
                    <a:noFill/>
                  </a:ln>
                  <a:solidFill>
                    <a:srgbClr val="6800FF"/>
                  </a:solidFill>
                  <a:effectLst/>
                  <a:uLnTx/>
                  <a:uFillTx/>
                  <a:latin typeface="Montserrat" panose="00000500000000000000" pitchFamily="2" charset="0"/>
                  <a:ea typeface="Roboto"/>
                  <a:cs typeface="Roboto"/>
                  <a:sym typeface="Roboto"/>
                </a:rPr>
                <a:t>cannot easily be trusted</a:t>
              </a:r>
              <a:endParaRPr kumimoji="0" lang="en-US" sz="1800" b="1" i="0" u="none" strike="noStrike" kern="1200" cap="none" spc="0" normalizeH="0" baseline="0" noProof="0">
                <a:ln>
                  <a:noFill/>
                </a:ln>
                <a:solidFill>
                  <a:prstClr val="black"/>
                </a:solidFill>
                <a:effectLst/>
                <a:uLnTx/>
                <a:uFillTx/>
                <a:latin typeface="Montserrat" panose="00000500000000000000" pitchFamily="2" charset="0"/>
                <a:ea typeface="+mn-ea"/>
                <a:cs typeface="Arial"/>
                <a:sym typeface="Arial"/>
              </a:endParaRPr>
            </a:p>
          </p:txBody>
        </p:sp>
        <p:cxnSp>
          <p:nvCxnSpPr>
            <p:cNvPr id="13431" name="Google Shape;13431;p173">
              <a:extLst>
                <a:ext uri="{FF2B5EF4-FFF2-40B4-BE49-F238E27FC236}">
                  <a16:creationId xmlns:a16="http://schemas.microsoft.com/office/drawing/2014/main" id="{2A12F57E-C92F-EB36-9A1F-4D68E7CFD715}"/>
                </a:ext>
              </a:extLst>
            </p:cNvPr>
            <p:cNvCxnSpPr>
              <a:cxnSpLocks/>
            </p:cNvCxnSpPr>
            <p:nvPr/>
          </p:nvCxnSpPr>
          <p:spPr>
            <a:xfrm>
              <a:off x="11140268" y="2455455"/>
              <a:ext cx="9369" cy="7119835"/>
            </a:xfrm>
            <a:prstGeom prst="straightConnector1">
              <a:avLst/>
            </a:prstGeom>
            <a:noFill/>
            <a:ln w="28575" cap="flat" cmpd="sng">
              <a:solidFill>
                <a:srgbClr val="6800FF"/>
              </a:solidFill>
              <a:prstDash val="dash"/>
              <a:round/>
              <a:headEnd type="none" w="med" len="med"/>
              <a:tailEnd type="none" w="med" len="med"/>
            </a:ln>
          </p:spPr>
        </p:cxnSp>
        <p:sp>
          <p:nvSpPr>
            <p:cNvPr id="13433" name="Google Shape;13433;p173">
              <a:extLst>
                <a:ext uri="{FF2B5EF4-FFF2-40B4-BE49-F238E27FC236}">
                  <a16:creationId xmlns:a16="http://schemas.microsoft.com/office/drawing/2014/main" id="{BB7C2491-8742-795A-CCB6-84A919AC6027}"/>
                </a:ext>
              </a:extLst>
            </p:cNvPr>
            <p:cNvSpPr txBox="1"/>
            <p:nvPr/>
          </p:nvSpPr>
          <p:spPr>
            <a:xfrm>
              <a:off x="12581608" y="8664720"/>
              <a:ext cx="4796100" cy="738664"/>
            </a:xfrm>
            <a:prstGeom prst="rect">
              <a:avLst/>
            </a:prstGeom>
            <a:noFill/>
            <a:ln>
              <a:noFill/>
            </a:ln>
          </p:spPr>
          <p:txBody>
            <a:bodyPr spcFirstLastPara="1" wrap="square" lIns="0" tIns="0" rIns="0" bIns="0" anchor="t" anchorCtr="0">
              <a:spAutoFit/>
            </a:bodyPr>
            <a:lstStyle/>
            <a:p>
              <a:pPr marL="76200" defTabSz="1371600">
                <a:buClr>
                  <a:srgbClr val="2E1745"/>
                </a:buClr>
                <a:buSzPct val="100000"/>
                <a:defRPr/>
              </a:pPr>
              <a:r>
                <a:rPr lang="en-US" sz="1200" kern="1200" noProof="0">
                  <a:solidFill>
                    <a:srgbClr val="2E1745"/>
                  </a:solidFill>
                  <a:latin typeface="Montserrat"/>
                  <a:ea typeface="Roboto Light"/>
                  <a:cs typeface="Roboto Light"/>
                  <a:sym typeface="Roboto Light"/>
                </a:rPr>
                <a:t>- </a:t>
              </a:r>
              <a:r>
                <a:rPr kumimoji="0" lang="en-US" sz="1200" b="0" i="0" u="none" strike="noStrike" kern="1200" cap="none" spc="0" normalizeH="0" baseline="0" noProof="0">
                  <a:ln>
                    <a:noFill/>
                  </a:ln>
                  <a:solidFill>
                    <a:srgbClr val="2E1745"/>
                  </a:solidFill>
                  <a:effectLst/>
                  <a:uLnTx/>
                  <a:uFillTx/>
                  <a:latin typeface="Montserrat"/>
                  <a:ea typeface="Roboto Light"/>
                  <a:cs typeface="Roboto Light"/>
                  <a:sym typeface="Roboto Light"/>
                </a:rPr>
                <a:t>High trust</a:t>
              </a:r>
              <a:endParaRPr lang="en-US" sz="1200" b="0" i="0" u="none" strike="noStrike" kern="1200" cap="none" spc="0" normalizeH="0" baseline="0" noProof="0">
                <a:ln>
                  <a:noFill/>
                </a:ln>
                <a:solidFill>
                  <a:srgbClr val="2E1745"/>
                </a:solidFill>
                <a:effectLst/>
                <a:uLnTx/>
                <a:uFillTx/>
                <a:latin typeface="Montserrat"/>
                <a:ea typeface="Roboto Light"/>
                <a:cs typeface="Roboto Light"/>
              </a:endParaRPr>
            </a:p>
            <a:p>
              <a:pPr marL="76200" defTabSz="1371600">
                <a:buClr>
                  <a:srgbClr val="2E1745"/>
                </a:buClr>
                <a:buSzPct val="100000"/>
                <a:defRPr/>
              </a:pPr>
              <a:r>
                <a:rPr lang="en-US" sz="1200" kern="1200" noProof="0">
                  <a:solidFill>
                    <a:srgbClr val="2E1745"/>
                  </a:solidFill>
                  <a:latin typeface="Montserrat"/>
                  <a:ea typeface="Roboto Light"/>
                  <a:cs typeface="Roboto Light"/>
                  <a:sym typeface="Roboto Light"/>
                </a:rPr>
                <a:t>- </a:t>
              </a:r>
              <a:r>
                <a:rPr kumimoji="0" lang="en-US" sz="1200" b="0" i="0" u="none" strike="noStrike" kern="1200" cap="none" spc="0" normalizeH="0" baseline="0" noProof="0">
                  <a:ln>
                    <a:noFill/>
                  </a:ln>
                  <a:solidFill>
                    <a:srgbClr val="2E1745"/>
                  </a:solidFill>
                  <a:effectLst/>
                  <a:uLnTx/>
                  <a:uFillTx/>
                  <a:latin typeface="Montserrat"/>
                  <a:ea typeface="Roboto Light"/>
                  <a:cs typeface="Roboto Light"/>
                  <a:sym typeface="Roboto Light"/>
                </a:rPr>
                <a:t>Interacts to gather context</a:t>
              </a:r>
              <a:endParaRPr lang="en-US" sz="1200" b="0" i="0" u="none" strike="noStrike" kern="1200" cap="none" spc="0" normalizeH="0" baseline="0" noProof="0">
                <a:ln>
                  <a:noFill/>
                </a:ln>
                <a:solidFill>
                  <a:srgbClr val="2E1745"/>
                </a:solidFill>
                <a:effectLst/>
                <a:uLnTx/>
                <a:uFillTx/>
                <a:latin typeface="Montserrat"/>
                <a:ea typeface="Roboto Light"/>
                <a:cs typeface="Roboto Light"/>
              </a:endParaRPr>
            </a:p>
            <a:p>
              <a:pPr marL="76200" defTabSz="1371600">
                <a:buClr>
                  <a:srgbClr val="2E1745"/>
                </a:buClr>
                <a:buSzPct val="100000"/>
                <a:defRPr/>
              </a:pPr>
              <a:r>
                <a:rPr lang="en-US" sz="1200" kern="1200" noProof="0">
                  <a:solidFill>
                    <a:srgbClr val="2E1745"/>
                  </a:solidFill>
                  <a:latin typeface="Montserrat"/>
                  <a:ea typeface="Roboto Light"/>
                  <a:cs typeface="Roboto Light"/>
                  <a:sym typeface="Roboto Light"/>
                </a:rPr>
                <a:t>- </a:t>
              </a:r>
              <a:r>
                <a:rPr kumimoji="0" lang="en-US" sz="1200" b="0" i="0" u="none" strike="noStrike" kern="1200" cap="none" spc="0" normalizeH="0" baseline="0" noProof="0">
                  <a:ln>
                    <a:noFill/>
                  </a:ln>
                  <a:solidFill>
                    <a:srgbClr val="2E1745"/>
                  </a:solidFill>
                  <a:effectLst/>
                  <a:uLnTx/>
                  <a:uFillTx/>
                  <a:latin typeface="Montserrat"/>
                  <a:ea typeface="Roboto Light"/>
                  <a:cs typeface="Roboto Light"/>
                  <a:sym typeface="Roboto Light"/>
                </a:rPr>
                <a:t>Evaluates and reasons in context</a:t>
              </a:r>
              <a:endParaRPr lang="en-US" sz="1200" b="0" i="0" u="none" strike="noStrike" kern="1200" cap="none" spc="0" normalizeH="0" baseline="0" noProof="0">
                <a:ln>
                  <a:noFill/>
                </a:ln>
                <a:solidFill>
                  <a:srgbClr val="2E1745"/>
                </a:solidFill>
                <a:effectLst/>
                <a:uLnTx/>
                <a:uFillTx/>
                <a:latin typeface="Montserrat"/>
                <a:ea typeface="Roboto Light"/>
                <a:cs typeface="Roboto Light"/>
              </a:endParaRPr>
            </a:p>
            <a:p>
              <a:pPr marL="76200" defTabSz="1371600">
                <a:buClr>
                  <a:srgbClr val="2E1745"/>
                </a:buClr>
                <a:buSzPct val="100000"/>
                <a:defRPr/>
              </a:pPr>
              <a:r>
                <a:rPr lang="en-US" sz="1200" kern="1200" noProof="0">
                  <a:solidFill>
                    <a:srgbClr val="2E1745"/>
                  </a:solidFill>
                  <a:latin typeface="Montserrat"/>
                  <a:ea typeface="Roboto Light"/>
                  <a:cs typeface="Roboto Light"/>
                  <a:sym typeface="Roboto Light"/>
                </a:rPr>
                <a:t>- </a:t>
              </a:r>
              <a:r>
                <a:rPr kumimoji="0" lang="en-US" sz="1200" b="0" i="0" u="none" strike="noStrike" kern="1200" cap="none" spc="0" normalizeH="0" baseline="0" noProof="0">
                  <a:ln>
                    <a:noFill/>
                  </a:ln>
                  <a:solidFill>
                    <a:srgbClr val="2E1745"/>
                  </a:solidFill>
                  <a:effectLst/>
                  <a:uLnTx/>
                  <a:uFillTx/>
                  <a:latin typeface="Montserrat"/>
                  <a:ea typeface="Roboto Light"/>
                  <a:cs typeface="Roboto Light"/>
                  <a:sym typeface="Roboto Light"/>
                </a:rPr>
                <a:t>Signposts sources and provides a logical explanation</a:t>
              </a:r>
              <a:endParaRPr lang="en-US" sz="1200" b="0" i="0" u="none" strike="noStrike" kern="1200" cap="none" spc="0" normalizeH="0" baseline="0" noProof="0">
                <a:ln>
                  <a:noFill/>
                </a:ln>
                <a:solidFill>
                  <a:srgbClr val="2E1745"/>
                </a:solidFill>
                <a:effectLst/>
                <a:uLnTx/>
                <a:uFillTx/>
                <a:latin typeface="Montserrat"/>
                <a:ea typeface="Roboto Light"/>
                <a:cs typeface="Roboto Light"/>
              </a:endParaRPr>
            </a:p>
          </p:txBody>
        </p:sp>
        <p:sp>
          <p:nvSpPr>
            <p:cNvPr id="13441" name="Google Shape;13441;p173">
              <a:extLst>
                <a:ext uri="{FF2B5EF4-FFF2-40B4-BE49-F238E27FC236}">
                  <a16:creationId xmlns:a16="http://schemas.microsoft.com/office/drawing/2014/main" id="{D9124E4B-AABB-08BA-1CC1-C30428F0D98F}"/>
                </a:ext>
              </a:extLst>
            </p:cNvPr>
            <p:cNvSpPr txBox="1"/>
            <p:nvPr/>
          </p:nvSpPr>
          <p:spPr>
            <a:xfrm>
              <a:off x="11989695" y="1739437"/>
              <a:ext cx="5685218" cy="892532"/>
            </a:xfrm>
            <a:prstGeom prst="rect">
              <a:avLst/>
            </a:prstGeom>
            <a:noFill/>
            <a:ln>
              <a:noFill/>
            </a:ln>
          </p:spPr>
          <p:txBody>
            <a:bodyPr spcFirstLastPara="1" wrap="square" lIns="68570" tIns="68570" rIns="68570" bIns="68570" anchor="t" anchorCtr="0">
              <a:spAutoFit/>
            </a:bodyPr>
            <a:lstStyle/>
            <a:p>
              <a:pPr marL="0" marR="0" lvl="0" indent="0" algn="l" defTabSz="1371600" rtl="0" eaLnBrk="1" fontAlgn="auto" latinLnBrk="0" hangingPunct="1">
                <a:lnSpc>
                  <a:spcPct val="100000"/>
                </a:lnSpc>
                <a:spcBef>
                  <a:spcPts val="0"/>
                </a:spcBef>
                <a:spcAft>
                  <a:spcPts val="1200"/>
                </a:spcAft>
                <a:buClrTx/>
                <a:buSzTx/>
                <a:buFont typeface="Arial"/>
                <a:buNone/>
                <a:tabLst/>
                <a:defRPr/>
              </a:pPr>
              <a:r>
                <a:rPr kumimoji="0" lang="en-US" sz="1950" b="1" i="0" u="none" strike="noStrike" kern="1200" cap="none" spc="0" normalizeH="0" baseline="0" noProof="0">
                  <a:ln>
                    <a:noFill/>
                  </a:ln>
                  <a:solidFill>
                    <a:srgbClr val="2E1745"/>
                  </a:solidFill>
                  <a:effectLst/>
                  <a:uLnTx/>
                  <a:uFillTx/>
                  <a:latin typeface="Montserrat"/>
                  <a:ea typeface="Roboto"/>
                  <a:cs typeface="Roboto"/>
                  <a:sym typeface="Roboto"/>
                </a:rPr>
                <a:t>RAR </a:t>
              </a:r>
              <a:r>
                <a:rPr lang="en-US" sz="1950" b="1" kern="1200" noProof="0">
                  <a:solidFill>
                    <a:srgbClr val="2E1745"/>
                  </a:solidFill>
                  <a:latin typeface="Montserrat"/>
                  <a:ea typeface="Roboto"/>
                  <a:cs typeface="Roboto"/>
                  <a:sym typeface="Roboto"/>
                </a:rPr>
                <a:t>solves</a:t>
              </a:r>
              <a:r>
                <a:rPr kumimoji="0" lang="en-US" sz="1950" b="1" i="0" u="none" strike="noStrike" kern="1200" cap="none" spc="0" normalizeH="0" baseline="0" noProof="0">
                  <a:ln>
                    <a:noFill/>
                  </a:ln>
                  <a:solidFill>
                    <a:srgbClr val="2E1745"/>
                  </a:solidFill>
                  <a:effectLst/>
                  <a:uLnTx/>
                  <a:uFillTx/>
                  <a:latin typeface="Montserrat"/>
                  <a:ea typeface="Roboto"/>
                  <a:cs typeface="Roboto"/>
                  <a:sym typeface="Roboto"/>
                </a:rPr>
                <a:t> problems that require </a:t>
              </a:r>
              <a:r>
                <a:rPr kumimoji="0" lang="en-US" sz="1950" b="1" i="0" u="none" strike="noStrike" kern="1200" cap="none" spc="0" normalizeH="0" baseline="0" noProof="0">
                  <a:ln>
                    <a:noFill/>
                  </a:ln>
                  <a:solidFill>
                    <a:srgbClr val="6800FF"/>
                  </a:solidFill>
                  <a:effectLst/>
                  <a:uLnTx/>
                  <a:uFillTx/>
                  <a:latin typeface="Montserrat"/>
                  <a:ea typeface="Roboto"/>
                  <a:cs typeface="Roboto"/>
                  <a:sym typeface="Roboto"/>
                </a:rPr>
                <a:t>context and delivers answers you can trust</a:t>
              </a:r>
              <a:endParaRPr kumimoji="0" lang="en-US" sz="1350" b="1" i="0" u="none" strike="noStrike" kern="1200" cap="none" spc="0" normalizeH="0" baseline="0" noProof="0">
                <a:ln>
                  <a:noFill/>
                </a:ln>
                <a:solidFill>
                  <a:prstClr val="black"/>
                </a:solidFill>
                <a:effectLst/>
                <a:uLnTx/>
                <a:uFillTx/>
                <a:latin typeface="Montserrat"/>
                <a:ea typeface="+mn-ea"/>
                <a:cs typeface="Arial"/>
                <a:sym typeface="Arial"/>
              </a:endParaRPr>
            </a:p>
          </p:txBody>
        </p:sp>
        <p:sp>
          <p:nvSpPr>
            <p:cNvPr id="13424" name="Google Shape;13424;p173">
              <a:extLst>
                <a:ext uri="{FF2B5EF4-FFF2-40B4-BE49-F238E27FC236}">
                  <a16:creationId xmlns:a16="http://schemas.microsoft.com/office/drawing/2014/main" id="{2F60C5FC-4ED2-3529-7C0C-DD955DECC8E9}"/>
                </a:ext>
              </a:extLst>
            </p:cNvPr>
            <p:cNvSpPr txBox="1"/>
            <p:nvPr/>
          </p:nvSpPr>
          <p:spPr>
            <a:xfrm>
              <a:off x="5852592" y="7307177"/>
              <a:ext cx="4690122" cy="738664"/>
            </a:xfrm>
            <a:prstGeom prst="rect">
              <a:avLst/>
            </a:prstGeom>
            <a:noFill/>
            <a:ln>
              <a:noFill/>
            </a:ln>
          </p:spPr>
          <p:txBody>
            <a:bodyPr spcFirstLastPara="1" wrap="square" lIns="0" tIns="0" rIns="0" bIns="0" anchor="t" anchorCtr="0">
              <a:spAutoFit/>
            </a:bodyPr>
            <a:lstStyle/>
            <a:p>
              <a:pPr marL="76200" defTabSz="1371600">
                <a:buClr>
                  <a:srgbClr val="2E1745"/>
                </a:buClr>
                <a:buSzPct val="100000"/>
                <a:defRPr/>
              </a:pPr>
              <a:r>
                <a:rPr lang="en-US" sz="1200" kern="1200" noProof="0">
                  <a:solidFill>
                    <a:srgbClr val="2E1745"/>
                  </a:solidFill>
                  <a:latin typeface="Montserrat"/>
                  <a:ea typeface="Roboto Light"/>
                  <a:cs typeface="Roboto Light"/>
                  <a:sym typeface="Roboto Light"/>
                </a:rPr>
                <a:t>- </a:t>
              </a:r>
              <a:r>
                <a:rPr kumimoji="0" lang="en-US" sz="1200" b="0" i="0" u="none" strike="noStrike" kern="1200" cap="none" spc="0" normalizeH="0" baseline="0" noProof="0">
                  <a:ln>
                    <a:noFill/>
                  </a:ln>
                  <a:solidFill>
                    <a:srgbClr val="2E1745"/>
                  </a:solidFill>
                  <a:effectLst/>
                  <a:uLnTx/>
                  <a:uFillTx/>
                  <a:latin typeface="Montserrat"/>
                  <a:ea typeface="Roboto Light"/>
                  <a:cs typeface="Roboto Light"/>
                  <a:sym typeface="Roboto Light"/>
                </a:rPr>
                <a:t>Improved trust</a:t>
              </a:r>
              <a:endParaRPr lang="en-US" sz="1200" b="0" i="0" u="none" strike="noStrike" kern="1200" cap="none" spc="0" normalizeH="0" baseline="0" noProof="0">
                <a:ln>
                  <a:noFill/>
                </a:ln>
                <a:solidFill>
                  <a:srgbClr val="2E1745"/>
                </a:solidFill>
                <a:effectLst/>
                <a:uLnTx/>
                <a:uFillTx/>
                <a:latin typeface="Montserrat"/>
                <a:ea typeface="Roboto Light"/>
                <a:cs typeface="Roboto Light"/>
              </a:endParaRPr>
            </a:p>
            <a:p>
              <a:pPr marL="76200" defTabSz="1371600">
                <a:buClr>
                  <a:srgbClr val="2E1745"/>
                </a:buClr>
                <a:buSzPct val="100000"/>
                <a:defRPr/>
              </a:pPr>
              <a:r>
                <a:rPr lang="en-US" sz="1200" kern="1200" noProof="0">
                  <a:solidFill>
                    <a:srgbClr val="2E1745"/>
                  </a:solidFill>
                  <a:latin typeface="Montserrat"/>
                  <a:ea typeface="Roboto Light"/>
                  <a:cs typeface="Roboto Light"/>
                  <a:sym typeface="Roboto Light"/>
                </a:rPr>
                <a:t>- </a:t>
              </a:r>
              <a:r>
                <a:rPr kumimoji="0" lang="en-US" sz="1200" b="0" i="0" u="none" strike="noStrike" kern="1200" cap="none" spc="0" normalizeH="0" baseline="0" noProof="0">
                  <a:ln>
                    <a:noFill/>
                  </a:ln>
                  <a:solidFill>
                    <a:srgbClr val="2E1745"/>
                  </a:solidFill>
                  <a:effectLst/>
                  <a:uLnTx/>
                  <a:uFillTx/>
                  <a:latin typeface="Montserrat"/>
                  <a:ea typeface="Roboto Light"/>
                  <a:cs typeface="Roboto Light"/>
                  <a:sym typeface="Roboto Light"/>
                </a:rPr>
                <a:t>Answer leverages ‘your’ documents and data</a:t>
              </a:r>
              <a:endParaRPr lang="en-US" sz="1200" b="0" i="0" u="none" strike="noStrike" kern="1200" cap="none" spc="0" normalizeH="0" baseline="0" noProof="0">
                <a:ln>
                  <a:noFill/>
                </a:ln>
                <a:solidFill>
                  <a:srgbClr val="2E1745"/>
                </a:solidFill>
                <a:effectLst/>
                <a:uLnTx/>
                <a:uFillTx/>
                <a:latin typeface="Montserrat" panose="00000500000000000000" pitchFamily="2" charset="0"/>
                <a:ea typeface="Roboto Light"/>
                <a:cs typeface="Roboto Light"/>
              </a:endParaRPr>
            </a:p>
            <a:p>
              <a:pPr marL="76200" defTabSz="1371600">
                <a:buClr>
                  <a:srgbClr val="2E1745"/>
                </a:buClr>
                <a:buSzPct val="100000"/>
                <a:defRPr/>
              </a:pPr>
              <a:r>
                <a:rPr lang="en-US" sz="1200" kern="1200" noProof="0">
                  <a:solidFill>
                    <a:srgbClr val="2E1745"/>
                  </a:solidFill>
                  <a:latin typeface="Montserrat"/>
                  <a:ea typeface="Roboto Light"/>
                  <a:cs typeface="Roboto Light"/>
                  <a:sym typeface="Roboto Light"/>
                </a:rPr>
                <a:t>- </a:t>
              </a:r>
              <a:r>
                <a:rPr kumimoji="0" lang="en-US" sz="1200" b="0" i="0" u="none" strike="noStrike" kern="1200" cap="none" spc="0" normalizeH="0" baseline="0" noProof="0">
                  <a:ln>
                    <a:noFill/>
                  </a:ln>
                  <a:solidFill>
                    <a:srgbClr val="2E1745"/>
                  </a:solidFill>
                  <a:effectLst/>
                  <a:uLnTx/>
                  <a:uFillTx/>
                  <a:latin typeface="Montserrat"/>
                  <a:ea typeface="Roboto Light"/>
                  <a:cs typeface="Roboto Light"/>
                  <a:sym typeface="Roboto Light"/>
                </a:rPr>
                <a:t>Signposts sources</a:t>
              </a:r>
              <a:endParaRPr lang="en-US" sz="1200" b="0" i="0" u="none" strike="noStrike" kern="1200" cap="none" spc="0" normalizeH="0" baseline="0" noProof="0">
                <a:ln>
                  <a:noFill/>
                </a:ln>
                <a:solidFill>
                  <a:srgbClr val="2E1745"/>
                </a:solidFill>
                <a:effectLst/>
                <a:uLnTx/>
                <a:uFillTx/>
                <a:latin typeface="Montserrat" panose="00000500000000000000" pitchFamily="2" charset="0"/>
                <a:ea typeface="Roboto Light"/>
                <a:cs typeface="Roboto Light"/>
              </a:endParaRPr>
            </a:p>
            <a:p>
              <a:pPr marL="76200" defTabSz="1371600">
                <a:buClr>
                  <a:srgbClr val="2E1745"/>
                </a:buClr>
                <a:buSzPct val="100000"/>
                <a:defRPr/>
              </a:pPr>
              <a:r>
                <a:rPr lang="en-US" sz="1200" kern="1200" noProof="0">
                  <a:solidFill>
                    <a:srgbClr val="2E1745"/>
                  </a:solidFill>
                  <a:latin typeface="Montserrat"/>
                  <a:ea typeface="Roboto Light"/>
                  <a:cs typeface="Roboto Light"/>
                  <a:sym typeface="Roboto Light"/>
                </a:rPr>
                <a:t>- </a:t>
              </a:r>
              <a:r>
                <a:rPr kumimoji="0" lang="en-US" sz="1200" b="0" i="0" u="none" strike="noStrike" kern="1200" cap="none" spc="0" normalizeH="0" baseline="0" noProof="0">
                  <a:ln>
                    <a:noFill/>
                  </a:ln>
                  <a:solidFill>
                    <a:srgbClr val="2E1745"/>
                  </a:solidFill>
                  <a:effectLst/>
                  <a:uLnTx/>
                  <a:uFillTx/>
                  <a:latin typeface="Montserrat"/>
                  <a:ea typeface="Roboto Light"/>
                  <a:cs typeface="Roboto Light"/>
                  <a:sym typeface="Roboto Light"/>
                </a:rPr>
                <a:t>No logical explanation</a:t>
              </a:r>
              <a:endParaRPr lang="en-US" sz="1200" b="0" i="0" u="none" strike="noStrike" kern="1200" cap="none" spc="0" normalizeH="0" baseline="0" noProof="0">
                <a:ln>
                  <a:noFill/>
                </a:ln>
                <a:solidFill>
                  <a:srgbClr val="2E1745"/>
                </a:solidFill>
                <a:effectLst/>
                <a:uLnTx/>
                <a:uFillTx/>
                <a:latin typeface="Montserrat" panose="00000500000000000000" pitchFamily="2" charset="0"/>
                <a:ea typeface="Roboto Light"/>
                <a:cs typeface="Roboto Light"/>
              </a:endParaRPr>
            </a:p>
          </p:txBody>
        </p:sp>
        <p:sp>
          <p:nvSpPr>
            <p:cNvPr id="13429" name="Google Shape;13429;p173">
              <a:extLst>
                <a:ext uri="{FF2B5EF4-FFF2-40B4-BE49-F238E27FC236}">
                  <a16:creationId xmlns:a16="http://schemas.microsoft.com/office/drawing/2014/main" id="{D6A92B05-E931-D308-CB2A-1C1D7A106E7B}"/>
                </a:ext>
              </a:extLst>
            </p:cNvPr>
            <p:cNvSpPr txBox="1"/>
            <p:nvPr/>
          </p:nvSpPr>
          <p:spPr>
            <a:xfrm>
              <a:off x="5858681" y="2451471"/>
              <a:ext cx="4683375" cy="892532"/>
            </a:xfrm>
            <a:prstGeom prst="rect">
              <a:avLst/>
            </a:prstGeom>
            <a:noFill/>
            <a:ln>
              <a:noFill/>
            </a:ln>
          </p:spPr>
          <p:txBody>
            <a:bodyPr spcFirstLastPara="1" wrap="square" lIns="68570" tIns="68570" rIns="68570" bIns="68570" anchor="t" anchorCtr="0">
              <a:spAutoFit/>
            </a:bodyPr>
            <a:lstStyle/>
            <a:p>
              <a:pPr marL="0" marR="0" lvl="0" indent="0" algn="l" defTabSz="1371600" rtl="0" eaLnBrk="1" fontAlgn="auto" latinLnBrk="0" hangingPunct="1">
                <a:lnSpc>
                  <a:spcPct val="100000"/>
                </a:lnSpc>
                <a:spcBef>
                  <a:spcPts val="0"/>
                </a:spcBef>
                <a:spcAft>
                  <a:spcPts val="1200"/>
                </a:spcAft>
                <a:buClrTx/>
                <a:buSzTx/>
                <a:buFont typeface="Arial"/>
                <a:buNone/>
                <a:tabLst/>
                <a:defRPr/>
              </a:pPr>
              <a:r>
                <a:rPr kumimoji="0" lang="en-US" sz="1950" b="1" i="0" u="none" strike="noStrike" kern="1200" cap="none" spc="0" normalizeH="0" baseline="0" noProof="0">
                  <a:ln>
                    <a:noFill/>
                  </a:ln>
                  <a:solidFill>
                    <a:srgbClr val="2E1745"/>
                  </a:solidFill>
                  <a:effectLst/>
                  <a:uLnTx/>
                  <a:uFillTx/>
                  <a:latin typeface="Montserrat" panose="00000500000000000000" pitchFamily="2" charset="0"/>
                  <a:ea typeface="Roboto"/>
                  <a:cs typeface="Roboto"/>
                  <a:sym typeface="Roboto"/>
                </a:rPr>
                <a:t>RAG make word </a:t>
              </a:r>
              <a:r>
                <a:rPr kumimoji="0" lang="en-US" sz="1950" b="1" i="0" u="none" strike="noStrike" kern="1200" cap="none" spc="0" normalizeH="0" baseline="0" noProof="0">
                  <a:ln>
                    <a:noFill/>
                  </a:ln>
                  <a:solidFill>
                    <a:srgbClr val="6800FF"/>
                  </a:solidFill>
                  <a:effectLst/>
                  <a:uLnTx/>
                  <a:uFillTx/>
                  <a:latin typeface="Montserrat" panose="00000500000000000000" pitchFamily="2" charset="0"/>
                  <a:ea typeface="Roboto"/>
                  <a:cs typeface="Roboto"/>
                  <a:sym typeface="Roboto"/>
                </a:rPr>
                <a:t>predictions over your documents and data</a:t>
              </a:r>
              <a:endParaRPr kumimoji="0" lang="en-US" sz="1350" b="1" i="0" u="none" strike="noStrike" kern="1200" cap="none" spc="0" normalizeH="0" baseline="0" noProof="0">
                <a:ln>
                  <a:noFill/>
                </a:ln>
                <a:solidFill>
                  <a:prstClr val="black"/>
                </a:solidFill>
                <a:effectLst/>
                <a:uLnTx/>
                <a:uFillTx/>
                <a:latin typeface="Montserrat" panose="00000500000000000000" pitchFamily="2" charset="0"/>
                <a:ea typeface="+mn-ea"/>
                <a:cs typeface="Arial"/>
                <a:sym typeface="Arial"/>
              </a:endParaRPr>
            </a:p>
          </p:txBody>
        </p:sp>
        <p:pic>
          <p:nvPicPr>
            <p:cNvPr id="4" name="Picture 3" descr="A screenshot of a chat&#10;&#10;Description automatically generated">
              <a:extLst>
                <a:ext uri="{FF2B5EF4-FFF2-40B4-BE49-F238E27FC236}">
                  <a16:creationId xmlns:a16="http://schemas.microsoft.com/office/drawing/2014/main" id="{2A74B13E-2C64-EADC-03EE-A4C135F64D3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778942" y="4336868"/>
              <a:ext cx="4211442" cy="1722168"/>
            </a:xfrm>
            <a:prstGeom prst="rect">
              <a:avLst/>
            </a:prstGeom>
          </p:spPr>
        </p:pic>
        <p:sp>
          <p:nvSpPr>
            <p:cNvPr id="5" name="Rectangle 4">
              <a:extLst>
                <a:ext uri="{FF2B5EF4-FFF2-40B4-BE49-F238E27FC236}">
                  <a16:creationId xmlns:a16="http://schemas.microsoft.com/office/drawing/2014/main" id="{4F71D9E5-80D8-2E9A-D606-A1D11F21E184}"/>
                </a:ext>
              </a:extLst>
            </p:cNvPr>
            <p:cNvSpPr/>
            <p:nvPr/>
          </p:nvSpPr>
          <p:spPr>
            <a:xfrm>
              <a:off x="627713" y="3761038"/>
              <a:ext cx="4549515" cy="2572686"/>
            </a:xfrm>
            <a:prstGeom prst="rect">
              <a:avLst/>
            </a:prstGeom>
            <a:noFill/>
            <a:ln>
              <a:solidFill>
                <a:srgbClr val="6800FF"/>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 name="Google Shape;13422;p173">
              <a:extLst>
                <a:ext uri="{FF2B5EF4-FFF2-40B4-BE49-F238E27FC236}">
                  <a16:creationId xmlns:a16="http://schemas.microsoft.com/office/drawing/2014/main" id="{934A1465-4F7B-2496-33F2-27855FAE8FB5}"/>
                </a:ext>
              </a:extLst>
            </p:cNvPr>
            <p:cNvSpPr txBox="1"/>
            <p:nvPr/>
          </p:nvSpPr>
          <p:spPr>
            <a:xfrm>
              <a:off x="628069" y="3420509"/>
              <a:ext cx="4552211" cy="846365"/>
            </a:xfrm>
            <a:prstGeom prst="rect">
              <a:avLst/>
            </a:prstGeom>
            <a:noFill/>
            <a:ln>
              <a:noFill/>
            </a:ln>
          </p:spPr>
          <p:txBody>
            <a:bodyPr spcFirstLastPara="1" wrap="square" lIns="68570" tIns="68570" rIns="68570" bIns="68570" anchor="ctr" anchorCtr="0">
              <a:spAutoFit/>
            </a:bodyPr>
            <a:lstStyle/>
            <a:p>
              <a:pPr algn="ctr" defTabSz="1371600">
                <a:spcAft>
                  <a:spcPts val="1200"/>
                </a:spcAft>
                <a:defRPr/>
              </a:pPr>
              <a:r>
                <a:rPr lang="en-US" sz="1800" b="1" kern="1200" noProof="0">
                  <a:solidFill>
                    <a:schemeClr val="tx1"/>
                  </a:solidFill>
                  <a:highlight>
                    <a:srgbClr val="6800FF"/>
                  </a:highlight>
                  <a:latin typeface="Montserrat"/>
                  <a:ea typeface="Roboto"/>
                  <a:cs typeface="Roboto"/>
                  <a:sym typeface="Roboto"/>
                </a:rPr>
                <a:t> LLM only </a:t>
              </a:r>
              <a:br>
                <a:rPr lang="en-US" sz="1800" b="1" kern="1200" noProof="0">
                  <a:solidFill>
                    <a:schemeClr val="tx1"/>
                  </a:solidFill>
                  <a:highlight>
                    <a:srgbClr val="6800FF"/>
                  </a:highlight>
                  <a:latin typeface="Montserrat"/>
                  <a:ea typeface="Roboto"/>
                  <a:cs typeface="Roboto"/>
                  <a:sym typeface="Roboto"/>
                </a:rPr>
              </a:br>
              <a:r>
                <a:rPr lang="en-US" sz="1800" b="1" kern="1200" noProof="0">
                  <a:solidFill>
                    <a:schemeClr val="tx1"/>
                  </a:solidFill>
                  <a:highlight>
                    <a:srgbClr val="6800FF"/>
                  </a:highlight>
                  <a:latin typeface="Montserrat"/>
                  <a:ea typeface="Roboto"/>
                  <a:cs typeface="Roboto"/>
                  <a:sym typeface="Roboto"/>
                </a:rPr>
                <a:t>(GPT) </a:t>
              </a:r>
              <a:endParaRPr lang="en-US" sz="1800" noProof="0">
                <a:solidFill>
                  <a:schemeClr val="tx1"/>
                </a:solidFill>
                <a:highlight>
                  <a:srgbClr val="6800FF"/>
                </a:highlight>
                <a:ea typeface="+mn-ea"/>
              </a:endParaRPr>
            </a:p>
          </p:txBody>
        </p:sp>
        <p:sp>
          <p:nvSpPr>
            <p:cNvPr id="6" name="Rectangle 5">
              <a:extLst>
                <a:ext uri="{FF2B5EF4-FFF2-40B4-BE49-F238E27FC236}">
                  <a16:creationId xmlns:a16="http://schemas.microsoft.com/office/drawing/2014/main" id="{1EE3ADF0-D3B1-B6CD-477C-52F2A2A50C91}"/>
                </a:ext>
              </a:extLst>
            </p:cNvPr>
            <p:cNvSpPr/>
            <p:nvPr/>
          </p:nvSpPr>
          <p:spPr>
            <a:xfrm>
              <a:off x="5855532" y="3770405"/>
              <a:ext cx="4577620" cy="3078604"/>
            </a:xfrm>
            <a:prstGeom prst="rect">
              <a:avLst/>
            </a:prstGeom>
            <a:noFill/>
            <a:ln>
              <a:solidFill>
                <a:srgbClr val="6800FF"/>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7" name="Google Shape;13422;p173">
              <a:extLst>
                <a:ext uri="{FF2B5EF4-FFF2-40B4-BE49-F238E27FC236}">
                  <a16:creationId xmlns:a16="http://schemas.microsoft.com/office/drawing/2014/main" id="{A80166DC-3233-E7A9-86E9-F996329BCF4C}"/>
                </a:ext>
              </a:extLst>
            </p:cNvPr>
            <p:cNvSpPr txBox="1"/>
            <p:nvPr/>
          </p:nvSpPr>
          <p:spPr>
            <a:xfrm>
              <a:off x="5865256" y="3420507"/>
              <a:ext cx="4552211" cy="846365"/>
            </a:xfrm>
            <a:prstGeom prst="rect">
              <a:avLst/>
            </a:prstGeom>
            <a:noFill/>
            <a:ln>
              <a:noFill/>
            </a:ln>
          </p:spPr>
          <p:txBody>
            <a:bodyPr spcFirstLastPara="1" wrap="square" lIns="68570" tIns="68570" rIns="68570" bIns="68570" anchor="ctr" anchorCtr="0">
              <a:spAutoFit/>
            </a:bodyPr>
            <a:lstStyle/>
            <a:p>
              <a:pPr algn="ctr" defTabSz="1371600">
                <a:spcAft>
                  <a:spcPts val="1200"/>
                </a:spcAft>
                <a:defRPr/>
              </a:pPr>
              <a:r>
                <a:rPr lang="en-US" sz="1800" b="1" kern="1200" noProof="0">
                  <a:solidFill>
                    <a:schemeClr val="tx1"/>
                  </a:solidFill>
                  <a:highlight>
                    <a:srgbClr val="6800FF"/>
                  </a:highlight>
                  <a:latin typeface="Montserrat"/>
                  <a:ea typeface="Roboto"/>
                  <a:cs typeface="Roboto"/>
                  <a:sym typeface="Roboto"/>
                </a:rPr>
                <a:t>Retrieval Augmented Generation (RAG)</a:t>
              </a:r>
              <a:endParaRPr lang="en-US" sz="1800" noProof="0">
                <a:solidFill>
                  <a:schemeClr val="tx1"/>
                </a:solidFill>
                <a:ea typeface="+mn-ea"/>
              </a:endParaRPr>
            </a:p>
          </p:txBody>
        </p:sp>
        <p:pic>
          <p:nvPicPr>
            <p:cNvPr id="8" name="Picture 7" descr="A screenshot of a chat&#10;&#10;Description automatically generated">
              <a:extLst>
                <a:ext uri="{FF2B5EF4-FFF2-40B4-BE49-F238E27FC236}">
                  <a16:creationId xmlns:a16="http://schemas.microsoft.com/office/drawing/2014/main" id="{A4D4EB0B-1459-9F70-DC21-2D9802DA4B4D}"/>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6062003" y="4261917"/>
              <a:ext cx="4264963" cy="2331807"/>
            </a:xfrm>
            <a:prstGeom prst="rect">
              <a:avLst/>
            </a:prstGeom>
          </p:spPr>
        </p:pic>
        <p:pic>
          <p:nvPicPr>
            <p:cNvPr id="9" name="Picture 8" descr="A screenshot of a chat&#10;&#10;Description automatically generated">
              <a:extLst>
                <a:ext uri="{FF2B5EF4-FFF2-40B4-BE49-F238E27FC236}">
                  <a16:creationId xmlns:a16="http://schemas.microsoft.com/office/drawing/2014/main" id="{95A7B482-87C1-A584-3481-C944F2C7D893}"/>
                </a:ext>
              </a:extLst>
            </p:cNvPr>
            <p:cNvPicPr>
              <a:picLocks noChangeAspect="1"/>
            </p:cNvPicPr>
            <p:nvPr/>
          </p:nvPicPr>
          <p:blipFill>
            <a:blip r:embed="rId5" cstate="email">
              <a:extLst>
                <a:ext uri="{28A0092B-C50C-407E-A947-70E740481C1C}">
                  <a14:useLocalDpi xmlns:a14="http://schemas.microsoft.com/office/drawing/2010/main"/>
                </a:ext>
              </a:extLst>
            </a:blip>
            <a:srcRect/>
            <a:stretch/>
          </p:blipFill>
          <p:spPr>
            <a:xfrm>
              <a:off x="13022350" y="3346195"/>
              <a:ext cx="3622258" cy="4854238"/>
            </a:xfrm>
            <a:prstGeom prst="rect">
              <a:avLst/>
            </a:prstGeom>
          </p:spPr>
        </p:pic>
        <p:sp>
          <p:nvSpPr>
            <p:cNvPr id="10" name="Rectangle 9">
              <a:extLst>
                <a:ext uri="{FF2B5EF4-FFF2-40B4-BE49-F238E27FC236}">
                  <a16:creationId xmlns:a16="http://schemas.microsoft.com/office/drawing/2014/main" id="{CFFEB51C-A8FB-F3D9-57A0-041FD334D7E8}"/>
                </a:ext>
              </a:extLst>
            </p:cNvPr>
            <p:cNvSpPr/>
            <p:nvPr/>
          </p:nvSpPr>
          <p:spPr>
            <a:xfrm>
              <a:off x="12582368" y="2880364"/>
              <a:ext cx="4418351" cy="5514503"/>
            </a:xfrm>
            <a:prstGeom prst="rect">
              <a:avLst/>
            </a:prstGeom>
            <a:noFill/>
            <a:ln>
              <a:solidFill>
                <a:srgbClr val="6800FF"/>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Google Shape;13422;p173">
              <a:extLst>
                <a:ext uri="{FF2B5EF4-FFF2-40B4-BE49-F238E27FC236}">
                  <a16:creationId xmlns:a16="http://schemas.microsoft.com/office/drawing/2014/main" id="{7D8AE067-86C9-01FE-00E5-D81A8821D4E2}"/>
                </a:ext>
              </a:extLst>
            </p:cNvPr>
            <p:cNvSpPr txBox="1"/>
            <p:nvPr/>
          </p:nvSpPr>
          <p:spPr>
            <a:xfrm>
              <a:off x="12517142" y="2539835"/>
              <a:ext cx="4552211" cy="846365"/>
            </a:xfrm>
            <a:prstGeom prst="rect">
              <a:avLst/>
            </a:prstGeom>
            <a:noFill/>
            <a:ln>
              <a:noFill/>
            </a:ln>
          </p:spPr>
          <p:txBody>
            <a:bodyPr spcFirstLastPara="1" wrap="square" lIns="68570" tIns="68570" rIns="68570" bIns="68570" anchor="ctr" anchorCtr="0">
              <a:spAutoFit/>
            </a:bodyPr>
            <a:lstStyle/>
            <a:p>
              <a:pPr algn="ctr" defTabSz="1371600">
                <a:spcAft>
                  <a:spcPts val="1200"/>
                </a:spcAft>
                <a:defRPr/>
              </a:pPr>
              <a:r>
                <a:rPr lang="en-US" sz="1800" b="1" kern="1200" noProof="0">
                  <a:solidFill>
                    <a:schemeClr val="tx1"/>
                  </a:solidFill>
                  <a:highlight>
                    <a:srgbClr val="6800FF"/>
                  </a:highlight>
                  <a:latin typeface="Montserrat"/>
                  <a:ea typeface="Roboto"/>
                  <a:cs typeface="Roboto"/>
                  <a:sym typeface="Roboto"/>
                </a:rPr>
                <a:t>Retrieval Augmented Reasoning (RAR)</a:t>
              </a:r>
              <a:endParaRPr lang="en-US" sz="1800" noProof="0">
                <a:solidFill>
                  <a:schemeClr val="tx1"/>
                </a:solidFill>
                <a:ea typeface="+mn-ea"/>
              </a:endParaRPr>
            </a:p>
          </p:txBody>
        </p:sp>
      </p:grpSp>
      <p:grpSp>
        <p:nvGrpSpPr>
          <p:cNvPr id="13" name="Group 7">
            <a:extLst>
              <a:ext uri="{FF2B5EF4-FFF2-40B4-BE49-F238E27FC236}">
                <a16:creationId xmlns:a16="http://schemas.microsoft.com/office/drawing/2014/main" id="{84B14F17-4C78-1600-82A2-00598F7CCAED}"/>
              </a:ext>
            </a:extLst>
          </p:cNvPr>
          <p:cNvGrpSpPr/>
          <p:nvPr/>
        </p:nvGrpSpPr>
        <p:grpSpPr>
          <a:xfrm>
            <a:off x="4273400" y="1578330"/>
            <a:ext cx="612363" cy="56823"/>
            <a:chOff x="0" y="0"/>
            <a:chExt cx="1078484" cy="100076"/>
          </a:xfrm>
        </p:grpSpPr>
        <p:sp>
          <p:nvSpPr>
            <p:cNvPr id="12" name="Freeform 8">
              <a:extLst>
                <a:ext uri="{FF2B5EF4-FFF2-40B4-BE49-F238E27FC236}">
                  <a16:creationId xmlns:a16="http://schemas.microsoft.com/office/drawing/2014/main" id="{105F0C08-9DD1-A157-FE8F-665AABEE6AF0}"/>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spTree>
    <p:extLst>
      <p:ext uri="{BB962C8B-B14F-4D97-AF65-F5344CB8AC3E}">
        <p14:creationId xmlns:p14="http://schemas.microsoft.com/office/powerpoint/2010/main" val="6135982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96FBF4-D6F8-D344-A94A-3667DE164D33}"/>
              </a:ext>
            </a:extLst>
          </p:cNvPr>
          <p:cNvSpPr txBox="1">
            <a:spLocks/>
          </p:cNvSpPr>
          <p:nvPr/>
        </p:nvSpPr>
        <p:spPr>
          <a:xfrm>
            <a:off x="474034" y="762318"/>
            <a:ext cx="16563699" cy="1145400"/>
          </a:xfrm>
          <a:prstGeom prst="rect">
            <a:avLst/>
          </a:prstGeom>
        </p:spPr>
        <p:txBody>
          <a:bodyPr vert="horz" lIns="91440" tIns="45720" rIns="91440" bIns="45720" rtlCol="0" anchor="ctr">
            <a:normAutofit lnSpcReduction="10000"/>
          </a:bodyPr>
          <a:lstStyle>
            <a:lvl1pPr algn="l" defTabSz="1371600" rtl="0" eaLnBrk="1" latinLnBrk="0" hangingPunct="1">
              <a:lnSpc>
                <a:spcPct val="90000"/>
              </a:lnSpc>
              <a:spcBef>
                <a:spcPct val="0"/>
              </a:spcBef>
              <a:buNone/>
              <a:defRPr sz="6600" kern="1200">
                <a:solidFill>
                  <a:schemeClr val="tx1"/>
                </a:solidFill>
                <a:latin typeface="+mj-lt"/>
                <a:ea typeface="+mj-ea"/>
                <a:cs typeface="+mj-cs"/>
              </a:defRPr>
            </a:lvl1pPr>
          </a:lstStyle>
          <a:p>
            <a:pPr>
              <a:buClrTx/>
              <a:buFontTx/>
            </a:pPr>
            <a:r>
              <a:rPr lang="es-ES" sz="4000" b="1" noProof="0" dirty="0">
                <a:solidFill>
                  <a:schemeClr val="bg1"/>
                </a:solidFill>
                <a:latin typeface="Montserrat"/>
                <a:ea typeface="+mn-ea"/>
                <a:cs typeface="+mn-cs"/>
              </a:rPr>
              <a:t>REASON</a:t>
            </a:r>
            <a:r>
              <a:rPr lang="es-ES" sz="4000" b="1" dirty="0">
                <a:solidFill>
                  <a:schemeClr val="bg1"/>
                </a:solidFill>
                <a:latin typeface="Montserrat"/>
                <a:ea typeface="+mn-ea"/>
                <a:cs typeface="+mn-cs"/>
              </a:rPr>
              <a:t> </a:t>
            </a:r>
            <a:r>
              <a:rPr lang="es-ES" sz="4000" b="1" dirty="0" err="1">
                <a:solidFill>
                  <a:schemeClr val="bg1"/>
                </a:solidFill>
                <a:latin typeface="Montserrat"/>
                <a:ea typeface="+mn-ea"/>
                <a:cs typeface="+mn-cs"/>
              </a:rPr>
              <a:t>Workflow</a:t>
            </a:r>
            <a:endParaRPr lang="es-ES" noProof="0" dirty="0" err="1">
              <a:solidFill>
                <a:schemeClr val="bg1"/>
              </a:solidFill>
              <a:cs typeface="Arial"/>
            </a:endParaRPr>
          </a:p>
          <a:p>
            <a:pPr>
              <a:lnSpc>
                <a:spcPct val="150000"/>
              </a:lnSpc>
              <a:buClrTx/>
              <a:buFontTx/>
            </a:pPr>
            <a:r>
              <a:rPr lang="es-ES" sz="2800" b="1" dirty="0" err="1">
                <a:solidFill>
                  <a:srgbClr val="6800FF"/>
                </a:solidFill>
                <a:latin typeface="Montserrat Light"/>
                <a:ea typeface="+mn-ea"/>
                <a:cs typeface="+mn-cs"/>
              </a:rPr>
              <a:t>Delivering</a:t>
            </a:r>
            <a:r>
              <a:rPr lang="es-ES" sz="2800" b="1" dirty="0">
                <a:solidFill>
                  <a:srgbClr val="6800FF"/>
                </a:solidFill>
                <a:latin typeface="Montserrat Light"/>
                <a:ea typeface="+mn-ea"/>
                <a:cs typeface="+mn-cs"/>
              </a:rPr>
              <a:t> </a:t>
            </a:r>
            <a:r>
              <a:rPr lang="es-ES" sz="2800" b="1" dirty="0" err="1">
                <a:solidFill>
                  <a:srgbClr val="6800FF"/>
                </a:solidFill>
                <a:latin typeface="Montserrat Light"/>
                <a:ea typeface="+mn-ea"/>
                <a:cs typeface="+mn-cs"/>
              </a:rPr>
              <a:t>integrated</a:t>
            </a:r>
            <a:r>
              <a:rPr lang="es-ES" sz="2800" b="1" dirty="0">
                <a:solidFill>
                  <a:srgbClr val="6800FF"/>
                </a:solidFill>
                <a:latin typeface="Montserrat Light"/>
                <a:ea typeface="+mn-ea"/>
                <a:cs typeface="+mn-cs"/>
              </a:rPr>
              <a:t> </a:t>
            </a:r>
            <a:r>
              <a:rPr lang="es-ES" sz="2800" b="1" dirty="0" err="1">
                <a:solidFill>
                  <a:srgbClr val="6800FF"/>
                </a:solidFill>
                <a:latin typeface="Montserrat Light"/>
                <a:ea typeface="+mn-ea"/>
                <a:cs typeface="+mn-cs"/>
              </a:rPr>
              <a:t>solutions</a:t>
            </a:r>
            <a:r>
              <a:rPr lang="es-ES" sz="2800" b="1" dirty="0">
                <a:solidFill>
                  <a:srgbClr val="6800FF"/>
                </a:solidFill>
                <a:latin typeface="Montserrat Light"/>
                <a:ea typeface="+mn-ea"/>
                <a:cs typeface="+mn-cs"/>
              </a:rPr>
              <a:t> </a:t>
            </a:r>
            <a:r>
              <a:rPr lang="es-ES" sz="2800" b="1" dirty="0" err="1">
                <a:solidFill>
                  <a:srgbClr val="6800FF"/>
                </a:solidFill>
                <a:latin typeface="Montserrat Light"/>
                <a:ea typeface="+mn-ea"/>
                <a:cs typeface="+mn-cs"/>
              </a:rPr>
              <a:t>based</a:t>
            </a:r>
            <a:r>
              <a:rPr lang="es-ES" sz="2800" b="1" dirty="0">
                <a:solidFill>
                  <a:srgbClr val="6800FF"/>
                </a:solidFill>
                <a:latin typeface="Montserrat Light"/>
                <a:ea typeface="+mn-ea"/>
                <a:cs typeface="+mn-cs"/>
              </a:rPr>
              <a:t> </a:t>
            </a:r>
            <a:r>
              <a:rPr lang="es-ES" sz="2800" b="1" dirty="0" err="1">
                <a:solidFill>
                  <a:srgbClr val="6800FF"/>
                </a:solidFill>
                <a:latin typeface="Montserrat Light"/>
                <a:ea typeface="+mn-ea"/>
                <a:cs typeface="+mn-cs"/>
              </a:rPr>
              <a:t>on</a:t>
            </a:r>
            <a:r>
              <a:rPr lang="es-ES" sz="2800" b="1" dirty="0">
                <a:solidFill>
                  <a:srgbClr val="6800FF"/>
                </a:solidFill>
                <a:latin typeface="Montserrat Light"/>
                <a:ea typeface="+mn-ea"/>
                <a:cs typeface="+mn-cs"/>
              </a:rPr>
              <a:t> </a:t>
            </a:r>
            <a:r>
              <a:rPr lang="es-ES" sz="2800" b="1" dirty="0" err="1">
                <a:solidFill>
                  <a:srgbClr val="6800FF"/>
                </a:solidFill>
                <a:latin typeface="Montserrat Light"/>
                <a:ea typeface="+mn-ea"/>
                <a:cs typeface="+mn-cs"/>
              </a:rPr>
              <a:t>an</a:t>
            </a:r>
            <a:r>
              <a:rPr lang="es-ES" sz="2800" b="1" dirty="0">
                <a:solidFill>
                  <a:srgbClr val="6800FF"/>
                </a:solidFill>
                <a:latin typeface="Montserrat Light"/>
                <a:ea typeface="+mn-ea"/>
                <a:cs typeface="+mn-cs"/>
              </a:rPr>
              <a:t> </a:t>
            </a:r>
            <a:r>
              <a:rPr lang="es-ES" sz="2800" b="1" dirty="0" err="1">
                <a:solidFill>
                  <a:srgbClr val="6800FF"/>
                </a:solidFill>
                <a:latin typeface="Montserrat Light"/>
                <a:ea typeface="+mn-ea"/>
                <a:cs typeface="+mn-cs"/>
              </a:rPr>
              <a:t>Intelligent</a:t>
            </a:r>
            <a:r>
              <a:rPr lang="es-ES" sz="2800" b="1" dirty="0">
                <a:solidFill>
                  <a:srgbClr val="6800FF"/>
                </a:solidFill>
                <a:latin typeface="Montserrat Light"/>
                <a:ea typeface="+mn-ea"/>
                <a:cs typeface="+mn-cs"/>
              </a:rPr>
              <a:t> </a:t>
            </a:r>
            <a:r>
              <a:rPr lang="es-ES" sz="2800" b="1" dirty="0" err="1">
                <a:solidFill>
                  <a:srgbClr val="6800FF"/>
                </a:solidFill>
                <a:latin typeface="Montserrat Light"/>
                <a:ea typeface="+mn-ea"/>
                <a:cs typeface="+mn-cs"/>
              </a:rPr>
              <a:t>Decision-Making</a:t>
            </a:r>
            <a:r>
              <a:rPr lang="es-ES" sz="2800" b="1" dirty="0">
                <a:solidFill>
                  <a:srgbClr val="6800FF"/>
                </a:solidFill>
                <a:latin typeface="Montserrat Light"/>
                <a:ea typeface="+mn-ea"/>
                <a:cs typeface="+mn-cs"/>
              </a:rPr>
              <a:t> </a:t>
            </a:r>
            <a:r>
              <a:rPr lang="es-ES" sz="2800" b="1" dirty="0" err="1">
                <a:solidFill>
                  <a:srgbClr val="6800FF"/>
                </a:solidFill>
                <a:latin typeface="Montserrat Light"/>
                <a:ea typeface="+mn-ea"/>
                <a:cs typeface="+mn-cs"/>
              </a:rPr>
              <a:t>Platform</a:t>
            </a:r>
            <a:endParaRPr lang="es-ES" sz="2800" b="1" dirty="0">
              <a:solidFill>
                <a:srgbClr val="6800FF"/>
              </a:solidFill>
              <a:latin typeface="Montserrat Light"/>
              <a:ea typeface="+mn-ea"/>
              <a:cs typeface="+mn-cs"/>
            </a:endParaRPr>
          </a:p>
        </p:txBody>
      </p:sp>
      <p:grpSp>
        <p:nvGrpSpPr>
          <p:cNvPr id="3" name="Group 7">
            <a:extLst>
              <a:ext uri="{FF2B5EF4-FFF2-40B4-BE49-F238E27FC236}">
                <a16:creationId xmlns:a16="http://schemas.microsoft.com/office/drawing/2014/main" id="{65DB04F4-C391-F91C-6C9A-4B9C6BE7C6F2}"/>
              </a:ext>
            </a:extLst>
          </p:cNvPr>
          <p:cNvGrpSpPr/>
          <p:nvPr/>
        </p:nvGrpSpPr>
        <p:grpSpPr>
          <a:xfrm>
            <a:off x="5426934" y="1186129"/>
            <a:ext cx="612363" cy="56823"/>
            <a:chOff x="0" y="0"/>
            <a:chExt cx="1078484" cy="100076"/>
          </a:xfrm>
        </p:grpSpPr>
        <p:sp>
          <p:nvSpPr>
            <p:cNvPr id="4" name="Freeform 8">
              <a:extLst>
                <a:ext uri="{FF2B5EF4-FFF2-40B4-BE49-F238E27FC236}">
                  <a16:creationId xmlns:a16="http://schemas.microsoft.com/office/drawing/2014/main" id="{FBDD8D81-4BBB-4526-7D75-627FC2BD4B42}"/>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es-ES" noProof="0"/>
            </a:p>
          </p:txBody>
        </p:sp>
      </p:grpSp>
      <p:sp>
        <p:nvSpPr>
          <p:cNvPr id="5" name="Retângulo: Cantos Arredondados 2047">
            <a:extLst>
              <a:ext uri="{FF2B5EF4-FFF2-40B4-BE49-F238E27FC236}">
                <a16:creationId xmlns:a16="http://schemas.microsoft.com/office/drawing/2014/main" id="{EA5A3E9F-E2E8-776B-B19A-DBF944EF2C03}"/>
              </a:ext>
            </a:extLst>
          </p:cNvPr>
          <p:cNvSpPr/>
          <p:nvPr/>
        </p:nvSpPr>
        <p:spPr>
          <a:xfrm>
            <a:off x="11840762" y="4202200"/>
            <a:ext cx="331393" cy="2614121"/>
          </a:xfrm>
          <a:prstGeom prst="roundRect">
            <a:avLst>
              <a:gd name="adj" fmla="val 8519"/>
            </a:avLst>
          </a:prstGeom>
          <a:noFill/>
          <a:ln w="19050" cap="flat" cmpd="sng" algn="ctr">
            <a:solidFill>
              <a:srgbClr val="DAC4EA"/>
            </a:solidFill>
            <a:prstDash val="solid"/>
          </a:ln>
          <a:effectLst/>
        </p:spPr>
        <p:txBody>
          <a:bodyPr rtlCol="0" anchor="t"/>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srgbClr val="4285F4"/>
              </a:solidFill>
              <a:effectLst/>
              <a:uLnTx/>
              <a:uFillTx/>
              <a:latin typeface="Montserrat" panose="00000500000000000000" pitchFamily="2" charset="0"/>
              <a:ea typeface="+mn-ea"/>
              <a:cs typeface="+mn-cs"/>
            </a:endParaRPr>
          </a:p>
        </p:txBody>
      </p:sp>
      <p:sp>
        <p:nvSpPr>
          <p:cNvPr id="6" name="Retângulo: Cantos Arredondados 2048">
            <a:extLst>
              <a:ext uri="{FF2B5EF4-FFF2-40B4-BE49-F238E27FC236}">
                <a16:creationId xmlns:a16="http://schemas.microsoft.com/office/drawing/2014/main" id="{5BDF4595-F75F-56C6-1FE3-0D746AF920F8}"/>
              </a:ext>
            </a:extLst>
          </p:cNvPr>
          <p:cNvSpPr/>
          <p:nvPr/>
        </p:nvSpPr>
        <p:spPr>
          <a:xfrm>
            <a:off x="1931170" y="2512759"/>
            <a:ext cx="11662994" cy="1889503"/>
          </a:xfrm>
          <a:prstGeom prst="roundRect">
            <a:avLst>
              <a:gd name="adj" fmla="val 8519"/>
            </a:avLst>
          </a:prstGeom>
          <a:noFill/>
          <a:ln w="19050" cap="flat" cmpd="sng" algn="ctr">
            <a:solidFill>
              <a:srgbClr val="DAC4EA"/>
            </a:solidFill>
            <a:prstDash val="solid"/>
          </a:ln>
          <a:effectLst/>
        </p:spPr>
        <p:txBody>
          <a:bodyPr rtlCol="0" anchor="t"/>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0000"/>
              </a:solidFill>
              <a:effectLst/>
              <a:uLnTx/>
              <a:uFillTx/>
              <a:latin typeface="Montserrat" panose="00000500000000000000" pitchFamily="2" charset="0"/>
              <a:ea typeface="+mn-ea"/>
              <a:cs typeface="+mn-cs"/>
            </a:endParaRPr>
          </a:p>
        </p:txBody>
      </p:sp>
      <p:sp>
        <p:nvSpPr>
          <p:cNvPr id="7" name="Retângulo: Cantos Arredondados 2050">
            <a:extLst>
              <a:ext uri="{FF2B5EF4-FFF2-40B4-BE49-F238E27FC236}">
                <a16:creationId xmlns:a16="http://schemas.microsoft.com/office/drawing/2014/main" id="{FBDE5220-D25A-688F-C5B0-8BFCBE77EA9A}"/>
              </a:ext>
            </a:extLst>
          </p:cNvPr>
          <p:cNvSpPr/>
          <p:nvPr/>
        </p:nvSpPr>
        <p:spPr>
          <a:xfrm>
            <a:off x="1931170" y="6727459"/>
            <a:ext cx="11662994" cy="1670847"/>
          </a:xfrm>
          <a:prstGeom prst="roundRect">
            <a:avLst>
              <a:gd name="adj" fmla="val 8519"/>
            </a:avLst>
          </a:prstGeom>
          <a:noFill/>
          <a:ln w="19050" cap="flat" cmpd="sng" algn="ctr">
            <a:solidFill>
              <a:srgbClr val="DAC4EA"/>
            </a:solidFill>
            <a:prstDash val="solid"/>
          </a:ln>
          <a:effectLst/>
        </p:spPr>
        <p:txBody>
          <a:bodyPr rtlCol="0" anchor="b"/>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0000"/>
              </a:solidFill>
              <a:effectLst/>
              <a:uLnTx/>
              <a:uFillTx/>
              <a:latin typeface="Montserrat" panose="00000500000000000000" pitchFamily="2" charset="0"/>
              <a:ea typeface="+mn-ea"/>
              <a:cs typeface="+mn-cs"/>
            </a:endParaRPr>
          </a:p>
        </p:txBody>
      </p:sp>
      <p:sp>
        <p:nvSpPr>
          <p:cNvPr id="8" name="Retângulo: Cantos Arredondados 2052">
            <a:extLst>
              <a:ext uri="{FF2B5EF4-FFF2-40B4-BE49-F238E27FC236}">
                <a16:creationId xmlns:a16="http://schemas.microsoft.com/office/drawing/2014/main" id="{BE837389-0412-D429-811C-FF89BFF03AEA}"/>
              </a:ext>
            </a:extLst>
          </p:cNvPr>
          <p:cNvSpPr/>
          <p:nvPr/>
        </p:nvSpPr>
        <p:spPr>
          <a:xfrm>
            <a:off x="5113352" y="4239348"/>
            <a:ext cx="3523970" cy="3273051"/>
          </a:xfrm>
          <a:prstGeom prst="roundRect">
            <a:avLst>
              <a:gd name="adj" fmla="val 3997"/>
            </a:avLst>
          </a:prstGeom>
          <a:solidFill>
            <a:srgbClr val="150238"/>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s-ES" sz="2400" b="1" i="0" u="none" strike="noStrike" kern="1200" cap="none" spc="0" normalizeH="0" baseline="0" noProof="0">
              <a:ln>
                <a:noFill/>
              </a:ln>
              <a:solidFill>
                <a:srgbClr val="FFFFFF"/>
              </a:solidFill>
              <a:effectLst/>
              <a:uLnTx/>
              <a:uFillTx/>
              <a:latin typeface="Montserrat" panose="00000500000000000000" pitchFamily="2" charset="0"/>
              <a:ea typeface="+mn-ea"/>
              <a:cs typeface="+mn-cs"/>
            </a:endParaRPr>
          </a:p>
        </p:txBody>
      </p:sp>
      <p:sp>
        <p:nvSpPr>
          <p:cNvPr id="9" name="Retângulo: Cantos Arredondados 2053">
            <a:extLst>
              <a:ext uri="{FF2B5EF4-FFF2-40B4-BE49-F238E27FC236}">
                <a16:creationId xmlns:a16="http://schemas.microsoft.com/office/drawing/2014/main" id="{CC281C43-B234-F129-4081-546B6D1C6BA0}"/>
              </a:ext>
            </a:extLst>
          </p:cNvPr>
          <p:cNvSpPr/>
          <p:nvPr/>
        </p:nvSpPr>
        <p:spPr>
          <a:xfrm>
            <a:off x="2258408" y="3321117"/>
            <a:ext cx="2548461" cy="1999375"/>
          </a:xfrm>
          <a:prstGeom prst="roundRect">
            <a:avLst>
              <a:gd name="adj" fmla="val 10000"/>
            </a:avLst>
          </a:prstGeom>
          <a:solidFill>
            <a:srgbClr val="9762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srgbClr val="FFFFFF"/>
              </a:solidFill>
              <a:effectLst/>
              <a:uLnTx/>
              <a:uFillTx/>
              <a:latin typeface="Montserrat" panose="00000500000000000000" pitchFamily="2" charset="0"/>
              <a:ea typeface="+mn-ea"/>
              <a:cs typeface="+mn-cs"/>
            </a:endParaRPr>
          </a:p>
        </p:txBody>
      </p:sp>
      <p:sp>
        <p:nvSpPr>
          <p:cNvPr id="10" name="Retângulo: Cantos Arredondados 2054">
            <a:extLst>
              <a:ext uri="{FF2B5EF4-FFF2-40B4-BE49-F238E27FC236}">
                <a16:creationId xmlns:a16="http://schemas.microsoft.com/office/drawing/2014/main" id="{73ABE2AF-EDF4-7D05-ED4E-AC579FF220DA}"/>
              </a:ext>
            </a:extLst>
          </p:cNvPr>
          <p:cNvSpPr/>
          <p:nvPr/>
        </p:nvSpPr>
        <p:spPr>
          <a:xfrm>
            <a:off x="2258408" y="5513024"/>
            <a:ext cx="2548461" cy="1999375"/>
          </a:xfrm>
          <a:prstGeom prst="roundRect">
            <a:avLst>
              <a:gd name="adj" fmla="val 8519"/>
            </a:avLst>
          </a:prstGeom>
          <a:solidFill>
            <a:srgbClr val="9762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srgbClr val="FFFFFF"/>
              </a:solidFill>
              <a:effectLst/>
              <a:uLnTx/>
              <a:uFillTx/>
              <a:latin typeface="Montserrat" panose="00000500000000000000" pitchFamily="2" charset="0"/>
              <a:ea typeface="+mn-ea"/>
              <a:cs typeface="+mn-cs"/>
            </a:endParaRPr>
          </a:p>
        </p:txBody>
      </p:sp>
      <p:sp>
        <p:nvSpPr>
          <p:cNvPr id="11" name="Retângulo: Cantos Arredondados 2055">
            <a:extLst>
              <a:ext uri="{FF2B5EF4-FFF2-40B4-BE49-F238E27FC236}">
                <a16:creationId xmlns:a16="http://schemas.microsoft.com/office/drawing/2014/main" id="{E6B32508-97EE-86C3-E54B-B9854BEAE436}"/>
              </a:ext>
            </a:extLst>
          </p:cNvPr>
          <p:cNvSpPr/>
          <p:nvPr/>
        </p:nvSpPr>
        <p:spPr>
          <a:xfrm>
            <a:off x="10720560" y="3321117"/>
            <a:ext cx="2548461" cy="875498"/>
          </a:xfrm>
          <a:prstGeom prst="roundRect">
            <a:avLst/>
          </a:prstGeom>
          <a:solidFill>
            <a:srgbClr val="9762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srgbClr val="FFFFFF"/>
              </a:solidFill>
              <a:effectLst/>
              <a:uLnTx/>
              <a:uFillTx/>
              <a:latin typeface="Montserrat" panose="00000500000000000000" pitchFamily="2" charset="0"/>
              <a:ea typeface="+mn-ea"/>
              <a:cs typeface="+mn-cs"/>
            </a:endParaRPr>
          </a:p>
        </p:txBody>
      </p:sp>
      <p:sp>
        <p:nvSpPr>
          <p:cNvPr id="12" name="Retângulo: Cantos Arredondados 2056">
            <a:extLst>
              <a:ext uri="{FF2B5EF4-FFF2-40B4-BE49-F238E27FC236}">
                <a16:creationId xmlns:a16="http://schemas.microsoft.com/office/drawing/2014/main" id="{2415221E-93AD-3103-BA0F-3813822FB90E}"/>
              </a:ext>
            </a:extLst>
          </p:cNvPr>
          <p:cNvSpPr/>
          <p:nvPr/>
        </p:nvSpPr>
        <p:spPr>
          <a:xfrm>
            <a:off x="5113352" y="3321117"/>
            <a:ext cx="3523970" cy="740509"/>
          </a:xfrm>
          <a:prstGeom prst="roundRect">
            <a:avLst/>
          </a:prstGeom>
          <a:solidFill>
            <a:srgbClr val="FFFFFF"/>
          </a:solidFill>
          <a:ln w="19050" cap="flat" cmpd="sng" algn="ctr">
            <a:solidFill>
              <a:srgbClr val="6800FF"/>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srgbClr val="000000"/>
              </a:solidFill>
              <a:effectLst/>
              <a:uLnTx/>
              <a:uFillTx/>
              <a:latin typeface="Montserrat" panose="00000500000000000000" pitchFamily="2" charset="0"/>
              <a:ea typeface="+mn-ea"/>
              <a:cs typeface="+mn-cs"/>
            </a:endParaRPr>
          </a:p>
        </p:txBody>
      </p:sp>
      <p:sp>
        <p:nvSpPr>
          <p:cNvPr id="13" name="CaixaDeTexto 2057">
            <a:extLst>
              <a:ext uri="{FF2B5EF4-FFF2-40B4-BE49-F238E27FC236}">
                <a16:creationId xmlns:a16="http://schemas.microsoft.com/office/drawing/2014/main" id="{BDE705C1-56E0-34A8-3EAA-62E46204635B}"/>
              </a:ext>
            </a:extLst>
          </p:cNvPr>
          <p:cNvSpPr txBox="1"/>
          <p:nvPr/>
        </p:nvSpPr>
        <p:spPr>
          <a:xfrm>
            <a:off x="2974885" y="5716496"/>
            <a:ext cx="1906288" cy="369332"/>
          </a:xfrm>
          <a:prstGeom prst="rect">
            <a:avLst/>
          </a:prstGeom>
          <a:noFill/>
        </p:spPr>
        <p:txBody>
          <a:bodyPr wrap="square" lIns="91440" tIns="45720" rIns="91440" bIns="45720" anchor="t">
            <a:spAutoFit/>
          </a:bodyPr>
          <a:lstStyle/>
          <a:p>
            <a:pPr algn="ctr" defTabSz="685800">
              <a:defRPr/>
            </a:pPr>
            <a:r>
              <a:rPr lang="es-ES" sz="1800" kern="1200" dirty="0">
                <a:solidFill>
                  <a:srgbClr val="FFFFFF"/>
                </a:solidFill>
                <a:latin typeface="Montserrat"/>
                <a:ea typeface="+mn-ea"/>
              </a:rPr>
              <a:t>Data </a:t>
            </a:r>
            <a:r>
              <a:rPr lang="es-ES" sz="1800" kern="1200" dirty="0" err="1">
                <a:solidFill>
                  <a:srgbClr val="FFFFFF"/>
                </a:solidFill>
                <a:latin typeface="Montserrat"/>
                <a:ea typeface="+mn-ea"/>
              </a:rPr>
              <a:t>Sources</a:t>
            </a:r>
            <a:endParaRPr lang="en-US" dirty="0" err="1">
              <a:ea typeface="+mn-ea"/>
            </a:endParaRPr>
          </a:p>
        </p:txBody>
      </p:sp>
      <p:pic>
        <p:nvPicPr>
          <p:cNvPr id="14" name="Imagem 2058">
            <a:extLst>
              <a:ext uri="{FF2B5EF4-FFF2-40B4-BE49-F238E27FC236}">
                <a16:creationId xmlns:a16="http://schemas.microsoft.com/office/drawing/2014/main" id="{8046FB77-E990-ACA2-2A87-6CC21B4262A2}"/>
              </a:ext>
            </a:extLst>
          </p:cNvPr>
          <p:cNvPicPr>
            <a:picLocks noChangeAspect="1"/>
          </p:cNvPicPr>
          <p:nvPr/>
        </p:nvPicPr>
        <p:blipFill>
          <a:blip r:embed="rId2">
            <a:lum bright="70000" contrast="-70000"/>
          </a:blip>
          <a:stretch>
            <a:fillRect/>
          </a:stretch>
        </p:blipFill>
        <p:spPr>
          <a:xfrm>
            <a:off x="2454607" y="3962946"/>
            <a:ext cx="658119" cy="696079"/>
          </a:xfrm>
          <a:prstGeom prst="rect">
            <a:avLst/>
          </a:prstGeom>
        </p:spPr>
      </p:pic>
      <p:sp>
        <p:nvSpPr>
          <p:cNvPr id="15" name="CaixaDeTexto 2059">
            <a:extLst>
              <a:ext uri="{FF2B5EF4-FFF2-40B4-BE49-F238E27FC236}">
                <a16:creationId xmlns:a16="http://schemas.microsoft.com/office/drawing/2014/main" id="{8C821D64-F68E-E912-EE03-2C4CB19B0CC4}"/>
              </a:ext>
            </a:extLst>
          </p:cNvPr>
          <p:cNvSpPr txBox="1"/>
          <p:nvPr/>
        </p:nvSpPr>
        <p:spPr>
          <a:xfrm>
            <a:off x="2934905" y="3911283"/>
            <a:ext cx="1871964" cy="646331"/>
          </a:xfrm>
          <a:prstGeom prst="rect">
            <a:avLst/>
          </a:prstGeom>
          <a:noFill/>
        </p:spPr>
        <p:txBody>
          <a:bodyPr wrap="square" lIns="91440" tIns="45720" rIns="91440" bIns="45720" anchor="t">
            <a:spAutoFit/>
          </a:bodyPr>
          <a:lstStyle/>
          <a:p>
            <a:pPr algn="ctr" defTabSz="685800">
              <a:defRPr/>
            </a:pPr>
            <a:r>
              <a:rPr lang="es-ES" sz="1800" kern="1200" dirty="0" err="1">
                <a:solidFill>
                  <a:srgbClr val="FFFFFF"/>
                </a:solidFill>
                <a:latin typeface="Montserrat"/>
                <a:ea typeface="+mn-ea"/>
              </a:rPr>
              <a:t>Decision</a:t>
            </a:r>
            <a:r>
              <a:rPr lang="es-ES" sz="1800" kern="1200" dirty="0">
                <a:solidFill>
                  <a:srgbClr val="FFFFFF"/>
                </a:solidFill>
                <a:latin typeface="Montserrat"/>
                <a:ea typeface="+mn-ea"/>
              </a:rPr>
              <a:t> </a:t>
            </a:r>
            <a:r>
              <a:rPr lang="es-ES" sz="1800" kern="1200" dirty="0" err="1">
                <a:solidFill>
                  <a:srgbClr val="FFFFFF"/>
                </a:solidFill>
                <a:latin typeface="Montserrat"/>
                <a:ea typeface="+mn-ea"/>
              </a:rPr>
              <a:t>Mapping</a:t>
            </a:r>
            <a:endParaRPr lang="en-US" dirty="0" err="1">
              <a:ea typeface="+mn-ea"/>
            </a:endParaRPr>
          </a:p>
        </p:txBody>
      </p:sp>
      <p:pic>
        <p:nvPicPr>
          <p:cNvPr id="16" name="Imagem 2060">
            <a:extLst>
              <a:ext uri="{FF2B5EF4-FFF2-40B4-BE49-F238E27FC236}">
                <a16:creationId xmlns:a16="http://schemas.microsoft.com/office/drawing/2014/main" id="{46B8C078-EB38-02E8-EB49-F13B231418AA}"/>
              </a:ext>
            </a:extLst>
          </p:cNvPr>
          <p:cNvPicPr>
            <a:picLocks noChangeAspect="1"/>
          </p:cNvPicPr>
          <p:nvPr/>
        </p:nvPicPr>
        <p:blipFill>
          <a:blip r:embed="rId3">
            <a:lum bright="70000" contrast="-70000"/>
          </a:blip>
          <a:stretch>
            <a:fillRect/>
          </a:stretch>
        </p:blipFill>
        <p:spPr>
          <a:xfrm>
            <a:off x="2430522" y="5717890"/>
            <a:ext cx="658119" cy="696079"/>
          </a:xfrm>
          <a:prstGeom prst="rect">
            <a:avLst/>
          </a:prstGeom>
        </p:spPr>
      </p:pic>
      <p:sp>
        <p:nvSpPr>
          <p:cNvPr id="17" name="CaixaDeTexto 2061">
            <a:extLst>
              <a:ext uri="{FF2B5EF4-FFF2-40B4-BE49-F238E27FC236}">
                <a16:creationId xmlns:a16="http://schemas.microsoft.com/office/drawing/2014/main" id="{016F1B8E-04FB-0487-8019-31D1510E2314}"/>
              </a:ext>
            </a:extLst>
          </p:cNvPr>
          <p:cNvSpPr txBox="1"/>
          <p:nvPr/>
        </p:nvSpPr>
        <p:spPr>
          <a:xfrm>
            <a:off x="6181849" y="3371096"/>
            <a:ext cx="2419929" cy="830997"/>
          </a:xfrm>
          <a:prstGeom prst="rect">
            <a:avLst/>
          </a:prstGeom>
          <a:noFill/>
        </p:spPr>
        <p:txBody>
          <a:bodyPr wrap="square" lIns="91440" tIns="45720" rIns="91440" bIns="45720" anchor="t">
            <a:spAutoFit/>
          </a:bodyPr>
          <a:lstStyle/>
          <a:p>
            <a:pPr defTabSz="685800">
              <a:defRPr/>
            </a:pPr>
            <a:r>
              <a:rPr lang="es-ES" sz="1600" kern="1200" dirty="0" err="1">
                <a:solidFill>
                  <a:srgbClr val="150238"/>
                </a:solidFill>
                <a:latin typeface="Montserrat"/>
                <a:ea typeface="+mn-ea"/>
              </a:rPr>
              <a:t>Knowledge</a:t>
            </a:r>
            <a:r>
              <a:rPr lang="es-ES" sz="1600" kern="1200" dirty="0">
                <a:solidFill>
                  <a:srgbClr val="150238"/>
                </a:solidFill>
                <a:latin typeface="Montserrat"/>
                <a:ea typeface="+mn-ea"/>
              </a:rPr>
              <a:t> </a:t>
            </a:r>
            <a:r>
              <a:rPr lang="es-ES" sz="1600" kern="1200" dirty="0" err="1">
                <a:solidFill>
                  <a:srgbClr val="150238"/>
                </a:solidFill>
                <a:latin typeface="Montserrat"/>
                <a:ea typeface="+mn-ea"/>
              </a:rPr>
              <a:t>Graph</a:t>
            </a:r>
            <a:r>
              <a:rPr lang="es-ES" sz="1600" kern="1200" dirty="0">
                <a:solidFill>
                  <a:srgbClr val="150238"/>
                </a:solidFill>
                <a:latin typeface="Montserrat"/>
                <a:ea typeface="+mn-ea"/>
              </a:rPr>
              <a:t> </a:t>
            </a:r>
            <a:r>
              <a:rPr lang="es-ES" sz="1600" kern="1200" dirty="0" err="1">
                <a:solidFill>
                  <a:srgbClr val="150238"/>
                </a:solidFill>
                <a:latin typeface="Montserrat"/>
                <a:ea typeface="+mn-ea"/>
              </a:rPr>
              <a:t>Repository</a:t>
            </a:r>
            <a:endParaRPr lang="en-US" dirty="0" err="1">
              <a:ea typeface="+mn-ea"/>
            </a:endParaRPr>
          </a:p>
          <a:p>
            <a:pPr defTabSz="685800">
              <a:buClrTx/>
              <a:defRPr/>
            </a:pPr>
            <a:endParaRPr lang="es-ES" sz="1600" kern="1200" noProof="0">
              <a:solidFill>
                <a:srgbClr val="150238"/>
              </a:solidFill>
              <a:latin typeface="Montserrat" panose="00000500000000000000" pitchFamily="2" charset="0"/>
              <a:ea typeface="+mn-ea"/>
            </a:endParaRPr>
          </a:p>
        </p:txBody>
      </p:sp>
      <p:pic>
        <p:nvPicPr>
          <p:cNvPr id="18" name="Imagem 2062">
            <a:extLst>
              <a:ext uri="{FF2B5EF4-FFF2-40B4-BE49-F238E27FC236}">
                <a16:creationId xmlns:a16="http://schemas.microsoft.com/office/drawing/2014/main" id="{25FA44FF-C756-97F2-1C3B-542686412EE4}"/>
              </a:ext>
            </a:extLst>
          </p:cNvPr>
          <p:cNvPicPr>
            <a:picLocks noChangeAspect="1"/>
          </p:cNvPicPr>
          <p:nvPr/>
        </p:nvPicPr>
        <p:blipFill>
          <a:blip r:embed="rId4">
            <a:biLevel thresh="75000"/>
          </a:blip>
          <a:stretch>
            <a:fillRect/>
          </a:stretch>
        </p:blipFill>
        <p:spPr>
          <a:xfrm>
            <a:off x="5528450" y="3506091"/>
            <a:ext cx="415137" cy="439082"/>
          </a:xfrm>
          <a:prstGeom prst="rect">
            <a:avLst/>
          </a:prstGeom>
        </p:spPr>
      </p:pic>
      <p:pic>
        <p:nvPicPr>
          <p:cNvPr id="19" name="Imagem 2063">
            <a:extLst>
              <a:ext uri="{FF2B5EF4-FFF2-40B4-BE49-F238E27FC236}">
                <a16:creationId xmlns:a16="http://schemas.microsoft.com/office/drawing/2014/main" id="{5A477BFC-773B-96A4-932F-6FCE5C73F495}"/>
              </a:ext>
            </a:extLst>
          </p:cNvPr>
          <p:cNvPicPr>
            <a:picLocks noChangeAspect="1"/>
          </p:cNvPicPr>
          <p:nvPr/>
        </p:nvPicPr>
        <p:blipFill>
          <a:blip r:embed="rId5">
            <a:lum bright="70000" contrast="-70000"/>
          </a:blip>
          <a:stretch>
            <a:fillRect/>
          </a:stretch>
        </p:blipFill>
        <p:spPr>
          <a:xfrm>
            <a:off x="5783359" y="4505994"/>
            <a:ext cx="406073" cy="429495"/>
          </a:xfrm>
          <a:prstGeom prst="rect">
            <a:avLst/>
          </a:prstGeom>
        </p:spPr>
      </p:pic>
      <p:sp>
        <p:nvSpPr>
          <p:cNvPr id="20" name="CaixaDeTexto 2064">
            <a:extLst>
              <a:ext uri="{FF2B5EF4-FFF2-40B4-BE49-F238E27FC236}">
                <a16:creationId xmlns:a16="http://schemas.microsoft.com/office/drawing/2014/main" id="{CE15C2C1-493C-943E-0298-A827DA31C361}"/>
              </a:ext>
            </a:extLst>
          </p:cNvPr>
          <p:cNvSpPr txBox="1"/>
          <p:nvPr/>
        </p:nvSpPr>
        <p:spPr>
          <a:xfrm>
            <a:off x="5240468" y="4922776"/>
            <a:ext cx="1476683" cy="461665"/>
          </a:xfrm>
          <a:prstGeom prst="rect">
            <a:avLst/>
          </a:prstGeom>
          <a:noFill/>
        </p:spPr>
        <p:txBody>
          <a:bodyPr wrap="square" lIns="91440" tIns="45720" rIns="91440" bIns="45720" anchor="t">
            <a:spAutoFit/>
          </a:bodyPr>
          <a:lstStyle/>
          <a:p>
            <a:pPr algn="ctr" defTabSz="685800">
              <a:defRPr/>
            </a:pPr>
            <a:r>
              <a:rPr lang="es-ES" sz="1200" kern="1200" dirty="0">
                <a:solidFill>
                  <a:srgbClr val="FFFFFF"/>
                </a:solidFill>
                <a:latin typeface="Montserrat"/>
                <a:ea typeface="+mn-ea"/>
              </a:rPr>
              <a:t>Low-</a:t>
            </a:r>
            <a:r>
              <a:rPr lang="es-ES" sz="1200" kern="1200" dirty="0" err="1">
                <a:solidFill>
                  <a:srgbClr val="FFFFFF"/>
                </a:solidFill>
                <a:latin typeface="Montserrat"/>
                <a:ea typeface="+mn-ea"/>
              </a:rPr>
              <a:t>Code</a:t>
            </a:r>
            <a:r>
              <a:rPr lang="es-ES" sz="1200" kern="1200" dirty="0">
                <a:solidFill>
                  <a:srgbClr val="FFFFFF"/>
                </a:solidFill>
                <a:latin typeface="Montserrat"/>
                <a:ea typeface="+mn-ea"/>
              </a:rPr>
              <a:t> </a:t>
            </a:r>
            <a:r>
              <a:rPr lang="es-ES" sz="1200" kern="1200" dirty="0" err="1">
                <a:solidFill>
                  <a:srgbClr val="FFFFFF"/>
                </a:solidFill>
                <a:latin typeface="Montserrat"/>
                <a:ea typeface="+mn-ea"/>
              </a:rPr>
              <a:t>Map</a:t>
            </a:r>
            <a:r>
              <a:rPr lang="es-ES" sz="1200" kern="1200" dirty="0">
                <a:solidFill>
                  <a:srgbClr val="FFFFFF"/>
                </a:solidFill>
                <a:latin typeface="Montserrat"/>
                <a:ea typeface="+mn-ea"/>
              </a:rPr>
              <a:t> </a:t>
            </a:r>
            <a:r>
              <a:rPr lang="es-ES" sz="1200" kern="1200" dirty="0" err="1">
                <a:solidFill>
                  <a:srgbClr val="FFFFFF"/>
                </a:solidFill>
                <a:latin typeface="Montserrat"/>
                <a:ea typeface="+mn-ea"/>
              </a:rPr>
              <a:t>Building</a:t>
            </a:r>
            <a:endParaRPr lang="en-US" sz="1200" kern="1200" dirty="0" err="1">
              <a:solidFill>
                <a:srgbClr val="FFFFFF"/>
              </a:solidFill>
              <a:latin typeface="Montserrat"/>
              <a:ea typeface="+mn-ea"/>
            </a:endParaRPr>
          </a:p>
        </p:txBody>
      </p:sp>
      <p:pic>
        <p:nvPicPr>
          <p:cNvPr id="21" name="Imagem 2065">
            <a:extLst>
              <a:ext uri="{FF2B5EF4-FFF2-40B4-BE49-F238E27FC236}">
                <a16:creationId xmlns:a16="http://schemas.microsoft.com/office/drawing/2014/main" id="{512F43E4-5FEF-F74A-BAE9-96D95E7DB64E}"/>
              </a:ext>
            </a:extLst>
          </p:cNvPr>
          <p:cNvPicPr>
            <a:picLocks noChangeAspect="1"/>
          </p:cNvPicPr>
          <p:nvPr/>
        </p:nvPicPr>
        <p:blipFill>
          <a:blip r:embed="rId6">
            <a:lum bright="70000" contrast="-70000"/>
          </a:blip>
          <a:stretch>
            <a:fillRect/>
          </a:stretch>
        </p:blipFill>
        <p:spPr>
          <a:xfrm>
            <a:off x="2954178" y="6444474"/>
            <a:ext cx="344285" cy="364143"/>
          </a:xfrm>
          <a:prstGeom prst="rect">
            <a:avLst/>
          </a:prstGeom>
        </p:spPr>
      </p:pic>
      <p:sp>
        <p:nvSpPr>
          <p:cNvPr id="22" name="CaixaDeTexto 2066">
            <a:extLst>
              <a:ext uri="{FF2B5EF4-FFF2-40B4-BE49-F238E27FC236}">
                <a16:creationId xmlns:a16="http://schemas.microsoft.com/office/drawing/2014/main" id="{9B25D7F6-C561-11A4-C97E-B63A57F5AD2E}"/>
              </a:ext>
            </a:extLst>
          </p:cNvPr>
          <p:cNvSpPr txBox="1"/>
          <p:nvPr/>
        </p:nvSpPr>
        <p:spPr>
          <a:xfrm>
            <a:off x="3298763" y="6431897"/>
            <a:ext cx="1497952" cy="307777"/>
          </a:xfrm>
          <a:prstGeom prst="rect">
            <a:avLst/>
          </a:prstGeom>
          <a:noFill/>
        </p:spPr>
        <p:txBody>
          <a:bodyPr wrap="square">
            <a:spAutoFit/>
          </a:bodyPr>
          <a:lstStyle/>
          <a:p>
            <a:pPr defTabSz="685800">
              <a:buClrTx/>
              <a:defRPr/>
            </a:pPr>
            <a:r>
              <a:rPr lang="es-ES" kern="1200" noProof="0">
                <a:solidFill>
                  <a:srgbClr val="FFFFFF"/>
                </a:solidFill>
                <a:latin typeface="Montserrat" panose="00000500000000000000" pitchFamily="2" charset="0"/>
                <a:ea typeface="+mn-ea"/>
              </a:rPr>
              <a:t>ETL/API </a:t>
            </a:r>
            <a:r>
              <a:rPr lang="es-ES" kern="1200" noProof="0" err="1">
                <a:solidFill>
                  <a:srgbClr val="FFFFFF"/>
                </a:solidFill>
                <a:latin typeface="Montserrat" panose="00000500000000000000" pitchFamily="2" charset="0"/>
                <a:ea typeface="+mn-ea"/>
              </a:rPr>
              <a:t>Ops</a:t>
            </a:r>
            <a:endParaRPr lang="es-ES" kern="1200" noProof="0">
              <a:solidFill>
                <a:srgbClr val="FFFFFF"/>
              </a:solidFill>
              <a:latin typeface="Montserrat" panose="00000500000000000000" pitchFamily="2" charset="0"/>
              <a:ea typeface="+mn-ea"/>
            </a:endParaRPr>
          </a:p>
        </p:txBody>
      </p:sp>
      <p:pic>
        <p:nvPicPr>
          <p:cNvPr id="23" name="Imagem 2067">
            <a:extLst>
              <a:ext uri="{FF2B5EF4-FFF2-40B4-BE49-F238E27FC236}">
                <a16:creationId xmlns:a16="http://schemas.microsoft.com/office/drawing/2014/main" id="{6CF86FC4-5F60-CCDA-D4CC-EEC130DBD60F}"/>
              </a:ext>
            </a:extLst>
          </p:cNvPr>
          <p:cNvPicPr>
            <a:picLocks noChangeAspect="1"/>
          </p:cNvPicPr>
          <p:nvPr/>
        </p:nvPicPr>
        <p:blipFill>
          <a:blip r:embed="rId7">
            <a:lum bright="70000" contrast="-70000"/>
          </a:blip>
          <a:stretch>
            <a:fillRect/>
          </a:stretch>
        </p:blipFill>
        <p:spPr>
          <a:xfrm>
            <a:off x="5775773" y="6455969"/>
            <a:ext cx="406075" cy="429497"/>
          </a:xfrm>
          <a:prstGeom prst="rect">
            <a:avLst/>
          </a:prstGeom>
        </p:spPr>
      </p:pic>
      <p:sp>
        <p:nvSpPr>
          <p:cNvPr id="24" name="CaixaDeTexto 2068">
            <a:extLst>
              <a:ext uri="{FF2B5EF4-FFF2-40B4-BE49-F238E27FC236}">
                <a16:creationId xmlns:a16="http://schemas.microsoft.com/office/drawing/2014/main" id="{5050A783-F4D8-5FA9-CC04-72FE278B889D}"/>
              </a:ext>
            </a:extLst>
          </p:cNvPr>
          <p:cNvSpPr txBox="1"/>
          <p:nvPr/>
        </p:nvSpPr>
        <p:spPr>
          <a:xfrm>
            <a:off x="5319815" y="6885465"/>
            <a:ext cx="1317988" cy="276999"/>
          </a:xfrm>
          <a:prstGeom prst="rect">
            <a:avLst/>
          </a:prstGeom>
          <a:noFill/>
        </p:spPr>
        <p:txBody>
          <a:bodyPr wrap="square" lIns="91440" tIns="45720" rIns="91440" bIns="45720" anchor="t">
            <a:spAutoFit/>
          </a:bodyPr>
          <a:lstStyle/>
          <a:p>
            <a:pPr algn="ctr" defTabSz="685800">
              <a:defRPr/>
            </a:pPr>
            <a:r>
              <a:rPr lang="es-ES" sz="1200" kern="1200" dirty="0" err="1">
                <a:solidFill>
                  <a:srgbClr val="FFFFFF"/>
                </a:solidFill>
                <a:latin typeface="Montserrat"/>
                <a:ea typeface="+mn-ea"/>
              </a:rPr>
              <a:t>Reasoning</a:t>
            </a:r>
            <a:endParaRPr lang="es-ES" sz="1200" kern="1200" noProof="0" dirty="0" err="1">
              <a:solidFill>
                <a:srgbClr val="FFFFFF"/>
              </a:solidFill>
              <a:latin typeface="Montserrat" panose="00000500000000000000" pitchFamily="2" charset="0"/>
              <a:ea typeface="+mn-ea"/>
            </a:endParaRPr>
          </a:p>
        </p:txBody>
      </p:sp>
      <p:pic>
        <p:nvPicPr>
          <p:cNvPr id="25" name="Imagem 2069">
            <a:extLst>
              <a:ext uri="{FF2B5EF4-FFF2-40B4-BE49-F238E27FC236}">
                <a16:creationId xmlns:a16="http://schemas.microsoft.com/office/drawing/2014/main" id="{961415E8-6D57-7344-ACBA-C64D6309C4B7}"/>
              </a:ext>
            </a:extLst>
          </p:cNvPr>
          <p:cNvPicPr>
            <a:picLocks noChangeAspect="1"/>
          </p:cNvPicPr>
          <p:nvPr/>
        </p:nvPicPr>
        <p:blipFill>
          <a:blip r:embed="rId8">
            <a:lum bright="70000" contrast="-70000"/>
          </a:blip>
          <a:stretch>
            <a:fillRect/>
          </a:stretch>
        </p:blipFill>
        <p:spPr>
          <a:xfrm>
            <a:off x="7530982" y="4468649"/>
            <a:ext cx="413067" cy="436892"/>
          </a:xfrm>
          <a:prstGeom prst="rect">
            <a:avLst/>
          </a:prstGeom>
        </p:spPr>
      </p:pic>
      <p:sp>
        <p:nvSpPr>
          <p:cNvPr id="26" name="CaixaDeTexto 2070">
            <a:extLst>
              <a:ext uri="{FF2B5EF4-FFF2-40B4-BE49-F238E27FC236}">
                <a16:creationId xmlns:a16="http://schemas.microsoft.com/office/drawing/2014/main" id="{E428B42B-9F4F-E96A-B589-D0EB2CC2A8B3}"/>
              </a:ext>
            </a:extLst>
          </p:cNvPr>
          <p:cNvSpPr txBox="1"/>
          <p:nvPr/>
        </p:nvSpPr>
        <p:spPr>
          <a:xfrm>
            <a:off x="7004940" y="4922776"/>
            <a:ext cx="1476683" cy="276999"/>
          </a:xfrm>
          <a:prstGeom prst="rect">
            <a:avLst/>
          </a:prstGeom>
          <a:noFill/>
        </p:spPr>
        <p:txBody>
          <a:bodyPr wrap="square" lIns="91440" tIns="45720" rIns="91440" bIns="45720" anchor="t">
            <a:spAutoFit/>
          </a:bodyPr>
          <a:lstStyle/>
          <a:p>
            <a:pPr algn="ctr" defTabSz="685800">
              <a:defRPr/>
            </a:pPr>
            <a:r>
              <a:rPr lang="es-ES" sz="1200" kern="1200" dirty="0" err="1">
                <a:solidFill>
                  <a:srgbClr val="FFFFFF"/>
                </a:solidFill>
                <a:latin typeface="Montserrat"/>
                <a:ea typeface="+mn-ea"/>
              </a:rPr>
              <a:t>Knowledge</a:t>
            </a:r>
            <a:r>
              <a:rPr lang="es-ES" sz="1200" kern="1200" dirty="0">
                <a:solidFill>
                  <a:srgbClr val="FFFFFF"/>
                </a:solidFill>
                <a:latin typeface="Montserrat"/>
                <a:ea typeface="+mn-ea"/>
              </a:rPr>
              <a:t> </a:t>
            </a:r>
            <a:r>
              <a:rPr lang="es-ES" sz="1200" kern="1200" dirty="0" err="1">
                <a:solidFill>
                  <a:srgbClr val="FFFFFF"/>
                </a:solidFill>
                <a:latin typeface="Montserrat"/>
                <a:ea typeface="+mn-ea"/>
              </a:rPr>
              <a:t>map</a:t>
            </a:r>
            <a:endParaRPr lang="en-US" sz="1200" kern="1200" dirty="0" err="1">
              <a:solidFill>
                <a:srgbClr val="FFFFFF"/>
              </a:solidFill>
              <a:latin typeface="Montserrat"/>
              <a:ea typeface="+mn-ea"/>
            </a:endParaRPr>
          </a:p>
        </p:txBody>
      </p:sp>
      <p:pic>
        <p:nvPicPr>
          <p:cNvPr id="27" name="Imagem 2071">
            <a:extLst>
              <a:ext uri="{FF2B5EF4-FFF2-40B4-BE49-F238E27FC236}">
                <a16:creationId xmlns:a16="http://schemas.microsoft.com/office/drawing/2014/main" id="{F2DE035E-9E7B-4E1C-9836-8FABFAB156FB}"/>
              </a:ext>
            </a:extLst>
          </p:cNvPr>
          <p:cNvPicPr>
            <a:picLocks noChangeAspect="1"/>
          </p:cNvPicPr>
          <p:nvPr/>
        </p:nvPicPr>
        <p:blipFill>
          <a:blip r:embed="rId9">
            <a:lum bright="70000" contrast="-70000"/>
          </a:blip>
          <a:stretch>
            <a:fillRect/>
          </a:stretch>
        </p:blipFill>
        <p:spPr>
          <a:xfrm>
            <a:off x="7570511" y="6459060"/>
            <a:ext cx="399070" cy="422088"/>
          </a:xfrm>
          <a:prstGeom prst="rect">
            <a:avLst/>
          </a:prstGeom>
        </p:spPr>
      </p:pic>
      <p:sp>
        <p:nvSpPr>
          <p:cNvPr id="28" name="CaixaDeTexto 2072">
            <a:extLst>
              <a:ext uri="{FF2B5EF4-FFF2-40B4-BE49-F238E27FC236}">
                <a16:creationId xmlns:a16="http://schemas.microsoft.com/office/drawing/2014/main" id="{5A5D2835-E776-3EBA-1166-F4A22FB2B475}"/>
              </a:ext>
            </a:extLst>
          </p:cNvPr>
          <p:cNvSpPr txBox="1"/>
          <p:nvPr/>
        </p:nvSpPr>
        <p:spPr>
          <a:xfrm>
            <a:off x="7078519" y="6885465"/>
            <a:ext cx="1317988" cy="276999"/>
          </a:xfrm>
          <a:prstGeom prst="rect">
            <a:avLst/>
          </a:prstGeom>
          <a:noFill/>
        </p:spPr>
        <p:txBody>
          <a:bodyPr wrap="square" lIns="91440" tIns="45720" rIns="91440" bIns="45720" anchor="t">
            <a:spAutoFit/>
          </a:bodyPr>
          <a:lstStyle/>
          <a:p>
            <a:pPr algn="ctr" defTabSz="685800">
              <a:defRPr/>
            </a:pPr>
            <a:r>
              <a:rPr lang="es-ES" sz="1200" kern="1200" dirty="0" err="1">
                <a:solidFill>
                  <a:srgbClr val="FFFFFF"/>
                </a:solidFill>
                <a:latin typeface="Montserrat"/>
                <a:ea typeface="+mn-ea"/>
              </a:rPr>
              <a:t>Evidence</a:t>
            </a:r>
            <a:r>
              <a:rPr lang="es-ES" sz="1200" kern="1200" dirty="0">
                <a:solidFill>
                  <a:srgbClr val="FFFFFF"/>
                </a:solidFill>
                <a:latin typeface="Montserrat"/>
                <a:ea typeface="+mn-ea"/>
              </a:rPr>
              <a:t> </a:t>
            </a:r>
            <a:r>
              <a:rPr lang="es-ES" sz="1200" kern="1200" dirty="0" err="1">
                <a:solidFill>
                  <a:srgbClr val="FFFFFF"/>
                </a:solidFill>
                <a:latin typeface="Montserrat"/>
                <a:ea typeface="+mn-ea"/>
              </a:rPr>
              <a:t>Tree</a:t>
            </a:r>
            <a:endParaRPr lang="en-US" dirty="0" err="1">
              <a:ea typeface="+mn-ea"/>
            </a:endParaRPr>
          </a:p>
        </p:txBody>
      </p:sp>
      <p:pic>
        <p:nvPicPr>
          <p:cNvPr id="29" name="Imagem 2073">
            <a:extLst>
              <a:ext uri="{FF2B5EF4-FFF2-40B4-BE49-F238E27FC236}">
                <a16:creationId xmlns:a16="http://schemas.microsoft.com/office/drawing/2014/main" id="{C5514208-19E3-C012-C567-FA4C9EF0C788}"/>
              </a:ext>
            </a:extLst>
          </p:cNvPr>
          <p:cNvPicPr>
            <a:picLocks noChangeAspect="1"/>
          </p:cNvPicPr>
          <p:nvPr/>
        </p:nvPicPr>
        <p:blipFill>
          <a:blip r:embed="rId10">
            <a:lum bright="70000" contrast="-70000"/>
          </a:blip>
          <a:stretch>
            <a:fillRect/>
          </a:stretch>
        </p:blipFill>
        <p:spPr>
          <a:xfrm>
            <a:off x="11000684" y="3591590"/>
            <a:ext cx="346596" cy="366588"/>
          </a:xfrm>
          <a:prstGeom prst="rect">
            <a:avLst/>
          </a:prstGeom>
        </p:spPr>
      </p:pic>
      <p:sp>
        <p:nvSpPr>
          <p:cNvPr id="30" name="CaixaDeTexto 2074">
            <a:extLst>
              <a:ext uri="{FF2B5EF4-FFF2-40B4-BE49-F238E27FC236}">
                <a16:creationId xmlns:a16="http://schemas.microsoft.com/office/drawing/2014/main" id="{EA53F7C3-6FC5-FB3B-B87A-40A4EE154A6A}"/>
              </a:ext>
            </a:extLst>
          </p:cNvPr>
          <p:cNvSpPr txBox="1"/>
          <p:nvPr/>
        </p:nvSpPr>
        <p:spPr>
          <a:xfrm>
            <a:off x="11431975" y="3620996"/>
            <a:ext cx="1638006" cy="307777"/>
          </a:xfrm>
          <a:prstGeom prst="rect">
            <a:avLst/>
          </a:prstGeom>
          <a:noFill/>
        </p:spPr>
        <p:txBody>
          <a:bodyPr wrap="square">
            <a:spAutoFit/>
          </a:bodyPr>
          <a:lstStyle/>
          <a:p>
            <a:pPr defTabSz="685800">
              <a:buClrTx/>
              <a:defRPr/>
            </a:pPr>
            <a:r>
              <a:rPr lang="es-ES" kern="1200" noProof="0">
                <a:solidFill>
                  <a:srgbClr val="FFFFFF"/>
                </a:solidFill>
                <a:latin typeface="Montserrat" panose="00000500000000000000" pitchFamily="2" charset="0"/>
                <a:ea typeface="+mn-ea"/>
              </a:rPr>
              <a:t>Front-</a:t>
            </a:r>
            <a:r>
              <a:rPr lang="es-ES" kern="1200" noProof="0" err="1">
                <a:solidFill>
                  <a:srgbClr val="FFFFFF"/>
                </a:solidFill>
                <a:latin typeface="Montserrat" panose="00000500000000000000" pitchFamily="2" charset="0"/>
                <a:ea typeface="+mn-ea"/>
              </a:rPr>
              <a:t>End</a:t>
            </a:r>
            <a:endParaRPr lang="es-ES" kern="1200" noProof="0">
              <a:solidFill>
                <a:srgbClr val="FFFFFF"/>
              </a:solidFill>
              <a:latin typeface="Montserrat" panose="00000500000000000000" pitchFamily="2" charset="0"/>
              <a:ea typeface="+mn-ea"/>
            </a:endParaRPr>
          </a:p>
        </p:txBody>
      </p:sp>
      <p:sp>
        <p:nvSpPr>
          <p:cNvPr id="31" name="Triângulo isósceles 2075">
            <a:extLst>
              <a:ext uri="{FF2B5EF4-FFF2-40B4-BE49-F238E27FC236}">
                <a16:creationId xmlns:a16="http://schemas.microsoft.com/office/drawing/2014/main" id="{879BB1E5-DCD7-C6F2-DB6C-6D6390434667}"/>
              </a:ext>
            </a:extLst>
          </p:cNvPr>
          <p:cNvSpPr/>
          <p:nvPr/>
        </p:nvSpPr>
        <p:spPr>
          <a:xfrm rot="5400000">
            <a:off x="4530463" y="6474638"/>
            <a:ext cx="674749" cy="138276"/>
          </a:xfrm>
          <a:prstGeom prst="triangle">
            <a:avLst/>
          </a:prstGeom>
          <a:solidFill>
            <a:srgbClr val="9762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s-ES" sz="3200" b="0" i="0" u="none" strike="noStrike" kern="1200" cap="none" spc="0" normalizeH="0" baseline="0" noProof="0">
              <a:ln>
                <a:noFill/>
              </a:ln>
              <a:solidFill>
                <a:srgbClr val="FFFFFF"/>
              </a:solidFill>
              <a:effectLst/>
              <a:uLnTx/>
              <a:uFillTx/>
              <a:latin typeface="Arial"/>
              <a:ea typeface="+mn-ea"/>
              <a:cs typeface="+mn-cs"/>
            </a:endParaRPr>
          </a:p>
        </p:txBody>
      </p:sp>
      <p:sp>
        <p:nvSpPr>
          <p:cNvPr id="32" name="Triângulo isósceles 2076">
            <a:extLst>
              <a:ext uri="{FF2B5EF4-FFF2-40B4-BE49-F238E27FC236}">
                <a16:creationId xmlns:a16="http://schemas.microsoft.com/office/drawing/2014/main" id="{50742C68-D811-B7E8-E0A0-49870DA81CC0}"/>
              </a:ext>
            </a:extLst>
          </p:cNvPr>
          <p:cNvSpPr/>
          <p:nvPr/>
        </p:nvSpPr>
        <p:spPr>
          <a:xfrm rot="5400000">
            <a:off x="4530463" y="4192621"/>
            <a:ext cx="674749" cy="138276"/>
          </a:xfrm>
          <a:prstGeom prst="triangle">
            <a:avLst/>
          </a:prstGeom>
          <a:solidFill>
            <a:srgbClr val="9762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s-ES" sz="3200" b="0" i="0" u="none" strike="noStrike" kern="1200" cap="none" spc="0" normalizeH="0" baseline="0" noProof="0">
              <a:ln>
                <a:noFill/>
              </a:ln>
              <a:solidFill>
                <a:srgbClr val="FFFFFF"/>
              </a:solidFill>
              <a:effectLst/>
              <a:uLnTx/>
              <a:uFillTx/>
              <a:latin typeface="Arial"/>
              <a:ea typeface="+mn-ea"/>
              <a:cs typeface="+mn-cs"/>
            </a:endParaRPr>
          </a:p>
        </p:txBody>
      </p:sp>
      <p:sp>
        <p:nvSpPr>
          <p:cNvPr id="33" name="Triângulo isósceles 2077">
            <a:extLst>
              <a:ext uri="{FF2B5EF4-FFF2-40B4-BE49-F238E27FC236}">
                <a16:creationId xmlns:a16="http://schemas.microsoft.com/office/drawing/2014/main" id="{124F1D9A-A80C-89F8-999F-7A6C0027DDDD}"/>
              </a:ext>
            </a:extLst>
          </p:cNvPr>
          <p:cNvSpPr/>
          <p:nvPr/>
        </p:nvSpPr>
        <p:spPr>
          <a:xfrm rot="5400000">
            <a:off x="8355498" y="5651245"/>
            <a:ext cx="674749" cy="138276"/>
          </a:xfrm>
          <a:prstGeom prst="triangle">
            <a:avLst/>
          </a:prstGeom>
          <a:solidFill>
            <a:srgbClr val="150238"/>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s-ES" sz="3200" b="0" i="0" u="none" strike="noStrike" kern="1200" cap="none" spc="0" normalizeH="0" baseline="0" noProof="0">
              <a:ln>
                <a:noFill/>
              </a:ln>
              <a:solidFill>
                <a:srgbClr val="FFFFFF"/>
              </a:solidFill>
              <a:effectLst/>
              <a:uLnTx/>
              <a:uFillTx/>
              <a:latin typeface="Arial"/>
              <a:ea typeface="+mn-ea"/>
              <a:cs typeface="+mn-cs"/>
            </a:endParaRPr>
          </a:p>
        </p:txBody>
      </p:sp>
      <p:sp>
        <p:nvSpPr>
          <p:cNvPr id="34" name="Triângulo isósceles 2078">
            <a:extLst>
              <a:ext uri="{FF2B5EF4-FFF2-40B4-BE49-F238E27FC236}">
                <a16:creationId xmlns:a16="http://schemas.microsoft.com/office/drawing/2014/main" id="{02DF13CD-4C38-4A14-2448-A7C999BCF11E}"/>
              </a:ext>
            </a:extLst>
          </p:cNvPr>
          <p:cNvSpPr/>
          <p:nvPr/>
        </p:nvSpPr>
        <p:spPr>
          <a:xfrm rot="10800000">
            <a:off x="6591028" y="4054370"/>
            <a:ext cx="637952" cy="146251"/>
          </a:xfrm>
          <a:prstGeom prst="triangle">
            <a:avLst/>
          </a:prstGeom>
          <a:solidFill>
            <a:srgbClr val="6800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s-ES" sz="3200" b="0" i="0" u="none" strike="noStrike" kern="1200" cap="none" spc="0" normalizeH="0" baseline="0" noProof="0">
              <a:ln>
                <a:noFill/>
              </a:ln>
              <a:solidFill>
                <a:srgbClr val="FFFFFF"/>
              </a:solidFill>
              <a:effectLst/>
              <a:uLnTx/>
              <a:uFillTx/>
              <a:latin typeface="Arial"/>
              <a:ea typeface="+mn-ea"/>
              <a:cs typeface="+mn-cs"/>
            </a:endParaRPr>
          </a:p>
        </p:txBody>
      </p:sp>
      <p:pic>
        <p:nvPicPr>
          <p:cNvPr id="35" name="Picture 2" descr="Aiops Icons - Free SVG &amp; PNG Aiops Images - Noun Project">
            <a:extLst>
              <a:ext uri="{FF2B5EF4-FFF2-40B4-BE49-F238E27FC236}">
                <a16:creationId xmlns:a16="http://schemas.microsoft.com/office/drawing/2014/main" id="{73E898BE-9BA4-4DAB-3041-F2D453A46DF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035227" y="7531798"/>
            <a:ext cx="743351" cy="786227"/>
          </a:xfrm>
          <a:prstGeom prst="rect">
            <a:avLst/>
          </a:prstGeom>
          <a:noFill/>
          <a:extLst>
            <a:ext uri="{909E8E84-426E-40DD-AFC4-6F175D3DCCD1}">
              <a14:hiddenFill xmlns:a14="http://schemas.microsoft.com/office/drawing/2010/main">
                <a:solidFill>
                  <a:srgbClr val="FFFFFF"/>
                </a:solidFill>
              </a14:hiddenFill>
            </a:ext>
          </a:extLst>
        </p:spPr>
      </p:pic>
      <p:sp>
        <p:nvSpPr>
          <p:cNvPr id="36" name="CaixaDeTexto 2080">
            <a:extLst>
              <a:ext uri="{FF2B5EF4-FFF2-40B4-BE49-F238E27FC236}">
                <a16:creationId xmlns:a16="http://schemas.microsoft.com/office/drawing/2014/main" id="{61456653-C2A6-80CF-240F-23469830CCAB}"/>
              </a:ext>
            </a:extLst>
          </p:cNvPr>
          <p:cNvSpPr txBox="1"/>
          <p:nvPr/>
        </p:nvSpPr>
        <p:spPr>
          <a:xfrm>
            <a:off x="7723013" y="7700591"/>
            <a:ext cx="1086113" cy="369332"/>
          </a:xfrm>
          <a:prstGeom prst="rect">
            <a:avLst/>
          </a:prstGeom>
          <a:noFill/>
        </p:spPr>
        <p:txBody>
          <a:bodyPr wrap="square">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err="1">
                <a:ln>
                  <a:noFill/>
                </a:ln>
                <a:solidFill>
                  <a:sysClr val="windowText" lastClr="000000"/>
                </a:solidFill>
                <a:effectLst/>
                <a:uLnTx/>
                <a:uFillTx/>
                <a:latin typeface="Montserrat" panose="00000500000000000000" pitchFamily="2" charset="0"/>
                <a:ea typeface="+mn-ea"/>
              </a:rPr>
              <a:t>AIOps</a:t>
            </a:r>
            <a:endParaRPr kumimoji="0" lang="es-ES" sz="1800" b="0" i="0" u="none" strike="noStrike" kern="1200" cap="none" spc="0" normalizeH="0" baseline="0" noProof="0">
              <a:ln>
                <a:noFill/>
              </a:ln>
              <a:solidFill>
                <a:sysClr val="windowText" lastClr="000000"/>
              </a:solidFill>
              <a:effectLst/>
              <a:uLnTx/>
              <a:uFillTx/>
              <a:ea typeface="+mn-ea"/>
            </a:endParaRPr>
          </a:p>
        </p:txBody>
      </p:sp>
      <p:pic>
        <p:nvPicPr>
          <p:cNvPr id="37" name="Picture 4" descr="Moving Fast Icon Stock Illustrations ...">
            <a:extLst>
              <a:ext uri="{FF2B5EF4-FFF2-40B4-BE49-F238E27FC236}">
                <a16:creationId xmlns:a16="http://schemas.microsoft.com/office/drawing/2014/main" id="{F76F01B3-B011-47FA-353F-9FAC8FAEBF3A}"/>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8394" b="20761"/>
          <a:stretch/>
        </p:blipFill>
        <p:spPr bwMode="auto">
          <a:xfrm>
            <a:off x="4728814" y="2622319"/>
            <a:ext cx="926834" cy="486274"/>
          </a:xfrm>
          <a:prstGeom prst="rect">
            <a:avLst/>
          </a:prstGeom>
          <a:noFill/>
          <a:extLst>
            <a:ext uri="{909E8E84-426E-40DD-AFC4-6F175D3DCCD1}">
              <a14:hiddenFill xmlns:a14="http://schemas.microsoft.com/office/drawing/2010/main">
                <a:solidFill>
                  <a:srgbClr val="FFFFFF"/>
                </a:solidFill>
              </a14:hiddenFill>
            </a:ext>
          </a:extLst>
        </p:spPr>
      </p:pic>
      <p:sp>
        <p:nvSpPr>
          <p:cNvPr id="38" name="CaixaDeTexto 2082">
            <a:extLst>
              <a:ext uri="{FF2B5EF4-FFF2-40B4-BE49-F238E27FC236}">
                <a16:creationId xmlns:a16="http://schemas.microsoft.com/office/drawing/2014/main" id="{8EEABFB0-59F5-8E27-E1AF-ECB81FF960DA}"/>
              </a:ext>
            </a:extLst>
          </p:cNvPr>
          <p:cNvSpPr txBox="1"/>
          <p:nvPr/>
        </p:nvSpPr>
        <p:spPr>
          <a:xfrm>
            <a:off x="5633769" y="2626007"/>
            <a:ext cx="5995924" cy="369332"/>
          </a:xfrm>
          <a:prstGeom prst="rect">
            <a:avLst/>
          </a:prstGeom>
          <a:noFill/>
        </p:spPr>
        <p:txBody>
          <a:bodyPr wrap="square" lIns="91440" tIns="45720" rIns="91440" bIns="45720" anchor="t">
            <a:spAutoFit/>
          </a:bodyPr>
          <a:lstStyle/>
          <a:p>
            <a:pPr defTabSz="685800">
              <a:buClrTx/>
              <a:defRPr/>
            </a:pPr>
            <a:r>
              <a:rPr lang="es-ES" sz="1800" kern="1200" dirty="0" err="1">
                <a:latin typeface="Montserrat"/>
                <a:ea typeface="+mn-ea"/>
              </a:rPr>
              <a:t>From</a:t>
            </a:r>
            <a:r>
              <a:rPr lang="es-ES" sz="1800" kern="1200" dirty="0">
                <a:latin typeface="Montserrat"/>
                <a:ea typeface="+mn-ea"/>
              </a:rPr>
              <a:t> </a:t>
            </a:r>
            <a:r>
              <a:rPr lang="es-ES" sz="1800" kern="1200" noProof="0" dirty="0">
                <a:latin typeface="Montserrat"/>
                <a:ea typeface="+mn-ea"/>
              </a:rPr>
              <a:t> "</a:t>
            </a:r>
            <a:r>
              <a:rPr lang="es-ES" sz="1800" kern="1200" dirty="0" err="1">
                <a:latin typeface="Montserrat"/>
                <a:ea typeface="+mn-ea"/>
              </a:rPr>
              <a:t>Mapping</a:t>
            </a:r>
            <a:r>
              <a:rPr lang="es-ES" sz="1800" kern="1200" noProof="0" dirty="0">
                <a:latin typeface="Montserrat"/>
                <a:ea typeface="+mn-ea"/>
              </a:rPr>
              <a:t>" </a:t>
            </a:r>
            <a:r>
              <a:rPr lang="es-ES" sz="1800" kern="1200" dirty="0" err="1">
                <a:latin typeface="Montserrat"/>
                <a:ea typeface="+mn-ea"/>
              </a:rPr>
              <a:t>to</a:t>
            </a:r>
            <a:r>
              <a:rPr lang="es-ES" sz="1800" kern="1200" noProof="0" dirty="0">
                <a:latin typeface="Montserrat"/>
                <a:ea typeface="+mn-ea"/>
              </a:rPr>
              <a:t> "</a:t>
            </a:r>
            <a:r>
              <a:rPr lang="es-ES" sz="1800" kern="1200" dirty="0" err="1">
                <a:latin typeface="Montserrat"/>
                <a:ea typeface="+mn-ea"/>
              </a:rPr>
              <a:t>Decision</a:t>
            </a:r>
            <a:r>
              <a:rPr lang="es-ES" sz="1800" kern="1200" noProof="0" dirty="0">
                <a:latin typeface="Montserrat"/>
                <a:ea typeface="+mn-ea"/>
              </a:rPr>
              <a:t>" </a:t>
            </a:r>
            <a:r>
              <a:rPr lang="es-ES" sz="1800" kern="1200" dirty="0" err="1">
                <a:latin typeface="Montserrat"/>
                <a:ea typeface="+mn-ea"/>
              </a:rPr>
              <a:t>to</a:t>
            </a:r>
            <a:r>
              <a:rPr lang="es-ES" sz="1800" kern="1200" dirty="0">
                <a:latin typeface="Montserrat"/>
                <a:ea typeface="+mn-ea"/>
              </a:rPr>
              <a:t> "</a:t>
            </a:r>
            <a:r>
              <a:rPr lang="es-ES" sz="1800" kern="1200" dirty="0" err="1">
                <a:latin typeface="Montserrat"/>
                <a:ea typeface="+mn-ea"/>
              </a:rPr>
              <a:t>Answer</a:t>
            </a:r>
            <a:r>
              <a:rPr lang="es-ES" sz="1800" kern="1200" dirty="0">
                <a:latin typeface="Montserrat"/>
                <a:ea typeface="+mn-ea"/>
              </a:rPr>
              <a:t>"</a:t>
            </a:r>
            <a:endParaRPr lang="es-ES" sz="1800" kern="1200" noProof="0" dirty="0">
              <a:latin typeface="Montserrat"/>
              <a:ea typeface="+mn-ea"/>
            </a:endParaRPr>
          </a:p>
        </p:txBody>
      </p:sp>
      <p:cxnSp>
        <p:nvCxnSpPr>
          <p:cNvPr id="39" name="Conector reto 2083">
            <a:extLst>
              <a:ext uri="{FF2B5EF4-FFF2-40B4-BE49-F238E27FC236}">
                <a16:creationId xmlns:a16="http://schemas.microsoft.com/office/drawing/2014/main" id="{A4E7D068-F874-32D9-EB25-A1AA4D1F7D06}"/>
              </a:ext>
            </a:extLst>
          </p:cNvPr>
          <p:cNvCxnSpPr/>
          <p:nvPr/>
        </p:nvCxnSpPr>
        <p:spPr>
          <a:xfrm flipV="1">
            <a:off x="4995497" y="3261876"/>
            <a:ext cx="0" cy="4379474"/>
          </a:xfrm>
          <a:prstGeom prst="line">
            <a:avLst/>
          </a:prstGeom>
          <a:noFill/>
          <a:ln w="9525" cap="flat" cmpd="sng" algn="ctr">
            <a:solidFill>
              <a:srgbClr val="DAC4EA"/>
            </a:solidFill>
            <a:prstDash val="dash"/>
          </a:ln>
          <a:effectLst/>
        </p:spPr>
      </p:cxnSp>
      <p:cxnSp>
        <p:nvCxnSpPr>
          <p:cNvPr id="40" name="Conector reto 2084">
            <a:extLst>
              <a:ext uri="{FF2B5EF4-FFF2-40B4-BE49-F238E27FC236}">
                <a16:creationId xmlns:a16="http://schemas.microsoft.com/office/drawing/2014/main" id="{9673A1BF-6CA7-FD3A-D8BF-63016E204BAF}"/>
              </a:ext>
            </a:extLst>
          </p:cNvPr>
          <p:cNvCxnSpPr/>
          <p:nvPr/>
        </p:nvCxnSpPr>
        <p:spPr>
          <a:xfrm flipV="1">
            <a:off x="8836104" y="3261876"/>
            <a:ext cx="0" cy="4379474"/>
          </a:xfrm>
          <a:prstGeom prst="line">
            <a:avLst/>
          </a:prstGeom>
          <a:noFill/>
          <a:ln w="9525" cap="flat" cmpd="sng" algn="ctr">
            <a:solidFill>
              <a:srgbClr val="DAC4EA"/>
            </a:solidFill>
            <a:prstDash val="dash"/>
          </a:ln>
          <a:effectLst/>
        </p:spPr>
      </p:cxnSp>
      <p:pic>
        <p:nvPicPr>
          <p:cNvPr id="41" name="Imagem 2085">
            <a:extLst>
              <a:ext uri="{FF2B5EF4-FFF2-40B4-BE49-F238E27FC236}">
                <a16:creationId xmlns:a16="http://schemas.microsoft.com/office/drawing/2014/main" id="{AE360413-1165-E10B-1B22-1B17E5652496}"/>
              </a:ext>
            </a:extLst>
          </p:cNvPr>
          <p:cNvPicPr>
            <a:picLocks noChangeAspect="1"/>
          </p:cNvPicPr>
          <p:nvPr/>
        </p:nvPicPr>
        <p:blipFill>
          <a:blip r:embed="rId13">
            <a:lum bright="70000" contrast="-70000"/>
          </a:blip>
          <a:stretch>
            <a:fillRect/>
          </a:stretch>
        </p:blipFill>
        <p:spPr>
          <a:xfrm>
            <a:off x="2919318" y="6900014"/>
            <a:ext cx="400981" cy="424109"/>
          </a:xfrm>
          <a:prstGeom prst="rect">
            <a:avLst/>
          </a:prstGeom>
        </p:spPr>
      </p:pic>
      <p:sp>
        <p:nvSpPr>
          <p:cNvPr id="42" name="CaixaDeTexto 2086">
            <a:extLst>
              <a:ext uri="{FF2B5EF4-FFF2-40B4-BE49-F238E27FC236}">
                <a16:creationId xmlns:a16="http://schemas.microsoft.com/office/drawing/2014/main" id="{A6AE6D3F-8ACF-91F7-21DB-264311174D22}"/>
              </a:ext>
            </a:extLst>
          </p:cNvPr>
          <p:cNvSpPr txBox="1"/>
          <p:nvPr/>
        </p:nvSpPr>
        <p:spPr>
          <a:xfrm>
            <a:off x="3298763" y="6905821"/>
            <a:ext cx="1386837" cy="307777"/>
          </a:xfrm>
          <a:prstGeom prst="rect">
            <a:avLst/>
          </a:prstGeom>
          <a:noFill/>
        </p:spPr>
        <p:txBody>
          <a:bodyPr wrap="square" lIns="91440" tIns="45720" rIns="91440" bIns="45720" anchor="t">
            <a:spAutoFit/>
          </a:bodyPr>
          <a:lstStyle/>
          <a:p>
            <a:pPr defTabSz="685800">
              <a:defRPr/>
            </a:pPr>
            <a:r>
              <a:rPr lang="es-ES" kern="1200" dirty="0" err="1">
                <a:solidFill>
                  <a:srgbClr val="FFFFFF"/>
                </a:solidFill>
                <a:latin typeface="Montserrat"/>
                <a:ea typeface="+mn-ea"/>
              </a:rPr>
              <a:t>Workflows</a:t>
            </a:r>
            <a:endParaRPr lang="en-US" dirty="0" err="1">
              <a:ea typeface="+mn-ea"/>
            </a:endParaRPr>
          </a:p>
        </p:txBody>
      </p:sp>
      <p:sp>
        <p:nvSpPr>
          <p:cNvPr id="43" name="Retângulo: Cantos Arredondados 2087">
            <a:extLst>
              <a:ext uri="{FF2B5EF4-FFF2-40B4-BE49-F238E27FC236}">
                <a16:creationId xmlns:a16="http://schemas.microsoft.com/office/drawing/2014/main" id="{12EE359B-65AE-8A00-A841-A3E75113CB20}"/>
              </a:ext>
            </a:extLst>
          </p:cNvPr>
          <p:cNvSpPr/>
          <p:nvPr/>
        </p:nvSpPr>
        <p:spPr>
          <a:xfrm>
            <a:off x="2027198" y="8888887"/>
            <a:ext cx="460644" cy="195238"/>
          </a:xfrm>
          <a:prstGeom prst="roundRect">
            <a:avLst/>
          </a:prstGeom>
          <a:solidFill>
            <a:srgbClr val="6800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s-ES" sz="3200" b="0" i="0" u="none" strike="noStrike" kern="1200" cap="none" spc="0" normalizeH="0" baseline="0" noProof="0">
              <a:ln>
                <a:noFill/>
              </a:ln>
              <a:solidFill>
                <a:srgbClr val="FFFFFF"/>
              </a:solidFill>
              <a:effectLst/>
              <a:uLnTx/>
              <a:uFillTx/>
              <a:latin typeface="Arial"/>
              <a:ea typeface="+mn-ea"/>
              <a:cs typeface="+mn-cs"/>
            </a:endParaRPr>
          </a:p>
        </p:txBody>
      </p:sp>
      <p:sp>
        <p:nvSpPr>
          <p:cNvPr id="44" name="CaixaDeTexto 2088">
            <a:extLst>
              <a:ext uri="{FF2B5EF4-FFF2-40B4-BE49-F238E27FC236}">
                <a16:creationId xmlns:a16="http://schemas.microsoft.com/office/drawing/2014/main" id="{BE942D9A-A3B7-54C3-DA6B-397A33242D7F}"/>
              </a:ext>
            </a:extLst>
          </p:cNvPr>
          <p:cNvSpPr txBox="1"/>
          <p:nvPr/>
        </p:nvSpPr>
        <p:spPr>
          <a:xfrm>
            <a:off x="2499272" y="8846321"/>
            <a:ext cx="1812594" cy="276999"/>
          </a:xfrm>
          <a:prstGeom prst="rect">
            <a:avLst/>
          </a:prstGeom>
          <a:noFill/>
        </p:spPr>
        <p:txBody>
          <a:bodyPr wrap="square" lIns="91440" tIns="45720" rIns="91440" bIns="45720" anchor="t">
            <a:spAutoFit/>
          </a:bodyPr>
          <a:lstStyle/>
          <a:p>
            <a:pPr defTabSz="685800">
              <a:defRPr/>
            </a:pPr>
            <a:r>
              <a:rPr lang="es-ES" sz="1200" kern="1200" dirty="0" err="1">
                <a:solidFill>
                  <a:sysClr val="windowText" lastClr="000000"/>
                </a:solidFill>
                <a:latin typeface="Montserrat"/>
                <a:ea typeface="+mn-ea"/>
              </a:rPr>
              <a:t>Qintess</a:t>
            </a:r>
            <a:r>
              <a:rPr lang="es-ES" sz="1200" kern="1200" dirty="0">
                <a:solidFill>
                  <a:sysClr val="windowText" lastClr="000000"/>
                </a:solidFill>
                <a:latin typeface="Montserrat"/>
                <a:ea typeface="+mn-ea"/>
              </a:rPr>
              <a:t> </a:t>
            </a:r>
            <a:r>
              <a:rPr lang="es-ES" sz="1200" kern="1200" dirty="0" err="1">
                <a:solidFill>
                  <a:sysClr val="windowText" lastClr="000000"/>
                </a:solidFill>
                <a:latin typeface="Montserrat"/>
                <a:ea typeface="+mn-ea"/>
              </a:rPr>
              <a:t>Activities</a:t>
            </a:r>
            <a:endParaRPr lang="en-US" dirty="0" err="1">
              <a:ea typeface="+mn-ea"/>
            </a:endParaRPr>
          </a:p>
        </p:txBody>
      </p:sp>
      <p:sp>
        <p:nvSpPr>
          <p:cNvPr id="45" name="Retângulo: Cantos Arredondados 2089">
            <a:extLst>
              <a:ext uri="{FF2B5EF4-FFF2-40B4-BE49-F238E27FC236}">
                <a16:creationId xmlns:a16="http://schemas.microsoft.com/office/drawing/2014/main" id="{55477A40-752A-4D94-2A98-B27A4ECEFF67}"/>
              </a:ext>
            </a:extLst>
          </p:cNvPr>
          <p:cNvSpPr/>
          <p:nvPr/>
        </p:nvSpPr>
        <p:spPr>
          <a:xfrm>
            <a:off x="4602348" y="8900317"/>
            <a:ext cx="460644" cy="195238"/>
          </a:xfrm>
          <a:prstGeom prst="roundRect">
            <a:avLst/>
          </a:prstGeom>
          <a:solidFill>
            <a:srgbClr val="150238"/>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s-ES" sz="3200" b="0" i="0" u="none" strike="noStrike" kern="1200" cap="none" spc="0" normalizeH="0" baseline="0" noProof="0">
              <a:ln>
                <a:noFill/>
              </a:ln>
              <a:solidFill>
                <a:srgbClr val="FFFFFF"/>
              </a:solidFill>
              <a:effectLst/>
              <a:uLnTx/>
              <a:uFillTx/>
              <a:latin typeface="Arial"/>
              <a:ea typeface="+mn-ea"/>
              <a:cs typeface="+mn-cs"/>
            </a:endParaRPr>
          </a:p>
        </p:txBody>
      </p:sp>
      <p:sp>
        <p:nvSpPr>
          <p:cNvPr id="46" name="CaixaDeTexto 2090">
            <a:extLst>
              <a:ext uri="{FF2B5EF4-FFF2-40B4-BE49-F238E27FC236}">
                <a16:creationId xmlns:a16="http://schemas.microsoft.com/office/drawing/2014/main" id="{84D48A80-8A3B-9006-B0D8-D3D4D36B2CA6}"/>
              </a:ext>
            </a:extLst>
          </p:cNvPr>
          <p:cNvSpPr txBox="1"/>
          <p:nvPr/>
        </p:nvSpPr>
        <p:spPr>
          <a:xfrm>
            <a:off x="5062992" y="8880611"/>
            <a:ext cx="2326944" cy="276999"/>
          </a:xfrm>
          <a:prstGeom prst="rect">
            <a:avLst/>
          </a:prstGeom>
          <a:noFill/>
        </p:spPr>
        <p:txBody>
          <a:bodyPr wrap="square" lIns="91440" tIns="45720" rIns="91440" bIns="45720" anchor="t">
            <a:spAutoFit/>
          </a:bodyPr>
          <a:lstStyle/>
          <a:p>
            <a:pPr defTabSz="685800">
              <a:defRPr/>
            </a:pPr>
            <a:r>
              <a:rPr lang="es-ES" sz="1200" kern="1200" dirty="0" err="1">
                <a:solidFill>
                  <a:sysClr val="windowText" lastClr="000000"/>
                </a:solidFill>
                <a:latin typeface="Montserrat"/>
                <a:ea typeface="+mn-ea"/>
              </a:rPr>
              <a:t>Associate</a:t>
            </a:r>
            <a:r>
              <a:rPr lang="es-ES" sz="1200" kern="1200" dirty="0">
                <a:solidFill>
                  <a:sysClr val="windowText" lastClr="000000"/>
                </a:solidFill>
                <a:latin typeface="Montserrat"/>
                <a:ea typeface="+mn-ea"/>
              </a:rPr>
              <a:t> Tools</a:t>
            </a:r>
            <a:endParaRPr lang="es-ES" sz="1200" b="1" i="0" u="none" strike="noStrike" kern="1200" cap="none" spc="0" normalizeH="0" baseline="0" noProof="0" dirty="0" err="1">
              <a:ln>
                <a:noFill/>
              </a:ln>
              <a:solidFill>
                <a:sysClr val="windowText" lastClr="000000"/>
              </a:solidFill>
              <a:effectLst/>
              <a:uLnTx/>
              <a:uFillTx/>
              <a:latin typeface="Montserrat"/>
              <a:ea typeface="+mn-ea"/>
            </a:endParaRPr>
          </a:p>
        </p:txBody>
      </p:sp>
      <p:sp>
        <p:nvSpPr>
          <p:cNvPr id="47" name="Retângulo: Cantos Arredondados 2091">
            <a:extLst>
              <a:ext uri="{FF2B5EF4-FFF2-40B4-BE49-F238E27FC236}">
                <a16:creationId xmlns:a16="http://schemas.microsoft.com/office/drawing/2014/main" id="{BF134045-EB68-7791-BA57-6C184A19F1F9}"/>
              </a:ext>
            </a:extLst>
          </p:cNvPr>
          <p:cNvSpPr/>
          <p:nvPr/>
        </p:nvSpPr>
        <p:spPr>
          <a:xfrm>
            <a:off x="6886932" y="8900317"/>
            <a:ext cx="460644" cy="195238"/>
          </a:xfrm>
          <a:prstGeom prst="roundRect">
            <a:avLst/>
          </a:prstGeom>
          <a:solidFill>
            <a:srgbClr val="FFFFFF"/>
          </a:solidFill>
          <a:ln w="19050" cap="flat" cmpd="sng" algn="ctr">
            <a:solidFill>
              <a:srgbClr val="6800FF"/>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srgbClr val="000000"/>
              </a:solidFill>
              <a:effectLst/>
              <a:uLnTx/>
              <a:uFillTx/>
              <a:latin typeface="Montserrat" panose="00000500000000000000" pitchFamily="2" charset="0"/>
              <a:ea typeface="+mn-ea"/>
              <a:cs typeface="+mn-cs"/>
            </a:endParaRPr>
          </a:p>
        </p:txBody>
      </p:sp>
      <p:sp>
        <p:nvSpPr>
          <p:cNvPr id="48" name="CaixaDeTexto 2092">
            <a:extLst>
              <a:ext uri="{FF2B5EF4-FFF2-40B4-BE49-F238E27FC236}">
                <a16:creationId xmlns:a16="http://schemas.microsoft.com/office/drawing/2014/main" id="{746BA2F5-1D31-7E5F-2576-F3236381C5EE}"/>
              </a:ext>
            </a:extLst>
          </p:cNvPr>
          <p:cNvSpPr txBox="1"/>
          <p:nvPr/>
        </p:nvSpPr>
        <p:spPr>
          <a:xfrm>
            <a:off x="7347576" y="8857751"/>
            <a:ext cx="2555544" cy="276999"/>
          </a:xfrm>
          <a:prstGeom prst="rect">
            <a:avLst/>
          </a:prstGeom>
          <a:noFill/>
        </p:spPr>
        <p:txBody>
          <a:bodyPr wrap="square" lIns="91440" tIns="45720" rIns="91440" bIns="45720" anchor="t">
            <a:spAutoFit/>
          </a:bodyPr>
          <a:lstStyle/>
          <a:p>
            <a:pPr defTabSz="685800">
              <a:defRPr/>
            </a:pPr>
            <a:r>
              <a:rPr lang="es-ES" sz="1200" kern="1200" dirty="0" err="1">
                <a:solidFill>
                  <a:sysClr val="windowText" lastClr="000000"/>
                </a:solidFill>
                <a:latin typeface="Montserrat"/>
                <a:ea typeface="+mn-ea"/>
              </a:rPr>
              <a:t>Reuse</a:t>
            </a:r>
            <a:r>
              <a:rPr lang="es-ES" sz="1200" kern="1200" dirty="0">
                <a:solidFill>
                  <a:sysClr val="windowText" lastClr="000000"/>
                </a:solidFill>
                <a:latin typeface="Montserrat"/>
                <a:ea typeface="+mn-ea"/>
              </a:rPr>
              <a:t> </a:t>
            </a:r>
            <a:r>
              <a:rPr lang="es-ES" sz="1200" kern="1200" dirty="0" err="1">
                <a:solidFill>
                  <a:sysClr val="windowText" lastClr="000000"/>
                </a:solidFill>
                <a:latin typeface="Montserrat"/>
                <a:ea typeface="+mn-ea"/>
              </a:rPr>
              <a:t>activity</a:t>
            </a:r>
            <a:endParaRPr lang="en-US" dirty="0" err="1">
              <a:solidFill>
                <a:sysClr val="windowText" lastClr="000000"/>
              </a:solidFill>
              <a:ea typeface="+mn-ea"/>
            </a:endParaRPr>
          </a:p>
        </p:txBody>
      </p:sp>
      <p:sp>
        <p:nvSpPr>
          <p:cNvPr id="49" name="Retângulo: Cantos Arredondados 2093">
            <a:extLst>
              <a:ext uri="{FF2B5EF4-FFF2-40B4-BE49-F238E27FC236}">
                <a16:creationId xmlns:a16="http://schemas.microsoft.com/office/drawing/2014/main" id="{04F37650-8422-19C6-169C-E75B7CFAA541}"/>
              </a:ext>
            </a:extLst>
          </p:cNvPr>
          <p:cNvSpPr/>
          <p:nvPr/>
        </p:nvSpPr>
        <p:spPr>
          <a:xfrm>
            <a:off x="9097360" y="8900317"/>
            <a:ext cx="460644" cy="195238"/>
          </a:xfrm>
          <a:prstGeom prst="roundRect">
            <a:avLst/>
          </a:prstGeom>
          <a:noFill/>
          <a:ln w="19050" cap="flat" cmpd="sng" algn="ctr">
            <a:solidFill>
              <a:srgbClr val="DAC4EA"/>
            </a:solidFill>
            <a:prstDash val="solid"/>
          </a:ln>
          <a:effectLst/>
        </p:spPr>
        <p:txBody>
          <a:bodyPr rtlCol="0" anchor="b"/>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0000"/>
              </a:solidFill>
              <a:effectLst/>
              <a:uLnTx/>
              <a:uFillTx/>
              <a:latin typeface="Montserrat" panose="00000500000000000000" pitchFamily="2" charset="0"/>
              <a:ea typeface="+mn-ea"/>
              <a:cs typeface="+mn-cs"/>
            </a:endParaRPr>
          </a:p>
        </p:txBody>
      </p:sp>
      <p:sp>
        <p:nvSpPr>
          <p:cNvPr id="50" name="CaixaDeTexto 2094">
            <a:extLst>
              <a:ext uri="{FF2B5EF4-FFF2-40B4-BE49-F238E27FC236}">
                <a16:creationId xmlns:a16="http://schemas.microsoft.com/office/drawing/2014/main" id="{2CF7C2F4-B07B-6168-6A6B-C282AC453FC8}"/>
              </a:ext>
            </a:extLst>
          </p:cNvPr>
          <p:cNvSpPr txBox="1"/>
          <p:nvPr/>
        </p:nvSpPr>
        <p:spPr>
          <a:xfrm>
            <a:off x="9558004" y="8857751"/>
            <a:ext cx="2558674" cy="461665"/>
          </a:xfrm>
          <a:prstGeom prst="rect">
            <a:avLst/>
          </a:prstGeom>
          <a:noFill/>
        </p:spPr>
        <p:txBody>
          <a:bodyPr wrap="square" lIns="91440" tIns="45720" rIns="91440" bIns="45720" anchor="t">
            <a:spAutoFit/>
          </a:bodyPr>
          <a:lstStyle/>
          <a:p>
            <a:pPr defTabSz="685800">
              <a:defRPr/>
            </a:pPr>
            <a:r>
              <a:rPr lang="es-ES" sz="1200" kern="1200" dirty="0" err="1">
                <a:solidFill>
                  <a:sysClr val="windowText" lastClr="000000"/>
                </a:solidFill>
                <a:latin typeface="Montserrat"/>
                <a:ea typeface="+mn-ea"/>
              </a:rPr>
              <a:t>Shared</a:t>
            </a:r>
            <a:r>
              <a:rPr lang="es-ES" sz="1200" kern="1200" dirty="0">
                <a:solidFill>
                  <a:sysClr val="windowText" lastClr="000000"/>
                </a:solidFill>
                <a:latin typeface="Montserrat"/>
                <a:ea typeface="+mn-ea"/>
              </a:rPr>
              <a:t>  </a:t>
            </a:r>
            <a:r>
              <a:rPr lang="es-ES" sz="1200" kern="1200" dirty="0" err="1">
                <a:solidFill>
                  <a:sysClr val="windowText" lastClr="000000"/>
                </a:solidFill>
                <a:latin typeface="Montserrat"/>
                <a:ea typeface="+mn-ea"/>
              </a:rPr>
              <a:t>Ressponsability</a:t>
            </a:r>
            <a:endParaRPr lang="en-US" dirty="0" err="1">
              <a:ea typeface="+mn-ea"/>
            </a:endParaRPr>
          </a:p>
          <a:p>
            <a:pPr marL="0" marR="0" lvl="0" indent="0" defTabSz="685800">
              <a:lnSpc>
                <a:spcPct val="100000"/>
              </a:lnSpc>
              <a:spcBef>
                <a:spcPts val="0"/>
              </a:spcBef>
              <a:spcAft>
                <a:spcPts val="0"/>
              </a:spcAft>
              <a:buClrTx/>
              <a:buSzTx/>
              <a:buFontTx/>
              <a:buNone/>
              <a:tabLst/>
              <a:defRPr/>
            </a:pPr>
            <a:endParaRPr lang="es-ES" sz="1200" kern="1200" noProof="0">
              <a:solidFill>
                <a:sysClr val="windowText" lastClr="000000"/>
              </a:solidFill>
              <a:latin typeface="Montserrat" panose="00000500000000000000" pitchFamily="2" charset="0"/>
              <a:ea typeface="+mn-ea"/>
            </a:endParaRPr>
          </a:p>
        </p:txBody>
      </p:sp>
      <p:sp>
        <p:nvSpPr>
          <p:cNvPr id="51" name="Retângulo: Cantos Arredondados 2095">
            <a:extLst>
              <a:ext uri="{FF2B5EF4-FFF2-40B4-BE49-F238E27FC236}">
                <a16:creationId xmlns:a16="http://schemas.microsoft.com/office/drawing/2014/main" id="{D2BBDE3A-242B-9BCC-3E48-B59D6D48401C}"/>
              </a:ext>
            </a:extLst>
          </p:cNvPr>
          <p:cNvSpPr/>
          <p:nvPr/>
        </p:nvSpPr>
        <p:spPr>
          <a:xfrm>
            <a:off x="9010413" y="3321117"/>
            <a:ext cx="1558603" cy="4191282"/>
          </a:xfrm>
          <a:prstGeom prst="roundRect">
            <a:avLst>
              <a:gd name="adj" fmla="val 13467"/>
            </a:avLst>
          </a:prstGeom>
          <a:solidFill>
            <a:srgbClr val="150238"/>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srgbClr val="FFFFFF"/>
              </a:solidFill>
              <a:effectLst/>
              <a:uLnTx/>
              <a:uFillTx/>
              <a:latin typeface="Montserrat" panose="00000500000000000000" pitchFamily="2" charset="0"/>
              <a:ea typeface="+mn-ea"/>
              <a:cs typeface="+mn-cs"/>
            </a:endParaRPr>
          </a:p>
        </p:txBody>
      </p:sp>
      <p:sp>
        <p:nvSpPr>
          <p:cNvPr id="52" name="CaixaDeTexto 2096">
            <a:extLst>
              <a:ext uri="{FF2B5EF4-FFF2-40B4-BE49-F238E27FC236}">
                <a16:creationId xmlns:a16="http://schemas.microsoft.com/office/drawing/2014/main" id="{ADFD5ABD-EF1B-5644-6BA4-75358BED09B5}"/>
              </a:ext>
            </a:extLst>
          </p:cNvPr>
          <p:cNvSpPr txBox="1"/>
          <p:nvPr/>
        </p:nvSpPr>
        <p:spPr>
          <a:xfrm>
            <a:off x="9010413" y="5609595"/>
            <a:ext cx="1558603" cy="307777"/>
          </a:xfrm>
          <a:prstGeom prst="rect">
            <a:avLst/>
          </a:prstGeom>
          <a:noFill/>
        </p:spPr>
        <p:txBody>
          <a:bodyPr wrap="square" lIns="91440" tIns="45720" rIns="91440" bIns="45720" anchor="t">
            <a:spAutoFit/>
          </a:bodyPr>
          <a:lstStyle/>
          <a:p>
            <a:pPr algn="ctr" defTabSz="685800">
              <a:defRPr/>
            </a:pPr>
            <a:r>
              <a:rPr lang="es-ES" kern="1200" dirty="0">
                <a:solidFill>
                  <a:srgbClr val="FFFFFF"/>
                </a:solidFill>
                <a:latin typeface="Montserrat"/>
                <a:ea typeface="+mn-ea"/>
              </a:rPr>
              <a:t>Generative AI</a:t>
            </a:r>
            <a:endParaRPr lang="en-US" dirty="0">
              <a:ea typeface="+mn-ea"/>
            </a:endParaRPr>
          </a:p>
        </p:txBody>
      </p:sp>
      <p:pic>
        <p:nvPicPr>
          <p:cNvPr id="53" name="Imagem 2097">
            <a:extLst>
              <a:ext uri="{FF2B5EF4-FFF2-40B4-BE49-F238E27FC236}">
                <a16:creationId xmlns:a16="http://schemas.microsoft.com/office/drawing/2014/main" id="{4736EAEA-ECFC-BFFD-1F83-7404C1C7655F}"/>
              </a:ext>
            </a:extLst>
          </p:cNvPr>
          <p:cNvPicPr>
            <a:picLocks noChangeAspect="1"/>
          </p:cNvPicPr>
          <p:nvPr/>
        </p:nvPicPr>
        <p:blipFill>
          <a:blip r:embed="rId14">
            <a:lum bright="70000" contrast="-70000"/>
          </a:blip>
          <a:stretch>
            <a:fillRect/>
          </a:stretch>
        </p:blipFill>
        <p:spPr>
          <a:xfrm>
            <a:off x="9358847" y="4750505"/>
            <a:ext cx="808925" cy="855583"/>
          </a:xfrm>
          <a:prstGeom prst="rect">
            <a:avLst/>
          </a:prstGeom>
        </p:spPr>
      </p:pic>
      <p:sp>
        <p:nvSpPr>
          <p:cNvPr id="54" name="CaixaDeTexto 2098">
            <a:extLst>
              <a:ext uri="{FF2B5EF4-FFF2-40B4-BE49-F238E27FC236}">
                <a16:creationId xmlns:a16="http://schemas.microsoft.com/office/drawing/2014/main" id="{C0DE5756-C9B3-709F-335C-C9007BE874EB}"/>
              </a:ext>
            </a:extLst>
          </p:cNvPr>
          <p:cNvSpPr txBox="1"/>
          <p:nvPr/>
        </p:nvSpPr>
        <p:spPr>
          <a:xfrm>
            <a:off x="5547986" y="5601946"/>
            <a:ext cx="2869713" cy="584775"/>
          </a:xfrm>
          <a:prstGeom prst="rect">
            <a:avLst/>
          </a:prstGeom>
          <a:noFill/>
        </p:spPr>
        <p:txBody>
          <a:bodyPr wrap="square" lIns="91440" tIns="45720" rIns="91440" bIns="45720" anchor="t">
            <a:spAutoFit/>
          </a:bodyPr>
          <a:lstStyle/>
          <a:p>
            <a:pPr algn="ctr" defTabSz="685800">
              <a:buClrTx/>
              <a:defRPr/>
            </a:pPr>
            <a:r>
              <a:rPr lang="es-ES" sz="1600" b="1" kern="1200" dirty="0" err="1">
                <a:solidFill>
                  <a:srgbClr val="FFFFFF"/>
                </a:solidFill>
                <a:latin typeface="Montserrat"/>
                <a:ea typeface="+mn-ea"/>
              </a:rPr>
              <a:t>Decision</a:t>
            </a:r>
            <a:r>
              <a:rPr lang="es-ES" sz="1600" b="1" kern="1200" dirty="0">
                <a:solidFill>
                  <a:srgbClr val="FFFFFF"/>
                </a:solidFill>
                <a:latin typeface="Montserrat"/>
                <a:ea typeface="+mn-ea"/>
              </a:rPr>
              <a:t> </a:t>
            </a:r>
            <a:r>
              <a:rPr lang="es-ES" sz="1600" b="1" kern="1200" dirty="0" err="1">
                <a:solidFill>
                  <a:srgbClr val="FFFFFF"/>
                </a:solidFill>
                <a:latin typeface="Montserrat"/>
                <a:ea typeface="+mn-ea"/>
              </a:rPr>
              <a:t>Intelligence</a:t>
            </a:r>
            <a:r>
              <a:rPr lang="es-ES" sz="1600" b="1" kern="1200" dirty="0">
                <a:solidFill>
                  <a:srgbClr val="FFFFFF"/>
                </a:solidFill>
                <a:latin typeface="Montserrat"/>
                <a:ea typeface="+mn-ea"/>
              </a:rPr>
              <a:t> </a:t>
            </a:r>
            <a:r>
              <a:rPr lang="es-ES" sz="1600" b="1" kern="1200" dirty="0" err="1">
                <a:solidFill>
                  <a:srgbClr val="FFFFFF"/>
                </a:solidFill>
                <a:latin typeface="Montserrat"/>
                <a:ea typeface="+mn-ea"/>
              </a:rPr>
              <a:t>Platform</a:t>
            </a:r>
            <a:endParaRPr lang="es-ES" sz="1600" b="1" kern="1200" dirty="0">
              <a:solidFill>
                <a:srgbClr val="FFFFFF"/>
              </a:solidFill>
              <a:latin typeface="Montserrat"/>
              <a:ea typeface="+mn-ea"/>
            </a:endParaRPr>
          </a:p>
        </p:txBody>
      </p:sp>
      <p:sp>
        <p:nvSpPr>
          <p:cNvPr id="55" name="Triângulo isósceles 2099">
            <a:extLst>
              <a:ext uri="{FF2B5EF4-FFF2-40B4-BE49-F238E27FC236}">
                <a16:creationId xmlns:a16="http://schemas.microsoft.com/office/drawing/2014/main" id="{EC661729-5FD7-6C65-2A47-D5F581A2BD93}"/>
              </a:ext>
            </a:extLst>
          </p:cNvPr>
          <p:cNvSpPr/>
          <p:nvPr/>
        </p:nvSpPr>
        <p:spPr>
          <a:xfrm rot="5400000">
            <a:off x="11355561" y="5175583"/>
            <a:ext cx="5885547" cy="591071"/>
          </a:xfrm>
          <a:prstGeom prst="triangle">
            <a:avLst/>
          </a:prstGeom>
          <a:solidFill>
            <a:srgbClr val="000000">
              <a:lumMod val="50000"/>
              <a:lumOff val="50000"/>
            </a:srgbClr>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s-ES" sz="3200" b="0" i="0" u="none" strike="noStrike" kern="1200" cap="none" spc="0" normalizeH="0" baseline="0" noProof="0">
              <a:ln>
                <a:noFill/>
              </a:ln>
              <a:solidFill>
                <a:srgbClr val="FFFFFF"/>
              </a:solidFill>
              <a:effectLst/>
              <a:uLnTx/>
              <a:uFillTx/>
              <a:latin typeface="Arial"/>
              <a:ea typeface="+mn-ea"/>
              <a:cs typeface="+mn-cs"/>
            </a:endParaRPr>
          </a:p>
        </p:txBody>
      </p:sp>
      <p:sp>
        <p:nvSpPr>
          <p:cNvPr id="56" name="Retângulo: Cantos Arredondados 2100">
            <a:extLst>
              <a:ext uri="{FF2B5EF4-FFF2-40B4-BE49-F238E27FC236}">
                <a16:creationId xmlns:a16="http://schemas.microsoft.com/office/drawing/2014/main" id="{CBEC3136-85BC-C8E2-D7BB-CA6014E0B381}"/>
              </a:ext>
            </a:extLst>
          </p:cNvPr>
          <p:cNvSpPr/>
          <p:nvPr/>
        </p:nvSpPr>
        <p:spPr>
          <a:xfrm>
            <a:off x="14982826" y="3321117"/>
            <a:ext cx="1558603" cy="4191282"/>
          </a:xfrm>
          <a:prstGeom prst="roundRect">
            <a:avLst>
              <a:gd name="adj" fmla="val 13467"/>
            </a:avLst>
          </a:prstGeom>
          <a:solidFill>
            <a:srgbClr val="150238"/>
          </a:solidFill>
          <a:ln w="25400" cap="flat" cmpd="sng" algn="ctr">
            <a:noFill/>
            <a:prstDash val="solid"/>
          </a:ln>
          <a:effectLst/>
        </p:spPr>
        <p:txBody>
          <a:bodyPr lIns="91440" tIns="45720" rIns="91440" bIns="4572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srgbClr val="FFFFFF"/>
              </a:solidFill>
              <a:effectLst/>
              <a:uLnTx/>
              <a:uFillTx/>
              <a:latin typeface="Montserrat" panose="00000500000000000000" pitchFamily="2" charset="0"/>
              <a:ea typeface="+mn-ea"/>
              <a:cs typeface="+mn-cs"/>
            </a:endParaRPr>
          </a:p>
          <a:p>
            <a:pPr algn="ctr" defTabSz="685800">
              <a:defRPr/>
            </a:pPr>
            <a:r>
              <a:rPr lang="es-ES" sz="2000" kern="1200" dirty="0">
                <a:solidFill>
                  <a:srgbClr val="FFFFFF"/>
                </a:solidFill>
                <a:latin typeface="Montserrat"/>
                <a:ea typeface="+mn-ea"/>
                <a:cs typeface="+mn-cs"/>
              </a:rPr>
              <a:t>Human Digital Twin</a:t>
            </a:r>
            <a:endParaRPr lang="es-ES" dirty="0">
              <a:ea typeface="+mn-ea"/>
              <a:cs typeface="+mn-cs"/>
            </a:endParaRPr>
          </a:p>
        </p:txBody>
      </p:sp>
      <p:sp>
        <p:nvSpPr>
          <p:cNvPr id="57" name="Retângulo: Cantos Arredondados 2101">
            <a:extLst>
              <a:ext uri="{FF2B5EF4-FFF2-40B4-BE49-F238E27FC236}">
                <a16:creationId xmlns:a16="http://schemas.microsoft.com/office/drawing/2014/main" id="{17FDBA4D-47FF-984A-4712-024237EC43A3}"/>
              </a:ext>
            </a:extLst>
          </p:cNvPr>
          <p:cNvSpPr/>
          <p:nvPr/>
        </p:nvSpPr>
        <p:spPr>
          <a:xfrm>
            <a:off x="10720560" y="6629578"/>
            <a:ext cx="2548461" cy="875498"/>
          </a:xfrm>
          <a:prstGeom prst="roundRect">
            <a:avLst/>
          </a:prstGeom>
          <a:solidFill>
            <a:srgbClr val="9762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srgbClr val="FFFFFF"/>
              </a:solidFill>
              <a:effectLst/>
              <a:uLnTx/>
              <a:uFillTx/>
              <a:latin typeface="Montserrat" panose="00000500000000000000" pitchFamily="2" charset="0"/>
              <a:ea typeface="+mn-ea"/>
              <a:cs typeface="+mn-cs"/>
            </a:endParaRPr>
          </a:p>
        </p:txBody>
      </p:sp>
      <p:sp>
        <p:nvSpPr>
          <p:cNvPr id="58" name="CaixaDeTexto 2102">
            <a:extLst>
              <a:ext uri="{FF2B5EF4-FFF2-40B4-BE49-F238E27FC236}">
                <a16:creationId xmlns:a16="http://schemas.microsoft.com/office/drawing/2014/main" id="{486FBA13-98CC-CCEA-F613-EF03144E84B4}"/>
              </a:ext>
            </a:extLst>
          </p:cNvPr>
          <p:cNvSpPr txBox="1"/>
          <p:nvPr/>
        </p:nvSpPr>
        <p:spPr>
          <a:xfrm>
            <a:off x="11501594" y="6918307"/>
            <a:ext cx="1453150" cy="307777"/>
          </a:xfrm>
          <a:prstGeom prst="rect">
            <a:avLst/>
          </a:prstGeom>
          <a:noFill/>
        </p:spPr>
        <p:txBody>
          <a:bodyPr wrap="square" lIns="91440" tIns="45720" rIns="91440" bIns="45720" anchor="t">
            <a:spAutoFit/>
          </a:bodyPr>
          <a:lstStyle/>
          <a:p>
            <a:pPr defTabSz="685800">
              <a:defRPr/>
            </a:pPr>
            <a:r>
              <a:rPr lang="es-ES" kern="1200" dirty="0">
                <a:solidFill>
                  <a:srgbClr val="FFFFFF"/>
                </a:solidFill>
                <a:latin typeface="Montserrat"/>
                <a:ea typeface="+mn-ea"/>
              </a:rPr>
              <a:t>AI </a:t>
            </a:r>
            <a:r>
              <a:rPr lang="es-ES" kern="1200" dirty="0" err="1">
                <a:solidFill>
                  <a:srgbClr val="FFFFFF"/>
                </a:solidFill>
                <a:latin typeface="Montserrat"/>
                <a:ea typeface="+mn-ea"/>
              </a:rPr>
              <a:t>Agent</a:t>
            </a:r>
            <a:endParaRPr lang="en-US" dirty="0" err="1">
              <a:ea typeface="+mn-ea"/>
            </a:endParaRPr>
          </a:p>
        </p:txBody>
      </p:sp>
      <p:sp>
        <p:nvSpPr>
          <p:cNvPr id="59" name="Retângulo: Cantos Arredondados 2103">
            <a:extLst>
              <a:ext uri="{FF2B5EF4-FFF2-40B4-BE49-F238E27FC236}">
                <a16:creationId xmlns:a16="http://schemas.microsoft.com/office/drawing/2014/main" id="{9A20D10A-62B5-A5B3-D8B8-69AA1E984C0F}"/>
              </a:ext>
            </a:extLst>
          </p:cNvPr>
          <p:cNvSpPr/>
          <p:nvPr/>
        </p:nvSpPr>
        <p:spPr>
          <a:xfrm>
            <a:off x="10720560" y="4436468"/>
            <a:ext cx="2548461" cy="875498"/>
          </a:xfrm>
          <a:prstGeom prst="roundRect">
            <a:avLst/>
          </a:prstGeom>
          <a:solidFill>
            <a:srgbClr val="9762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srgbClr val="FFFFFF"/>
              </a:solidFill>
              <a:effectLst/>
              <a:uLnTx/>
              <a:uFillTx/>
              <a:latin typeface="Montserrat" panose="00000500000000000000" pitchFamily="2" charset="0"/>
              <a:ea typeface="+mn-ea"/>
              <a:cs typeface="+mn-cs"/>
            </a:endParaRPr>
          </a:p>
        </p:txBody>
      </p:sp>
      <p:pic>
        <p:nvPicPr>
          <p:cNvPr id="60" name="Imagem 2104">
            <a:extLst>
              <a:ext uri="{FF2B5EF4-FFF2-40B4-BE49-F238E27FC236}">
                <a16:creationId xmlns:a16="http://schemas.microsoft.com/office/drawing/2014/main" id="{25599039-8A66-EE93-5E2A-258499EC62F5}"/>
              </a:ext>
            </a:extLst>
          </p:cNvPr>
          <p:cNvPicPr>
            <a:picLocks noChangeAspect="1"/>
          </p:cNvPicPr>
          <p:nvPr/>
        </p:nvPicPr>
        <p:blipFill>
          <a:blip r:embed="rId15">
            <a:lum bright="70000" contrast="-70000"/>
          </a:blip>
          <a:stretch>
            <a:fillRect/>
          </a:stretch>
        </p:blipFill>
        <p:spPr>
          <a:xfrm>
            <a:off x="10954707" y="4679015"/>
            <a:ext cx="423467" cy="447893"/>
          </a:xfrm>
          <a:prstGeom prst="rect">
            <a:avLst/>
          </a:prstGeom>
        </p:spPr>
      </p:pic>
      <p:sp>
        <p:nvSpPr>
          <p:cNvPr id="61" name="CaixaDeTexto 2105">
            <a:extLst>
              <a:ext uri="{FF2B5EF4-FFF2-40B4-BE49-F238E27FC236}">
                <a16:creationId xmlns:a16="http://schemas.microsoft.com/office/drawing/2014/main" id="{7A4B3CDA-6C63-4315-6692-BB1C711224DA}"/>
              </a:ext>
            </a:extLst>
          </p:cNvPr>
          <p:cNvSpPr txBox="1"/>
          <p:nvPr/>
        </p:nvSpPr>
        <p:spPr>
          <a:xfrm>
            <a:off x="11437517" y="4749073"/>
            <a:ext cx="1580536" cy="307777"/>
          </a:xfrm>
          <a:prstGeom prst="rect">
            <a:avLst/>
          </a:prstGeom>
          <a:noFill/>
        </p:spPr>
        <p:txBody>
          <a:bodyPr wrap="square" lIns="91440" tIns="45720" rIns="91440" bIns="45720" anchor="t">
            <a:spAutoFit/>
          </a:bodyPr>
          <a:lstStyle/>
          <a:p>
            <a:pPr defTabSz="685800">
              <a:defRPr/>
            </a:pPr>
            <a:r>
              <a:rPr lang="es-ES" kern="1200" dirty="0" err="1">
                <a:solidFill>
                  <a:srgbClr val="FFFFFF"/>
                </a:solidFill>
                <a:latin typeface="Montserrat"/>
                <a:ea typeface="+mn-ea"/>
              </a:rPr>
              <a:t>Integration</a:t>
            </a:r>
            <a:endParaRPr lang="en-US" dirty="0" err="1">
              <a:ea typeface="+mn-ea"/>
            </a:endParaRPr>
          </a:p>
        </p:txBody>
      </p:sp>
      <p:sp>
        <p:nvSpPr>
          <p:cNvPr id="62" name="Retângulo: Cantos Arredondados 2106">
            <a:extLst>
              <a:ext uri="{FF2B5EF4-FFF2-40B4-BE49-F238E27FC236}">
                <a16:creationId xmlns:a16="http://schemas.microsoft.com/office/drawing/2014/main" id="{A73A8CD2-A0D3-7E5B-D98C-C9B7FD3D6099}"/>
              </a:ext>
            </a:extLst>
          </p:cNvPr>
          <p:cNvSpPr/>
          <p:nvPr/>
        </p:nvSpPr>
        <p:spPr>
          <a:xfrm>
            <a:off x="10720560" y="5531609"/>
            <a:ext cx="2548461" cy="875498"/>
          </a:xfrm>
          <a:prstGeom prst="roundRect">
            <a:avLst/>
          </a:prstGeom>
          <a:solidFill>
            <a:srgbClr val="9762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srgbClr val="FFFFFF"/>
              </a:solidFill>
              <a:effectLst/>
              <a:uLnTx/>
              <a:uFillTx/>
              <a:latin typeface="Montserrat" panose="00000500000000000000" pitchFamily="2" charset="0"/>
              <a:ea typeface="+mn-ea"/>
              <a:cs typeface="+mn-cs"/>
            </a:endParaRPr>
          </a:p>
        </p:txBody>
      </p:sp>
      <p:pic>
        <p:nvPicPr>
          <p:cNvPr id="63" name="Imagem 2107">
            <a:extLst>
              <a:ext uri="{FF2B5EF4-FFF2-40B4-BE49-F238E27FC236}">
                <a16:creationId xmlns:a16="http://schemas.microsoft.com/office/drawing/2014/main" id="{0975F371-8039-7D43-76E2-29B77BBDF252}"/>
              </a:ext>
            </a:extLst>
          </p:cNvPr>
          <p:cNvPicPr>
            <a:picLocks noChangeAspect="1"/>
          </p:cNvPicPr>
          <p:nvPr/>
        </p:nvPicPr>
        <p:blipFill>
          <a:blip r:embed="rId16">
            <a:lum bright="70000" contrast="-70000"/>
          </a:blip>
          <a:stretch>
            <a:fillRect/>
          </a:stretch>
        </p:blipFill>
        <p:spPr>
          <a:xfrm>
            <a:off x="10900406" y="5652103"/>
            <a:ext cx="545247" cy="576697"/>
          </a:xfrm>
          <a:prstGeom prst="rect">
            <a:avLst/>
          </a:prstGeom>
        </p:spPr>
      </p:pic>
      <p:sp>
        <p:nvSpPr>
          <p:cNvPr id="64" name="CaixaDeTexto 2108">
            <a:extLst>
              <a:ext uri="{FF2B5EF4-FFF2-40B4-BE49-F238E27FC236}">
                <a16:creationId xmlns:a16="http://schemas.microsoft.com/office/drawing/2014/main" id="{147A70BB-5DCC-1B94-2767-101E99634629}"/>
              </a:ext>
            </a:extLst>
          </p:cNvPr>
          <p:cNvSpPr txBox="1"/>
          <p:nvPr/>
        </p:nvSpPr>
        <p:spPr>
          <a:xfrm>
            <a:off x="11493709" y="5809423"/>
            <a:ext cx="1675053" cy="307777"/>
          </a:xfrm>
          <a:prstGeom prst="rect">
            <a:avLst/>
          </a:prstGeom>
          <a:noFill/>
        </p:spPr>
        <p:txBody>
          <a:bodyPr wrap="square" lIns="91440" tIns="45720" rIns="91440" bIns="45720" anchor="t">
            <a:spAutoFit/>
          </a:bodyPr>
          <a:lstStyle/>
          <a:p>
            <a:pPr defTabSz="685800">
              <a:defRPr/>
            </a:pPr>
            <a:r>
              <a:rPr lang="es-ES" kern="1200" dirty="0" err="1">
                <a:solidFill>
                  <a:srgbClr val="FFFFFF"/>
                </a:solidFill>
                <a:latin typeface="Montserrat"/>
                <a:ea typeface="+mn-ea"/>
              </a:rPr>
              <a:t>Workflows</a:t>
            </a:r>
            <a:endParaRPr lang="en-US" dirty="0" err="1">
              <a:ea typeface="+mn-ea"/>
            </a:endParaRPr>
          </a:p>
        </p:txBody>
      </p:sp>
      <p:pic>
        <p:nvPicPr>
          <p:cNvPr id="65" name="Imagem 2109">
            <a:extLst>
              <a:ext uri="{FF2B5EF4-FFF2-40B4-BE49-F238E27FC236}">
                <a16:creationId xmlns:a16="http://schemas.microsoft.com/office/drawing/2014/main" id="{CB7CE075-3D90-FCB1-A0C0-D066EDA8FF5F}"/>
              </a:ext>
            </a:extLst>
          </p:cNvPr>
          <p:cNvPicPr>
            <a:picLocks noChangeAspect="1"/>
          </p:cNvPicPr>
          <p:nvPr/>
        </p:nvPicPr>
        <p:blipFill>
          <a:blip r:embed="rId17">
            <a:lum bright="70000" contrast="-70000"/>
          </a:blip>
          <a:stretch>
            <a:fillRect/>
          </a:stretch>
        </p:blipFill>
        <p:spPr>
          <a:xfrm>
            <a:off x="10939651" y="6742658"/>
            <a:ext cx="545247" cy="576697"/>
          </a:xfrm>
          <a:prstGeom prst="rect">
            <a:avLst/>
          </a:prstGeom>
        </p:spPr>
      </p:pic>
    </p:spTree>
    <p:extLst>
      <p:ext uri="{BB962C8B-B14F-4D97-AF65-F5344CB8AC3E}">
        <p14:creationId xmlns:p14="http://schemas.microsoft.com/office/powerpoint/2010/main" val="120182226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3447">
          <a:extLst>
            <a:ext uri="{FF2B5EF4-FFF2-40B4-BE49-F238E27FC236}">
              <a16:creationId xmlns:a16="http://schemas.microsoft.com/office/drawing/2014/main" id="{AFB4CF9A-133C-BA11-3124-BC807A523E26}"/>
            </a:ext>
          </a:extLst>
        </p:cNvPr>
        <p:cNvGrpSpPr/>
        <p:nvPr/>
      </p:nvGrpSpPr>
      <p:grpSpPr>
        <a:xfrm>
          <a:off x="0" y="0"/>
          <a:ext cx="0" cy="0"/>
          <a:chOff x="0" y="0"/>
          <a:chExt cx="0" cy="0"/>
        </a:xfrm>
      </p:grpSpPr>
      <p:sp>
        <p:nvSpPr>
          <p:cNvPr id="13448" name="Google Shape;13448;p174">
            <a:extLst>
              <a:ext uri="{FF2B5EF4-FFF2-40B4-BE49-F238E27FC236}">
                <a16:creationId xmlns:a16="http://schemas.microsoft.com/office/drawing/2014/main" id="{15E973E0-20ED-23E0-2035-A12F2847EA7D}"/>
              </a:ext>
            </a:extLst>
          </p:cNvPr>
          <p:cNvSpPr txBox="1">
            <a:spLocks noGrp="1"/>
          </p:cNvSpPr>
          <p:nvPr>
            <p:ph type="title" idx="4294967295"/>
          </p:nvPr>
        </p:nvSpPr>
        <p:spPr>
          <a:xfrm>
            <a:off x="939682" y="573786"/>
            <a:ext cx="8863212" cy="644359"/>
          </a:xfrm>
          <a:prstGeom prst="rect">
            <a:avLst/>
          </a:prstGeom>
        </p:spPr>
        <p:txBody>
          <a:bodyPr spcFirstLastPara="1" vert="horz" wrap="square" lIns="0" tIns="0" rIns="0" bIns="0" rtlCol="0" anchor="t" anchorCtr="0">
            <a:noAutofit/>
          </a:bodyPr>
          <a:lstStyle/>
          <a:p>
            <a:r>
              <a:rPr lang="en-US" sz="4000" b="1" noProof="0">
                <a:solidFill>
                  <a:schemeClr val="bg1"/>
                </a:solidFill>
              </a:rPr>
              <a:t>Deliver trusted outcomes with sources and logical reasoning</a:t>
            </a:r>
          </a:p>
        </p:txBody>
      </p:sp>
      <p:sp>
        <p:nvSpPr>
          <p:cNvPr id="13449" name="Google Shape;13449;p174">
            <a:extLst>
              <a:ext uri="{FF2B5EF4-FFF2-40B4-BE49-F238E27FC236}">
                <a16:creationId xmlns:a16="http://schemas.microsoft.com/office/drawing/2014/main" id="{CCBF114D-01B8-5729-769D-22C088A1D5B8}"/>
              </a:ext>
            </a:extLst>
          </p:cNvPr>
          <p:cNvSpPr txBox="1"/>
          <p:nvPr/>
        </p:nvSpPr>
        <p:spPr>
          <a:xfrm>
            <a:off x="8205262" y="4529670"/>
            <a:ext cx="7388871" cy="3447098"/>
          </a:xfrm>
          <a:prstGeom prst="rect">
            <a:avLst/>
          </a:prstGeom>
          <a:noFill/>
          <a:ln>
            <a:noFill/>
          </a:ln>
        </p:spPr>
        <p:txBody>
          <a:bodyPr spcFirstLastPara="1" wrap="square" lIns="0" tIns="0" rIns="0" bIns="0" anchor="t" anchorCtr="0">
            <a:spAutoFit/>
          </a:bodyPr>
          <a:lstStyle/>
          <a:p>
            <a:pPr marL="285750" marR="0" lvl="0" indent="-257175" algn="l" defTabSz="1371600" rtl="0" eaLnBrk="1" fontAlgn="auto" latinLnBrk="0" hangingPunct="1">
              <a:spcBef>
                <a:spcPts val="0"/>
              </a:spcBef>
              <a:spcAft>
                <a:spcPts val="1600"/>
              </a:spcAft>
              <a:buClr>
                <a:srgbClr val="2E1745"/>
              </a:buClr>
              <a:buSzPct val="100000"/>
              <a:buFont typeface="Wingdings" panose="05000000000000000000" pitchFamily="2" charset="2"/>
              <a:buChar char="§"/>
              <a:tabLst/>
              <a:defRPr/>
            </a:pPr>
            <a:r>
              <a:rPr kumimoji="0" lang="en-US" sz="1800" b="0" i="0" u="none" strike="noStrike" kern="1200" cap="none" spc="0" normalizeH="0" baseline="0" noProof="0">
                <a:ln>
                  <a:noFill/>
                </a:ln>
                <a:solidFill>
                  <a:srgbClr val="2E1745"/>
                </a:solidFill>
                <a:effectLst/>
                <a:uLnTx/>
                <a:uFillTx/>
                <a:latin typeface="Montserrat"/>
                <a:ea typeface="Roboto Light"/>
                <a:cs typeface="Roboto Light"/>
                <a:sym typeface="Roboto Light"/>
              </a:rPr>
              <a:t>Can answer complex situational questions and provide nuanced answers</a:t>
            </a:r>
            <a:endParaRPr lang="en-US" sz="1800" b="0" i="0" u="none" strike="noStrike" kern="1200" cap="none" spc="0" normalizeH="0" baseline="0" noProof="0">
              <a:ln>
                <a:noFill/>
              </a:ln>
              <a:solidFill>
                <a:srgbClr val="2E1745"/>
              </a:solidFill>
              <a:effectLst/>
              <a:uLnTx/>
              <a:uFillTx/>
              <a:latin typeface="Montserrat"/>
              <a:ea typeface="Roboto Light"/>
              <a:cs typeface="Roboto Light"/>
            </a:endParaRPr>
          </a:p>
          <a:p>
            <a:pPr marL="285750" marR="0" lvl="0" indent="-257175" algn="l" defTabSz="1371600" rtl="0" eaLnBrk="1" fontAlgn="auto" latinLnBrk="0" hangingPunct="1">
              <a:spcBef>
                <a:spcPts val="0"/>
              </a:spcBef>
              <a:spcAft>
                <a:spcPts val="1600"/>
              </a:spcAft>
              <a:buClr>
                <a:srgbClr val="2E1745"/>
              </a:buClr>
              <a:buSzPct val="100000"/>
              <a:buFont typeface="Wingdings" panose="05000000000000000000" pitchFamily="2" charset="2"/>
              <a:buChar char="§"/>
              <a:tabLst/>
              <a:defRPr/>
            </a:pPr>
            <a:r>
              <a:rPr kumimoji="0" lang="en-US" sz="1800" b="0" i="0" u="none" strike="noStrike" kern="1200" cap="none" spc="0" normalizeH="0" baseline="0" noProof="0">
                <a:ln>
                  <a:noFill/>
                </a:ln>
                <a:solidFill>
                  <a:srgbClr val="2E1745"/>
                </a:solidFill>
                <a:effectLst/>
                <a:uLnTx/>
                <a:uFillTx/>
                <a:latin typeface="Montserrat"/>
                <a:ea typeface="Roboto Light"/>
                <a:cs typeface="Roboto Light"/>
                <a:sym typeface="Roboto Light"/>
              </a:rPr>
              <a:t>Does not hallucinate</a:t>
            </a:r>
            <a:endParaRPr lang="en-US" sz="1800" b="0" i="0" u="none" strike="noStrike" kern="1200" cap="none" spc="0" normalizeH="0" baseline="0" noProof="0">
              <a:ln>
                <a:noFill/>
              </a:ln>
              <a:solidFill>
                <a:srgbClr val="2E1745"/>
              </a:solidFill>
              <a:effectLst/>
              <a:uLnTx/>
              <a:uFillTx/>
              <a:latin typeface="Montserrat"/>
              <a:ea typeface="Roboto Light"/>
              <a:cs typeface="Roboto Light"/>
            </a:endParaRPr>
          </a:p>
          <a:p>
            <a:pPr marL="285750" marR="0" lvl="0" indent="-257175" algn="l" defTabSz="1371600" rtl="0" eaLnBrk="1" fontAlgn="auto" latinLnBrk="0" hangingPunct="1">
              <a:spcBef>
                <a:spcPts val="0"/>
              </a:spcBef>
              <a:spcAft>
                <a:spcPts val="1600"/>
              </a:spcAft>
              <a:buClr>
                <a:srgbClr val="2E1745"/>
              </a:buClr>
              <a:buSzPct val="100000"/>
              <a:buFont typeface="Wingdings" panose="05000000000000000000" pitchFamily="2" charset="2"/>
              <a:buChar char="§"/>
              <a:tabLst/>
              <a:defRPr/>
            </a:pPr>
            <a:r>
              <a:rPr kumimoji="0" lang="en-US" sz="1800" b="0" i="0" u="none" strike="noStrike" kern="1200" cap="none" spc="0" normalizeH="0" baseline="0" noProof="0">
                <a:ln>
                  <a:noFill/>
                </a:ln>
                <a:solidFill>
                  <a:srgbClr val="2E1745"/>
                </a:solidFill>
                <a:effectLst/>
                <a:uLnTx/>
                <a:uFillTx/>
                <a:latin typeface="Montserrat"/>
                <a:ea typeface="Roboto Light"/>
                <a:cs typeface="Roboto Light"/>
                <a:sym typeface="Roboto Light"/>
              </a:rPr>
              <a:t>Produce links to sources but also a logical chain of reasoning as evidence</a:t>
            </a:r>
            <a:endParaRPr lang="en-US" sz="1800" b="0" i="0" u="none" strike="noStrike" kern="1200" cap="none" spc="0" normalizeH="0" baseline="0" noProof="0">
              <a:ln>
                <a:noFill/>
              </a:ln>
              <a:solidFill>
                <a:srgbClr val="2E1745"/>
              </a:solidFill>
              <a:effectLst/>
              <a:uLnTx/>
              <a:uFillTx/>
              <a:latin typeface="Montserrat"/>
              <a:ea typeface="Roboto Light"/>
              <a:cs typeface="Roboto Light"/>
            </a:endParaRPr>
          </a:p>
          <a:p>
            <a:pPr marL="285750" marR="0" lvl="0" indent="-257175" algn="l" defTabSz="1371600" rtl="0" eaLnBrk="1" fontAlgn="auto" latinLnBrk="0" hangingPunct="1">
              <a:spcBef>
                <a:spcPts val="0"/>
              </a:spcBef>
              <a:spcAft>
                <a:spcPts val="1600"/>
              </a:spcAft>
              <a:buClr>
                <a:srgbClr val="2E1745"/>
              </a:buClr>
              <a:buSzPct val="100000"/>
              <a:buFont typeface="Wingdings" panose="05000000000000000000" pitchFamily="2" charset="2"/>
              <a:buChar char="§"/>
              <a:tabLst/>
              <a:defRPr/>
            </a:pPr>
            <a:r>
              <a:rPr kumimoji="0" lang="en-US" sz="1800" b="0" i="0" u="none" strike="noStrike" kern="1200" cap="none" spc="0" normalizeH="0" baseline="0" noProof="0">
                <a:ln>
                  <a:noFill/>
                </a:ln>
                <a:solidFill>
                  <a:srgbClr val="2E1745"/>
                </a:solidFill>
                <a:effectLst/>
                <a:uLnTx/>
                <a:uFillTx/>
                <a:latin typeface="Montserrat"/>
                <a:ea typeface="Roboto Light"/>
                <a:cs typeface="Roboto Light"/>
                <a:sym typeface="Roboto Light"/>
              </a:rPr>
              <a:t>Iteratively consults with sources and users to gain context</a:t>
            </a:r>
            <a:endParaRPr lang="en-US" sz="1800" b="0" i="0" u="none" strike="noStrike" kern="1200" cap="none" spc="0" normalizeH="0" baseline="0" noProof="0">
              <a:ln>
                <a:noFill/>
              </a:ln>
              <a:solidFill>
                <a:srgbClr val="2E1745"/>
              </a:solidFill>
              <a:effectLst/>
              <a:uLnTx/>
              <a:uFillTx/>
              <a:latin typeface="Montserrat"/>
              <a:ea typeface="Roboto Light"/>
              <a:cs typeface="Roboto Light"/>
            </a:endParaRPr>
          </a:p>
          <a:p>
            <a:pPr marL="285750" marR="0" lvl="0" indent="-257175" algn="l" defTabSz="1371600" rtl="0" eaLnBrk="1" fontAlgn="auto" latinLnBrk="0" hangingPunct="1">
              <a:spcBef>
                <a:spcPts val="0"/>
              </a:spcBef>
              <a:spcAft>
                <a:spcPts val="1600"/>
              </a:spcAft>
              <a:buClr>
                <a:srgbClr val="2E1745"/>
              </a:buClr>
              <a:buSzPct val="100000"/>
              <a:buFont typeface="Wingdings" panose="05000000000000000000" pitchFamily="2" charset="2"/>
              <a:buChar char="§"/>
              <a:tabLst/>
              <a:defRPr/>
            </a:pPr>
            <a:r>
              <a:rPr kumimoji="0" lang="en-US" sz="1800" b="0" i="0" u="none" strike="noStrike" kern="1200" cap="none" spc="0" normalizeH="0" baseline="0" noProof="0">
                <a:ln>
                  <a:noFill/>
                </a:ln>
                <a:solidFill>
                  <a:srgbClr val="2E1745"/>
                </a:solidFill>
                <a:effectLst/>
                <a:uLnTx/>
                <a:uFillTx/>
                <a:latin typeface="Montserrat"/>
                <a:ea typeface="Roboto Light"/>
                <a:cs typeface="Roboto Light"/>
                <a:sym typeface="Roboto Light"/>
              </a:rPr>
              <a:t>Constrained to the scope of the knowledge graph</a:t>
            </a:r>
            <a:endParaRPr lang="en-US" sz="1800" b="0" i="0" u="none" strike="noStrike" kern="1200" cap="none" spc="0" normalizeH="0" baseline="0" noProof="0">
              <a:ln>
                <a:noFill/>
              </a:ln>
              <a:solidFill>
                <a:srgbClr val="2E1745"/>
              </a:solidFill>
              <a:effectLst/>
              <a:uLnTx/>
              <a:uFillTx/>
              <a:latin typeface="Montserrat"/>
              <a:ea typeface="Roboto Light"/>
              <a:cs typeface="Roboto Light"/>
            </a:endParaRPr>
          </a:p>
          <a:p>
            <a:pPr marL="285750" marR="0" lvl="0" indent="-257175" algn="l" defTabSz="1371600" rtl="0" eaLnBrk="1" fontAlgn="auto" latinLnBrk="0" hangingPunct="1">
              <a:spcBef>
                <a:spcPts val="0"/>
              </a:spcBef>
              <a:spcAft>
                <a:spcPts val="1600"/>
              </a:spcAft>
              <a:buClr>
                <a:srgbClr val="2E1745"/>
              </a:buClr>
              <a:buSzPct val="100000"/>
              <a:buFont typeface="Wingdings" panose="05000000000000000000" pitchFamily="2" charset="2"/>
              <a:buChar char="§"/>
              <a:tabLst/>
              <a:defRPr/>
            </a:pPr>
            <a:r>
              <a:rPr kumimoji="0" lang="en-US" sz="1800" b="0" i="0" u="none" strike="noStrike" kern="1200" cap="none" spc="0" normalizeH="0" baseline="0" noProof="0">
                <a:ln>
                  <a:noFill/>
                </a:ln>
                <a:solidFill>
                  <a:srgbClr val="2E1745"/>
                </a:solidFill>
                <a:effectLst/>
                <a:uLnTx/>
                <a:uFillTx/>
                <a:latin typeface="Montserrat"/>
                <a:ea typeface="Roboto Light"/>
                <a:cs typeface="Roboto Light"/>
                <a:sym typeface="Roboto Light"/>
              </a:rPr>
              <a:t>Incorporate your own expertise</a:t>
            </a:r>
            <a:endParaRPr lang="en-US" sz="1800" b="0" i="0" u="none" strike="noStrike" kern="1200" cap="none" spc="0" normalizeH="0" baseline="0" noProof="0">
              <a:ln>
                <a:noFill/>
              </a:ln>
              <a:solidFill>
                <a:srgbClr val="2E1745"/>
              </a:solidFill>
              <a:effectLst/>
              <a:uLnTx/>
              <a:uFillTx/>
              <a:latin typeface="Montserrat"/>
              <a:ea typeface="Roboto Light"/>
              <a:cs typeface="Roboto Light"/>
            </a:endParaRPr>
          </a:p>
        </p:txBody>
      </p:sp>
      <p:sp>
        <p:nvSpPr>
          <p:cNvPr id="13450" name="Google Shape;13450;p174">
            <a:extLst>
              <a:ext uri="{FF2B5EF4-FFF2-40B4-BE49-F238E27FC236}">
                <a16:creationId xmlns:a16="http://schemas.microsoft.com/office/drawing/2014/main" id="{9721AAFD-AFBA-2162-AE45-537FBB1C13E8}"/>
              </a:ext>
            </a:extLst>
          </p:cNvPr>
          <p:cNvSpPr txBox="1"/>
          <p:nvPr/>
        </p:nvSpPr>
        <p:spPr>
          <a:xfrm>
            <a:off x="932259" y="1862404"/>
            <a:ext cx="16437903" cy="909460"/>
          </a:xfrm>
          <a:prstGeom prst="rect">
            <a:avLst/>
          </a:prstGeom>
          <a:noFill/>
          <a:ln>
            <a:noFill/>
          </a:ln>
        </p:spPr>
        <p:txBody>
          <a:bodyPr spcFirstLastPara="1" wrap="square" lIns="68570" tIns="68570" rIns="68570" bIns="68570" anchor="t" anchorCtr="0">
            <a:spAutoFit/>
          </a:bodyPr>
          <a:lstStyle/>
          <a:p>
            <a:pPr marL="0" marR="0" lvl="0" indent="0" algn="l" defTabSz="1371600" rtl="0" eaLnBrk="1" fontAlgn="auto" latinLnBrk="0" hangingPunct="1">
              <a:lnSpc>
                <a:spcPct val="115000"/>
              </a:lnSpc>
              <a:spcBef>
                <a:spcPts val="900"/>
              </a:spcBef>
              <a:spcAft>
                <a:spcPts val="1800"/>
              </a:spcAft>
              <a:buClrTx/>
              <a:buSzTx/>
              <a:buFont typeface="Arial"/>
              <a:buNone/>
              <a:tabLst/>
              <a:defRPr/>
            </a:pPr>
            <a:r>
              <a:rPr kumimoji="0" lang="en-US" sz="2400" b="0" i="0" u="none" strike="noStrike" kern="1200" cap="none" spc="0" normalizeH="0" baseline="0" noProof="0">
                <a:ln>
                  <a:noFill/>
                </a:ln>
                <a:solidFill>
                  <a:srgbClr val="6800FF"/>
                </a:solidFill>
                <a:effectLst/>
                <a:highlight>
                  <a:srgbClr val="FFFFFF"/>
                </a:highlight>
                <a:uLnTx/>
                <a:uFillTx/>
                <a:latin typeface="Montserrat" panose="00000500000000000000" pitchFamily="2" charset="0"/>
                <a:ea typeface="Roboto Light"/>
                <a:cs typeface="Roboto Light"/>
                <a:sym typeface="Roboto Light"/>
              </a:rPr>
              <a:t>Move beyond search and summarization to contextual and evidenced decision intelligence</a:t>
            </a:r>
          </a:p>
        </p:txBody>
      </p:sp>
      <p:sp>
        <p:nvSpPr>
          <p:cNvPr id="13451" name="Google Shape;13451;p174">
            <a:extLst>
              <a:ext uri="{FF2B5EF4-FFF2-40B4-BE49-F238E27FC236}">
                <a16:creationId xmlns:a16="http://schemas.microsoft.com/office/drawing/2014/main" id="{F0D3F690-D4B6-9186-B1DF-03ACCD0FB8B7}"/>
              </a:ext>
            </a:extLst>
          </p:cNvPr>
          <p:cNvSpPr txBox="1"/>
          <p:nvPr/>
        </p:nvSpPr>
        <p:spPr>
          <a:xfrm>
            <a:off x="8207588" y="2970493"/>
            <a:ext cx="8644022" cy="1334191"/>
          </a:xfrm>
          <a:prstGeom prst="rect">
            <a:avLst/>
          </a:prstGeom>
          <a:noFill/>
          <a:ln>
            <a:noFill/>
          </a:ln>
        </p:spPr>
        <p:txBody>
          <a:bodyPr spcFirstLastPara="1" wrap="square" lIns="68570" tIns="68570" rIns="68570" bIns="68570" anchor="t" anchorCtr="0">
            <a:spAutoFit/>
          </a:bodyPr>
          <a:lstStyle/>
          <a:p>
            <a:pPr marL="0" marR="0" lvl="0" indent="0" algn="l" defTabSz="1371600" rtl="0" eaLnBrk="1" fontAlgn="auto" latinLnBrk="0" hangingPunct="1">
              <a:lnSpc>
                <a:spcPct val="115000"/>
              </a:lnSpc>
              <a:spcBef>
                <a:spcPts val="900"/>
              </a:spcBef>
              <a:spcAft>
                <a:spcPts val="1800"/>
              </a:spcAft>
              <a:buClrTx/>
              <a:buSzTx/>
              <a:buFont typeface="Arial"/>
              <a:buNone/>
              <a:tabLst/>
              <a:defRPr/>
            </a:pPr>
            <a:r>
              <a:rPr kumimoji="0" lang="en-US" sz="2400" b="0" i="0" u="none" strike="noStrike" kern="1200" cap="none" spc="0" normalizeH="0" baseline="0" noProof="0">
                <a:ln>
                  <a:noFill/>
                </a:ln>
                <a:solidFill>
                  <a:srgbClr val="424242"/>
                </a:solidFill>
                <a:effectLst/>
                <a:highlight>
                  <a:srgbClr val="FFFFFF"/>
                </a:highlight>
                <a:uLnTx/>
                <a:uFillTx/>
                <a:latin typeface="Montserrat"/>
                <a:ea typeface="Roboto Light"/>
                <a:cs typeface="Roboto Light"/>
                <a:sym typeface="Roboto Light"/>
              </a:rPr>
              <a:t>Solve contextual problems through iterative retrieval, consultation and enhanced logical reasoning.</a:t>
            </a:r>
            <a:endParaRPr lang="en-US" sz="2400" b="0" i="0" u="none" strike="noStrike" kern="1200" cap="none" spc="0" normalizeH="0" baseline="0" noProof="0">
              <a:ln>
                <a:noFill/>
              </a:ln>
              <a:solidFill>
                <a:srgbClr val="424242"/>
              </a:solidFill>
              <a:effectLst/>
              <a:highlight>
                <a:srgbClr val="FFFFFF"/>
              </a:highlight>
              <a:uLnTx/>
              <a:uFillTx/>
              <a:latin typeface="Montserrat"/>
              <a:ea typeface="Roboto Light"/>
              <a:cs typeface="Roboto Light"/>
            </a:endParaRPr>
          </a:p>
        </p:txBody>
      </p:sp>
      <p:pic>
        <p:nvPicPr>
          <p:cNvPr id="3" name="Picture 2" descr="A screenshot of a chat&#10;&#10;Description automatically generated">
            <a:extLst>
              <a:ext uri="{FF2B5EF4-FFF2-40B4-BE49-F238E27FC236}">
                <a16:creationId xmlns:a16="http://schemas.microsoft.com/office/drawing/2014/main" id="{80A29155-6C6E-DE62-6064-4141A221CA5E}"/>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2271391" y="2970104"/>
            <a:ext cx="4593223" cy="5918974"/>
          </a:xfrm>
          <a:prstGeom prst="rect">
            <a:avLst/>
          </a:prstGeom>
          <a:effectLst/>
        </p:spPr>
      </p:pic>
      <p:sp>
        <p:nvSpPr>
          <p:cNvPr id="4" name="Rectangle 3">
            <a:extLst>
              <a:ext uri="{FF2B5EF4-FFF2-40B4-BE49-F238E27FC236}">
                <a16:creationId xmlns:a16="http://schemas.microsoft.com/office/drawing/2014/main" id="{354F5117-AE8C-9BB1-3799-D0653FD9B501}"/>
              </a:ext>
            </a:extLst>
          </p:cNvPr>
          <p:cNvSpPr/>
          <p:nvPr/>
        </p:nvSpPr>
        <p:spPr>
          <a:xfrm>
            <a:off x="1860840" y="2636521"/>
            <a:ext cx="5457442" cy="6402454"/>
          </a:xfrm>
          <a:prstGeom prst="rect">
            <a:avLst/>
          </a:prstGeom>
          <a:noFill/>
          <a:ln>
            <a:solidFill>
              <a:srgbClr val="6800FF"/>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7" name="Google Shape;13422;p173">
            <a:extLst>
              <a:ext uri="{FF2B5EF4-FFF2-40B4-BE49-F238E27FC236}">
                <a16:creationId xmlns:a16="http://schemas.microsoft.com/office/drawing/2014/main" id="{18FA897D-4E90-107C-B0AA-54B253F6D8A0}"/>
              </a:ext>
            </a:extLst>
          </p:cNvPr>
          <p:cNvSpPr txBox="1"/>
          <p:nvPr/>
        </p:nvSpPr>
        <p:spPr>
          <a:xfrm>
            <a:off x="2126234" y="2677373"/>
            <a:ext cx="5015077" cy="569366"/>
          </a:xfrm>
          <a:prstGeom prst="rect">
            <a:avLst/>
          </a:prstGeom>
          <a:noFill/>
          <a:ln>
            <a:noFill/>
          </a:ln>
        </p:spPr>
        <p:txBody>
          <a:bodyPr spcFirstLastPara="1" wrap="square" lIns="68570" tIns="68570" rIns="68570" bIns="68570" anchor="ctr" anchorCtr="0">
            <a:spAutoFit/>
          </a:bodyPr>
          <a:lstStyle/>
          <a:p>
            <a:pPr algn="ctr" defTabSz="1371600">
              <a:spcAft>
                <a:spcPts val="1200"/>
              </a:spcAft>
              <a:defRPr/>
            </a:pPr>
            <a:r>
              <a:rPr lang="en-US" sz="1800" b="1" kern="1200" noProof="0">
                <a:solidFill>
                  <a:schemeClr val="tx1"/>
                </a:solidFill>
                <a:highlight>
                  <a:srgbClr val="6800FF"/>
                </a:highlight>
                <a:latin typeface="Montserrat"/>
                <a:ea typeface="Roboto"/>
                <a:cs typeface="Roboto"/>
                <a:sym typeface="Roboto"/>
              </a:rPr>
              <a:t>Retrieval Augmented Reasoning (RAR)</a:t>
            </a:r>
            <a:endParaRPr lang="en-US" sz="1800" noProof="0">
              <a:solidFill>
                <a:schemeClr val="tx1"/>
              </a:solidFill>
              <a:ea typeface="+mn-ea"/>
            </a:endParaRPr>
          </a:p>
        </p:txBody>
      </p:sp>
      <p:grpSp>
        <p:nvGrpSpPr>
          <p:cNvPr id="9" name="Group 7">
            <a:extLst>
              <a:ext uri="{FF2B5EF4-FFF2-40B4-BE49-F238E27FC236}">
                <a16:creationId xmlns:a16="http://schemas.microsoft.com/office/drawing/2014/main" id="{4F82A1BA-713C-7DEB-41FD-F73A084ACB62}"/>
              </a:ext>
            </a:extLst>
          </p:cNvPr>
          <p:cNvGrpSpPr/>
          <p:nvPr/>
        </p:nvGrpSpPr>
        <p:grpSpPr>
          <a:xfrm>
            <a:off x="8649273" y="1592799"/>
            <a:ext cx="612363" cy="56823"/>
            <a:chOff x="-447340" y="0"/>
            <a:chExt cx="1078484" cy="100076"/>
          </a:xfrm>
        </p:grpSpPr>
        <p:sp>
          <p:nvSpPr>
            <p:cNvPr id="8" name="Freeform 8">
              <a:extLst>
                <a:ext uri="{FF2B5EF4-FFF2-40B4-BE49-F238E27FC236}">
                  <a16:creationId xmlns:a16="http://schemas.microsoft.com/office/drawing/2014/main" id="{7D66ADEF-5644-9853-D80B-E01C3AF74B89}"/>
                </a:ext>
              </a:extLst>
            </p:cNvPr>
            <p:cNvSpPr/>
            <p:nvPr/>
          </p:nvSpPr>
          <p:spPr>
            <a:xfrm>
              <a:off x="-44734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spTree>
    <p:extLst>
      <p:ext uri="{BB962C8B-B14F-4D97-AF65-F5344CB8AC3E}">
        <p14:creationId xmlns:p14="http://schemas.microsoft.com/office/powerpoint/2010/main" val="16434937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13448;p174">
            <a:extLst>
              <a:ext uri="{FF2B5EF4-FFF2-40B4-BE49-F238E27FC236}">
                <a16:creationId xmlns:a16="http://schemas.microsoft.com/office/drawing/2014/main" id="{E56A5205-460E-F88B-FFEC-BA156981618B}"/>
              </a:ext>
            </a:extLst>
          </p:cNvPr>
          <p:cNvSpPr txBox="1">
            <a:spLocks/>
          </p:cNvSpPr>
          <p:nvPr/>
        </p:nvSpPr>
        <p:spPr>
          <a:xfrm>
            <a:off x="939682" y="573786"/>
            <a:ext cx="8863212" cy="644359"/>
          </a:xfrm>
          <a:prstGeom prst="rect">
            <a:avLst/>
          </a:prstGeom>
          <a:noFill/>
          <a:ln>
            <a:noFill/>
          </a:ln>
        </p:spPr>
        <p:txBody>
          <a:bodyPr spcFirstLastPara="1" vert="horz" wrap="square" lIns="0" tIns="0" rIns="0" bIns="0" rtlCol="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1pPr>
            <a:lvl2pPr marR="0" lvl="1"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2pPr>
            <a:lvl3pPr marR="0" lvl="2"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3pPr>
            <a:lvl4pPr marR="0" lvl="3"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4pPr>
            <a:lvl5pPr marR="0" lvl="4"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5pPr>
            <a:lvl6pPr marR="0" lvl="5"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6pPr>
            <a:lvl7pPr marR="0" lvl="6"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7pPr>
            <a:lvl8pPr marR="0" lvl="7"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8pPr>
            <a:lvl9pPr marR="0" lvl="8"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9pPr>
          </a:lstStyle>
          <a:p>
            <a:r>
              <a:rPr lang="es-ES" sz="4000" dirty="0">
                <a:solidFill>
                  <a:schemeClr val="bg1"/>
                </a:solidFill>
              </a:rPr>
              <a:t>Use cases</a:t>
            </a:r>
            <a:endParaRPr lang="en-US" dirty="0"/>
          </a:p>
        </p:txBody>
      </p:sp>
      <p:grpSp>
        <p:nvGrpSpPr>
          <p:cNvPr id="3" name="Group 7">
            <a:extLst>
              <a:ext uri="{FF2B5EF4-FFF2-40B4-BE49-F238E27FC236}">
                <a16:creationId xmlns:a16="http://schemas.microsoft.com/office/drawing/2014/main" id="{CEE4583B-22D1-DEB7-BF86-164CA5794CBF}"/>
              </a:ext>
            </a:extLst>
          </p:cNvPr>
          <p:cNvGrpSpPr/>
          <p:nvPr/>
        </p:nvGrpSpPr>
        <p:grpSpPr>
          <a:xfrm>
            <a:off x="3560876" y="1048513"/>
            <a:ext cx="612363" cy="56823"/>
            <a:chOff x="1464025" y="0"/>
            <a:chExt cx="1078484" cy="100076"/>
          </a:xfrm>
        </p:grpSpPr>
        <p:sp>
          <p:nvSpPr>
            <p:cNvPr id="4" name="Freeform 8">
              <a:extLst>
                <a:ext uri="{FF2B5EF4-FFF2-40B4-BE49-F238E27FC236}">
                  <a16:creationId xmlns:a16="http://schemas.microsoft.com/office/drawing/2014/main" id="{BEA9D0FA-BE27-ED90-732F-8160989C2452}"/>
                </a:ext>
              </a:extLst>
            </p:cNvPr>
            <p:cNvSpPr/>
            <p:nvPr/>
          </p:nvSpPr>
          <p:spPr>
            <a:xfrm>
              <a:off x="1464025"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es-ES" noProof="0"/>
            </a:p>
          </p:txBody>
        </p:sp>
      </p:grpSp>
      <p:sp>
        <p:nvSpPr>
          <p:cNvPr id="7" name="CaixaDeTexto 10">
            <a:extLst>
              <a:ext uri="{FF2B5EF4-FFF2-40B4-BE49-F238E27FC236}">
                <a16:creationId xmlns:a16="http://schemas.microsoft.com/office/drawing/2014/main" id="{0E6AA260-8A74-9B37-A0C9-7586859C6F97}"/>
              </a:ext>
            </a:extLst>
          </p:cNvPr>
          <p:cNvSpPr txBox="1"/>
          <p:nvPr/>
        </p:nvSpPr>
        <p:spPr>
          <a:xfrm>
            <a:off x="849418" y="3060346"/>
            <a:ext cx="5220000" cy="6120000"/>
          </a:xfrm>
          <a:prstGeom prst="rect">
            <a:avLst/>
          </a:prstGeom>
          <a:noFill/>
        </p:spPr>
        <p:txBody>
          <a:bodyPr wrap="square" lIns="91440" tIns="45720" rIns="91440" bIns="45720" rtlCol="0" anchor="t">
            <a:noAutofit/>
          </a:bodyPr>
          <a:lstStyle>
            <a:defPPr marR="0" lvl="0" algn="l" rtl="0">
              <a:lnSpc>
                <a:spcPct val="100000"/>
              </a:lnSpc>
              <a:spcBef>
                <a:spcPts val="0"/>
              </a:spcBef>
              <a:spcAft>
                <a:spcPts val="0"/>
              </a:spcAft>
            </a:defPPr>
            <a:lvl1pPr marL="128588" indent="-128588" defTabSz="685800">
              <a:lnSpc>
                <a:spcPct val="150000"/>
              </a:lnSpc>
              <a:buClr>
                <a:prstClr val="black"/>
              </a:buClr>
              <a:buFont typeface="Arial" panose="020B0604020202020204" pitchFamily="34" charset="0"/>
              <a:buChar char="•"/>
              <a:defRPr sz="2000" kern="1200">
                <a:solidFill>
                  <a:prstClr val="black"/>
                </a:solidFill>
                <a:latin typeface="Montserrat" panose="00000500000000000000" pitchFamily="2" charset="0"/>
                <a:ea typeface="+mn-ea"/>
                <a:cs typeface="+mn-cs"/>
              </a:defRPr>
            </a:lvl1pPr>
          </a:lstStyle>
          <a:p>
            <a:pPr marL="128270" indent="-128270">
              <a:buClr>
                <a:srgbClr val="000000"/>
              </a:buClr>
              <a:defRPr/>
            </a:pPr>
            <a:r>
              <a:rPr lang="es-ES" sz="1800" dirty="0" err="1">
                <a:latin typeface="Montserrat"/>
              </a:rPr>
              <a:t>Tax</a:t>
            </a:r>
            <a:r>
              <a:rPr lang="es-ES" sz="1800" dirty="0">
                <a:latin typeface="Montserrat"/>
              </a:rPr>
              <a:t> </a:t>
            </a:r>
            <a:r>
              <a:rPr lang="es-ES" sz="1800" dirty="0" err="1">
                <a:latin typeface="Montserrat"/>
              </a:rPr>
              <a:t>validation</a:t>
            </a:r>
          </a:p>
          <a:p>
            <a:pPr marL="128270" indent="-128270">
              <a:buClr>
                <a:srgbClr val="000000"/>
              </a:buClr>
              <a:defRPr/>
            </a:pPr>
            <a:r>
              <a:rPr lang="es-ES" sz="1800" dirty="0" err="1">
                <a:latin typeface="Montserrat"/>
              </a:rPr>
              <a:t>Financial</a:t>
            </a:r>
            <a:r>
              <a:rPr lang="es-ES" sz="1800" dirty="0">
                <a:latin typeface="Montserrat"/>
              </a:rPr>
              <a:t> </a:t>
            </a:r>
            <a:r>
              <a:rPr lang="es-ES" sz="1800" dirty="0" err="1">
                <a:latin typeface="Montserrat"/>
              </a:rPr>
              <a:t>benefits</a:t>
            </a:r>
          </a:p>
          <a:p>
            <a:pPr marL="128270" indent="-128270">
              <a:buClr>
                <a:srgbClr val="000000"/>
              </a:buClr>
              <a:defRPr/>
            </a:pPr>
            <a:r>
              <a:rPr lang="es-ES" sz="1800" dirty="0">
                <a:latin typeface="Montserrat"/>
              </a:rPr>
              <a:t>P&amp;D / </a:t>
            </a:r>
            <a:r>
              <a:rPr lang="es-ES" sz="1800" dirty="0" err="1">
                <a:latin typeface="Montserrat"/>
              </a:rPr>
              <a:t>Innovation</a:t>
            </a:r>
            <a:r>
              <a:rPr lang="es-ES" sz="1800" dirty="0">
                <a:latin typeface="Montserrat"/>
              </a:rPr>
              <a:t> </a:t>
            </a:r>
            <a:r>
              <a:rPr lang="es-ES" sz="1800" dirty="0" err="1">
                <a:latin typeface="Montserrat"/>
              </a:rPr>
              <a:t>tax</a:t>
            </a:r>
            <a:r>
              <a:rPr lang="es-ES" sz="1800" dirty="0">
                <a:latin typeface="Montserrat"/>
              </a:rPr>
              <a:t> </a:t>
            </a:r>
            <a:r>
              <a:rPr lang="es-ES" sz="1800" dirty="0" err="1">
                <a:latin typeface="Montserrat"/>
              </a:rPr>
              <a:t>benefits</a:t>
            </a:r>
          </a:p>
          <a:p>
            <a:pPr marL="128270" indent="-128270">
              <a:buClr>
                <a:srgbClr val="000000"/>
              </a:buClr>
              <a:defRPr/>
            </a:pPr>
            <a:r>
              <a:rPr lang="es-ES" sz="1800" dirty="0">
                <a:latin typeface="Montserrat"/>
              </a:rPr>
              <a:t>Intra/</a:t>
            </a:r>
            <a:r>
              <a:rPr lang="es-ES" sz="1800" dirty="0" err="1">
                <a:latin typeface="Montserrat"/>
              </a:rPr>
              <a:t>inter-company</a:t>
            </a:r>
            <a:r>
              <a:rPr lang="es-ES" sz="1800" dirty="0">
                <a:latin typeface="Montserrat"/>
              </a:rPr>
              <a:t> </a:t>
            </a:r>
            <a:r>
              <a:rPr lang="es-ES" sz="1800" dirty="0" err="1">
                <a:latin typeface="Montserrat"/>
              </a:rPr>
              <a:t>taxes</a:t>
            </a:r>
          </a:p>
          <a:p>
            <a:pPr marL="128270" indent="-128270">
              <a:buClr>
                <a:srgbClr val="000000"/>
              </a:buClr>
              <a:defRPr/>
            </a:pPr>
            <a:r>
              <a:rPr lang="es-ES" sz="1800" dirty="0" err="1">
                <a:latin typeface="Montserrat"/>
              </a:rPr>
              <a:t>Validations</a:t>
            </a:r>
            <a:r>
              <a:rPr lang="es-ES" sz="1800" dirty="0">
                <a:latin typeface="Montserrat"/>
              </a:rPr>
              <a:t> </a:t>
            </a:r>
            <a:r>
              <a:rPr lang="es-ES" sz="1800" dirty="0" err="1">
                <a:latin typeface="Montserrat"/>
              </a:rPr>
              <a:t>of</a:t>
            </a:r>
            <a:r>
              <a:rPr lang="es-ES" sz="1800" dirty="0">
                <a:latin typeface="Montserrat"/>
              </a:rPr>
              <a:t> </a:t>
            </a:r>
            <a:r>
              <a:rPr lang="es-ES" sz="1800" dirty="0" err="1">
                <a:latin typeface="Montserrat"/>
              </a:rPr>
              <a:t>tax</a:t>
            </a:r>
            <a:r>
              <a:rPr lang="es-ES" sz="1800" dirty="0">
                <a:latin typeface="Montserrat"/>
              </a:rPr>
              <a:t> </a:t>
            </a:r>
            <a:r>
              <a:rPr lang="es-ES" sz="1800" dirty="0" err="1">
                <a:latin typeface="Montserrat"/>
              </a:rPr>
              <a:t>sources</a:t>
            </a:r>
          </a:p>
          <a:p>
            <a:pPr marL="128270" indent="-128270">
              <a:buClr>
                <a:srgbClr val="000000"/>
              </a:buClr>
              <a:defRPr/>
            </a:pPr>
            <a:r>
              <a:rPr lang="es-ES" sz="1800" dirty="0" err="1">
                <a:latin typeface="Montserrat"/>
              </a:rPr>
              <a:t>Transactional</a:t>
            </a:r>
            <a:r>
              <a:rPr lang="es-ES" sz="1800" dirty="0">
                <a:latin typeface="Montserrat"/>
              </a:rPr>
              <a:t> </a:t>
            </a:r>
            <a:r>
              <a:rPr lang="es-ES" sz="1800" dirty="0" err="1">
                <a:latin typeface="Montserrat"/>
              </a:rPr>
              <a:t>Tax</a:t>
            </a:r>
            <a:r>
              <a:rPr lang="es-ES" sz="1800" dirty="0">
                <a:latin typeface="Montserrat"/>
              </a:rPr>
              <a:t> </a:t>
            </a:r>
            <a:r>
              <a:rPr lang="es-ES" sz="1800" dirty="0" err="1">
                <a:latin typeface="Montserrat"/>
              </a:rPr>
              <a:t>of</a:t>
            </a:r>
            <a:r>
              <a:rPr lang="es-ES" sz="1800" dirty="0">
                <a:latin typeface="Montserrat"/>
              </a:rPr>
              <a:t> </a:t>
            </a:r>
            <a:r>
              <a:rPr lang="es-ES" sz="1800" dirty="0" err="1">
                <a:latin typeface="Montserrat"/>
              </a:rPr>
              <a:t>Private</a:t>
            </a:r>
            <a:r>
              <a:rPr lang="es-ES" sz="1800" dirty="0">
                <a:latin typeface="Montserrat"/>
              </a:rPr>
              <a:t> </a:t>
            </a:r>
            <a:r>
              <a:rPr lang="es-ES" sz="1800" dirty="0" err="1">
                <a:latin typeface="Montserrat"/>
              </a:rPr>
              <a:t>Funds</a:t>
            </a:r>
            <a:r>
              <a:rPr lang="es-ES" sz="1800" dirty="0">
                <a:latin typeface="Montserrat"/>
              </a:rPr>
              <a:t> </a:t>
            </a:r>
            <a:r>
              <a:rPr lang="es-ES" sz="1800" dirty="0" err="1">
                <a:latin typeface="Montserrat"/>
              </a:rPr>
              <a:t>Report</a:t>
            </a:r>
            <a:r>
              <a:rPr lang="es-ES" sz="1800" dirty="0">
                <a:latin typeface="Montserrat"/>
              </a:rPr>
              <a:t> (PFR) </a:t>
            </a:r>
          </a:p>
          <a:p>
            <a:pPr marL="128270" indent="-128270">
              <a:buClr>
                <a:srgbClr val="000000"/>
              </a:buClr>
              <a:defRPr/>
            </a:pPr>
            <a:r>
              <a:rPr lang="es-ES" sz="1800" dirty="0" err="1">
                <a:latin typeface="Montserrat"/>
              </a:rPr>
              <a:t>Corporate</a:t>
            </a:r>
            <a:r>
              <a:rPr lang="es-ES" sz="1800" dirty="0">
                <a:latin typeface="Montserrat"/>
              </a:rPr>
              <a:t> </a:t>
            </a:r>
            <a:r>
              <a:rPr lang="es-ES" sz="1800" dirty="0" err="1">
                <a:latin typeface="Montserrat"/>
              </a:rPr>
              <a:t>taxes</a:t>
            </a:r>
          </a:p>
          <a:p>
            <a:pPr marL="128270" indent="-128270">
              <a:buClr>
                <a:srgbClr val="000000"/>
              </a:buClr>
              <a:defRPr/>
            </a:pPr>
            <a:r>
              <a:rPr lang="es-ES" sz="1800" dirty="0" err="1">
                <a:latin typeface="Montserrat"/>
              </a:rPr>
              <a:t>Property</a:t>
            </a:r>
            <a:r>
              <a:rPr lang="es-ES" sz="1800" dirty="0">
                <a:latin typeface="Montserrat"/>
              </a:rPr>
              <a:t> VAT </a:t>
            </a:r>
            <a:r>
              <a:rPr lang="es-ES" sz="1800" dirty="0" err="1">
                <a:latin typeface="Montserrat"/>
              </a:rPr>
              <a:t>management</a:t>
            </a:r>
          </a:p>
          <a:p>
            <a:pPr marL="128270" indent="-128270">
              <a:buClr>
                <a:srgbClr val="000000"/>
              </a:buClr>
              <a:defRPr/>
            </a:pPr>
            <a:r>
              <a:rPr lang="es-ES" sz="1800" err="1">
                <a:latin typeface="Montserrat"/>
              </a:rPr>
              <a:t>Apuração</a:t>
            </a:r>
            <a:r>
              <a:rPr lang="es-ES" sz="1800" dirty="0">
                <a:latin typeface="Montserrat"/>
              </a:rPr>
              <a:t> de imposto </a:t>
            </a:r>
            <a:r>
              <a:rPr lang="es-ES" sz="1800" err="1">
                <a:latin typeface="Montserrat"/>
              </a:rPr>
              <a:t>retido</a:t>
            </a:r>
            <a:r>
              <a:rPr lang="es-ES" sz="1800" dirty="0">
                <a:latin typeface="Montserrat"/>
              </a:rPr>
              <a:t> en </a:t>
            </a:r>
            <a:r>
              <a:rPr lang="es-ES" sz="1800" err="1">
                <a:latin typeface="Montserrat"/>
              </a:rPr>
              <a:t>fonte</a:t>
            </a:r>
            <a:r>
              <a:rPr lang="es-ES" sz="1800" dirty="0">
                <a:latin typeface="Montserrat"/>
              </a:rPr>
              <a:t> </a:t>
            </a:r>
          </a:p>
          <a:p>
            <a:pPr marL="128270" indent="-128270">
              <a:buClr>
                <a:srgbClr val="000000"/>
              </a:buClr>
              <a:defRPr/>
            </a:pPr>
            <a:r>
              <a:rPr lang="es-ES" sz="1800" dirty="0">
                <a:latin typeface="Montserrat"/>
              </a:rPr>
              <a:t>Transfer Price Management</a:t>
            </a:r>
          </a:p>
          <a:p>
            <a:pPr marL="128270" indent="-128270">
              <a:buClr>
                <a:srgbClr val="000000"/>
              </a:buClr>
              <a:defRPr/>
            </a:pPr>
            <a:r>
              <a:rPr lang="es-ES" sz="1800" dirty="0">
                <a:latin typeface="Montserrat"/>
              </a:rPr>
              <a:t>International </a:t>
            </a:r>
            <a:r>
              <a:rPr lang="es-ES" sz="1800" dirty="0" err="1">
                <a:latin typeface="Montserrat"/>
              </a:rPr>
              <a:t>Expansion</a:t>
            </a:r>
            <a:r>
              <a:rPr lang="es-ES" sz="1800" dirty="0">
                <a:latin typeface="Montserrat"/>
              </a:rPr>
              <a:t> </a:t>
            </a:r>
            <a:r>
              <a:rPr lang="es-ES" sz="1800" dirty="0" err="1">
                <a:latin typeface="Montserrat"/>
              </a:rPr>
              <a:t>Planning</a:t>
            </a:r>
          </a:p>
        </p:txBody>
      </p:sp>
      <p:sp>
        <p:nvSpPr>
          <p:cNvPr id="10" name="CaixaDeTexto 10">
            <a:extLst>
              <a:ext uri="{FF2B5EF4-FFF2-40B4-BE49-F238E27FC236}">
                <a16:creationId xmlns:a16="http://schemas.microsoft.com/office/drawing/2014/main" id="{73649E79-2527-237E-6FF3-2F300C10B42B}"/>
              </a:ext>
            </a:extLst>
          </p:cNvPr>
          <p:cNvSpPr txBox="1"/>
          <p:nvPr/>
        </p:nvSpPr>
        <p:spPr>
          <a:xfrm>
            <a:off x="6830953" y="3060346"/>
            <a:ext cx="5220000" cy="6120000"/>
          </a:xfrm>
          <a:prstGeom prst="rect">
            <a:avLst/>
          </a:prstGeom>
          <a:noFill/>
        </p:spPr>
        <p:txBody>
          <a:bodyPr wrap="square" lIns="91440" tIns="45720" rIns="91440" bIns="45720" rtlCol="0" anchor="t">
            <a:noAutofit/>
          </a:bodyPr>
          <a:lstStyle/>
          <a:p>
            <a:pPr marL="128270" indent="-128270" defTabSz="685800">
              <a:lnSpc>
                <a:spcPct val="150000"/>
              </a:lnSpc>
              <a:buFont typeface="Arial" panose="020B0604020202020204" pitchFamily="34" charset="0"/>
              <a:buChar char="•"/>
              <a:defRPr/>
            </a:pPr>
            <a:r>
              <a:rPr lang="es-ES" sz="1800" kern="1200" dirty="0" err="1">
                <a:solidFill>
                  <a:prstClr val="black"/>
                </a:solidFill>
                <a:latin typeface="Montserrat"/>
                <a:ea typeface="+mn-ea"/>
                <a:cs typeface="+mn-cs"/>
              </a:rPr>
              <a:t>Conflict</a:t>
            </a:r>
            <a:r>
              <a:rPr lang="es-ES" sz="1800" kern="1200" dirty="0">
                <a:solidFill>
                  <a:prstClr val="black"/>
                </a:solidFill>
                <a:latin typeface="Montserrat"/>
                <a:ea typeface="+mn-ea"/>
                <a:cs typeface="+mn-cs"/>
              </a:rPr>
              <a:t> </a:t>
            </a:r>
            <a:r>
              <a:rPr lang="es-ES" sz="1800" kern="1200" dirty="0" err="1">
                <a:solidFill>
                  <a:prstClr val="black"/>
                </a:solidFill>
                <a:latin typeface="Montserrat"/>
                <a:ea typeface="+mn-ea"/>
                <a:cs typeface="+mn-cs"/>
              </a:rPr>
              <a:t>of</a:t>
            </a:r>
            <a:r>
              <a:rPr lang="es-ES" sz="1800" kern="1200" dirty="0">
                <a:solidFill>
                  <a:prstClr val="black"/>
                </a:solidFill>
                <a:latin typeface="Montserrat"/>
                <a:ea typeface="+mn-ea"/>
                <a:cs typeface="+mn-cs"/>
              </a:rPr>
              <a:t> </a:t>
            </a:r>
            <a:r>
              <a:rPr lang="es-ES" sz="1800" kern="1200" dirty="0" err="1">
                <a:solidFill>
                  <a:prstClr val="black"/>
                </a:solidFill>
                <a:latin typeface="Montserrat"/>
                <a:ea typeface="+mn-ea"/>
                <a:cs typeface="+mn-cs"/>
              </a:rPr>
              <a:t>Interest</a:t>
            </a:r>
            <a:r>
              <a:rPr lang="es-ES" sz="1800" kern="1200" dirty="0">
                <a:solidFill>
                  <a:prstClr val="black"/>
                </a:solidFill>
                <a:latin typeface="Montserrat"/>
                <a:ea typeface="+mn-ea"/>
                <a:cs typeface="+mn-cs"/>
              </a:rPr>
              <a:t> </a:t>
            </a:r>
            <a:r>
              <a:rPr lang="es-ES" sz="1800" kern="1200" dirty="0" err="1">
                <a:solidFill>
                  <a:prstClr val="black"/>
                </a:solidFill>
                <a:latin typeface="Montserrat"/>
                <a:ea typeface="+mn-ea"/>
                <a:cs typeface="+mn-cs"/>
              </a:rPr>
              <a:t>Assessment</a:t>
            </a:r>
            <a:endParaRPr lang="en-US" sz="1800" kern="1200" dirty="0" err="1">
              <a:solidFill>
                <a:prstClr val="black"/>
              </a:solidFill>
              <a:latin typeface="Montserrat"/>
              <a:ea typeface="+mn-ea"/>
              <a:cs typeface="+mn-cs"/>
            </a:endParaRPr>
          </a:p>
          <a:p>
            <a:pPr marL="128270" indent="-128270" defTabSz="685800">
              <a:lnSpc>
                <a:spcPct val="150000"/>
              </a:lnSpc>
              <a:buFont typeface="Arial" panose="020B0604020202020204" pitchFamily="34" charset="0"/>
              <a:buChar char="•"/>
              <a:defRPr/>
            </a:pPr>
            <a:r>
              <a:rPr lang="es-ES" sz="1800" kern="1200" dirty="0">
                <a:solidFill>
                  <a:prstClr val="black"/>
                </a:solidFill>
                <a:latin typeface="Montserrat"/>
                <a:ea typeface="+mn-ea"/>
                <a:cs typeface="+mn-cs"/>
              </a:rPr>
              <a:t>Legal Representative </a:t>
            </a:r>
            <a:r>
              <a:rPr lang="es-ES" sz="1800" kern="1200" dirty="0" err="1">
                <a:solidFill>
                  <a:prstClr val="black"/>
                </a:solidFill>
                <a:latin typeface="Montserrat"/>
                <a:ea typeface="+mn-ea"/>
                <a:cs typeface="+mn-cs"/>
              </a:rPr>
              <a:t>Authorization</a:t>
            </a:r>
            <a:r>
              <a:rPr lang="es-ES" sz="1800" kern="1200" dirty="0">
                <a:solidFill>
                  <a:prstClr val="black"/>
                </a:solidFill>
                <a:latin typeface="Montserrat"/>
                <a:ea typeface="+mn-ea"/>
                <a:cs typeface="+mn-cs"/>
              </a:rPr>
              <a:t> Management</a:t>
            </a:r>
          </a:p>
          <a:p>
            <a:pPr marL="128270" indent="-128270" defTabSz="685800">
              <a:lnSpc>
                <a:spcPct val="150000"/>
              </a:lnSpc>
              <a:buFont typeface="Arial" panose="020B0604020202020204" pitchFamily="34" charset="0"/>
              <a:buChar char="•"/>
              <a:defRPr/>
            </a:pPr>
            <a:r>
              <a:rPr lang="es-ES" sz="1800" kern="1200" dirty="0">
                <a:solidFill>
                  <a:prstClr val="black"/>
                </a:solidFill>
                <a:latin typeface="Montserrat"/>
                <a:ea typeface="+mn-ea"/>
                <a:cs typeface="+mn-cs"/>
              </a:rPr>
              <a:t>Data </a:t>
            </a:r>
            <a:r>
              <a:rPr lang="es-ES" sz="1800" kern="1200" dirty="0" err="1">
                <a:solidFill>
                  <a:prstClr val="black"/>
                </a:solidFill>
                <a:latin typeface="Montserrat"/>
                <a:ea typeface="+mn-ea"/>
                <a:cs typeface="+mn-cs"/>
              </a:rPr>
              <a:t>Permission</a:t>
            </a:r>
            <a:r>
              <a:rPr lang="es-ES" sz="1800" kern="1200" dirty="0">
                <a:solidFill>
                  <a:prstClr val="black"/>
                </a:solidFill>
                <a:latin typeface="Montserrat"/>
                <a:ea typeface="+mn-ea"/>
                <a:cs typeface="+mn-cs"/>
              </a:rPr>
              <a:t> </a:t>
            </a:r>
            <a:r>
              <a:rPr lang="es-ES" sz="1800" kern="1200" dirty="0" err="1">
                <a:solidFill>
                  <a:prstClr val="black"/>
                </a:solidFill>
                <a:latin typeface="Montserrat"/>
                <a:ea typeface="+mn-ea"/>
                <a:cs typeface="+mn-cs"/>
              </a:rPr>
              <a:t>Navigation</a:t>
            </a:r>
            <a:endParaRPr lang="es-ES" sz="1800" kern="1200" dirty="0">
              <a:solidFill>
                <a:prstClr val="black"/>
              </a:solidFill>
              <a:latin typeface="Montserrat"/>
              <a:ea typeface="+mn-ea"/>
              <a:cs typeface="+mn-cs"/>
            </a:endParaRPr>
          </a:p>
          <a:p>
            <a:pPr marL="128270" indent="-128270" defTabSz="685800">
              <a:lnSpc>
                <a:spcPct val="150000"/>
              </a:lnSpc>
              <a:buFont typeface="Arial" panose="020B0604020202020204" pitchFamily="34" charset="0"/>
              <a:buChar char="•"/>
              <a:defRPr/>
            </a:pPr>
            <a:r>
              <a:rPr lang="es-ES" sz="1800" kern="1200" dirty="0">
                <a:solidFill>
                  <a:prstClr val="black"/>
                </a:solidFill>
                <a:latin typeface="Montserrat"/>
                <a:ea typeface="+mn-ea"/>
                <a:cs typeface="+mn-cs"/>
              </a:rPr>
              <a:t>Project </a:t>
            </a:r>
            <a:r>
              <a:rPr lang="es-ES" sz="1800" kern="1200" dirty="0" err="1">
                <a:solidFill>
                  <a:prstClr val="black"/>
                </a:solidFill>
                <a:latin typeface="Montserrat"/>
                <a:ea typeface="+mn-ea"/>
                <a:cs typeface="+mn-cs"/>
              </a:rPr>
              <a:t>Risk</a:t>
            </a:r>
            <a:r>
              <a:rPr lang="es-ES" sz="1800" kern="1200" dirty="0">
                <a:solidFill>
                  <a:prstClr val="black"/>
                </a:solidFill>
                <a:latin typeface="Montserrat"/>
                <a:ea typeface="+mn-ea"/>
                <a:cs typeface="+mn-cs"/>
              </a:rPr>
              <a:t> and </a:t>
            </a:r>
            <a:r>
              <a:rPr lang="es-ES" sz="1800" kern="1200" dirty="0" err="1">
                <a:solidFill>
                  <a:prstClr val="black"/>
                </a:solidFill>
                <a:latin typeface="Montserrat"/>
                <a:ea typeface="+mn-ea"/>
                <a:cs typeface="+mn-cs"/>
              </a:rPr>
              <a:t>Governance</a:t>
            </a:r>
          </a:p>
          <a:p>
            <a:pPr marL="128270" indent="-128270" defTabSz="685800">
              <a:lnSpc>
                <a:spcPct val="150000"/>
              </a:lnSpc>
              <a:buFont typeface="Arial" panose="020B0604020202020204" pitchFamily="34" charset="0"/>
              <a:buChar char="•"/>
              <a:defRPr/>
            </a:pPr>
            <a:r>
              <a:rPr lang="es-ES" sz="1800" kern="1200" dirty="0" err="1">
                <a:solidFill>
                  <a:prstClr val="black"/>
                </a:solidFill>
                <a:latin typeface="Montserrat"/>
                <a:ea typeface="+mn-ea"/>
                <a:cs typeface="+mn-cs"/>
              </a:rPr>
              <a:t>Risk</a:t>
            </a:r>
            <a:r>
              <a:rPr lang="es-ES" sz="1800" kern="1200" dirty="0">
                <a:solidFill>
                  <a:prstClr val="black"/>
                </a:solidFill>
                <a:latin typeface="Montserrat"/>
                <a:ea typeface="+mn-ea"/>
                <a:cs typeface="+mn-cs"/>
              </a:rPr>
              <a:t> </a:t>
            </a:r>
            <a:r>
              <a:rPr lang="es-ES" sz="1800" kern="1200" dirty="0" err="1">
                <a:solidFill>
                  <a:prstClr val="black"/>
                </a:solidFill>
                <a:latin typeface="Montserrat"/>
                <a:ea typeface="+mn-ea"/>
                <a:cs typeface="+mn-cs"/>
              </a:rPr>
              <a:t>Consulting</a:t>
            </a:r>
            <a:r>
              <a:rPr lang="es-ES" sz="1800" kern="1200" dirty="0">
                <a:solidFill>
                  <a:prstClr val="black"/>
                </a:solidFill>
                <a:latin typeface="Montserrat"/>
                <a:ea typeface="+mn-ea"/>
                <a:cs typeface="+mn-cs"/>
              </a:rPr>
              <a:t> </a:t>
            </a:r>
            <a:r>
              <a:rPr lang="es-ES" sz="1800" kern="1200" dirty="0" err="1">
                <a:solidFill>
                  <a:prstClr val="black"/>
                </a:solidFill>
                <a:latin typeface="Montserrat"/>
                <a:ea typeface="+mn-ea"/>
                <a:cs typeface="+mn-cs"/>
              </a:rPr>
              <a:t>Assessment</a:t>
            </a:r>
          </a:p>
          <a:p>
            <a:pPr marL="128270" indent="-128270" defTabSz="685800">
              <a:lnSpc>
                <a:spcPct val="150000"/>
              </a:lnSpc>
              <a:buFont typeface="Arial" panose="020B0604020202020204" pitchFamily="34" charset="0"/>
              <a:buChar char="•"/>
              <a:defRPr/>
            </a:pPr>
            <a:r>
              <a:rPr lang="es-ES" sz="1800" kern="1200" dirty="0">
                <a:solidFill>
                  <a:prstClr val="black"/>
                </a:solidFill>
                <a:latin typeface="Montserrat"/>
                <a:ea typeface="+mn-ea"/>
                <a:cs typeface="+mn-cs"/>
              </a:rPr>
              <a:t>Money </a:t>
            </a:r>
            <a:r>
              <a:rPr lang="es-ES" sz="1800" kern="1200" dirty="0" err="1">
                <a:solidFill>
                  <a:prstClr val="black"/>
                </a:solidFill>
                <a:latin typeface="Montserrat"/>
                <a:ea typeface="+mn-ea"/>
                <a:cs typeface="+mn-cs"/>
              </a:rPr>
              <a:t>Laundering</a:t>
            </a:r>
            <a:r>
              <a:rPr lang="es-ES" sz="1800" kern="1200" dirty="0">
                <a:solidFill>
                  <a:prstClr val="black"/>
                </a:solidFill>
                <a:latin typeface="Montserrat"/>
                <a:ea typeface="+mn-ea"/>
                <a:cs typeface="+mn-cs"/>
              </a:rPr>
              <a:t> </a:t>
            </a:r>
            <a:r>
              <a:rPr lang="es-ES" sz="1800" kern="1200" dirty="0" err="1">
                <a:solidFill>
                  <a:prstClr val="black"/>
                </a:solidFill>
                <a:latin typeface="Montserrat"/>
                <a:ea typeface="+mn-ea"/>
                <a:cs typeface="+mn-cs"/>
              </a:rPr>
              <a:t>Risk</a:t>
            </a:r>
            <a:r>
              <a:rPr lang="es-ES" sz="1800" kern="1200" dirty="0">
                <a:solidFill>
                  <a:prstClr val="black"/>
                </a:solidFill>
                <a:latin typeface="Montserrat"/>
                <a:ea typeface="+mn-ea"/>
                <a:cs typeface="+mn-cs"/>
              </a:rPr>
              <a:t> </a:t>
            </a:r>
            <a:r>
              <a:rPr lang="es-ES" sz="1800" kern="1200" dirty="0" err="1">
                <a:solidFill>
                  <a:prstClr val="black"/>
                </a:solidFill>
                <a:latin typeface="Montserrat"/>
                <a:ea typeface="+mn-ea"/>
                <a:cs typeface="+mn-cs"/>
              </a:rPr>
              <a:t>Assessment</a:t>
            </a:r>
          </a:p>
          <a:p>
            <a:pPr marL="128270" indent="-128270" defTabSz="685800">
              <a:lnSpc>
                <a:spcPct val="150000"/>
              </a:lnSpc>
              <a:buFont typeface="Arial" panose="020B0604020202020204" pitchFamily="34" charset="0"/>
              <a:buChar char="•"/>
              <a:defRPr/>
            </a:pPr>
            <a:r>
              <a:rPr lang="es-ES" sz="1800" kern="1200" dirty="0">
                <a:solidFill>
                  <a:prstClr val="black"/>
                </a:solidFill>
                <a:latin typeface="Montserrat"/>
                <a:ea typeface="+mn-ea"/>
                <a:cs typeface="+mn-cs"/>
              </a:rPr>
              <a:t>AML </a:t>
            </a:r>
            <a:r>
              <a:rPr lang="es-ES" sz="1800" kern="1200" dirty="0" err="1">
                <a:solidFill>
                  <a:prstClr val="black"/>
                </a:solidFill>
                <a:latin typeface="Montserrat"/>
                <a:ea typeface="+mn-ea"/>
                <a:cs typeface="+mn-cs"/>
              </a:rPr>
              <a:t>Transaction</a:t>
            </a:r>
            <a:r>
              <a:rPr lang="es-ES" sz="1800" kern="1200" dirty="0">
                <a:solidFill>
                  <a:prstClr val="black"/>
                </a:solidFill>
                <a:latin typeface="Montserrat"/>
                <a:ea typeface="+mn-ea"/>
                <a:cs typeface="+mn-cs"/>
              </a:rPr>
              <a:t> </a:t>
            </a:r>
            <a:r>
              <a:rPr lang="es-ES" sz="1800" kern="1200" dirty="0" err="1">
                <a:solidFill>
                  <a:prstClr val="black"/>
                </a:solidFill>
                <a:latin typeface="Montserrat"/>
                <a:ea typeface="+mn-ea"/>
                <a:cs typeface="+mn-cs"/>
              </a:rPr>
              <a:t>Monitoring</a:t>
            </a:r>
            <a:endParaRPr lang="es-ES" sz="1800" kern="1200">
              <a:solidFill>
                <a:prstClr val="black"/>
              </a:solidFill>
              <a:latin typeface="Montserrat"/>
              <a:ea typeface="+mn-ea"/>
              <a:cs typeface="+mn-cs"/>
            </a:endParaRPr>
          </a:p>
          <a:p>
            <a:pPr marL="128270" indent="-128270" defTabSz="685800">
              <a:lnSpc>
                <a:spcPct val="150000"/>
              </a:lnSpc>
              <a:buFont typeface="Arial" panose="020B0604020202020204" pitchFamily="34" charset="0"/>
              <a:buChar char="•"/>
              <a:defRPr/>
            </a:pPr>
            <a:r>
              <a:rPr lang="es-ES" sz="1800" kern="1200" dirty="0">
                <a:solidFill>
                  <a:prstClr val="black"/>
                </a:solidFill>
                <a:latin typeface="Montserrat"/>
                <a:ea typeface="+mn-ea"/>
                <a:cs typeface="+mn-cs"/>
              </a:rPr>
              <a:t>KYC (</a:t>
            </a:r>
            <a:r>
              <a:rPr lang="es-ES" sz="1800" kern="1200" dirty="0" err="1">
                <a:solidFill>
                  <a:prstClr val="black"/>
                </a:solidFill>
                <a:latin typeface="Montserrat"/>
                <a:ea typeface="+mn-ea"/>
                <a:cs typeface="+mn-cs"/>
              </a:rPr>
              <a:t>Know</a:t>
            </a:r>
            <a:r>
              <a:rPr lang="es-ES" sz="1800" kern="1200" dirty="0">
                <a:solidFill>
                  <a:prstClr val="black"/>
                </a:solidFill>
                <a:latin typeface="Montserrat"/>
                <a:ea typeface="+mn-ea"/>
                <a:cs typeface="+mn-cs"/>
              </a:rPr>
              <a:t> </a:t>
            </a:r>
            <a:r>
              <a:rPr lang="es-ES" sz="1800" kern="1200" dirty="0" err="1">
                <a:solidFill>
                  <a:prstClr val="black"/>
                </a:solidFill>
                <a:latin typeface="Montserrat"/>
                <a:ea typeface="+mn-ea"/>
                <a:cs typeface="+mn-cs"/>
              </a:rPr>
              <a:t>Your</a:t>
            </a:r>
            <a:r>
              <a:rPr lang="es-ES" sz="1800" kern="1200" dirty="0">
                <a:solidFill>
                  <a:prstClr val="black"/>
                </a:solidFill>
                <a:latin typeface="Montserrat"/>
                <a:ea typeface="+mn-ea"/>
                <a:cs typeface="+mn-cs"/>
              </a:rPr>
              <a:t> </a:t>
            </a:r>
            <a:r>
              <a:rPr lang="es-ES" sz="1800" kern="1200" dirty="0" err="1">
                <a:solidFill>
                  <a:prstClr val="black"/>
                </a:solidFill>
                <a:latin typeface="Montserrat"/>
                <a:ea typeface="+mn-ea"/>
                <a:cs typeface="+mn-cs"/>
              </a:rPr>
              <a:t>Customer</a:t>
            </a:r>
            <a:r>
              <a:rPr lang="es-ES" sz="1800" kern="1200" dirty="0">
                <a:solidFill>
                  <a:prstClr val="black"/>
                </a:solidFill>
                <a:latin typeface="Montserrat"/>
                <a:ea typeface="+mn-ea"/>
                <a:cs typeface="+mn-cs"/>
              </a:rPr>
              <a:t>) </a:t>
            </a:r>
            <a:r>
              <a:rPr lang="es-ES" sz="1800" kern="1200" dirty="0" err="1">
                <a:solidFill>
                  <a:prstClr val="black"/>
                </a:solidFill>
                <a:latin typeface="Montserrat"/>
                <a:ea typeface="+mn-ea"/>
                <a:cs typeface="+mn-cs"/>
              </a:rPr>
              <a:t>for</a:t>
            </a:r>
            <a:r>
              <a:rPr lang="es-ES" sz="1800" kern="1200" dirty="0">
                <a:solidFill>
                  <a:prstClr val="black"/>
                </a:solidFill>
                <a:latin typeface="Montserrat"/>
                <a:ea typeface="+mn-ea"/>
                <a:cs typeface="+mn-cs"/>
              </a:rPr>
              <a:t> </a:t>
            </a:r>
            <a:r>
              <a:rPr lang="es-ES" sz="1800" kern="1200" dirty="0" err="1">
                <a:solidFill>
                  <a:prstClr val="black"/>
                </a:solidFill>
                <a:latin typeface="Montserrat"/>
                <a:ea typeface="+mn-ea"/>
                <a:cs typeface="+mn-cs"/>
              </a:rPr>
              <a:t>Cryptocurrency</a:t>
            </a:r>
            <a:endParaRPr lang="es-ES" sz="1800" kern="1200">
              <a:solidFill>
                <a:prstClr val="black"/>
              </a:solidFill>
              <a:latin typeface="Montserrat"/>
              <a:ea typeface="+mn-ea"/>
              <a:cs typeface="+mn-cs"/>
            </a:endParaRPr>
          </a:p>
          <a:p>
            <a:pPr marL="128270" indent="-128270" defTabSz="685800">
              <a:lnSpc>
                <a:spcPct val="150000"/>
              </a:lnSpc>
              <a:buFont typeface="Arial" panose="020B0604020202020204" pitchFamily="34" charset="0"/>
              <a:buChar char="•"/>
              <a:defRPr/>
            </a:pPr>
            <a:r>
              <a:rPr lang="es-ES" sz="1800" kern="1200" dirty="0">
                <a:solidFill>
                  <a:prstClr val="black"/>
                </a:solidFill>
                <a:latin typeface="Montserrat"/>
                <a:ea typeface="+mn-ea"/>
                <a:cs typeface="+mn-cs"/>
              </a:rPr>
              <a:t>KYC </a:t>
            </a:r>
            <a:r>
              <a:rPr lang="es-ES" sz="1800" kern="1200" err="1">
                <a:solidFill>
                  <a:prstClr val="black"/>
                </a:solidFill>
                <a:latin typeface="Montserrat"/>
                <a:ea typeface="+mn-ea"/>
                <a:cs typeface="+mn-cs"/>
              </a:rPr>
              <a:t>Onboarding</a:t>
            </a:r>
            <a:endParaRPr lang="es-ES" sz="1800" kern="1200">
              <a:solidFill>
                <a:prstClr val="black"/>
              </a:solidFill>
              <a:latin typeface="Montserrat"/>
              <a:ea typeface="+mn-ea"/>
              <a:cs typeface="+mn-cs"/>
            </a:endParaRPr>
          </a:p>
        </p:txBody>
      </p:sp>
      <p:cxnSp>
        <p:nvCxnSpPr>
          <p:cNvPr id="11" name="Conector Reto 27">
            <a:extLst>
              <a:ext uri="{FF2B5EF4-FFF2-40B4-BE49-F238E27FC236}">
                <a16:creationId xmlns:a16="http://schemas.microsoft.com/office/drawing/2014/main" id="{9E853F10-8D7A-7095-C231-51E567BBE532}"/>
              </a:ext>
            </a:extLst>
          </p:cNvPr>
          <p:cNvCxnSpPr>
            <a:cxnSpLocks/>
          </p:cNvCxnSpPr>
          <p:nvPr/>
        </p:nvCxnSpPr>
        <p:spPr>
          <a:xfrm>
            <a:off x="12624886" y="2234554"/>
            <a:ext cx="0" cy="6696000"/>
          </a:xfrm>
          <a:prstGeom prst="line">
            <a:avLst/>
          </a:prstGeom>
          <a:ln w="57150" cap="rnd">
            <a:solidFill>
              <a:srgbClr val="6800FF"/>
            </a:solidFill>
          </a:ln>
        </p:spPr>
        <p:style>
          <a:lnRef idx="1">
            <a:schemeClr val="accent1"/>
          </a:lnRef>
          <a:fillRef idx="0">
            <a:schemeClr val="accent1"/>
          </a:fillRef>
          <a:effectRef idx="0">
            <a:schemeClr val="accent1"/>
          </a:effectRef>
          <a:fontRef idx="minor">
            <a:schemeClr val="tx1"/>
          </a:fontRef>
        </p:style>
      </p:cxnSp>
      <p:sp>
        <p:nvSpPr>
          <p:cNvPr id="12" name="CaixaDeTexto 10">
            <a:extLst>
              <a:ext uri="{FF2B5EF4-FFF2-40B4-BE49-F238E27FC236}">
                <a16:creationId xmlns:a16="http://schemas.microsoft.com/office/drawing/2014/main" id="{99D56A66-F182-0DAE-FFFB-0255A32CF718}"/>
              </a:ext>
            </a:extLst>
          </p:cNvPr>
          <p:cNvSpPr txBox="1"/>
          <p:nvPr/>
        </p:nvSpPr>
        <p:spPr>
          <a:xfrm>
            <a:off x="6734863" y="2140647"/>
            <a:ext cx="4821310" cy="461665"/>
          </a:xfrm>
          <a:prstGeom prst="rect">
            <a:avLst/>
          </a:prstGeom>
          <a:noFill/>
        </p:spPr>
        <p:txBody>
          <a:bodyPr wrap="square" lIns="91440" tIns="45720" rIns="91440" bIns="45720" rtlCol="0" anchor="t">
            <a:spAutoFit/>
          </a:bodyPr>
          <a:lstStyle/>
          <a:p>
            <a:pPr defTabSz="685800">
              <a:defRPr/>
            </a:pPr>
            <a:r>
              <a:rPr lang="es-ES" sz="2400" b="1" kern="1200" noProof="0" dirty="0">
                <a:solidFill>
                  <a:prstClr val="black"/>
                </a:solidFill>
                <a:latin typeface="Montserrat"/>
                <a:ea typeface="+mn-ea"/>
                <a:cs typeface="+mn-cs"/>
              </a:rPr>
              <a:t>Legal, </a:t>
            </a:r>
            <a:r>
              <a:rPr lang="es-ES" sz="2400" b="1" kern="1200" dirty="0" err="1">
                <a:solidFill>
                  <a:prstClr val="black"/>
                </a:solidFill>
                <a:latin typeface="Montserrat"/>
                <a:ea typeface="+mn-ea"/>
                <a:cs typeface="+mn-cs"/>
              </a:rPr>
              <a:t>Risk</a:t>
            </a:r>
            <a:r>
              <a:rPr lang="es-ES" sz="2400" b="1" kern="1200" noProof="0" dirty="0">
                <a:solidFill>
                  <a:prstClr val="black"/>
                </a:solidFill>
                <a:latin typeface="Montserrat"/>
                <a:ea typeface="+mn-ea"/>
                <a:cs typeface="+mn-cs"/>
              </a:rPr>
              <a:t> </a:t>
            </a:r>
            <a:r>
              <a:rPr lang="es-ES" sz="2400" b="1" kern="1200" dirty="0">
                <a:solidFill>
                  <a:prstClr val="black"/>
                </a:solidFill>
                <a:latin typeface="Montserrat"/>
                <a:ea typeface="+mn-ea"/>
                <a:cs typeface="+mn-cs"/>
              </a:rPr>
              <a:t>&amp;</a:t>
            </a:r>
            <a:r>
              <a:rPr lang="es-ES" sz="2400" b="1" kern="1200" noProof="0" dirty="0">
                <a:solidFill>
                  <a:prstClr val="black"/>
                </a:solidFill>
                <a:latin typeface="Montserrat"/>
                <a:ea typeface="+mn-ea"/>
                <a:cs typeface="+mn-cs"/>
              </a:rPr>
              <a:t> </a:t>
            </a:r>
            <a:r>
              <a:rPr lang="es-ES" sz="2400" b="1" kern="1200" dirty="0" err="1">
                <a:solidFill>
                  <a:prstClr val="black"/>
                </a:solidFill>
                <a:latin typeface="Montserrat"/>
                <a:ea typeface="+mn-ea"/>
                <a:cs typeface="+mn-cs"/>
              </a:rPr>
              <a:t>Compliance</a:t>
            </a:r>
            <a:endParaRPr lang="es-ES" sz="2400" b="1" kern="1200" noProof="0" dirty="0" err="1">
              <a:solidFill>
                <a:prstClr val="black"/>
              </a:solidFill>
              <a:latin typeface="Montserrat"/>
              <a:ea typeface="+mn-ea"/>
              <a:cs typeface="+mn-cs"/>
            </a:endParaRPr>
          </a:p>
        </p:txBody>
      </p:sp>
      <p:sp>
        <p:nvSpPr>
          <p:cNvPr id="13" name="CaixaDeTexto 10">
            <a:extLst>
              <a:ext uri="{FF2B5EF4-FFF2-40B4-BE49-F238E27FC236}">
                <a16:creationId xmlns:a16="http://schemas.microsoft.com/office/drawing/2014/main" id="{E184D237-CD0B-45BF-C9D9-53EAD6B7F370}"/>
              </a:ext>
            </a:extLst>
          </p:cNvPr>
          <p:cNvSpPr txBox="1"/>
          <p:nvPr/>
        </p:nvSpPr>
        <p:spPr>
          <a:xfrm>
            <a:off x="12812488" y="3059534"/>
            <a:ext cx="5404616" cy="6083027"/>
          </a:xfrm>
          <a:prstGeom prst="rect">
            <a:avLst/>
          </a:prstGeom>
          <a:noFill/>
        </p:spPr>
        <p:txBody>
          <a:bodyPr wrap="square" lIns="91440" tIns="45720" rIns="91440" bIns="45720" rtlCol="0" anchor="t">
            <a:noAutofit/>
          </a:bodyPr>
          <a:lstStyle/>
          <a:p>
            <a:pPr marL="128270" indent="-128270" defTabSz="685800">
              <a:lnSpc>
                <a:spcPct val="150000"/>
              </a:lnSpc>
              <a:buFont typeface="Arial" panose="020B0604020202020204" pitchFamily="34" charset="0"/>
              <a:buChar char="•"/>
              <a:defRPr/>
            </a:pPr>
            <a:r>
              <a:rPr lang="es-ES" sz="1800" kern="1200" dirty="0" err="1">
                <a:solidFill>
                  <a:prstClr val="black"/>
                </a:solidFill>
                <a:latin typeface="Montserrat"/>
                <a:ea typeface="+mn-ea"/>
                <a:cs typeface="+mn-cs"/>
              </a:rPr>
              <a:t>Vacancy</a:t>
            </a:r>
            <a:r>
              <a:rPr lang="es-ES" sz="1800" kern="1200" dirty="0">
                <a:solidFill>
                  <a:prstClr val="black"/>
                </a:solidFill>
                <a:latin typeface="Montserrat"/>
                <a:ea typeface="+mn-ea"/>
                <a:cs typeface="+mn-cs"/>
              </a:rPr>
              <a:t>/Candidate </a:t>
            </a:r>
            <a:r>
              <a:rPr lang="es-ES" sz="1800" kern="1200" dirty="0" err="1">
                <a:solidFill>
                  <a:prstClr val="black"/>
                </a:solidFill>
                <a:latin typeface="Montserrat"/>
                <a:ea typeface="+mn-ea"/>
                <a:cs typeface="+mn-cs"/>
              </a:rPr>
              <a:t>Matching</a:t>
            </a:r>
            <a:endParaRPr lang="en-US" sz="1800" kern="1200" dirty="0" err="1">
              <a:solidFill>
                <a:prstClr val="black"/>
              </a:solidFill>
              <a:latin typeface="Montserrat"/>
              <a:ea typeface="+mn-ea"/>
              <a:cs typeface="+mn-cs"/>
            </a:endParaRPr>
          </a:p>
          <a:p>
            <a:pPr marL="128270" indent="-128270" defTabSz="685800">
              <a:lnSpc>
                <a:spcPct val="150000"/>
              </a:lnSpc>
              <a:buFont typeface="Arial" panose="020B0604020202020204" pitchFamily="34" charset="0"/>
              <a:buChar char="•"/>
              <a:defRPr/>
            </a:pPr>
            <a:r>
              <a:rPr lang="es-ES" sz="1800" kern="1200" dirty="0" err="1">
                <a:solidFill>
                  <a:prstClr val="black"/>
                </a:solidFill>
                <a:latin typeface="Montserrat"/>
                <a:ea typeface="+mn-ea"/>
                <a:cs typeface="+mn-cs"/>
              </a:rPr>
              <a:t>Capacity</a:t>
            </a:r>
            <a:r>
              <a:rPr lang="es-ES" sz="1800" kern="1200" dirty="0">
                <a:solidFill>
                  <a:prstClr val="black"/>
                </a:solidFill>
                <a:latin typeface="Montserrat"/>
                <a:ea typeface="+mn-ea"/>
                <a:cs typeface="+mn-cs"/>
              </a:rPr>
              <a:t> </a:t>
            </a:r>
            <a:r>
              <a:rPr lang="es-ES" sz="1800" kern="1200" dirty="0" err="1">
                <a:solidFill>
                  <a:prstClr val="black"/>
                </a:solidFill>
                <a:latin typeface="Montserrat"/>
                <a:ea typeface="+mn-ea"/>
                <a:cs typeface="+mn-cs"/>
              </a:rPr>
              <a:t>Planning</a:t>
            </a:r>
          </a:p>
          <a:p>
            <a:pPr marL="128270" indent="-128270" defTabSz="685800">
              <a:lnSpc>
                <a:spcPct val="150000"/>
              </a:lnSpc>
              <a:buFont typeface="Arial" panose="020B0604020202020204" pitchFamily="34" charset="0"/>
              <a:buChar char="•"/>
              <a:defRPr/>
            </a:pPr>
            <a:r>
              <a:rPr lang="es-ES" sz="1800" kern="1200" dirty="0" err="1">
                <a:solidFill>
                  <a:prstClr val="black"/>
                </a:solidFill>
                <a:latin typeface="Montserrat"/>
                <a:ea typeface="+mn-ea"/>
                <a:cs typeface="+mn-cs"/>
              </a:rPr>
              <a:t>Suggested</a:t>
            </a:r>
            <a:r>
              <a:rPr lang="es-ES" sz="1800" kern="1200" dirty="0">
                <a:solidFill>
                  <a:prstClr val="black"/>
                </a:solidFill>
                <a:latin typeface="Montserrat"/>
                <a:ea typeface="+mn-ea"/>
                <a:cs typeface="+mn-cs"/>
              </a:rPr>
              <a:t> </a:t>
            </a:r>
            <a:r>
              <a:rPr lang="es-ES" sz="1800" kern="1200" dirty="0" err="1">
                <a:solidFill>
                  <a:prstClr val="black"/>
                </a:solidFill>
                <a:latin typeface="Montserrat"/>
                <a:ea typeface="+mn-ea"/>
                <a:cs typeface="+mn-cs"/>
              </a:rPr>
              <a:t>Investment</a:t>
            </a:r>
            <a:r>
              <a:rPr lang="es-ES" sz="1800" kern="1200" dirty="0">
                <a:solidFill>
                  <a:prstClr val="black"/>
                </a:solidFill>
                <a:latin typeface="Montserrat"/>
                <a:ea typeface="+mn-ea"/>
                <a:cs typeface="+mn-cs"/>
              </a:rPr>
              <a:t> </a:t>
            </a:r>
            <a:r>
              <a:rPr lang="es-ES" sz="1800" kern="1200" dirty="0" err="1">
                <a:solidFill>
                  <a:prstClr val="black"/>
                </a:solidFill>
                <a:latin typeface="Montserrat"/>
                <a:ea typeface="+mn-ea"/>
                <a:cs typeface="+mn-cs"/>
              </a:rPr>
              <a:t>Approach</a:t>
            </a:r>
            <a:r>
              <a:rPr lang="es-ES" sz="1800" kern="1200" dirty="0">
                <a:solidFill>
                  <a:prstClr val="black"/>
                </a:solidFill>
                <a:latin typeface="Montserrat"/>
                <a:ea typeface="+mn-ea"/>
                <a:cs typeface="+mn-cs"/>
              </a:rPr>
              <a:t> (SIA) </a:t>
            </a:r>
            <a:r>
              <a:rPr lang="es-ES" sz="1800" kern="1200" dirty="0" err="1">
                <a:solidFill>
                  <a:prstClr val="black"/>
                </a:solidFill>
                <a:latin typeface="Montserrat"/>
                <a:ea typeface="+mn-ea"/>
                <a:cs typeface="+mn-cs"/>
              </a:rPr>
              <a:t>Appropriateness</a:t>
            </a:r>
          </a:p>
          <a:p>
            <a:pPr marL="128270" indent="-128270" defTabSz="685800">
              <a:lnSpc>
                <a:spcPct val="150000"/>
              </a:lnSpc>
              <a:buFont typeface="Arial" panose="020B0604020202020204" pitchFamily="34" charset="0"/>
              <a:buChar char="•"/>
              <a:defRPr/>
            </a:pPr>
            <a:r>
              <a:rPr lang="es-ES" sz="1800" kern="1200" dirty="0">
                <a:solidFill>
                  <a:prstClr val="black"/>
                </a:solidFill>
                <a:latin typeface="Montserrat"/>
                <a:ea typeface="+mn-ea"/>
                <a:cs typeface="+mn-cs"/>
              </a:rPr>
              <a:t>Sales </a:t>
            </a:r>
            <a:r>
              <a:rPr lang="es-ES" sz="1800" kern="1200" dirty="0" err="1">
                <a:solidFill>
                  <a:prstClr val="black"/>
                </a:solidFill>
                <a:latin typeface="Montserrat"/>
                <a:ea typeface="+mn-ea"/>
                <a:cs typeface="+mn-cs"/>
              </a:rPr>
              <a:t>Scoring</a:t>
            </a:r>
            <a:r>
              <a:rPr lang="es-ES" sz="1800" kern="1200" dirty="0">
                <a:solidFill>
                  <a:prstClr val="black"/>
                </a:solidFill>
                <a:latin typeface="Montserrat"/>
                <a:ea typeface="+mn-ea"/>
                <a:cs typeface="+mn-cs"/>
              </a:rPr>
              <a:t> Tool</a:t>
            </a:r>
          </a:p>
          <a:p>
            <a:pPr marL="128270" indent="-128270" defTabSz="685800">
              <a:lnSpc>
                <a:spcPct val="150000"/>
              </a:lnSpc>
              <a:buFont typeface="Arial" panose="020B0604020202020204" pitchFamily="34" charset="0"/>
              <a:buChar char="•"/>
              <a:defRPr/>
            </a:pPr>
            <a:r>
              <a:rPr lang="es-ES" sz="1800" kern="1200" dirty="0" err="1">
                <a:solidFill>
                  <a:prstClr val="black"/>
                </a:solidFill>
                <a:latin typeface="Montserrat"/>
                <a:ea typeface="+mn-ea"/>
                <a:cs typeface="+mn-cs"/>
              </a:rPr>
              <a:t>Claims</a:t>
            </a:r>
            <a:r>
              <a:rPr lang="es-ES" sz="1800" kern="1200" dirty="0">
                <a:solidFill>
                  <a:prstClr val="black"/>
                </a:solidFill>
                <a:latin typeface="Montserrat"/>
                <a:ea typeface="+mn-ea"/>
                <a:cs typeface="+mn-cs"/>
              </a:rPr>
              <a:t> Screening </a:t>
            </a:r>
            <a:r>
              <a:rPr lang="es-ES" sz="1800" kern="1200" dirty="0" err="1">
                <a:solidFill>
                  <a:prstClr val="black"/>
                </a:solidFill>
                <a:latin typeface="Montserrat"/>
                <a:ea typeface="+mn-ea"/>
                <a:cs typeface="+mn-cs"/>
              </a:rPr>
              <a:t>for</a:t>
            </a:r>
            <a:r>
              <a:rPr lang="es-ES" sz="1800" kern="1200" dirty="0">
                <a:solidFill>
                  <a:prstClr val="black"/>
                </a:solidFill>
                <a:latin typeface="Montserrat"/>
                <a:ea typeface="+mn-ea"/>
                <a:cs typeface="+mn-cs"/>
              </a:rPr>
              <a:t> </a:t>
            </a:r>
            <a:r>
              <a:rPr lang="es-ES" sz="1800" kern="1200" dirty="0" err="1">
                <a:solidFill>
                  <a:prstClr val="black"/>
                </a:solidFill>
                <a:latin typeface="Montserrat"/>
                <a:ea typeface="+mn-ea"/>
                <a:cs typeface="+mn-cs"/>
              </a:rPr>
              <a:t>Recovery</a:t>
            </a:r>
            <a:r>
              <a:rPr lang="es-ES" sz="1800" kern="1200" dirty="0">
                <a:solidFill>
                  <a:prstClr val="black"/>
                </a:solidFill>
                <a:latin typeface="Montserrat"/>
                <a:ea typeface="+mn-ea"/>
                <a:cs typeface="+mn-cs"/>
              </a:rPr>
              <a:t> (</a:t>
            </a:r>
            <a:r>
              <a:rPr lang="es-ES" sz="1800" kern="1200" dirty="0" err="1">
                <a:solidFill>
                  <a:prstClr val="black"/>
                </a:solidFill>
                <a:latin typeface="Montserrat"/>
                <a:ea typeface="+mn-ea"/>
                <a:cs typeface="+mn-cs"/>
              </a:rPr>
              <a:t>Insurance</a:t>
            </a:r>
            <a:r>
              <a:rPr lang="es-ES" sz="1800" kern="1200" dirty="0">
                <a:solidFill>
                  <a:prstClr val="black"/>
                </a:solidFill>
                <a:latin typeface="Montserrat"/>
                <a:ea typeface="+mn-ea"/>
                <a:cs typeface="+mn-cs"/>
              </a:rPr>
              <a:t>)</a:t>
            </a:r>
          </a:p>
          <a:p>
            <a:pPr marL="128270" indent="-128270" defTabSz="685800">
              <a:lnSpc>
                <a:spcPct val="150000"/>
              </a:lnSpc>
              <a:buFont typeface="Arial" panose="020B0604020202020204" pitchFamily="34" charset="0"/>
              <a:buChar char="•"/>
              <a:defRPr/>
            </a:pPr>
            <a:r>
              <a:rPr lang="es-ES" sz="1800" kern="1200" dirty="0" err="1">
                <a:solidFill>
                  <a:prstClr val="black"/>
                </a:solidFill>
                <a:latin typeface="Montserrat"/>
                <a:ea typeface="+mn-ea"/>
                <a:cs typeface="+mn-cs"/>
              </a:rPr>
              <a:t>Fraud</a:t>
            </a:r>
            <a:r>
              <a:rPr lang="es-ES" sz="1800" kern="1200" dirty="0">
                <a:solidFill>
                  <a:prstClr val="black"/>
                </a:solidFill>
                <a:latin typeface="Montserrat"/>
                <a:ea typeface="+mn-ea"/>
                <a:cs typeface="+mn-cs"/>
              </a:rPr>
              <a:t> </a:t>
            </a:r>
            <a:r>
              <a:rPr lang="es-ES" sz="1800" kern="1200" dirty="0" err="1">
                <a:solidFill>
                  <a:prstClr val="black"/>
                </a:solidFill>
                <a:latin typeface="Montserrat"/>
                <a:ea typeface="+mn-ea"/>
                <a:cs typeface="+mn-cs"/>
              </a:rPr>
              <a:t>Identification</a:t>
            </a:r>
          </a:p>
          <a:p>
            <a:pPr marL="128270" indent="-128270" defTabSz="685800">
              <a:lnSpc>
                <a:spcPct val="150000"/>
              </a:lnSpc>
              <a:buFont typeface="Arial" panose="020B0604020202020204" pitchFamily="34" charset="0"/>
              <a:buChar char="•"/>
              <a:defRPr/>
            </a:pPr>
            <a:r>
              <a:rPr lang="es-ES" sz="1800" kern="1200" dirty="0" err="1">
                <a:solidFill>
                  <a:prstClr val="black"/>
                </a:solidFill>
                <a:latin typeface="Montserrat"/>
                <a:ea typeface="+mn-ea"/>
                <a:cs typeface="+mn-cs"/>
              </a:rPr>
              <a:t>Mortgage</a:t>
            </a:r>
            <a:r>
              <a:rPr lang="es-ES" sz="1800" kern="1200" dirty="0">
                <a:solidFill>
                  <a:prstClr val="black"/>
                </a:solidFill>
                <a:latin typeface="Montserrat"/>
                <a:ea typeface="+mn-ea"/>
                <a:cs typeface="+mn-cs"/>
              </a:rPr>
              <a:t> </a:t>
            </a:r>
            <a:r>
              <a:rPr lang="es-ES" sz="1800" kern="1200" dirty="0" err="1">
                <a:solidFill>
                  <a:prstClr val="black"/>
                </a:solidFill>
                <a:latin typeface="Montserrat"/>
                <a:ea typeface="+mn-ea"/>
                <a:cs typeface="+mn-cs"/>
              </a:rPr>
              <a:t>Underwriting</a:t>
            </a:r>
          </a:p>
          <a:p>
            <a:pPr marL="128270" indent="-128270" defTabSz="685800">
              <a:lnSpc>
                <a:spcPct val="150000"/>
              </a:lnSpc>
              <a:buFont typeface="Arial" panose="020B0604020202020204" pitchFamily="34" charset="0"/>
              <a:buChar char="•"/>
              <a:defRPr/>
            </a:pPr>
            <a:r>
              <a:rPr lang="es-ES" sz="1800" kern="1200" dirty="0" err="1">
                <a:solidFill>
                  <a:prstClr val="black"/>
                </a:solidFill>
                <a:latin typeface="Montserrat"/>
                <a:ea typeface="+mn-ea"/>
                <a:cs typeface="+mn-cs"/>
              </a:rPr>
              <a:t>Workplace</a:t>
            </a:r>
            <a:r>
              <a:rPr lang="es-ES" sz="1800" kern="1200" dirty="0">
                <a:solidFill>
                  <a:prstClr val="black"/>
                </a:solidFill>
                <a:latin typeface="Montserrat"/>
                <a:ea typeface="+mn-ea"/>
                <a:cs typeface="+mn-cs"/>
              </a:rPr>
              <a:t> </a:t>
            </a:r>
            <a:r>
              <a:rPr lang="es-ES" sz="1800" kern="1200" dirty="0" err="1">
                <a:solidFill>
                  <a:prstClr val="black"/>
                </a:solidFill>
                <a:latin typeface="Montserrat"/>
                <a:ea typeface="+mn-ea"/>
                <a:cs typeface="+mn-cs"/>
              </a:rPr>
              <a:t>Risk</a:t>
            </a:r>
            <a:r>
              <a:rPr lang="es-ES" sz="1800" kern="1200" dirty="0">
                <a:solidFill>
                  <a:prstClr val="black"/>
                </a:solidFill>
                <a:latin typeface="Montserrat"/>
                <a:ea typeface="+mn-ea"/>
                <a:cs typeface="+mn-cs"/>
              </a:rPr>
              <a:t> </a:t>
            </a:r>
            <a:r>
              <a:rPr lang="es-ES" sz="1800" kern="1200" dirty="0" err="1">
                <a:solidFill>
                  <a:prstClr val="black"/>
                </a:solidFill>
                <a:latin typeface="Montserrat"/>
                <a:ea typeface="+mn-ea"/>
                <a:cs typeface="+mn-cs"/>
              </a:rPr>
              <a:t>Assessment</a:t>
            </a:r>
          </a:p>
          <a:p>
            <a:pPr marL="128270" indent="-128270" defTabSz="685800">
              <a:lnSpc>
                <a:spcPct val="150000"/>
              </a:lnSpc>
              <a:buFont typeface="Arial" panose="020B0604020202020204" pitchFamily="34" charset="0"/>
              <a:buChar char="•"/>
              <a:defRPr/>
            </a:pPr>
            <a:r>
              <a:rPr lang="es-ES" sz="1800" kern="1200" dirty="0">
                <a:solidFill>
                  <a:prstClr val="black"/>
                </a:solidFill>
                <a:latin typeface="Montserrat"/>
                <a:ea typeface="+mn-ea"/>
                <a:cs typeface="+mn-cs"/>
              </a:rPr>
              <a:t>Lateral Flow </a:t>
            </a:r>
            <a:r>
              <a:rPr lang="es-ES" sz="1800" kern="1200" dirty="0" err="1">
                <a:solidFill>
                  <a:prstClr val="black"/>
                </a:solidFill>
                <a:latin typeface="Montserrat"/>
                <a:ea typeface="+mn-ea"/>
                <a:cs typeface="+mn-cs"/>
              </a:rPr>
              <a:t>Testing</a:t>
            </a:r>
            <a:r>
              <a:rPr lang="es-ES" sz="1800" kern="1200" dirty="0">
                <a:solidFill>
                  <a:prstClr val="black"/>
                </a:solidFill>
                <a:latin typeface="Montserrat"/>
                <a:ea typeface="+mn-ea"/>
                <a:cs typeface="+mn-cs"/>
              </a:rPr>
              <a:t> </a:t>
            </a:r>
            <a:r>
              <a:rPr lang="es-ES" sz="1800" kern="1200">
                <a:solidFill>
                  <a:prstClr val="black"/>
                </a:solidFill>
                <a:latin typeface="Montserrat"/>
                <a:ea typeface="+mn-ea"/>
                <a:cs typeface="+mn-cs"/>
              </a:rPr>
              <a:t>Assessment</a:t>
            </a:r>
          </a:p>
          <a:p>
            <a:pPr marL="128270" indent="-128270" defTabSz="685800">
              <a:lnSpc>
                <a:spcPct val="150000"/>
              </a:lnSpc>
              <a:buFont typeface="Arial" panose="020B0604020202020204" pitchFamily="34" charset="0"/>
              <a:buChar char="•"/>
              <a:defRPr/>
            </a:pPr>
            <a:r>
              <a:rPr lang="es-ES" sz="1800" kern="1200" dirty="0">
                <a:solidFill>
                  <a:prstClr val="black"/>
                </a:solidFill>
                <a:latin typeface="Montserrat"/>
                <a:ea typeface="+mn-ea"/>
                <a:cs typeface="+mn-cs"/>
              </a:rPr>
              <a:t>Prior </a:t>
            </a:r>
            <a:r>
              <a:rPr lang="es-ES" sz="1800" kern="1200" dirty="0" err="1">
                <a:solidFill>
                  <a:prstClr val="black"/>
                </a:solidFill>
                <a:latin typeface="Montserrat"/>
                <a:ea typeface="+mn-ea"/>
                <a:cs typeface="+mn-cs"/>
              </a:rPr>
              <a:t>Authorization</a:t>
            </a:r>
            <a:r>
              <a:rPr lang="es-ES" sz="1800" kern="1200" dirty="0">
                <a:solidFill>
                  <a:prstClr val="black"/>
                </a:solidFill>
                <a:latin typeface="Montserrat"/>
                <a:ea typeface="+mn-ea"/>
                <a:cs typeface="+mn-cs"/>
              </a:rPr>
              <a:t> (US </a:t>
            </a:r>
            <a:r>
              <a:rPr lang="es-ES" sz="1800" kern="1200" dirty="0" err="1">
                <a:solidFill>
                  <a:prstClr val="black"/>
                </a:solidFill>
                <a:latin typeface="Montserrat"/>
                <a:ea typeface="+mn-ea"/>
                <a:cs typeface="+mn-cs"/>
              </a:rPr>
              <a:t>Healthcare</a:t>
            </a:r>
            <a:r>
              <a:rPr lang="es-ES" sz="1800" kern="1200" dirty="0">
                <a:solidFill>
                  <a:prstClr val="black"/>
                </a:solidFill>
                <a:latin typeface="Montserrat"/>
                <a:ea typeface="+mn-ea"/>
                <a:cs typeface="+mn-cs"/>
              </a:rPr>
              <a:t>)</a:t>
            </a:r>
          </a:p>
        </p:txBody>
      </p:sp>
      <p:cxnSp>
        <p:nvCxnSpPr>
          <p:cNvPr id="14" name="Conector Reto 27">
            <a:extLst>
              <a:ext uri="{FF2B5EF4-FFF2-40B4-BE49-F238E27FC236}">
                <a16:creationId xmlns:a16="http://schemas.microsoft.com/office/drawing/2014/main" id="{BA181AD6-8EC0-70EF-B3B1-299D9A85245D}"/>
              </a:ext>
            </a:extLst>
          </p:cNvPr>
          <p:cNvCxnSpPr>
            <a:cxnSpLocks/>
          </p:cNvCxnSpPr>
          <p:nvPr/>
        </p:nvCxnSpPr>
        <p:spPr>
          <a:xfrm>
            <a:off x="6594200" y="2090554"/>
            <a:ext cx="0" cy="6840000"/>
          </a:xfrm>
          <a:prstGeom prst="line">
            <a:avLst/>
          </a:prstGeom>
          <a:ln w="57150" cap="rnd">
            <a:solidFill>
              <a:srgbClr val="6800FF"/>
            </a:solidFill>
          </a:ln>
        </p:spPr>
        <p:style>
          <a:lnRef idx="1">
            <a:schemeClr val="accent1"/>
          </a:lnRef>
          <a:fillRef idx="0">
            <a:schemeClr val="accent1"/>
          </a:fillRef>
          <a:effectRef idx="0">
            <a:schemeClr val="accent1"/>
          </a:effectRef>
          <a:fontRef idx="minor">
            <a:schemeClr val="tx1"/>
          </a:fontRef>
        </p:style>
      </p:cxnSp>
      <p:sp>
        <p:nvSpPr>
          <p:cNvPr id="15" name="CaixaDeTexto 10">
            <a:extLst>
              <a:ext uri="{FF2B5EF4-FFF2-40B4-BE49-F238E27FC236}">
                <a16:creationId xmlns:a16="http://schemas.microsoft.com/office/drawing/2014/main" id="{7CCD7FB7-7C8D-4B3E-0821-2E19A644EDBA}"/>
              </a:ext>
            </a:extLst>
          </p:cNvPr>
          <p:cNvSpPr txBox="1"/>
          <p:nvPr/>
        </p:nvSpPr>
        <p:spPr>
          <a:xfrm>
            <a:off x="12886143" y="1980060"/>
            <a:ext cx="3308969" cy="830997"/>
          </a:xfrm>
          <a:prstGeom prst="rect">
            <a:avLst/>
          </a:prstGeom>
          <a:noFill/>
        </p:spPr>
        <p:txBody>
          <a:bodyPr wrap="square" lIns="91440" tIns="45720" rIns="91440" bIns="45720" rtlCol="0" anchor="t">
            <a:spAutoFit/>
          </a:bodyPr>
          <a:lstStyle/>
          <a:p>
            <a:pPr defTabSz="685800">
              <a:defRPr/>
            </a:pPr>
            <a:r>
              <a:rPr lang="es-ES" sz="2400" b="1" kern="1200" dirty="0" err="1">
                <a:solidFill>
                  <a:prstClr val="black"/>
                </a:solidFill>
                <a:latin typeface="Montserrat"/>
                <a:ea typeface="+mn-ea"/>
                <a:cs typeface="+mn-cs"/>
              </a:rPr>
              <a:t>Operations</a:t>
            </a:r>
            <a:r>
              <a:rPr lang="es-ES" sz="2400" b="1" kern="1200" dirty="0">
                <a:solidFill>
                  <a:prstClr val="black"/>
                </a:solidFill>
                <a:latin typeface="Montserrat"/>
                <a:ea typeface="+mn-ea"/>
                <a:cs typeface="+mn-cs"/>
              </a:rPr>
              <a:t>, Sales and </a:t>
            </a:r>
            <a:r>
              <a:rPr lang="es-ES" sz="2400" b="1" kern="1200">
                <a:solidFill>
                  <a:prstClr val="black"/>
                </a:solidFill>
                <a:latin typeface="Montserrat"/>
                <a:ea typeface="+mn-ea"/>
                <a:cs typeface="+mn-cs"/>
              </a:rPr>
              <a:t>Marketing</a:t>
            </a:r>
            <a:endParaRPr lang="en-US" sz="2400" b="1" kern="1200">
              <a:solidFill>
                <a:prstClr val="black"/>
              </a:solidFill>
              <a:latin typeface="Montserrat"/>
              <a:ea typeface="+mn-ea"/>
              <a:cs typeface="+mn-cs"/>
            </a:endParaRPr>
          </a:p>
        </p:txBody>
      </p:sp>
      <p:cxnSp>
        <p:nvCxnSpPr>
          <p:cNvPr id="16" name="Conector Reto 27">
            <a:extLst>
              <a:ext uri="{FF2B5EF4-FFF2-40B4-BE49-F238E27FC236}">
                <a16:creationId xmlns:a16="http://schemas.microsoft.com/office/drawing/2014/main" id="{B2F72DC1-B87C-2ECA-7E16-79B2B5B0E49E}"/>
              </a:ext>
            </a:extLst>
          </p:cNvPr>
          <p:cNvCxnSpPr>
            <a:cxnSpLocks/>
          </p:cNvCxnSpPr>
          <p:nvPr/>
        </p:nvCxnSpPr>
        <p:spPr>
          <a:xfrm>
            <a:off x="726804" y="2090554"/>
            <a:ext cx="0" cy="6840000"/>
          </a:xfrm>
          <a:prstGeom prst="line">
            <a:avLst/>
          </a:prstGeom>
          <a:ln w="57150" cap="rnd">
            <a:solidFill>
              <a:srgbClr val="6800FF"/>
            </a:solidFill>
          </a:ln>
        </p:spPr>
        <p:style>
          <a:lnRef idx="1">
            <a:schemeClr val="accent1"/>
          </a:lnRef>
          <a:fillRef idx="0">
            <a:schemeClr val="accent1"/>
          </a:fillRef>
          <a:effectRef idx="0">
            <a:schemeClr val="accent1"/>
          </a:effectRef>
          <a:fontRef idx="minor">
            <a:schemeClr val="tx1"/>
          </a:fontRef>
        </p:style>
      </p:cxnSp>
      <p:sp>
        <p:nvSpPr>
          <p:cNvPr id="17" name="CaixaDeTexto 10">
            <a:extLst>
              <a:ext uri="{FF2B5EF4-FFF2-40B4-BE49-F238E27FC236}">
                <a16:creationId xmlns:a16="http://schemas.microsoft.com/office/drawing/2014/main" id="{AF03147B-6302-2E1F-C1AF-AA2DE03BEA4F}"/>
              </a:ext>
            </a:extLst>
          </p:cNvPr>
          <p:cNvSpPr txBox="1"/>
          <p:nvPr/>
        </p:nvSpPr>
        <p:spPr>
          <a:xfrm>
            <a:off x="939682" y="1980060"/>
            <a:ext cx="4226195" cy="583878"/>
          </a:xfrm>
          <a:prstGeom prst="rect">
            <a:avLst/>
          </a:prstGeom>
          <a:noFill/>
        </p:spPr>
        <p:txBody>
          <a:bodyPr wrap="square" lIns="91440" tIns="45720" rIns="91440" bIns="45720" rtlCol="0" anchor="t">
            <a:spAutoFit/>
          </a:bodyPr>
          <a:lstStyle/>
          <a:p>
            <a:pPr defTabSz="685800">
              <a:lnSpc>
                <a:spcPct val="150000"/>
              </a:lnSpc>
              <a:defRPr/>
            </a:pPr>
            <a:r>
              <a:rPr lang="es-ES" sz="2400" b="1" kern="1200" err="1">
                <a:solidFill>
                  <a:prstClr val="black"/>
                </a:solidFill>
                <a:latin typeface="Montserrat"/>
                <a:ea typeface="+mn-ea"/>
                <a:cs typeface="+mn-cs"/>
              </a:rPr>
              <a:t>Finance</a:t>
            </a:r>
            <a:r>
              <a:rPr lang="es-ES" sz="2400" b="1" kern="1200" dirty="0">
                <a:solidFill>
                  <a:prstClr val="black"/>
                </a:solidFill>
                <a:latin typeface="Montserrat"/>
                <a:ea typeface="+mn-ea"/>
                <a:cs typeface="+mn-cs"/>
              </a:rPr>
              <a:t> and </a:t>
            </a:r>
            <a:r>
              <a:rPr lang="es-ES" sz="2400" b="1" kern="1200" err="1">
                <a:solidFill>
                  <a:prstClr val="black"/>
                </a:solidFill>
                <a:latin typeface="Montserrat"/>
                <a:ea typeface="+mn-ea"/>
                <a:cs typeface="+mn-cs"/>
              </a:rPr>
              <a:t>Taxation</a:t>
            </a:r>
            <a:endParaRPr lang="en-US" sz="2400" b="1" kern="1200" err="1">
              <a:solidFill>
                <a:prstClr val="black"/>
              </a:solidFill>
              <a:latin typeface="Montserrat"/>
              <a:ea typeface="+mn-ea"/>
              <a:cs typeface="+mn-cs"/>
            </a:endParaRPr>
          </a:p>
        </p:txBody>
      </p:sp>
    </p:spTree>
    <p:extLst>
      <p:ext uri="{BB962C8B-B14F-4D97-AF65-F5344CB8AC3E}">
        <p14:creationId xmlns:p14="http://schemas.microsoft.com/office/powerpoint/2010/main" val="25332142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 name="Elipse 72">
            <a:extLst>
              <a:ext uri="{FF2B5EF4-FFF2-40B4-BE49-F238E27FC236}">
                <a16:creationId xmlns:a16="http://schemas.microsoft.com/office/drawing/2014/main" id="{D521F030-099D-FF50-3B31-7DF9F9D96218}"/>
              </a:ext>
            </a:extLst>
          </p:cNvPr>
          <p:cNvSpPr/>
          <p:nvPr/>
        </p:nvSpPr>
        <p:spPr>
          <a:xfrm>
            <a:off x="7269240" y="3662273"/>
            <a:ext cx="3600000" cy="3600000"/>
          </a:xfrm>
          <a:prstGeom prst="ellipse">
            <a:avLst/>
          </a:prstGeom>
          <a:noFill/>
          <a:ln w="12700" cap="flat" cmpd="sng" algn="ctr">
            <a:solidFill>
              <a:srgbClr val="6800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4879B5E5-DCF8-1383-AC20-38A0414C7774}"/>
              </a:ext>
            </a:extLst>
          </p:cNvPr>
          <p:cNvSpPr>
            <a:spLocks noGrp="1"/>
          </p:cNvSpPr>
          <p:nvPr>
            <p:ph type="title" idx="4294967295"/>
          </p:nvPr>
        </p:nvSpPr>
        <p:spPr>
          <a:xfrm>
            <a:off x="736292" y="743664"/>
            <a:ext cx="10216200" cy="1145400"/>
          </a:xfrm>
        </p:spPr>
        <p:txBody>
          <a:bodyPr/>
          <a:lstStyle/>
          <a:p>
            <a:r>
              <a:rPr lang="en-US" sz="4000">
                <a:solidFill>
                  <a:schemeClr val="bg1"/>
                </a:solidFill>
              </a:rPr>
              <a:t>How does it work</a:t>
            </a:r>
            <a:endParaRPr lang="pt-BR" sz="4000">
              <a:solidFill>
                <a:schemeClr val="bg1"/>
              </a:solidFill>
            </a:endParaRPr>
          </a:p>
        </p:txBody>
      </p:sp>
      <p:grpSp>
        <p:nvGrpSpPr>
          <p:cNvPr id="120" name="Agrupar 81">
            <a:extLst>
              <a:ext uri="{FF2B5EF4-FFF2-40B4-BE49-F238E27FC236}">
                <a16:creationId xmlns:a16="http://schemas.microsoft.com/office/drawing/2014/main" id="{6A7F9EFF-9845-D144-0536-D9E12280D4D3}"/>
              </a:ext>
            </a:extLst>
          </p:cNvPr>
          <p:cNvGrpSpPr/>
          <p:nvPr/>
        </p:nvGrpSpPr>
        <p:grpSpPr>
          <a:xfrm>
            <a:off x="7989240" y="4382273"/>
            <a:ext cx="2160000" cy="2160000"/>
            <a:chOff x="3689192" y="2244519"/>
            <a:chExt cx="1715913" cy="1711177"/>
          </a:xfrm>
        </p:grpSpPr>
        <p:sp>
          <p:nvSpPr>
            <p:cNvPr id="121" name="Freeform 59">
              <a:extLst>
                <a:ext uri="{FF2B5EF4-FFF2-40B4-BE49-F238E27FC236}">
                  <a16:creationId xmlns:a16="http://schemas.microsoft.com/office/drawing/2014/main" id="{CE5015FD-E6D2-154F-1D59-E7848598B5DF}"/>
                </a:ext>
              </a:extLst>
            </p:cNvPr>
            <p:cNvSpPr>
              <a:spLocks/>
            </p:cNvSpPr>
            <p:nvPr>
              <p:custDataLst>
                <p:tags r:id="rId1"/>
              </p:custDataLst>
            </p:nvPr>
          </p:nvSpPr>
          <p:spPr bwMode="auto">
            <a:xfrm>
              <a:off x="4572000" y="2244519"/>
              <a:ext cx="833105" cy="1259123"/>
            </a:xfrm>
            <a:custGeom>
              <a:avLst/>
              <a:gdLst>
                <a:gd name="T0" fmla="*/ 28 w 227"/>
                <a:gd name="T1" fmla="*/ 173 h 344"/>
                <a:gd name="T2" fmla="*/ 58 w 227"/>
                <a:gd name="T3" fmla="*/ 262 h 344"/>
                <a:gd name="T4" fmla="*/ 200 w 227"/>
                <a:gd name="T5" fmla="*/ 344 h 344"/>
                <a:gd name="T6" fmla="*/ 227 w 227"/>
                <a:gd name="T7" fmla="*/ 234 h 344"/>
                <a:gd name="T8" fmla="*/ 0 w 227"/>
                <a:gd name="T9" fmla="*/ 0 h 344"/>
                <a:gd name="T10" fmla="*/ 0 w 227"/>
                <a:gd name="T11" fmla="*/ 164 h 344"/>
                <a:gd name="T12" fmla="*/ 28 w 227"/>
                <a:gd name="T13" fmla="*/ 173 h 344"/>
              </a:gdLst>
              <a:ahLst/>
              <a:cxnLst>
                <a:cxn ang="0">
                  <a:pos x="T0" y="T1"/>
                </a:cxn>
                <a:cxn ang="0">
                  <a:pos x="T2" y="T3"/>
                </a:cxn>
                <a:cxn ang="0">
                  <a:pos x="T4" y="T5"/>
                </a:cxn>
                <a:cxn ang="0">
                  <a:pos x="T6" y="T7"/>
                </a:cxn>
                <a:cxn ang="0">
                  <a:pos x="T8" y="T9"/>
                </a:cxn>
                <a:cxn ang="0">
                  <a:pos x="T10" y="T11"/>
                </a:cxn>
                <a:cxn ang="0">
                  <a:pos x="T12" y="T13"/>
                </a:cxn>
              </a:cxnLst>
              <a:rect l="0" t="0" r="r" b="b"/>
              <a:pathLst>
                <a:path w="227" h="344">
                  <a:moveTo>
                    <a:pt x="28" y="173"/>
                  </a:moveTo>
                  <a:cubicBezTo>
                    <a:pt x="60" y="191"/>
                    <a:pt x="72" y="230"/>
                    <a:pt x="58" y="262"/>
                  </a:cubicBezTo>
                  <a:cubicBezTo>
                    <a:pt x="200" y="344"/>
                    <a:pt x="200" y="344"/>
                    <a:pt x="200" y="344"/>
                  </a:cubicBezTo>
                  <a:cubicBezTo>
                    <a:pt x="217" y="311"/>
                    <a:pt x="227" y="274"/>
                    <a:pt x="227" y="234"/>
                  </a:cubicBezTo>
                  <a:cubicBezTo>
                    <a:pt x="227" y="107"/>
                    <a:pt x="126" y="4"/>
                    <a:pt x="0" y="0"/>
                  </a:cubicBezTo>
                  <a:cubicBezTo>
                    <a:pt x="0" y="164"/>
                    <a:pt x="0" y="164"/>
                    <a:pt x="0" y="164"/>
                  </a:cubicBezTo>
                  <a:cubicBezTo>
                    <a:pt x="10" y="165"/>
                    <a:pt x="20" y="168"/>
                    <a:pt x="28" y="173"/>
                  </a:cubicBezTo>
                  <a:close/>
                </a:path>
              </a:pathLst>
            </a:custGeom>
            <a:solidFill>
              <a:srgbClr val="9762FF"/>
            </a:solidFill>
            <a:ln w="9525" cap="flat" cmpd="sng">
              <a:no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ysClr val="windowText" lastClr="000000"/>
                </a:solidFill>
                <a:effectLst/>
                <a:uLnTx/>
                <a:uFillTx/>
              </a:endParaRPr>
            </a:p>
          </p:txBody>
        </p:sp>
        <p:sp>
          <p:nvSpPr>
            <p:cNvPr id="122" name="Freeform 60">
              <a:extLst>
                <a:ext uri="{FF2B5EF4-FFF2-40B4-BE49-F238E27FC236}">
                  <a16:creationId xmlns:a16="http://schemas.microsoft.com/office/drawing/2014/main" id="{1992684A-88AA-CB09-88CB-57A18DE0319E}"/>
                </a:ext>
              </a:extLst>
            </p:cNvPr>
            <p:cNvSpPr>
              <a:spLocks/>
            </p:cNvSpPr>
            <p:nvPr>
              <p:custDataLst>
                <p:tags r:id="rId2"/>
              </p:custDataLst>
            </p:nvPr>
          </p:nvSpPr>
          <p:spPr bwMode="auto">
            <a:xfrm>
              <a:off x="3689192" y="2244519"/>
              <a:ext cx="830739" cy="1259123"/>
            </a:xfrm>
            <a:custGeom>
              <a:avLst/>
              <a:gdLst>
                <a:gd name="T0" fmla="*/ 173 w 227"/>
                <a:gd name="T1" fmla="*/ 199 h 344"/>
                <a:gd name="T2" fmla="*/ 227 w 227"/>
                <a:gd name="T3" fmla="*/ 164 h 344"/>
                <a:gd name="T4" fmla="*/ 227 w 227"/>
                <a:gd name="T5" fmla="*/ 0 h 344"/>
                <a:gd name="T6" fmla="*/ 0 w 227"/>
                <a:gd name="T7" fmla="*/ 234 h 344"/>
                <a:gd name="T8" fmla="*/ 28 w 227"/>
                <a:gd name="T9" fmla="*/ 344 h 344"/>
                <a:gd name="T10" fmla="*/ 170 w 227"/>
                <a:gd name="T11" fmla="*/ 262 h 344"/>
                <a:gd name="T12" fmla="*/ 173 w 227"/>
                <a:gd name="T13" fmla="*/ 199 h 344"/>
              </a:gdLst>
              <a:ahLst/>
              <a:cxnLst>
                <a:cxn ang="0">
                  <a:pos x="T0" y="T1"/>
                </a:cxn>
                <a:cxn ang="0">
                  <a:pos x="T2" y="T3"/>
                </a:cxn>
                <a:cxn ang="0">
                  <a:pos x="T4" y="T5"/>
                </a:cxn>
                <a:cxn ang="0">
                  <a:pos x="T6" y="T7"/>
                </a:cxn>
                <a:cxn ang="0">
                  <a:pos x="T8" y="T9"/>
                </a:cxn>
                <a:cxn ang="0">
                  <a:pos x="T10" y="T11"/>
                </a:cxn>
                <a:cxn ang="0">
                  <a:pos x="T12" y="T13"/>
                </a:cxn>
              </a:cxnLst>
              <a:rect l="0" t="0" r="r" b="b"/>
              <a:pathLst>
                <a:path w="227" h="344">
                  <a:moveTo>
                    <a:pt x="173" y="199"/>
                  </a:moveTo>
                  <a:cubicBezTo>
                    <a:pt x="185" y="178"/>
                    <a:pt x="205" y="166"/>
                    <a:pt x="227" y="164"/>
                  </a:cubicBezTo>
                  <a:cubicBezTo>
                    <a:pt x="227" y="0"/>
                    <a:pt x="227" y="0"/>
                    <a:pt x="227" y="0"/>
                  </a:cubicBezTo>
                  <a:cubicBezTo>
                    <a:pt x="101" y="4"/>
                    <a:pt x="0" y="107"/>
                    <a:pt x="0" y="234"/>
                  </a:cubicBezTo>
                  <a:cubicBezTo>
                    <a:pt x="0" y="274"/>
                    <a:pt x="10" y="311"/>
                    <a:pt x="28" y="344"/>
                  </a:cubicBezTo>
                  <a:cubicBezTo>
                    <a:pt x="170" y="262"/>
                    <a:pt x="170" y="262"/>
                    <a:pt x="170" y="262"/>
                  </a:cubicBezTo>
                  <a:cubicBezTo>
                    <a:pt x="161" y="242"/>
                    <a:pt x="162" y="219"/>
                    <a:pt x="173" y="199"/>
                  </a:cubicBezTo>
                  <a:close/>
                </a:path>
              </a:pathLst>
            </a:custGeom>
            <a:solidFill>
              <a:srgbClr val="9762FF"/>
            </a:solidFill>
            <a:ln w="9525" cap="flat" cmpd="sng">
              <a:no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ysClr val="windowText" lastClr="000000"/>
                </a:solidFill>
                <a:effectLst/>
                <a:uLnTx/>
                <a:uFillTx/>
              </a:endParaRPr>
            </a:p>
          </p:txBody>
        </p:sp>
        <p:sp>
          <p:nvSpPr>
            <p:cNvPr id="123" name="Freeform 61">
              <a:extLst>
                <a:ext uri="{FF2B5EF4-FFF2-40B4-BE49-F238E27FC236}">
                  <a16:creationId xmlns:a16="http://schemas.microsoft.com/office/drawing/2014/main" id="{96D7B94A-21A6-1C79-9ECD-7D1F998FF83C}"/>
                </a:ext>
              </a:extLst>
            </p:cNvPr>
            <p:cNvSpPr>
              <a:spLocks/>
            </p:cNvSpPr>
            <p:nvPr>
              <p:custDataLst>
                <p:tags r:id="rId3"/>
              </p:custDataLst>
            </p:nvPr>
          </p:nvSpPr>
          <p:spPr bwMode="auto">
            <a:xfrm>
              <a:off x="3816998" y="3250398"/>
              <a:ext cx="1460301" cy="705298"/>
            </a:xfrm>
            <a:custGeom>
              <a:avLst/>
              <a:gdLst>
                <a:gd name="T0" fmla="*/ 164 w 398"/>
                <a:gd name="T1" fmla="*/ 20 h 193"/>
                <a:gd name="T2" fmla="*/ 142 w 398"/>
                <a:gd name="T3" fmla="*/ 0 h 193"/>
                <a:gd name="T4" fmla="*/ 0 w 398"/>
                <a:gd name="T5" fmla="*/ 82 h 193"/>
                <a:gd name="T6" fmla="*/ 199 w 398"/>
                <a:gd name="T7" fmla="*/ 193 h 193"/>
                <a:gd name="T8" fmla="*/ 398 w 398"/>
                <a:gd name="T9" fmla="*/ 82 h 193"/>
                <a:gd name="T10" fmla="*/ 256 w 398"/>
                <a:gd name="T11" fmla="*/ 0 h 193"/>
                <a:gd name="T12" fmla="*/ 164 w 398"/>
                <a:gd name="T13" fmla="*/ 20 h 193"/>
              </a:gdLst>
              <a:ahLst/>
              <a:cxnLst>
                <a:cxn ang="0">
                  <a:pos x="T0" y="T1"/>
                </a:cxn>
                <a:cxn ang="0">
                  <a:pos x="T2" y="T3"/>
                </a:cxn>
                <a:cxn ang="0">
                  <a:pos x="T4" y="T5"/>
                </a:cxn>
                <a:cxn ang="0">
                  <a:pos x="T6" y="T7"/>
                </a:cxn>
                <a:cxn ang="0">
                  <a:pos x="T8" y="T9"/>
                </a:cxn>
                <a:cxn ang="0">
                  <a:pos x="T10" y="T11"/>
                </a:cxn>
                <a:cxn ang="0">
                  <a:pos x="T12" y="T13"/>
                </a:cxn>
              </a:cxnLst>
              <a:rect l="0" t="0" r="r" b="b"/>
              <a:pathLst>
                <a:path w="398" h="193">
                  <a:moveTo>
                    <a:pt x="164" y="20"/>
                  </a:moveTo>
                  <a:cubicBezTo>
                    <a:pt x="155" y="14"/>
                    <a:pt x="148" y="8"/>
                    <a:pt x="142" y="0"/>
                  </a:cubicBezTo>
                  <a:cubicBezTo>
                    <a:pt x="0" y="82"/>
                    <a:pt x="0" y="82"/>
                    <a:pt x="0" y="82"/>
                  </a:cubicBezTo>
                  <a:cubicBezTo>
                    <a:pt x="41" y="148"/>
                    <a:pt x="115" y="193"/>
                    <a:pt x="199" y="193"/>
                  </a:cubicBezTo>
                  <a:cubicBezTo>
                    <a:pt x="283" y="193"/>
                    <a:pt x="357" y="148"/>
                    <a:pt x="398" y="82"/>
                  </a:cubicBezTo>
                  <a:cubicBezTo>
                    <a:pt x="256" y="0"/>
                    <a:pt x="256" y="0"/>
                    <a:pt x="256" y="0"/>
                  </a:cubicBezTo>
                  <a:cubicBezTo>
                    <a:pt x="236" y="29"/>
                    <a:pt x="196" y="38"/>
                    <a:pt x="164" y="20"/>
                  </a:cubicBezTo>
                  <a:close/>
                </a:path>
              </a:pathLst>
            </a:custGeom>
            <a:solidFill>
              <a:srgbClr val="9762FF"/>
            </a:solidFill>
            <a:ln w="9525" cap="flat" cmpd="sng">
              <a:no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ysClr val="windowText" lastClr="000000"/>
                </a:solidFill>
                <a:effectLst/>
                <a:uLnTx/>
                <a:uFillTx/>
              </a:endParaRPr>
            </a:p>
          </p:txBody>
        </p:sp>
        <p:sp>
          <p:nvSpPr>
            <p:cNvPr id="124" name="Freeform 62">
              <a:extLst>
                <a:ext uri="{FF2B5EF4-FFF2-40B4-BE49-F238E27FC236}">
                  <a16:creationId xmlns:a16="http://schemas.microsoft.com/office/drawing/2014/main" id="{8D0E045F-EFEA-07A0-582E-3E2449B1BD6E}"/>
                </a:ext>
              </a:extLst>
            </p:cNvPr>
            <p:cNvSpPr>
              <a:spLocks/>
            </p:cNvSpPr>
            <p:nvPr>
              <p:custDataLst>
                <p:tags r:id="rId4"/>
              </p:custDataLst>
            </p:nvPr>
          </p:nvSpPr>
          <p:spPr bwMode="auto">
            <a:xfrm>
              <a:off x="4311654" y="2862248"/>
              <a:ext cx="473355" cy="473355"/>
            </a:xfrm>
            <a:custGeom>
              <a:avLst/>
              <a:gdLst>
                <a:gd name="T0" fmla="*/ 36 w 129"/>
                <a:gd name="T1" fmla="*/ 114 h 129"/>
                <a:gd name="T2" fmla="*/ 15 w 129"/>
                <a:gd name="T3" fmla="*/ 36 h 129"/>
                <a:gd name="T4" fmla="*/ 93 w 129"/>
                <a:gd name="T5" fmla="*/ 16 h 129"/>
                <a:gd name="T6" fmla="*/ 113 w 129"/>
                <a:gd name="T7" fmla="*/ 93 h 129"/>
                <a:gd name="T8" fmla="*/ 36 w 129"/>
                <a:gd name="T9" fmla="*/ 114 h 129"/>
              </a:gdLst>
              <a:ahLst/>
              <a:cxnLst>
                <a:cxn ang="0">
                  <a:pos x="T0" y="T1"/>
                </a:cxn>
                <a:cxn ang="0">
                  <a:pos x="T2" y="T3"/>
                </a:cxn>
                <a:cxn ang="0">
                  <a:pos x="T4" y="T5"/>
                </a:cxn>
                <a:cxn ang="0">
                  <a:pos x="T6" y="T7"/>
                </a:cxn>
                <a:cxn ang="0">
                  <a:pos x="T8" y="T9"/>
                </a:cxn>
              </a:cxnLst>
              <a:rect l="0" t="0" r="r" b="b"/>
              <a:pathLst>
                <a:path w="129" h="129">
                  <a:moveTo>
                    <a:pt x="36" y="114"/>
                  </a:moveTo>
                  <a:cubicBezTo>
                    <a:pt x="9" y="98"/>
                    <a:pt x="0" y="63"/>
                    <a:pt x="15" y="36"/>
                  </a:cubicBezTo>
                  <a:cubicBezTo>
                    <a:pt x="31" y="9"/>
                    <a:pt x="66" y="0"/>
                    <a:pt x="93" y="16"/>
                  </a:cubicBezTo>
                  <a:cubicBezTo>
                    <a:pt x="120" y="31"/>
                    <a:pt x="129" y="66"/>
                    <a:pt x="113" y="93"/>
                  </a:cubicBezTo>
                  <a:cubicBezTo>
                    <a:pt x="98" y="120"/>
                    <a:pt x="63" y="129"/>
                    <a:pt x="36" y="114"/>
                  </a:cubicBezTo>
                  <a:close/>
                </a:path>
              </a:pathLst>
            </a:custGeom>
            <a:solidFill>
              <a:srgbClr val="FFFFFF">
                <a:lumMod val="100000"/>
              </a:srgbClr>
            </a:solidFill>
            <a:ln w="9525" cmpd="sng">
              <a:solidFill>
                <a:srgbClr val="9762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ysClr val="windowText" lastClr="000000"/>
                </a:solidFill>
                <a:effectLst/>
                <a:uLnTx/>
                <a:uFillTx/>
              </a:endParaRPr>
            </a:p>
          </p:txBody>
        </p:sp>
      </p:grpSp>
      <p:pic>
        <p:nvPicPr>
          <p:cNvPr id="125" name="Imagem 71">
            <a:extLst>
              <a:ext uri="{FF2B5EF4-FFF2-40B4-BE49-F238E27FC236}">
                <a16:creationId xmlns:a16="http://schemas.microsoft.com/office/drawing/2014/main" id="{5514B245-B7BF-1E26-7E78-C89987433CA6}"/>
              </a:ext>
            </a:extLst>
          </p:cNvPr>
          <p:cNvPicPr>
            <a:picLocks noChangeAspect="1"/>
          </p:cNvPicPr>
          <p:nvPr/>
        </p:nvPicPr>
        <p:blipFill>
          <a:blip r:embed="rId6"/>
          <a:stretch>
            <a:fillRect/>
          </a:stretch>
        </p:blipFill>
        <p:spPr>
          <a:xfrm>
            <a:off x="11643549" y="2100581"/>
            <a:ext cx="720000" cy="720000"/>
          </a:xfrm>
          <a:prstGeom prst="rect">
            <a:avLst/>
          </a:prstGeom>
        </p:spPr>
      </p:pic>
      <p:sp>
        <p:nvSpPr>
          <p:cNvPr id="127" name="Elipse 73">
            <a:extLst>
              <a:ext uri="{FF2B5EF4-FFF2-40B4-BE49-F238E27FC236}">
                <a16:creationId xmlns:a16="http://schemas.microsoft.com/office/drawing/2014/main" id="{0A7E4104-6F42-0D4E-C4E5-E0A80EFB9712}"/>
              </a:ext>
            </a:extLst>
          </p:cNvPr>
          <p:cNvSpPr/>
          <p:nvPr/>
        </p:nvSpPr>
        <p:spPr>
          <a:xfrm>
            <a:off x="9401989" y="3556399"/>
            <a:ext cx="343321" cy="343321"/>
          </a:xfrm>
          <a:prstGeom prst="ellipse">
            <a:avLst/>
          </a:prstGeom>
          <a:solidFill>
            <a:srgbClr val="6800FF"/>
          </a:solidFill>
          <a:ln w="76200" cap="flat" cmpd="sng" algn="ctr">
            <a:solidFill>
              <a:sysClr val="window" lastClr="FFFFFF"/>
            </a:solidFill>
            <a:prstDash val="solid"/>
            <a:miter lim="800000"/>
          </a:ln>
          <a:effectLst/>
        </p:spPr>
        <p:txBody>
          <a:bodyPr lIns="91440" tIns="45720" rIns="91440" b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2000" b="0" i="0" u="none" strike="noStrike" kern="0" cap="none" spc="0" normalizeH="0" baseline="0" noProof="0" dirty="0">
              <a:ln>
                <a:noFill/>
              </a:ln>
              <a:solidFill>
                <a:prstClr val="white"/>
              </a:solidFill>
              <a:effectLst/>
              <a:uLnTx/>
              <a:uFillTx/>
              <a:latin typeface="Montserrat" panose="00000500000000000000" pitchFamily="2" charset="0"/>
              <a:ea typeface="+mn-ea"/>
              <a:cs typeface="+mn-cs"/>
            </a:endParaRPr>
          </a:p>
        </p:txBody>
      </p:sp>
      <p:sp>
        <p:nvSpPr>
          <p:cNvPr id="128" name="CaixaDeTexto 74">
            <a:extLst>
              <a:ext uri="{FF2B5EF4-FFF2-40B4-BE49-F238E27FC236}">
                <a16:creationId xmlns:a16="http://schemas.microsoft.com/office/drawing/2014/main" id="{3CBB1BF4-84A1-B6D7-CF06-0FB0E31DBF27}"/>
              </a:ext>
            </a:extLst>
          </p:cNvPr>
          <p:cNvSpPr txBox="1"/>
          <p:nvPr/>
        </p:nvSpPr>
        <p:spPr>
          <a:xfrm>
            <a:off x="9460737" y="3186840"/>
            <a:ext cx="817853" cy="369332"/>
          </a:xfrm>
          <a:prstGeom prst="rect">
            <a:avLst/>
          </a:prstGeom>
          <a:noFill/>
        </p:spPr>
        <p:txBody>
          <a:bodyPr wrap="none" rtlCol="0">
            <a:spAutoFit/>
          </a:bodyPr>
          <a:lstStyle/>
          <a:p>
            <a:pPr algn="ctr"/>
            <a:r>
              <a:rPr lang="en-US" sz="1800" b="1" noProof="0">
                <a:latin typeface="Montserrat" panose="00000500000000000000" pitchFamily="2" charset="0"/>
              </a:rPr>
              <a:t>Build</a:t>
            </a:r>
          </a:p>
        </p:txBody>
      </p:sp>
      <p:sp>
        <p:nvSpPr>
          <p:cNvPr id="129" name="CaixaDeTexto 75">
            <a:extLst>
              <a:ext uri="{FF2B5EF4-FFF2-40B4-BE49-F238E27FC236}">
                <a16:creationId xmlns:a16="http://schemas.microsoft.com/office/drawing/2014/main" id="{EA935B4A-81EA-F429-4A6C-7762390A2078}"/>
              </a:ext>
            </a:extLst>
          </p:cNvPr>
          <p:cNvSpPr txBox="1"/>
          <p:nvPr/>
        </p:nvSpPr>
        <p:spPr>
          <a:xfrm>
            <a:off x="11299274" y="2947660"/>
            <a:ext cx="1442779" cy="276999"/>
          </a:xfrm>
          <a:prstGeom prst="rect">
            <a:avLst/>
          </a:prstGeom>
          <a:noFill/>
        </p:spPr>
        <p:txBody>
          <a:bodyPr wrap="square" rtlCol="0">
            <a:spAutoFit/>
          </a:bodyPr>
          <a:lstStyle/>
          <a:p>
            <a:r>
              <a:rPr lang="en-US" sz="1200" noProof="0">
                <a:latin typeface="Montserrat" panose="00000500000000000000" pitchFamily="2" charset="0"/>
              </a:rPr>
              <a:t>Documentation</a:t>
            </a:r>
          </a:p>
        </p:txBody>
      </p:sp>
      <p:pic>
        <p:nvPicPr>
          <p:cNvPr id="130" name="Imagem 77">
            <a:extLst>
              <a:ext uri="{FF2B5EF4-FFF2-40B4-BE49-F238E27FC236}">
                <a16:creationId xmlns:a16="http://schemas.microsoft.com/office/drawing/2014/main" id="{262C0BBA-0181-479C-1269-78F8077D1370}"/>
              </a:ext>
            </a:extLst>
          </p:cNvPr>
          <p:cNvPicPr>
            <a:picLocks noChangeAspect="1"/>
          </p:cNvPicPr>
          <p:nvPr/>
        </p:nvPicPr>
        <p:blipFill>
          <a:blip r:embed="rId7"/>
          <a:stretch>
            <a:fillRect/>
          </a:stretch>
        </p:blipFill>
        <p:spPr>
          <a:xfrm>
            <a:off x="12724509" y="2100581"/>
            <a:ext cx="720000" cy="720000"/>
          </a:xfrm>
          <a:prstGeom prst="rect">
            <a:avLst/>
          </a:prstGeom>
        </p:spPr>
      </p:pic>
      <p:sp>
        <p:nvSpPr>
          <p:cNvPr id="131" name="CaixaDeTexto 78">
            <a:extLst>
              <a:ext uri="{FF2B5EF4-FFF2-40B4-BE49-F238E27FC236}">
                <a16:creationId xmlns:a16="http://schemas.microsoft.com/office/drawing/2014/main" id="{458E0373-D8CC-4AC1-E12C-3EEB779157BF}"/>
              </a:ext>
            </a:extLst>
          </p:cNvPr>
          <p:cNvSpPr txBox="1"/>
          <p:nvPr/>
        </p:nvSpPr>
        <p:spPr>
          <a:xfrm>
            <a:off x="12792798" y="2947660"/>
            <a:ext cx="553357" cy="276999"/>
          </a:xfrm>
          <a:prstGeom prst="rect">
            <a:avLst/>
          </a:prstGeom>
          <a:noFill/>
        </p:spPr>
        <p:txBody>
          <a:bodyPr wrap="none" rtlCol="0">
            <a:spAutoFit/>
          </a:bodyPr>
          <a:lstStyle/>
          <a:p>
            <a:r>
              <a:rPr lang="en-US" sz="1200" noProof="0">
                <a:latin typeface="Montserrat" panose="00000500000000000000" pitchFamily="2" charset="0"/>
              </a:rPr>
              <a:t>Path</a:t>
            </a:r>
          </a:p>
        </p:txBody>
      </p:sp>
      <p:sp>
        <p:nvSpPr>
          <p:cNvPr id="132" name="CaixaDeTexto 79">
            <a:extLst>
              <a:ext uri="{FF2B5EF4-FFF2-40B4-BE49-F238E27FC236}">
                <a16:creationId xmlns:a16="http://schemas.microsoft.com/office/drawing/2014/main" id="{67870AC5-2CDE-9B49-8592-C28A48794120}"/>
              </a:ext>
            </a:extLst>
          </p:cNvPr>
          <p:cNvSpPr txBox="1"/>
          <p:nvPr/>
        </p:nvSpPr>
        <p:spPr>
          <a:xfrm>
            <a:off x="8341462" y="2049180"/>
            <a:ext cx="3111202" cy="954107"/>
          </a:xfrm>
          <a:prstGeom prst="rect">
            <a:avLst/>
          </a:prstGeom>
          <a:noFill/>
        </p:spPr>
        <p:txBody>
          <a:bodyPr wrap="square" rtlCol="0">
            <a:spAutoFit/>
          </a:bodyPr>
          <a:lstStyle/>
          <a:p>
            <a:r>
              <a:rPr lang="en-US" noProof="0">
                <a:latin typeface="Montserrat" panose="00000500000000000000" pitchFamily="2" charset="0"/>
              </a:rPr>
              <a:t>Our experts can use existing documentation to generate the fundamentals of </a:t>
            </a:r>
            <a:r>
              <a:rPr lang="en-US" b="1" noProof="0">
                <a:latin typeface="Montserrat" panose="00000500000000000000" pitchFamily="2" charset="0"/>
              </a:rPr>
              <a:t>knowledge graphs</a:t>
            </a:r>
            <a:r>
              <a:rPr lang="en-US" noProof="0">
                <a:latin typeface="Montserrat" panose="00000500000000000000" pitchFamily="2" charset="0"/>
              </a:rPr>
              <a:t> (</a:t>
            </a:r>
            <a:r>
              <a:rPr lang="en-US" b="1" noProof="0">
                <a:latin typeface="Montserrat" panose="00000500000000000000" pitchFamily="2" charset="0"/>
              </a:rPr>
              <a:t>human experience</a:t>
            </a:r>
            <a:r>
              <a:rPr lang="en-US" noProof="0">
                <a:latin typeface="Montserrat" panose="00000500000000000000" pitchFamily="2" charset="0"/>
              </a:rPr>
              <a:t>)</a:t>
            </a:r>
          </a:p>
        </p:txBody>
      </p:sp>
      <p:sp>
        <p:nvSpPr>
          <p:cNvPr id="133" name="Elipse 82">
            <a:extLst>
              <a:ext uri="{FF2B5EF4-FFF2-40B4-BE49-F238E27FC236}">
                <a16:creationId xmlns:a16="http://schemas.microsoft.com/office/drawing/2014/main" id="{C15C4B13-5279-3DBE-4AAA-6087F8E026BD}"/>
              </a:ext>
            </a:extLst>
          </p:cNvPr>
          <p:cNvSpPr/>
          <p:nvPr/>
        </p:nvSpPr>
        <p:spPr>
          <a:xfrm>
            <a:off x="10609171" y="4750521"/>
            <a:ext cx="343321" cy="343321"/>
          </a:xfrm>
          <a:prstGeom prst="ellipse">
            <a:avLst/>
          </a:prstGeom>
          <a:solidFill>
            <a:srgbClr val="6800FF"/>
          </a:solidFill>
          <a:ln w="76200" cap="flat" cmpd="sng" algn="ctr">
            <a:solidFill>
              <a:sysClr val="window" lastClr="FFFFFF"/>
            </a:solidFill>
            <a:prstDash val="solid"/>
            <a:miter lim="800000"/>
          </a:ln>
          <a:effectLst/>
        </p:spPr>
        <p:txBody>
          <a:bodyPr lIns="91440" tIns="45720" rIns="91440" b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2000" b="0" i="0" u="none" strike="noStrike" kern="0" cap="none" spc="0" normalizeH="0" baseline="0" noProof="0" dirty="0">
              <a:ln>
                <a:noFill/>
              </a:ln>
              <a:solidFill>
                <a:prstClr val="white"/>
              </a:solidFill>
              <a:effectLst/>
              <a:uLnTx/>
              <a:uFillTx/>
              <a:latin typeface="Montserrat" panose="00000500000000000000" pitchFamily="2" charset="0"/>
              <a:ea typeface="+mn-ea"/>
              <a:cs typeface="+mn-cs"/>
            </a:endParaRPr>
          </a:p>
        </p:txBody>
      </p:sp>
      <p:sp>
        <p:nvSpPr>
          <p:cNvPr id="134" name="Elipse 83">
            <a:extLst>
              <a:ext uri="{FF2B5EF4-FFF2-40B4-BE49-F238E27FC236}">
                <a16:creationId xmlns:a16="http://schemas.microsoft.com/office/drawing/2014/main" id="{6CC53808-5297-BDE8-34E6-C971B8D80BB1}"/>
              </a:ext>
            </a:extLst>
          </p:cNvPr>
          <p:cNvSpPr/>
          <p:nvPr/>
        </p:nvSpPr>
        <p:spPr>
          <a:xfrm>
            <a:off x="8842056" y="7101991"/>
            <a:ext cx="343321" cy="343321"/>
          </a:xfrm>
          <a:prstGeom prst="ellipse">
            <a:avLst/>
          </a:prstGeom>
          <a:solidFill>
            <a:srgbClr val="6800FF"/>
          </a:solidFill>
          <a:ln w="76200" cap="flat" cmpd="sng" algn="ctr">
            <a:solidFill>
              <a:sysClr val="window" lastClr="FFFFFF"/>
            </a:solidFill>
            <a:prstDash val="solid"/>
            <a:miter lim="800000"/>
          </a:ln>
          <a:effectLst/>
        </p:spPr>
        <p:txBody>
          <a:bodyPr lIns="91440" tIns="45720" rIns="91440" b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2000" b="0" i="0" u="none" strike="noStrike" kern="0" cap="none" spc="0" normalizeH="0" baseline="0" noProof="0" dirty="0">
              <a:ln>
                <a:noFill/>
              </a:ln>
              <a:solidFill>
                <a:prstClr val="white"/>
              </a:solidFill>
              <a:effectLst/>
              <a:uLnTx/>
              <a:uFillTx/>
              <a:latin typeface="Montserrat" panose="00000500000000000000" pitchFamily="2" charset="0"/>
              <a:ea typeface="+mn-ea"/>
              <a:cs typeface="+mn-cs"/>
            </a:endParaRPr>
          </a:p>
        </p:txBody>
      </p:sp>
      <p:sp>
        <p:nvSpPr>
          <p:cNvPr id="135" name="Elipse 84">
            <a:extLst>
              <a:ext uri="{FF2B5EF4-FFF2-40B4-BE49-F238E27FC236}">
                <a16:creationId xmlns:a16="http://schemas.microsoft.com/office/drawing/2014/main" id="{5935C6D1-ABEC-06E5-4B02-592225A075C4}"/>
              </a:ext>
            </a:extLst>
          </p:cNvPr>
          <p:cNvSpPr/>
          <p:nvPr/>
        </p:nvSpPr>
        <p:spPr>
          <a:xfrm>
            <a:off x="10422985" y="6264235"/>
            <a:ext cx="343321" cy="343321"/>
          </a:xfrm>
          <a:prstGeom prst="ellipse">
            <a:avLst/>
          </a:prstGeom>
          <a:solidFill>
            <a:srgbClr val="6800FF"/>
          </a:solidFill>
          <a:ln w="76200" cap="flat" cmpd="sng" algn="ctr">
            <a:solidFill>
              <a:sysClr val="window" lastClr="FFFFFF"/>
            </a:solidFill>
            <a:prstDash val="solid"/>
            <a:miter lim="800000"/>
          </a:ln>
          <a:effectLst/>
        </p:spPr>
        <p:txBody>
          <a:bodyPr lIns="91440" tIns="45720" rIns="91440" b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2000" b="0" i="0" u="none" strike="noStrike" kern="0" cap="none" spc="0" normalizeH="0" baseline="0" noProof="0" dirty="0">
              <a:ln>
                <a:noFill/>
              </a:ln>
              <a:solidFill>
                <a:prstClr val="white"/>
              </a:solidFill>
              <a:effectLst/>
              <a:uLnTx/>
              <a:uFillTx/>
              <a:latin typeface="Montserrat" panose="00000500000000000000" pitchFamily="2" charset="0"/>
              <a:ea typeface="+mn-ea"/>
              <a:cs typeface="+mn-cs"/>
            </a:endParaRPr>
          </a:p>
        </p:txBody>
      </p:sp>
      <p:sp>
        <p:nvSpPr>
          <p:cNvPr id="136" name="Elipse 85">
            <a:extLst>
              <a:ext uri="{FF2B5EF4-FFF2-40B4-BE49-F238E27FC236}">
                <a16:creationId xmlns:a16="http://schemas.microsoft.com/office/drawing/2014/main" id="{EA86A52A-5296-C0DF-B277-4C03B91598A0}"/>
              </a:ext>
            </a:extLst>
          </p:cNvPr>
          <p:cNvSpPr/>
          <p:nvPr/>
        </p:nvSpPr>
        <p:spPr>
          <a:xfrm>
            <a:off x="7596774" y="4053753"/>
            <a:ext cx="343321" cy="343321"/>
          </a:xfrm>
          <a:prstGeom prst="ellipse">
            <a:avLst/>
          </a:prstGeom>
          <a:solidFill>
            <a:srgbClr val="6800FF"/>
          </a:solidFill>
          <a:ln w="76200" cap="flat" cmpd="sng" algn="ctr">
            <a:solidFill>
              <a:sysClr val="window" lastClr="FFFFFF"/>
            </a:solidFill>
            <a:prstDash val="solid"/>
            <a:miter lim="800000"/>
          </a:ln>
          <a:effectLst/>
        </p:spPr>
        <p:txBody>
          <a:bodyPr lIns="91440" tIns="45720" rIns="91440" b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2000" b="0" i="0" u="none" strike="noStrike" kern="0" cap="none" spc="0" normalizeH="0" baseline="0" noProof="0" dirty="0">
              <a:ln>
                <a:noFill/>
              </a:ln>
              <a:solidFill>
                <a:prstClr val="white"/>
              </a:solidFill>
              <a:effectLst/>
              <a:uLnTx/>
              <a:uFillTx/>
              <a:latin typeface="Montserrat" panose="00000500000000000000" pitchFamily="2" charset="0"/>
              <a:ea typeface="+mn-ea"/>
              <a:cs typeface="+mn-cs"/>
            </a:endParaRPr>
          </a:p>
        </p:txBody>
      </p:sp>
      <p:sp>
        <p:nvSpPr>
          <p:cNvPr id="137" name="Elipse 86">
            <a:extLst>
              <a:ext uri="{FF2B5EF4-FFF2-40B4-BE49-F238E27FC236}">
                <a16:creationId xmlns:a16="http://schemas.microsoft.com/office/drawing/2014/main" id="{C8DAEF8B-D70A-2F17-C662-FDA651622F31}"/>
              </a:ext>
            </a:extLst>
          </p:cNvPr>
          <p:cNvSpPr/>
          <p:nvPr/>
        </p:nvSpPr>
        <p:spPr>
          <a:xfrm>
            <a:off x="7200209" y="5904257"/>
            <a:ext cx="343321" cy="343321"/>
          </a:xfrm>
          <a:prstGeom prst="ellipse">
            <a:avLst/>
          </a:prstGeom>
          <a:solidFill>
            <a:srgbClr val="6800FF"/>
          </a:solidFill>
          <a:ln w="76200" cap="flat" cmpd="sng" algn="ctr">
            <a:solidFill>
              <a:sysClr val="window" lastClr="FFFFFF"/>
            </a:solidFill>
            <a:prstDash val="solid"/>
            <a:miter lim="800000"/>
          </a:ln>
          <a:effectLst/>
        </p:spPr>
        <p:txBody>
          <a:bodyPr lIns="91440" tIns="45720" rIns="91440" b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2000" b="0" i="0" u="none" strike="noStrike" kern="0" cap="none" spc="0" normalizeH="0" baseline="0" noProof="0" dirty="0">
              <a:ln>
                <a:noFill/>
              </a:ln>
              <a:solidFill>
                <a:prstClr val="white"/>
              </a:solidFill>
              <a:effectLst/>
              <a:uLnTx/>
              <a:uFillTx/>
              <a:latin typeface="Montserrat" panose="00000500000000000000" pitchFamily="2" charset="0"/>
              <a:ea typeface="+mn-ea"/>
              <a:cs typeface="+mn-cs"/>
            </a:endParaRPr>
          </a:p>
        </p:txBody>
      </p:sp>
      <p:sp>
        <p:nvSpPr>
          <p:cNvPr id="138" name="CaixaDeTexto 87">
            <a:extLst>
              <a:ext uri="{FF2B5EF4-FFF2-40B4-BE49-F238E27FC236}">
                <a16:creationId xmlns:a16="http://schemas.microsoft.com/office/drawing/2014/main" id="{8DA6DC5A-8294-A17E-0B37-2405EEA14571}"/>
              </a:ext>
            </a:extLst>
          </p:cNvPr>
          <p:cNvSpPr txBox="1"/>
          <p:nvPr/>
        </p:nvSpPr>
        <p:spPr>
          <a:xfrm>
            <a:off x="11141746" y="4479095"/>
            <a:ext cx="965329" cy="369332"/>
          </a:xfrm>
          <a:prstGeom prst="rect">
            <a:avLst/>
          </a:prstGeom>
          <a:noFill/>
        </p:spPr>
        <p:txBody>
          <a:bodyPr wrap="none" rtlCol="0">
            <a:spAutoFit/>
          </a:bodyPr>
          <a:lstStyle/>
          <a:p>
            <a:r>
              <a:rPr lang="en-US" sz="1800" b="1" noProof="0">
                <a:latin typeface="Montserrat" panose="00000500000000000000" pitchFamily="2" charset="0"/>
              </a:rPr>
              <a:t>Refine</a:t>
            </a:r>
          </a:p>
        </p:txBody>
      </p:sp>
      <p:pic>
        <p:nvPicPr>
          <p:cNvPr id="139" name="Imagem 89">
            <a:extLst>
              <a:ext uri="{FF2B5EF4-FFF2-40B4-BE49-F238E27FC236}">
                <a16:creationId xmlns:a16="http://schemas.microsoft.com/office/drawing/2014/main" id="{AEE0801C-04F6-268E-685D-1E7A0DE6DD1E}"/>
              </a:ext>
            </a:extLst>
          </p:cNvPr>
          <p:cNvPicPr>
            <a:picLocks noChangeAspect="1"/>
          </p:cNvPicPr>
          <p:nvPr/>
        </p:nvPicPr>
        <p:blipFill>
          <a:blip r:embed="rId8"/>
          <a:stretch>
            <a:fillRect/>
          </a:stretch>
        </p:blipFill>
        <p:spPr>
          <a:xfrm>
            <a:off x="12700153" y="5188001"/>
            <a:ext cx="720000" cy="720000"/>
          </a:xfrm>
          <a:prstGeom prst="rect">
            <a:avLst/>
          </a:prstGeom>
        </p:spPr>
      </p:pic>
      <p:sp>
        <p:nvSpPr>
          <p:cNvPr id="140" name="CaixaDeTexto 90">
            <a:extLst>
              <a:ext uri="{FF2B5EF4-FFF2-40B4-BE49-F238E27FC236}">
                <a16:creationId xmlns:a16="http://schemas.microsoft.com/office/drawing/2014/main" id="{0E573387-14DE-4A3C-75C2-33C644F750CE}"/>
              </a:ext>
            </a:extLst>
          </p:cNvPr>
          <p:cNvSpPr txBox="1"/>
          <p:nvPr/>
        </p:nvSpPr>
        <p:spPr>
          <a:xfrm>
            <a:off x="12555106" y="5906030"/>
            <a:ext cx="1058777" cy="646331"/>
          </a:xfrm>
          <a:prstGeom prst="rect">
            <a:avLst/>
          </a:prstGeom>
          <a:noFill/>
        </p:spPr>
        <p:txBody>
          <a:bodyPr wrap="square" rtlCol="0">
            <a:spAutoFit/>
          </a:bodyPr>
          <a:lstStyle/>
          <a:p>
            <a:pPr algn="ctr"/>
            <a:r>
              <a:rPr lang="en-US" sz="1200" noProof="0">
                <a:latin typeface="Montserrat" panose="00000500000000000000" pitchFamily="2" charset="0"/>
              </a:rPr>
              <a:t>Business / Decision Expert</a:t>
            </a:r>
          </a:p>
        </p:txBody>
      </p:sp>
      <p:pic>
        <p:nvPicPr>
          <p:cNvPr id="141" name="Picture 4" descr="Ai Training Data Icons - Free SVG &amp; PNG Ai Training Data Images - Noun  Project">
            <a:extLst>
              <a:ext uri="{FF2B5EF4-FFF2-40B4-BE49-F238E27FC236}">
                <a16:creationId xmlns:a16="http://schemas.microsoft.com/office/drawing/2014/main" id="{ADE75F0C-AD5F-104C-B73C-80F57E039EA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4103145" y="5188001"/>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142" name="CaixaDeTexto 91">
            <a:extLst>
              <a:ext uri="{FF2B5EF4-FFF2-40B4-BE49-F238E27FC236}">
                <a16:creationId xmlns:a16="http://schemas.microsoft.com/office/drawing/2014/main" id="{0F323364-3E13-E8D7-2F2B-D777FF69D5AD}"/>
              </a:ext>
            </a:extLst>
          </p:cNvPr>
          <p:cNvSpPr txBox="1"/>
          <p:nvPr/>
        </p:nvSpPr>
        <p:spPr>
          <a:xfrm>
            <a:off x="13965378" y="5909973"/>
            <a:ext cx="889779" cy="461665"/>
          </a:xfrm>
          <a:prstGeom prst="rect">
            <a:avLst/>
          </a:prstGeom>
          <a:noFill/>
        </p:spPr>
        <p:txBody>
          <a:bodyPr wrap="square" rtlCol="0">
            <a:spAutoFit/>
          </a:bodyPr>
          <a:lstStyle/>
          <a:p>
            <a:pPr algn="ctr"/>
            <a:r>
              <a:rPr lang="en-US" sz="1200" noProof="0">
                <a:latin typeface="Montserrat" panose="00000500000000000000" pitchFamily="2" charset="0"/>
              </a:rPr>
              <a:t>Training Data</a:t>
            </a:r>
          </a:p>
        </p:txBody>
      </p:sp>
      <p:sp>
        <p:nvSpPr>
          <p:cNvPr id="143" name="CaixaDeTexto 92">
            <a:extLst>
              <a:ext uri="{FF2B5EF4-FFF2-40B4-BE49-F238E27FC236}">
                <a16:creationId xmlns:a16="http://schemas.microsoft.com/office/drawing/2014/main" id="{812CDDB5-CDA9-B56D-43D5-50509BBED012}"/>
              </a:ext>
            </a:extLst>
          </p:cNvPr>
          <p:cNvSpPr txBox="1"/>
          <p:nvPr/>
        </p:nvSpPr>
        <p:spPr>
          <a:xfrm>
            <a:off x="12172740" y="3973949"/>
            <a:ext cx="3440787" cy="1169551"/>
          </a:xfrm>
          <a:prstGeom prst="rect">
            <a:avLst/>
          </a:prstGeom>
          <a:noFill/>
        </p:spPr>
        <p:txBody>
          <a:bodyPr wrap="square" rtlCol="0">
            <a:spAutoFit/>
          </a:bodyPr>
          <a:lstStyle/>
          <a:p>
            <a:r>
              <a:rPr lang="en-US" noProof="0">
                <a:latin typeface="Montserrat" panose="00000500000000000000" pitchFamily="2" charset="0"/>
              </a:rPr>
              <a:t>The </a:t>
            </a:r>
            <a:r>
              <a:rPr lang="en-US" b="1" noProof="0">
                <a:latin typeface="Montserrat" panose="00000500000000000000" pitchFamily="2" charset="0"/>
              </a:rPr>
              <a:t>graphs are refined</a:t>
            </a:r>
            <a:r>
              <a:rPr lang="en-US" noProof="0">
                <a:latin typeface="Montserrat" panose="00000500000000000000" pitchFamily="2" charset="0"/>
              </a:rPr>
              <a:t> using information from SME’s (Subject Matter Experts) and optionally with scenario data. </a:t>
            </a:r>
            <a:r>
              <a:rPr lang="en-US" b="1" noProof="0">
                <a:latin typeface="Montserrat" panose="00000500000000000000" pitchFamily="2" charset="0"/>
              </a:rPr>
              <a:t>Human experts</a:t>
            </a:r>
            <a:r>
              <a:rPr lang="en-US" noProof="0">
                <a:latin typeface="Montserrat" panose="00000500000000000000" pitchFamily="2" charset="0"/>
              </a:rPr>
              <a:t> decide what should be adopted</a:t>
            </a:r>
          </a:p>
        </p:txBody>
      </p:sp>
      <p:sp>
        <p:nvSpPr>
          <p:cNvPr id="144" name="CaixaDeTexto 93">
            <a:extLst>
              <a:ext uri="{FF2B5EF4-FFF2-40B4-BE49-F238E27FC236}">
                <a16:creationId xmlns:a16="http://schemas.microsoft.com/office/drawing/2014/main" id="{6DCC73DC-37CF-A162-1755-9D08A41E71D4}"/>
              </a:ext>
            </a:extLst>
          </p:cNvPr>
          <p:cNvSpPr txBox="1"/>
          <p:nvPr/>
        </p:nvSpPr>
        <p:spPr>
          <a:xfrm>
            <a:off x="10872916" y="6472196"/>
            <a:ext cx="696024" cy="369332"/>
          </a:xfrm>
          <a:prstGeom prst="rect">
            <a:avLst/>
          </a:prstGeom>
          <a:noFill/>
        </p:spPr>
        <p:txBody>
          <a:bodyPr wrap="none" rtlCol="0">
            <a:spAutoFit/>
          </a:bodyPr>
          <a:lstStyle/>
          <a:p>
            <a:r>
              <a:rPr lang="en-US" sz="1800" b="1" noProof="0">
                <a:latin typeface="Montserrat" panose="00000500000000000000" pitchFamily="2" charset="0"/>
              </a:rPr>
              <a:t>Test</a:t>
            </a:r>
          </a:p>
        </p:txBody>
      </p:sp>
      <p:sp>
        <p:nvSpPr>
          <p:cNvPr id="149" name="CaixaDeTexto 98">
            <a:extLst>
              <a:ext uri="{FF2B5EF4-FFF2-40B4-BE49-F238E27FC236}">
                <a16:creationId xmlns:a16="http://schemas.microsoft.com/office/drawing/2014/main" id="{1C8D970F-E96B-9DC7-D514-156BFBCD5FD0}"/>
              </a:ext>
            </a:extLst>
          </p:cNvPr>
          <p:cNvSpPr txBox="1"/>
          <p:nvPr/>
        </p:nvSpPr>
        <p:spPr>
          <a:xfrm>
            <a:off x="11322527" y="6936563"/>
            <a:ext cx="3440788" cy="954107"/>
          </a:xfrm>
          <a:prstGeom prst="rect">
            <a:avLst/>
          </a:prstGeom>
          <a:noFill/>
        </p:spPr>
        <p:txBody>
          <a:bodyPr wrap="square" rtlCol="0">
            <a:spAutoFit/>
          </a:bodyPr>
          <a:lstStyle/>
          <a:p>
            <a:r>
              <a:rPr lang="en-US" noProof="0">
                <a:latin typeface="Montserrat" panose="00000500000000000000" pitchFamily="2" charset="0"/>
              </a:rPr>
              <a:t>Testing tools allow experts to validate models for errors and bias. Solution produces a complete </a:t>
            </a:r>
            <a:r>
              <a:rPr lang="en-US" b="1" noProof="0">
                <a:latin typeface="Montserrat" panose="00000500000000000000" pitchFamily="2" charset="0"/>
              </a:rPr>
              <a:t>chain of reasoning (Evidence Tree)</a:t>
            </a:r>
          </a:p>
        </p:txBody>
      </p:sp>
      <p:sp>
        <p:nvSpPr>
          <p:cNvPr id="150" name="CaixaDeTexto 99">
            <a:extLst>
              <a:ext uri="{FF2B5EF4-FFF2-40B4-BE49-F238E27FC236}">
                <a16:creationId xmlns:a16="http://schemas.microsoft.com/office/drawing/2014/main" id="{36743970-4DD5-5D31-761D-D66E45FEBC97}"/>
              </a:ext>
            </a:extLst>
          </p:cNvPr>
          <p:cNvSpPr txBox="1"/>
          <p:nvPr/>
        </p:nvSpPr>
        <p:spPr>
          <a:xfrm>
            <a:off x="8251328" y="7476061"/>
            <a:ext cx="1524776" cy="369332"/>
          </a:xfrm>
          <a:prstGeom prst="rect">
            <a:avLst/>
          </a:prstGeom>
          <a:noFill/>
        </p:spPr>
        <p:txBody>
          <a:bodyPr wrap="none" rtlCol="0">
            <a:spAutoFit/>
          </a:bodyPr>
          <a:lstStyle/>
          <a:p>
            <a:r>
              <a:rPr lang="en-US" sz="1800" b="1" noProof="0">
                <a:latin typeface="Montserrat" panose="00000500000000000000" pitchFamily="2" charset="0"/>
              </a:rPr>
              <a:t>Implement</a:t>
            </a:r>
          </a:p>
        </p:txBody>
      </p:sp>
      <p:sp>
        <p:nvSpPr>
          <p:cNvPr id="151" name="CaixaDeTexto 100">
            <a:extLst>
              <a:ext uri="{FF2B5EF4-FFF2-40B4-BE49-F238E27FC236}">
                <a16:creationId xmlns:a16="http://schemas.microsoft.com/office/drawing/2014/main" id="{57C25609-D1B7-0DD6-FDC2-7900DEBC7E89}"/>
              </a:ext>
            </a:extLst>
          </p:cNvPr>
          <p:cNvSpPr txBox="1"/>
          <p:nvPr/>
        </p:nvSpPr>
        <p:spPr>
          <a:xfrm>
            <a:off x="7290474" y="7879558"/>
            <a:ext cx="3427634" cy="954107"/>
          </a:xfrm>
          <a:prstGeom prst="rect">
            <a:avLst/>
          </a:prstGeom>
          <a:noFill/>
        </p:spPr>
        <p:txBody>
          <a:bodyPr wrap="square" rtlCol="0">
            <a:spAutoFit/>
          </a:bodyPr>
          <a:lstStyle/>
          <a:p>
            <a:r>
              <a:rPr lang="en-US" noProof="0">
                <a:latin typeface="Montserrat" panose="00000500000000000000" pitchFamily="2" charset="0"/>
              </a:rPr>
              <a:t>Secure and smooth deployment, monitoring capabilities, and maintenance of models in live environments</a:t>
            </a:r>
          </a:p>
        </p:txBody>
      </p:sp>
      <p:pic>
        <p:nvPicPr>
          <p:cNvPr id="152" name="Gráfico 102" descr="Engrenagens estrutura de tópicos">
            <a:extLst>
              <a:ext uri="{FF2B5EF4-FFF2-40B4-BE49-F238E27FC236}">
                <a16:creationId xmlns:a16="http://schemas.microsoft.com/office/drawing/2014/main" id="{5D4B52FB-9A0B-0575-8F6F-9FD767A708F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380480" y="8764249"/>
            <a:ext cx="720000" cy="720000"/>
          </a:xfrm>
          <a:prstGeom prst="rect">
            <a:avLst/>
          </a:prstGeom>
        </p:spPr>
      </p:pic>
      <p:sp>
        <p:nvSpPr>
          <p:cNvPr id="153" name="CaixaDeTexto 103">
            <a:extLst>
              <a:ext uri="{FF2B5EF4-FFF2-40B4-BE49-F238E27FC236}">
                <a16:creationId xmlns:a16="http://schemas.microsoft.com/office/drawing/2014/main" id="{B0417364-4ACF-E87F-053C-423B416F71E1}"/>
              </a:ext>
            </a:extLst>
          </p:cNvPr>
          <p:cNvSpPr txBox="1"/>
          <p:nvPr/>
        </p:nvSpPr>
        <p:spPr>
          <a:xfrm>
            <a:off x="8341462" y="9484249"/>
            <a:ext cx="843915" cy="461665"/>
          </a:xfrm>
          <a:prstGeom prst="rect">
            <a:avLst/>
          </a:prstGeom>
          <a:noFill/>
        </p:spPr>
        <p:txBody>
          <a:bodyPr wrap="square" rtlCol="0">
            <a:spAutoFit/>
          </a:bodyPr>
          <a:lstStyle/>
          <a:p>
            <a:pPr algn="ctr"/>
            <a:r>
              <a:rPr lang="en-US" sz="1200" noProof="0">
                <a:latin typeface="Montserrat" panose="00000500000000000000" pitchFamily="2" charset="0"/>
              </a:rPr>
              <a:t>Model Ops</a:t>
            </a:r>
          </a:p>
        </p:txBody>
      </p:sp>
      <p:sp>
        <p:nvSpPr>
          <p:cNvPr id="154" name="CaixaDeTexto 104">
            <a:extLst>
              <a:ext uri="{FF2B5EF4-FFF2-40B4-BE49-F238E27FC236}">
                <a16:creationId xmlns:a16="http://schemas.microsoft.com/office/drawing/2014/main" id="{5F356339-0D83-2138-2E7D-17B33D163CB0}"/>
              </a:ext>
            </a:extLst>
          </p:cNvPr>
          <p:cNvSpPr txBox="1"/>
          <p:nvPr/>
        </p:nvSpPr>
        <p:spPr>
          <a:xfrm>
            <a:off x="5938351" y="5971650"/>
            <a:ext cx="1146468" cy="369332"/>
          </a:xfrm>
          <a:prstGeom prst="rect">
            <a:avLst/>
          </a:prstGeom>
          <a:noFill/>
        </p:spPr>
        <p:txBody>
          <a:bodyPr wrap="none" rtlCol="0">
            <a:spAutoFit/>
          </a:bodyPr>
          <a:lstStyle/>
          <a:p>
            <a:r>
              <a:rPr lang="en-US" sz="1800" b="1" noProof="0">
                <a:latin typeface="Montserrat" panose="00000500000000000000" pitchFamily="2" charset="0"/>
              </a:rPr>
              <a:t>Interact</a:t>
            </a:r>
          </a:p>
        </p:txBody>
      </p:sp>
      <p:sp>
        <p:nvSpPr>
          <p:cNvPr id="155" name="CaixaDeTexto 105">
            <a:extLst>
              <a:ext uri="{FF2B5EF4-FFF2-40B4-BE49-F238E27FC236}">
                <a16:creationId xmlns:a16="http://schemas.microsoft.com/office/drawing/2014/main" id="{70E5F2F8-9FD0-590B-9806-25733E6B0D19}"/>
              </a:ext>
            </a:extLst>
          </p:cNvPr>
          <p:cNvSpPr txBox="1"/>
          <p:nvPr/>
        </p:nvSpPr>
        <p:spPr>
          <a:xfrm>
            <a:off x="2714171" y="5851119"/>
            <a:ext cx="2724156" cy="954107"/>
          </a:xfrm>
          <a:prstGeom prst="rect">
            <a:avLst/>
          </a:prstGeom>
          <a:noFill/>
        </p:spPr>
        <p:txBody>
          <a:bodyPr wrap="square" rtlCol="0">
            <a:spAutoFit/>
          </a:bodyPr>
          <a:lstStyle/>
          <a:p>
            <a:r>
              <a:rPr lang="en-US" noProof="0">
                <a:latin typeface="Montserrat" panose="00000500000000000000" pitchFamily="2" charset="0"/>
              </a:rPr>
              <a:t>Interact through multiple channels including chat or API’s. The ability to explain is included in every decision</a:t>
            </a:r>
          </a:p>
        </p:txBody>
      </p:sp>
      <p:pic>
        <p:nvPicPr>
          <p:cNvPr id="156" name="Imagem 107">
            <a:extLst>
              <a:ext uri="{FF2B5EF4-FFF2-40B4-BE49-F238E27FC236}">
                <a16:creationId xmlns:a16="http://schemas.microsoft.com/office/drawing/2014/main" id="{70C80908-9F1F-664C-E73D-615FF6572391}"/>
              </a:ext>
            </a:extLst>
          </p:cNvPr>
          <p:cNvPicPr>
            <a:picLocks noChangeAspect="1"/>
          </p:cNvPicPr>
          <p:nvPr/>
        </p:nvPicPr>
        <p:blipFill>
          <a:blip r:embed="rId12"/>
          <a:stretch>
            <a:fillRect/>
          </a:stretch>
        </p:blipFill>
        <p:spPr>
          <a:xfrm>
            <a:off x="2083516" y="6921785"/>
            <a:ext cx="720000" cy="720000"/>
          </a:xfrm>
          <a:prstGeom prst="rect">
            <a:avLst/>
          </a:prstGeom>
        </p:spPr>
      </p:pic>
      <p:sp>
        <p:nvSpPr>
          <p:cNvPr id="157" name="CaixaDeTexto 108">
            <a:extLst>
              <a:ext uri="{FF2B5EF4-FFF2-40B4-BE49-F238E27FC236}">
                <a16:creationId xmlns:a16="http://schemas.microsoft.com/office/drawing/2014/main" id="{A2CE0407-324E-20C3-02BD-503E10C60722}"/>
              </a:ext>
            </a:extLst>
          </p:cNvPr>
          <p:cNvSpPr txBox="1"/>
          <p:nvPr/>
        </p:nvSpPr>
        <p:spPr>
          <a:xfrm>
            <a:off x="2197531" y="7935567"/>
            <a:ext cx="642829" cy="276999"/>
          </a:xfrm>
          <a:prstGeom prst="rect">
            <a:avLst/>
          </a:prstGeom>
          <a:noFill/>
        </p:spPr>
        <p:txBody>
          <a:bodyPr wrap="square" rtlCol="0">
            <a:spAutoFit/>
          </a:bodyPr>
          <a:lstStyle/>
          <a:p>
            <a:pPr algn="ctr"/>
            <a:r>
              <a:rPr lang="en-US" sz="1200" noProof="0">
                <a:latin typeface="Montserrat" panose="00000500000000000000" pitchFamily="2" charset="0"/>
              </a:rPr>
              <a:t>Chat</a:t>
            </a:r>
          </a:p>
        </p:txBody>
      </p:sp>
      <p:pic>
        <p:nvPicPr>
          <p:cNvPr id="158" name="Imagem 110">
            <a:extLst>
              <a:ext uri="{FF2B5EF4-FFF2-40B4-BE49-F238E27FC236}">
                <a16:creationId xmlns:a16="http://schemas.microsoft.com/office/drawing/2014/main" id="{6475C691-D413-BFC3-6E72-8669F4680CC6}"/>
              </a:ext>
            </a:extLst>
          </p:cNvPr>
          <p:cNvPicPr>
            <a:picLocks noChangeAspect="1"/>
          </p:cNvPicPr>
          <p:nvPr/>
        </p:nvPicPr>
        <p:blipFill>
          <a:blip r:embed="rId13"/>
          <a:stretch>
            <a:fillRect/>
          </a:stretch>
        </p:blipFill>
        <p:spPr>
          <a:xfrm>
            <a:off x="3140596" y="6921785"/>
            <a:ext cx="720000" cy="720000"/>
          </a:xfrm>
          <a:prstGeom prst="rect">
            <a:avLst/>
          </a:prstGeom>
        </p:spPr>
      </p:pic>
      <p:sp>
        <p:nvSpPr>
          <p:cNvPr id="159" name="CaixaDeTexto 111">
            <a:extLst>
              <a:ext uri="{FF2B5EF4-FFF2-40B4-BE49-F238E27FC236}">
                <a16:creationId xmlns:a16="http://schemas.microsoft.com/office/drawing/2014/main" id="{B7432C9D-D031-FD11-27BF-1F79EB2BABBA}"/>
              </a:ext>
            </a:extLst>
          </p:cNvPr>
          <p:cNvSpPr txBox="1"/>
          <p:nvPr/>
        </p:nvSpPr>
        <p:spPr>
          <a:xfrm>
            <a:off x="3113974" y="7935567"/>
            <a:ext cx="843915" cy="276999"/>
          </a:xfrm>
          <a:prstGeom prst="rect">
            <a:avLst/>
          </a:prstGeom>
          <a:noFill/>
        </p:spPr>
        <p:txBody>
          <a:bodyPr wrap="square" rtlCol="0">
            <a:spAutoFit/>
          </a:bodyPr>
          <a:lstStyle/>
          <a:p>
            <a:pPr algn="ctr"/>
            <a:r>
              <a:rPr lang="en-US" sz="1200" noProof="0">
                <a:latin typeface="Montserrat" panose="00000500000000000000" pitchFamily="2" charset="0"/>
              </a:rPr>
              <a:t>ERP</a:t>
            </a:r>
          </a:p>
        </p:txBody>
      </p:sp>
      <p:pic>
        <p:nvPicPr>
          <p:cNvPr id="160" name="Imagem 113">
            <a:extLst>
              <a:ext uri="{FF2B5EF4-FFF2-40B4-BE49-F238E27FC236}">
                <a16:creationId xmlns:a16="http://schemas.microsoft.com/office/drawing/2014/main" id="{8AD8FE5B-F79E-C6A4-6FC6-B3AC1DB899A0}"/>
              </a:ext>
            </a:extLst>
          </p:cNvPr>
          <p:cNvPicPr>
            <a:picLocks noChangeAspect="1"/>
          </p:cNvPicPr>
          <p:nvPr/>
        </p:nvPicPr>
        <p:blipFill>
          <a:blip r:embed="rId14"/>
          <a:stretch>
            <a:fillRect/>
          </a:stretch>
        </p:blipFill>
        <p:spPr>
          <a:xfrm>
            <a:off x="4197676" y="6921785"/>
            <a:ext cx="720000" cy="720000"/>
          </a:xfrm>
          <a:prstGeom prst="rect">
            <a:avLst/>
          </a:prstGeom>
        </p:spPr>
      </p:pic>
      <p:sp>
        <p:nvSpPr>
          <p:cNvPr id="161" name="CaixaDeTexto 115">
            <a:extLst>
              <a:ext uri="{FF2B5EF4-FFF2-40B4-BE49-F238E27FC236}">
                <a16:creationId xmlns:a16="http://schemas.microsoft.com/office/drawing/2014/main" id="{AFC7260B-BE4A-98A7-FEA5-AE7CE1D2ABDA}"/>
              </a:ext>
            </a:extLst>
          </p:cNvPr>
          <p:cNvSpPr txBox="1"/>
          <p:nvPr/>
        </p:nvSpPr>
        <p:spPr>
          <a:xfrm>
            <a:off x="4231503" y="7935567"/>
            <a:ext cx="768778" cy="276999"/>
          </a:xfrm>
          <a:prstGeom prst="rect">
            <a:avLst/>
          </a:prstGeom>
          <a:noFill/>
        </p:spPr>
        <p:txBody>
          <a:bodyPr wrap="square" rtlCol="0">
            <a:spAutoFit/>
          </a:bodyPr>
          <a:lstStyle/>
          <a:p>
            <a:pPr algn="ctr"/>
            <a:r>
              <a:rPr lang="en-US" sz="1200" noProof="0">
                <a:latin typeface="Montserrat" panose="00000500000000000000" pitchFamily="2" charset="0"/>
              </a:rPr>
              <a:t>Robots</a:t>
            </a:r>
          </a:p>
        </p:txBody>
      </p:sp>
      <p:sp>
        <p:nvSpPr>
          <p:cNvPr id="162" name="CaixaDeTexto 117">
            <a:extLst>
              <a:ext uri="{FF2B5EF4-FFF2-40B4-BE49-F238E27FC236}">
                <a16:creationId xmlns:a16="http://schemas.microsoft.com/office/drawing/2014/main" id="{473D55D8-2DDC-A8E9-3959-BE2C6CA8C6A9}"/>
              </a:ext>
            </a:extLst>
          </p:cNvPr>
          <p:cNvSpPr txBox="1"/>
          <p:nvPr/>
        </p:nvSpPr>
        <p:spPr>
          <a:xfrm>
            <a:off x="5705216" y="3906633"/>
            <a:ext cx="1832553" cy="369332"/>
          </a:xfrm>
          <a:prstGeom prst="rect">
            <a:avLst/>
          </a:prstGeom>
          <a:noFill/>
        </p:spPr>
        <p:txBody>
          <a:bodyPr wrap="none" rtlCol="0">
            <a:spAutoFit/>
          </a:bodyPr>
          <a:lstStyle/>
          <a:p>
            <a:r>
              <a:rPr lang="en-US" sz="1800" b="1" noProof="0">
                <a:latin typeface="Montserrat" panose="00000500000000000000" pitchFamily="2" charset="0"/>
              </a:rPr>
              <a:t>Learn / Adapt</a:t>
            </a:r>
          </a:p>
        </p:txBody>
      </p:sp>
      <p:sp>
        <p:nvSpPr>
          <p:cNvPr id="163" name="CaixaDeTexto 118">
            <a:extLst>
              <a:ext uri="{FF2B5EF4-FFF2-40B4-BE49-F238E27FC236}">
                <a16:creationId xmlns:a16="http://schemas.microsoft.com/office/drawing/2014/main" id="{A2820B33-A090-134A-9C6B-B2F31C30E8EA}"/>
              </a:ext>
            </a:extLst>
          </p:cNvPr>
          <p:cNvSpPr txBox="1"/>
          <p:nvPr/>
        </p:nvSpPr>
        <p:spPr>
          <a:xfrm>
            <a:off x="2624925" y="2404729"/>
            <a:ext cx="2877803" cy="1169551"/>
          </a:xfrm>
          <a:prstGeom prst="rect">
            <a:avLst/>
          </a:prstGeom>
          <a:noFill/>
        </p:spPr>
        <p:txBody>
          <a:bodyPr wrap="square" rtlCol="0">
            <a:spAutoFit/>
          </a:bodyPr>
          <a:lstStyle/>
          <a:p>
            <a:r>
              <a:rPr lang="en-US" noProof="0">
                <a:latin typeface="Montserrat" panose="00000500000000000000" pitchFamily="2" charset="0"/>
              </a:rPr>
              <a:t>Learn and Adapt from real decisions being taken every day. Human experts decide what should be used to enhance the decision process</a:t>
            </a:r>
          </a:p>
        </p:txBody>
      </p:sp>
      <p:pic>
        <p:nvPicPr>
          <p:cNvPr id="164" name="Picture 4" descr="Ai Training Data Icons - Free SVG &amp; PNG Ai Training Data Images - Noun  Project">
            <a:extLst>
              <a:ext uri="{FF2B5EF4-FFF2-40B4-BE49-F238E27FC236}">
                <a16:creationId xmlns:a16="http://schemas.microsoft.com/office/drawing/2014/main" id="{1A4EA097-EA55-02C4-F20D-6F96EF26E8C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450797" y="3539985"/>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165" name="CaixaDeTexto 120">
            <a:extLst>
              <a:ext uri="{FF2B5EF4-FFF2-40B4-BE49-F238E27FC236}">
                <a16:creationId xmlns:a16="http://schemas.microsoft.com/office/drawing/2014/main" id="{72240848-6A7F-4E38-9761-D859847C6DB0}"/>
              </a:ext>
            </a:extLst>
          </p:cNvPr>
          <p:cNvSpPr txBox="1"/>
          <p:nvPr/>
        </p:nvSpPr>
        <p:spPr>
          <a:xfrm>
            <a:off x="3268756" y="4288856"/>
            <a:ext cx="1048950" cy="461665"/>
          </a:xfrm>
          <a:prstGeom prst="rect">
            <a:avLst/>
          </a:prstGeom>
          <a:noFill/>
        </p:spPr>
        <p:txBody>
          <a:bodyPr wrap="square" rtlCol="0">
            <a:spAutoFit/>
          </a:bodyPr>
          <a:lstStyle/>
          <a:p>
            <a:pPr algn="ctr"/>
            <a:r>
              <a:rPr lang="en-US" sz="1200" noProof="0">
                <a:latin typeface="Montserrat" panose="00000500000000000000" pitchFamily="2" charset="0"/>
              </a:rPr>
              <a:t>Interaction Data</a:t>
            </a:r>
          </a:p>
        </p:txBody>
      </p:sp>
      <p:sp>
        <p:nvSpPr>
          <p:cNvPr id="166" name="Triângulo isósceles 121">
            <a:extLst>
              <a:ext uri="{FF2B5EF4-FFF2-40B4-BE49-F238E27FC236}">
                <a16:creationId xmlns:a16="http://schemas.microsoft.com/office/drawing/2014/main" id="{488136A9-FFFF-CFD4-2E8C-0EDCD9E6A144}"/>
              </a:ext>
            </a:extLst>
          </p:cNvPr>
          <p:cNvSpPr/>
          <p:nvPr/>
        </p:nvSpPr>
        <p:spPr>
          <a:xfrm rot="9984134">
            <a:off x="10667716" y="4703923"/>
            <a:ext cx="93889" cy="51190"/>
          </a:xfrm>
          <a:prstGeom prst="triangle">
            <a:avLst/>
          </a:prstGeom>
          <a:solidFill>
            <a:srgbClr val="6800FF"/>
          </a:solidFill>
          <a:ln w="762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167" name="Triângulo isósceles 122">
            <a:extLst>
              <a:ext uri="{FF2B5EF4-FFF2-40B4-BE49-F238E27FC236}">
                <a16:creationId xmlns:a16="http://schemas.microsoft.com/office/drawing/2014/main" id="{35779D4A-E69A-8C8E-8ECB-A35C55080DE2}"/>
              </a:ext>
            </a:extLst>
          </p:cNvPr>
          <p:cNvSpPr/>
          <p:nvPr/>
        </p:nvSpPr>
        <p:spPr>
          <a:xfrm rot="12568258">
            <a:off x="10650330" y="6212384"/>
            <a:ext cx="93889" cy="51190"/>
          </a:xfrm>
          <a:prstGeom prst="triangle">
            <a:avLst/>
          </a:prstGeom>
          <a:solidFill>
            <a:srgbClr val="6800FF"/>
          </a:solidFill>
          <a:ln w="762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168" name="Triângulo isósceles 123">
            <a:extLst>
              <a:ext uri="{FF2B5EF4-FFF2-40B4-BE49-F238E27FC236}">
                <a16:creationId xmlns:a16="http://schemas.microsoft.com/office/drawing/2014/main" id="{2088E324-E548-9393-E150-20F4D1130122}"/>
              </a:ext>
            </a:extLst>
          </p:cNvPr>
          <p:cNvSpPr/>
          <p:nvPr/>
        </p:nvSpPr>
        <p:spPr>
          <a:xfrm rot="15565476">
            <a:off x="9188589" y="7226509"/>
            <a:ext cx="93889" cy="51190"/>
          </a:xfrm>
          <a:prstGeom prst="triangle">
            <a:avLst/>
          </a:prstGeom>
          <a:solidFill>
            <a:srgbClr val="6800FF"/>
          </a:solidFill>
          <a:ln w="762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169" name="Triângulo isósceles 124">
            <a:extLst>
              <a:ext uri="{FF2B5EF4-FFF2-40B4-BE49-F238E27FC236}">
                <a16:creationId xmlns:a16="http://schemas.microsoft.com/office/drawing/2014/main" id="{5224D4BE-DB45-7320-338D-15345058B5C1}"/>
              </a:ext>
            </a:extLst>
          </p:cNvPr>
          <p:cNvSpPr/>
          <p:nvPr/>
        </p:nvSpPr>
        <p:spPr>
          <a:xfrm rot="19637113">
            <a:off x="7418933" y="6257763"/>
            <a:ext cx="93889" cy="51190"/>
          </a:xfrm>
          <a:prstGeom prst="triangle">
            <a:avLst/>
          </a:prstGeom>
          <a:solidFill>
            <a:srgbClr val="6800FF"/>
          </a:solidFill>
          <a:ln w="762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170" name="Triângulo isósceles 125">
            <a:extLst>
              <a:ext uri="{FF2B5EF4-FFF2-40B4-BE49-F238E27FC236}">
                <a16:creationId xmlns:a16="http://schemas.microsoft.com/office/drawing/2014/main" id="{8E368DFE-39E6-38D3-1E3D-7CE316B6700E}"/>
              </a:ext>
            </a:extLst>
          </p:cNvPr>
          <p:cNvSpPr/>
          <p:nvPr/>
        </p:nvSpPr>
        <p:spPr>
          <a:xfrm rot="2238549">
            <a:off x="7570132" y="4371273"/>
            <a:ext cx="93889" cy="51190"/>
          </a:xfrm>
          <a:prstGeom prst="triangle">
            <a:avLst/>
          </a:prstGeom>
          <a:solidFill>
            <a:srgbClr val="6800FF"/>
          </a:solidFill>
          <a:ln w="762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171" name="Triângulo isósceles 126">
            <a:extLst>
              <a:ext uri="{FF2B5EF4-FFF2-40B4-BE49-F238E27FC236}">
                <a16:creationId xmlns:a16="http://schemas.microsoft.com/office/drawing/2014/main" id="{E30BA4D8-08A3-A349-EA77-DFC81BF709E3}"/>
              </a:ext>
            </a:extLst>
          </p:cNvPr>
          <p:cNvSpPr/>
          <p:nvPr/>
        </p:nvSpPr>
        <p:spPr>
          <a:xfrm rot="5931473">
            <a:off x="9301554" y="3659150"/>
            <a:ext cx="93889" cy="51190"/>
          </a:xfrm>
          <a:prstGeom prst="triangle">
            <a:avLst/>
          </a:prstGeom>
          <a:solidFill>
            <a:srgbClr val="6800FF"/>
          </a:solidFill>
          <a:ln w="762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172" name="CaixaDeTexto 2047">
            <a:extLst>
              <a:ext uri="{FF2B5EF4-FFF2-40B4-BE49-F238E27FC236}">
                <a16:creationId xmlns:a16="http://schemas.microsoft.com/office/drawing/2014/main" id="{7CFD9DF4-37E9-B9E5-9383-4D1EE79BA1C0}"/>
              </a:ext>
            </a:extLst>
          </p:cNvPr>
          <p:cNvSpPr txBox="1"/>
          <p:nvPr/>
        </p:nvSpPr>
        <p:spPr>
          <a:xfrm>
            <a:off x="9185377" y="4871403"/>
            <a:ext cx="980967" cy="430887"/>
          </a:xfrm>
          <a:prstGeom prst="rect">
            <a:avLst/>
          </a:prstGeom>
          <a:noFill/>
        </p:spPr>
        <p:txBody>
          <a:bodyPr wrap="square" rtlCol="0">
            <a:spAutoFit/>
          </a:bodyPr>
          <a:lstStyle/>
          <a:p>
            <a:pPr algn="ctr"/>
            <a:r>
              <a:rPr lang="en-US" sz="1100" b="1" noProof="0">
                <a:solidFill>
                  <a:prstClr val="white"/>
                </a:solidFill>
                <a:latin typeface="Montserrat" panose="00000500000000000000" pitchFamily="2" charset="0"/>
              </a:rPr>
              <a:t>Neural Engine</a:t>
            </a:r>
          </a:p>
        </p:txBody>
      </p:sp>
      <p:sp>
        <p:nvSpPr>
          <p:cNvPr id="173" name="CaixaDeTexto 2048">
            <a:extLst>
              <a:ext uri="{FF2B5EF4-FFF2-40B4-BE49-F238E27FC236}">
                <a16:creationId xmlns:a16="http://schemas.microsoft.com/office/drawing/2014/main" id="{34C08A7E-E157-8AF4-A1F2-F3DA638176C7}"/>
              </a:ext>
            </a:extLst>
          </p:cNvPr>
          <p:cNvSpPr txBox="1"/>
          <p:nvPr/>
        </p:nvSpPr>
        <p:spPr>
          <a:xfrm>
            <a:off x="8629792" y="5883535"/>
            <a:ext cx="948434" cy="430887"/>
          </a:xfrm>
          <a:prstGeom prst="rect">
            <a:avLst/>
          </a:prstGeom>
          <a:noFill/>
        </p:spPr>
        <p:txBody>
          <a:bodyPr wrap="square" rtlCol="0">
            <a:spAutoFit/>
          </a:bodyPr>
          <a:lstStyle/>
          <a:p>
            <a:pPr algn="ctr"/>
            <a:r>
              <a:rPr lang="en-US" sz="1100" b="1" noProof="0">
                <a:solidFill>
                  <a:prstClr val="white"/>
                </a:solidFill>
                <a:latin typeface="Montserrat" panose="00000500000000000000" pitchFamily="2" charset="0"/>
              </a:rPr>
              <a:t>Language Engine</a:t>
            </a:r>
          </a:p>
        </p:txBody>
      </p:sp>
      <p:sp>
        <p:nvSpPr>
          <p:cNvPr id="174" name="CaixaDeTexto 2050">
            <a:extLst>
              <a:ext uri="{FF2B5EF4-FFF2-40B4-BE49-F238E27FC236}">
                <a16:creationId xmlns:a16="http://schemas.microsoft.com/office/drawing/2014/main" id="{051C3FFE-62A4-D1DC-8E89-EC9227CBBBF3}"/>
              </a:ext>
            </a:extLst>
          </p:cNvPr>
          <p:cNvSpPr txBox="1"/>
          <p:nvPr/>
        </p:nvSpPr>
        <p:spPr>
          <a:xfrm>
            <a:off x="8089806" y="4819254"/>
            <a:ext cx="993613" cy="430887"/>
          </a:xfrm>
          <a:prstGeom prst="rect">
            <a:avLst/>
          </a:prstGeom>
          <a:noFill/>
        </p:spPr>
        <p:txBody>
          <a:bodyPr wrap="square" rtlCol="0">
            <a:spAutoFit/>
          </a:bodyPr>
          <a:lstStyle/>
          <a:p>
            <a:pPr algn="ctr"/>
            <a:r>
              <a:rPr lang="en-US" sz="1100" b="1" noProof="0">
                <a:solidFill>
                  <a:prstClr val="white"/>
                </a:solidFill>
                <a:latin typeface="Montserrat" panose="00000500000000000000" pitchFamily="2" charset="0"/>
              </a:rPr>
              <a:t>Reasoning Engine</a:t>
            </a:r>
          </a:p>
        </p:txBody>
      </p:sp>
      <p:pic>
        <p:nvPicPr>
          <p:cNvPr id="175" name="Imagem 2053">
            <a:extLst>
              <a:ext uri="{FF2B5EF4-FFF2-40B4-BE49-F238E27FC236}">
                <a16:creationId xmlns:a16="http://schemas.microsoft.com/office/drawing/2014/main" id="{AE9B29EF-1B36-9A8C-3AAD-10002A6A819C}"/>
              </a:ext>
            </a:extLst>
          </p:cNvPr>
          <p:cNvPicPr>
            <a:picLocks noChangeAspect="1"/>
          </p:cNvPicPr>
          <p:nvPr/>
        </p:nvPicPr>
        <p:blipFill>
          <a:blip r:embed="rId15">
            <a:duotone>
              <a:prstClr val="black"/>
              <a:srgbClr val="4472C4">
                <a:tint val="45000"/>
                <a:satMod val="400000"/>
              </a:srgbClr>
            </a:duotone>
          </a:blip>
          <a:stretch>
            <a:fillRect/>
          </a:stretch>
        </p:blipFill>
        <p:spPr>
          <a:xfrm flipH="1">
            <a:off x="8889240" y="5282273"/>
            <a:ext cx="360000" cy="360000"/>
          </a:xfrm>
          <a:prstGeom prst="rect">
            <a:avLst/>
          </a:prstGeom>
        </p:spPr>
      </p:pic>
      <p:pic>
        <p:nvPicPr>
          <p:cNvPr id="176" name="Imagem 3">
            <a:extLst>
              <a:ext uri="{FF2B5EF4-FFF2-40B4-BE49-F238E27FC236}">
                <a16:creationId xmlns:a16="http://schemas.microsoft.com/office/drawing/2014/main" id="{7955FF94-C7F5-99F6-CCE8-7094E7547A78}"/>
              </a:ext>
            </a:extLst>
          </p:cNvPr>
          <p:cNvPicPr>
            <a:picLocks noChangeAspect="1"/>
          </p:cNvPicPr>
          <p:nvPr/>
        </p:nvPicPr>
        <p:blipFill>
          <a:blip r:embed="rId16"/>
          <a:stretch>
            <a:fillRect/>
          </a:stretch>
        </p:blipFill>
        <p:spPr>
          <a:xfrm>
            <a:off x="5254756" y="6921785"/>
            <a:ext cx="720000" cy="720000"/>
          </a:xfrm>
          <a:prstGeom prst="rect">
            <a:avLst/>
          </a:prstGeom>
        </p:spPr>
      </p:pic>
      <p:sp>
        <p:nvSpPr>
          <p:cNvPr id="177" name="CaixaDeTexto 4">
            <a:extLst>
              <a:ext uri="{FF2B5EF4-FFF2-40B4-BE49-F238E27FC236}">
                <a16:creationId xmlns:a16="http://schemas.microsoft.com/office/drawing/2014/main" id="{B1C2C3A1-EA7A-EFC1-2D33-F5C452585D69}"/>
              </a:ext>
            </a:extLst>
          </p:cNvPr>
          <p:cNvSpPr txBox="1"/>
          <p:nvPr/>
        </p:nvSpPr>
        <p:spPr>
          <a:xfrm>
            <a:off x="5177089" y="7843234"/>
            <a:ext cx="899999" cy="461665"/>
          </a:xfrm>
          <a:prstGeom prst="rect">
            <a:avLst/>
          </a:prstGeom>
          <a:noFill/>
        </p:spPr>
        <p:txBody>
          <a:bodyPr wrap="square" rtlCol="0">
            <a:spAutoFit/>
          </a:bodyPr>
          <a:lstStyle/>
          <a:p>
            <a:pPr algn="ctr"/>
            <a:r>
              <a:rPr lang="en-US" sz="1200" noProof="0">
                <a:latin typeface="Montserrat" panose="00000500000000000000" pitchFamily="2" charset="0"/>
              </a:rPr>
              <a:t>AI Agents</a:t>
            </a:r>
          </a:p>
        </p:txBody>
      </p:sp>
      <p:pic>
        <p:nvPicPr>
          <p:cNvPr id="178" name="Imagem 89">
            <a:extLst>
              <a:ext uri="{FF2B5EF4-FFF2-40B4-BE49-F238E27FC236}">
                <a16:creationId xmlns:a16="http://schemas.microsoft.com/office/drawing/2014/main" id="{5780FFE5-EF3A-BC0D-4A32-870A21384CFF}"/>
              </a:ext>
            </a:extLst>
          </p:cNvPr>
          <p:cNvPicPr>
            <a:picLocks noChangeAspect="1"/>
          </p:cNvPicPr>
          <p:nvPr/>
        </p:nvPicPr>
        <p:blipFill>
          <a:blip r:embed="rId8"/>
          <a:stretch>
            <a:fillRect/>
          </a:stretch>
        </p:blipFill>
        <p:spPr>
          <a:xfrm>
            <a:off x="11730101" y="7920497"/>
            <a:ext cx="720000" cy="720000"/>
          </a:xfrm>
          <a:prstGeom prst="rect">
            <a:avLst/>
          </a:prstGeom>
        </p:spPr>
      </p:pic>
      <p:sp>
        <p:nvSpPr>
          <p:cNvPr id="179" name="CaixaDeTexto 90">
            <a:extLst>
              <a:ext uri="{FF2B5EF4-FFF2-40B4-BE49-F238E27FC236}">
                <a16:creationId xmlns:a16="http://schemas.microsoft.com/office/drawing/2014/main" id="{D136A507-CE1B-520F-0951-BB0B59E82E15}"/>
              </a:ext>
            </a:extLst>
          </p:cNvPr>
          <p:cNvSpPr txBox="1"/>
          <p:nvPr/>
        </p:nvSpPr>
        <p:spPr>
          <a:xfrm>
            <a:off x="11585054" y="8638526"/>
            <a:ext cx="1058777" cy="646331"/>
          </a:xfrm>
          <a:prstGeom prst="rect">
            <a:avLst/>
          </a:prstGeom>
          <a:noFill/>
        </p:spPr>
        <p:txBody>
          <a:bodyPr wrap="square" rtlCol="0">
            <a:spAutoFit/>
          </a:bodyPr>
          <a:lstStyle/>
          <a:p>
            <a:pPr algn="ctr"/>
            <a:r>
              <a:rPr lang="en-US" sz="1200" noProof="0">
                <a:latin typeface="Montserrat" panose="00000500000000000000" pitchFamily="2" charset="0"/>
              </a:rPr>
              <a:t>Business / Decision Expert</a:t>
            </a:r>
          </a:p>
        </p:txBody>
      </p:sp>
      <p:pic>
        <p:nvPicPr>
          <p:cNvPr id="180" name="Picture 4" descr="Ai Training Data Icons - Free SVG &amp; PNG Ai Training Data Images - Noun  Project">
            <a:extLst>
              <a:ext uri="{FF2B5EF4-FFF2-40B4-BE49-F238E27FC236}">
                <a16:creationId xmlns:a16="http://schemas.microsoft.com/office/drawing/2014/main" id="{02FAFC02-EBC6-438B-C9AC-507C3EBF379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3133093" y="7920497"/>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181" name="CaixaDeTexto 91">
            <a:extLst>
              <a:ext uri="{FF2B5EF4-FFF2-40B4-BE49-F238E27FC236}">
                <a16:creationId xmlns:a16="http://schemas.microsoft.com/office/drawing/2014/main" id="{9C18B3D4-218B-6D89-F9C2-7558C36E1488}"/>
              </a:ext>
            </a:extLst>
          </p:cNvPr>
          <p:cNvSpPr txBox="1"/>
          <p:nvPr/>
        </p:nvSpPr>
        <p:spPr>
          <a:xfrm>
            <a:off x="12995326" y="8642469"/>
            <a:ext cx="889779" cy="461665"/>
          </a:xfrm>
          <a:prstGeom prst="rect">
            <a:avLst/>
          </a:prstGeom>
          <a:noFill/>
        </p:spPr>
        <p:txBody>
          <a:bodyPr wrap="square" rtlCol="0">
            <a:spAutoFit/>
          </a:bodyPr>
          <a:lstStyle/>
          <a:p>
            <a:pPr algn="ctr"/>
            <a:r>
              <a:rPr lang="en-US" sz="1200" noProof="0">
                <a:latin typeface="Montserrat" panose="00000500000000000000" pitchFamily="2" charset="0"/>
              </a:rPr>
              <a:t>Training Data</a:t>
            </a:r>
          </a:p>
        </p:txBody>
      </p:sp>
      <p:grpSp>
        <p:nvGrpSpPr>
          <p:cNvPr id="5" name="Group 7">
            <a:extLst>
              <a:ext uri="{FF2B5EF4-FFF2-40B4-BE49-F238E27FC236}">
                <a16:creationId xmlns:a16="http://schemas.microsoft.com/office/drawing/2014/main" id="{63C5B395-B295-CE2D-7BB8-93038847236A}"/>
              </a:ext>
            </a:extLst>
          </p:cNvPr>
          <p:cNvGrpSpPr/>
          <p:nvPr/>
        </p:nvGrpSpPr>
        <p:grpSpPr>
          <a:xfrm>
            <a:off x="5536903" y="1279648"/>
            <a:ext cx="612363" cy="56823"/>
            <a:chOff x="0" y="0"/>
            <a:chExt cx="1078484" cy="100076"/>
          </a:xfrm>
        </p:grpSpPr>
        <p:sp>
          <p:nvSpPr>
            <p:cNvPr id="4" name="Freeform 8">
              <a:extLst>
                <a:ext uri="{FF2B5EF4-FFF2-40B4-BE49-F238E27FC236}">
                  <a16:creationId xmlns:a16="http://schemas.microsoft.com/office/drawing/2014/main" id="{ACFEED12-EBA3-9721-F415-5A47402F51A6}"/>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sp>
        <p:nvSpPr>
          <p:cNvPr id="3" name="CaixaDeTexto 93">
            <a:extLst>
              <a:ext uri="{FF2B5EF4-FFF2-40B4-BE49-F238E27FC236}">
                <a16:creationId xmlns:a16="http://schemas.microsoft.com/office/drawing/2014/main" id="{5FA676A5-51DE-68DA-9070-B951F36EE2A1}"/>
              </a:ext>
            </a:extLst>
          </p:cNvPr>
          <p:cNvSpPr txBox="1"/>
          <p:nvPr/>
        </p:nvSpPr>
        <p:spPr>
          <a:xfrm>
            <a:off x="7625513" y="4079371"/>
            <a:ext cx="298480" cy="307777"/>
          </a:xfrm>
          <a:prstGeom prst="rect">
            <a:avLst/>
          </a:prstGeom>
          <a:noFill/>
        </p:spPr>
        <p:txBody>
          <a:bodyPr wrap="none" lIns="91440" tIns="45720" rIns="91440" bIns="45720" rtlCol="0" anchor="t">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s-ES" b="1" noProof="0">
                <a:solidFill>
                  <a:schemeClr val="tx1"/>
                </a:solidFill>
                <a:latin typeface="Montserrat"/>
              </a:rPr>
              <a:t>6</a:t>
            </a:r>
          </a:p>
        </p:txBody>
      </p:sp>
      <p:sp>
        <p:nvSpPr>
          <p:cNvPr id="6" name="CaixaDeTexto 93">
            <a:extLst>
              <a:ext uri="{FF2B5EF4-FFF2-40B4-BE49-F238E27FC236}">
                <a16:creationId xmlns:a16="http://schemas.microsoft.com/office/drawing/2014/main" id="{3E75BA32-0A33-515B-ED79-A83110C004AB}"/>
              </a:ext>
            </a:extLst>
          </p:cNvPr>
          <p:cNvSpPr txBox="1"/>
          <p:nvPr/>
        </p:nvSpPr>
        <p:spPr>
          <a:xfrm>
            <a:off x="9458432" y="3574803"/>
            <a:ext cx="255198" cy="307777"/>
          </a:xfrm>
          <a:prstGeom prst="rect">
            <a:avLst/>
          </a:prstGeom>
          <a:noFill/>
        </p:spPr>
        <p:txBody>
          <a:bodyPr wrap="none" lIns="91440" tIns="45720" rIns="91440" bIns="45720" rtlCol="0" anchor="t">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s-ES" b="1" dirty="0">
                <a:solidFill>
                  <a:schemeClr val="tx1"/>
                </a:solidFill>
                <a:latin typeface="Montserrat"/>
              </a:rPr>
              <a:t>1</a:t>
            </a:r>
            <a:endParaRPr lang="es-ES" b="1" noProof="0" dirty="0">
              <a:solidFill>
                <a:schemeClr val="tx1"/>
              </a:solidFill>
              <a:latin typeface="Montserrat"/>
            </a:endParaRPr>
          </a:p>
        </p:txBody>
      </p:sp>
      <p:sp>
        <p:nvSpPr>
          <p:cNvPr id="7" name="CaixaDeTexto 93">
            <a:extLst>
              <a:ext uri="{FF2B5EF4-FFF2-40B4-BE49-F238E27FC236}">
                <a16:creationId xmlns:a16="http://schemas.microsoft.com/office/drawing/2014/main" id="{17FB38C4-0533-F65B-B483-030F85E93BFF}"/>
              </a:ext>
            </a:extLst>
          </p:cNvPr>
          <p:cNvSpPr txBox="1"/>
          <p:nvPr/>
        </p:nvSpPr>
        <p:spPr>
          <a:xfrm>
            <a:off x="10652917" y="4779586"/>
            <a:ext cx="290464" cy="307777"/>
          </a:xfrm>
          <a:prstGeom prst="rect">
            <a:avLst/>
          </a:prstGeom>
          <a:noFill/>
        </p:spPr>
        <p:txBody>
          <a:bodyPr wrap="none" lIns="91440" tIns="45720" rIns="91440" bIns="45720" rtlCol="0" anchor="t">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s-ES" b="1" dirty="0">
                <a:solidFill>
                  <a:schemeClr val="tx1"/>
                </a:solidFill>
                <a:latin typeface="Montserrat"/>
              </a:rPr>
              <a:t>2</a:t>
            </a:r>
            <a:endParaRPr lang="es-ES" b="1" noProof="0" dirty="0">
              <a:solidFill>
                <a:schemeClr val="tx1"/>
              </a:solidFill>
              <a:latin typeface="Montserrat"/>
            </a:endParaRPr>
          </a:p>
        </p:txBody>
      </p:sp>
      <p:sp>
        <p:nvSpPr>
          <p:cNvPr id="10" name="CaixaDeTexto 93">
            <a:extLst>
              <a:ext uri="{FF2B5EF4-FFF2-40B4-BE49-F238E27FC236}">
                <a16:creationId xmlns:a16="http://schemas.microsoft.com/office/drawing/2014/main" id="{EF94AD31-ECC7-DB3D-0ADB-E7B8CD6E7A86}"/>
              </a:ext>
            </a:extLst>
          </p:cNvPr>
          <p:cNvSpPr txBox="1"/>
          <p:nvPr/>
        </p:nvSpPr>
        <p:spPr>
          <a:xfrm>
            <a:off x="10457268" y="6293288"/>
            <a:ext cx="290464" cy="307777"/>
          </a:xfrm>
          <a:prstGeom prst="rect">
            <a:avLst/>
          </a:prstGeom>
          <a:noFill/>
        </p:spPr>
        <p:txBody>
          <a:bodyPr wrap="none" lIns="91440" tIns="45720" rIns="91440" bIns="45720" rtlCol="0" anchor="t">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s-ES" b="1" dirty="0">
                <a:solidFill>
                  <a:schemeClr val="tx1"/>
                </a:solidFill>
                <a:latin typeface="Montserrat"/>
              </a:rPr>
              <a:t>3</a:t>
            </a:r>
            <a:endParaRPr lang="es-ES" b="1" noProof="0" dirty="0">
              <a:solidFill>
                <a:schemeClr val="tx1"/>
              </a:solidFill>
              <a:latin typeface="Montserrat"/>
            </a:endParaRPr>
          </a:p>
        </p:txBody>
      </p:sp>
      <p:sp>
        <p:nvSpPr>
          <p:cNvPr id="11" name="CaixaDeTexto 93">
            <a:extLst>
              <a:ext uri="{FF2B5EF4-FFF2-40B4-BE49-F238E27FC236}">
                <a16:creationId xmlns:a16="http://schemas.microsoft.com/office/drawing/2014/main" id="{7C4132A2-0C48-A297-84E6-3F14E5DA15DC}"/>
              </a:ext>
            </a:extLst>
          </p:cNvPr>
          <p:cNvSpPr txBox="1"/>
          <p:nvPr/>
        </p:nvSpPr>
        <p:spPr>
          <a:xfrm>
            <a:off x="8871484" y="7117072"/>
            <a:ext cx="308098" cy="307777"/>
          </a:xfrm>
          <a:prstGeom prst="rect">
            <a:avLst/>
          </a:prstGeom>
          <a:noFill/>
        </p:spPr>
        <p:txBody>
          <a:bodyPr wrap="none" lIns="91440" tIns="45720" rIns="91440" bIns="45720" rtlCol="0" anchor="t">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s-ES" b="1" dirty="0">
                <a:solidFill>
                  <a:schemeClr val="tx1"/>
                </a:solidFill>
                <a:latin typeface="Montserrat"/>
              </a:rPr>
              <a:t>4</a:t>
            </a:r>
            <a:endParaRPr lang="es-ES" b="1" noProof="0" dirty="0">
              <a:solidFill>
                <a:schemeClr val="tx1"/>
              </a:solidFill>
              <a:latin typeface="Montserrat"/>
            </a:endParaRPr>
          </a:p>
        </p:txBody>
      </p:sp>
      <p:sp>
        <p:nvSpPr>
          <p:cNvPr id="12" name="CaixaDeTexto 93">
            <a:extLst>
              <a:ext uri="{FF2B5EF4-FFF2-40B4-BE49-F238E27FC236}">
                <a16:creationId xmlns:a16="http://schemas.microsoft.com/office/drawing/2014/main" id="{707FF481-08B0-AF16-A733-0401FB2D9008}"/>
              </a:ext>
            </a:extLst>
          </p:cNvPr>
          <p:cNvSpPr txBox="1"/>
          <p:nvPr/>
        </p:nvSpPr>
        <p:spPr>
          <a:xfrm>
            <a:off x="7223916" y="5932883"/>
            <a:ext cx="292068" cy="307777"/>
          </a:xfrm>
          <a:prstGeom prst="rect">
            <a:avLst/>
          </a:prstGeom>
          <a:noFill/>
        </p:spPr>
        <p:txBody>
          <a:bodyPr wrap="none" lIns="91440" tIns="45720" rIns="91440" bIns="45720" rtlCol="0" anchor="t">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s-ES" b="1" dirty="0">
                <a:solidFill>
                  <a:schemeClr val="tx1"/>
                </a:solidFill>
                <a:latin typeface="Montserrat"/>
              </a:rPr>
              <a:t>5</a:t>
            </a:r>
            <a:endParaRPr lang="es-ES" b="1" noProof="0" dirty="0">
              <a:solidFill>
                <a:schemeClr val="tx1"/>
              </a:solidFill>
              <a:latin typeface="Montserrat"/>
            </a:endParaRPr>
          </a:p>
        </p:txBody>
      </p:sp>
    </p:spTree>
    <p:extLst>
      <p:ext uri="{BB962C8B-B14F-4D97-AF65-F5344CB8AC3E}">
        <p14:creationId xmlns:p14="http://schemas.microsoft.com/office/powerpoint/2010/main" val="403559338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AF549B-719A-45DF-47E0-5BAE1842BFF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5448F81-322F-BBC6-5B30-AEF7F4B0D9CB}"/>
              </a:ext>
            </a:extLst>
          </p:cNvPr>
          <p:cNvSpPr>
            <a:spLocks noGrp="1"/>
          </p:cNvSpPr>
          <p:nvPr>
            <p:ph type="title"/>
          </p:nvPr>
        </p:nvSpPr>
        <p:spPr>
          <a:xfrm>
            <a:off x="10369800" y="2574671"/>
            <a:ext cx="6692400" cy="2964600"/>
          </a:xfrm>
        </p:spPr>
        <p:txBody>
          <a:bodyPr/>
          <a:lstStyle/>
          <a:p>
            <a:r>
              <a:rPr lang="en-US" sz="4800" b="1" kern="1200" noProof="0">
                <a:solidFill>
                  <a:prstClr val="white"/>
                </a:solidFill>
                <a:ea typeface="+mn-ea"/>
                <a:cs typeface="+mn-cs"/>
              </a:rPr>
              <a:t>Do you still see any </a:t>
            </a:r>
            <a:r>
              <a:rPr lang="en-US" sz="4800" b="1" kern="1200" noProof="0">
                <a:solidFill>
                  <a:schemeClr val="tx1"/>
                </a:solidFill>
                <a:highlight>
                  <a:srgbClr val="6800FF"/>
                </a:highlight>
                <a:ea typeface="+mn-ea"/>
                <a:cs typeface="+mn-cs"/>
              </a:rPr>
              <a:t>Reason</a:t>
            </a:r>
            <a:r>
              <a:rPr lang="en-US" sz="4800" b="1" kern="1200" noProof="0">
                <a:solidFill>
                  <a:prstClr val="white"/>
                </a:solidFill>
                <a:ea typeface="+mn-ea"/>
                <a:cs typeface="+mn-cs"/>
              </a:rPr>
              <a:t> to not choose Qintess as your Partner? Take the right </a:t>
            </a:r>
            <a:r>
              <a:rPr lang="en-US" sz="4800" b="1" kern="1200" noProof="0">
                <a:solidFill>
                  <a:schemeClr val="tx1"/>
                </a:solidFill>
                <a:highlight>
                  <a:srgbClr val="6800FF"/>
                </a:highlight>
                <a:ea typeface="+mn-ea"/>
                <a:cs typeface="+mn-cs"/>
              </a:rPr>
              <a:t>Decision!</a:t>
            </a:r>
            <a:endParaRPr lang="en-US" sz="4800" noProof="0">
              <a:solidFill>
                <a:schemeClr val="tx1"/>
              </a:solidFill>
              <a:highlight>
                <a:srgbClr val="6800FF"/>
              </a:highlight>
            </a:endParaRPr>
          </a:p>
        </p:txBody>
      </p:sp>
      <p:sp>
        <p:nvSpPr>
          <p:cNvPr id="3" name="Subtitle 2">
            <a:extLst>
              <a:ext uri="{FF2B5EF4-FFF2-40B4-BE49-F238E27FC236}">
                <a16:creationId xmlns:a16="http://schemas.microsoft.com/office/drawing/2014/main" id="{6AADF96F-A2F9-D408-4138-D02775141A69}"/>
              </a:ext>
            </a:extLst>
          </p:cNvPr>
          <p:cNvSpPr>
            <a:spLocks noGrp="1"/>
          </p:cNvSpPr>
          <p:nvPr>
            <p:ph type="subTitle" idx="1"/>
          </p:nvPr>
        </p:nvSpPr>
        <p:spPr>
          <a:xfrm>
            <a:off x="10369800" y="6787781"/>
            <a:ext cx="6692400" cy="2470200"/>
          </a:xfrm>
        </p:spPr>
        <p:txBody>
          <a:bodyPr/>
          <a:lstStyle/>
          <a:p>
            <a:pPr>
              <a:lnSpc>
                <a:spcPct val="150000"/>
              </a:lnSpc>
            </a:pPr>
            <a:r>
              <a:rPr lang="en-US" sz="3600" noProof="0">
                <a:latin typeface="Montserrat Bold"/>
              </a:rPr>
              <a:t>- Explainable</a:t>
            </a:r>
          </a:p>
          <a:p>
            <a:pPr>
              <a:lnSpc>
                <a:spcPct val="150000"/>
              </a:lnSpc>
            </a:pPr>
            <a:r>
              <a:rPr lang="en-US" sz="3600" noProof="0">
                <a:latin typeface="Montserrat Bold"/>
              </a:rPr>
              <a:t>- Reliable</a:t>
            </a:r>
          </a:p>
          <a:p>
            <a:pPr>
              <a:lnSpc>
                <a:spcPct val="150000"/>
              </a:lnSpc>
            </a:pPr>
            <a:r>
              <a:rPr lang="en-US" sz="3600" noProof="0">
                <a:latin typeface="Montserrat Bold"/>
              </a:rPr>
              <a:t>- Traceable </a:t>
            </a:r>
          </a:p>
          <a:p>
            <a:pPr>
              <a:lnSpc>
                <a:spcPct val="150000"/>
              </a:lnSpc>
            </a:pPr>
            <a:endParaRPr lang="en-US" sz="4400" noProof="0">
              <a:latin typeface="Montserrat" panose="00000500000000000000" pitchFamily="2" charset="0"/>
            </a:endParaRPr>
          </a:p>
        </p:txBody>
      </p:sp>
    </p:spTree>
    <p:extLst>
      <p:ext uri="{BB962C8B-B14F-4D97-AF65-F5344CB8AC3E}">
        <p14:creationId xmlns:p14="http://schemas.microsoft.com/office/powerpoint/2010/main" val="8605065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B75886-0F92-BE12-8FCC-041F995481A8}"/>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0F2EF8E2-98F2-8EDB-227F-78B7A90FC0A5}"/>
              </a:ext>
            </a:extLst>
          </p:cNvPr>
          <p:cNvSpPr>
            <a:spLocks noGrp="1"/>
          </p:cNvSpPr>
          <p:nvPr>
            <p:ph type="title"/>
          </p:nvPr>
        </p:nvSpPr>
        <p:spPr/>
        <p:txBody>
          <a:bodyPr/>
          <a:lstStyle/>
          <a:p>
            <a:r>
              <a:rPr lang="en-US" sz="4400" noProof="0">
                <a:latin typeface="Montserrat Bold"/>
              </a:rPr>
              <a:t>ADVISORY SERVICES</a:t>
            </a:r>
            <a:br>
              <a:rPr lang="en-US" sz="4400" noProof="0">
                <a:latin typeface="Montserrat Bold"/>
              </a:rPr>
            </a:br>
            <a:br>
              <a:rPr lang="en-US" sz="4400" noProof="0">
                <a:latin typeface="Montserrat Bold"/>
              </a:rPr>
            </a:br>
            <a:r>
              <a:rPr lang="en-US" sz="4400" noProof="0">
                <a:latin typeface="Montserrat Bold"/>
              </a:rPr>
              <a:t>BDA – Business Driven Architecture</a:t>
            </a:r>
          </a:p>
        </p:txBody>
      </p:sp>
    </p:spTree>
    <p:extLst>
      <p:ext uri="{BB962C8B-B14F-4D97-AF65-F5344CB8AC3E}">
        <p14:creationId xmlns:p14="http://schemas.microsoft.com/office/powerpoint/2010/main" val="14985014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0E0D4EAC-4569-31DE-3AF9-E93A580E5FFB}"/>
              </a:ext>
            </a:extLst>
          </p:cNvPr>
          <p:cNvSpPr txBox="1">
            <a:spLocks/>
          </p:cNvSpPr>
          <p:nvPr/>
        </p:nvSpPr>
        <p:spPr>
          <a:xfrm>
            <a:off x="1559148" y="4095958"/>
            <a:ext cx="14840108" cy="1261368"/>
          </a:xfrm>
          <a:prstGeom prst="rect">
            <a:avLst/>
          </a:prstGeom>
          <a:solidFill>
            <a:srgbClr val="6800FF"/>
          </a:solidFill>
          <a:ln w="9525">
            <a:noFill/>
            <a:miter lim="800000"/>
            <a:headEnd/>
            <a:tailEnd/>
          </a:ln>
          <a:effectLst/>
        </p:spPr>
        <p:txBody>
          <a:bodyPr vert="horz" wrap="square" lIns="180000" tIns="0" rIns="180000" bIns="36000" numCol="1" rtlCol="0" anchor="ctr" anchorCtr="0" compatLnSpc="1">
            <a:prstTxWarp prst="textNoShape">
              <a:avLst/>
            </a:prstTxWarp>
            <a:normAutofit/>
          </a:bodyPr>
          <a:lstStyle>
            <a:defPPr>
              <a:defRPr lang="es-ES"/>
            </a:defPPr>
            <a:lvl1pPr algn="ctr" defTabSz="711200">
              <a:lnSpc>
                <a:spcPct val="90000"/>
              </a:lnSpc>
              <a:spcBef>
                <a:spcPct val="0"/>
              </a:spcBef>
              <a:spcAft>
                <a:spcPct val="35000"/>
              </a:spcAft>
              <a:defRPr sz="1400" b="1" i="1">
                <a:solidFill>
                  <a:srgbClr val="171531"/>
                </a:solidFill>
                <a:latin typeface="Arial Nova" panose="020B0504020202020204" pitchFamily="34" charset="0"/>
                <a:ea typeface="Tahoma" panose="020B0604030504040204" pitchFamily="34" charset="0"/>
                <a:cs typeface="Tahom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tx1"/>
              </a:solidFill>
              <a:latin typeface="Montserrat" panose="00000500000000000000" pitchFamily="2" charset="0"/>
            </a:endParaRPr>
          </a:p>
        </p:txBody>
      </p:sp>
      <p:sp>
        <p:nvSpPr>
          <p:cNvPr id="2" name="Title 1">
            <a:extLst>
              <a:ext uri="{FF2B5EF4-FFF2-40B4-BE49-F238E27FC236}">
                <a16:creationId xmlns:a16="http://schemas.microsoft.com/office/drawing/2014/main" id="{01345E0E-F041-D0FB-9D2F-BC827BF8DE3E}"/>
              </a:ext>
            </a:extLst>
          </p:cNvPr>
          <p:cNvSpPr>
            <a:spLocks noGrp="1"/>
          </p:cNvSpPr>
          <p:nvPr>
            <p:ph type="title" idx="4294967295"/>
          </p:nvPr>
        </p:nvSpPr>
        <p:spPr>
          <a:xfrm>
            <a:off x="770688" y="972958"/>
            <a:ext cx="10580688" cy="1144587"/>
          </a:xfrm>
        </p:spPr>
        <p:txBody>
          <a:bodyPr/>
          <a:lstStyle/>
          <a:p>
            <a:r>
              <a:rPr lang="en-US" sz="4000" noProof="0">
                <a:solidFill>
                  <a:schemeClr val="bg1"/>
                </a:solidFill>
              </a:rPr>
              <a:t>Business Driven Architecture </a:t>
            </a:r>
            <a:br>
              <a:rPr lang="en-US" noProof="0">
                <a:solidFill>
                  <a:schemeClr val="bg1"/>
                </a:solidFill>
              </a:rPr>
            </a:br>
            <a:r>
              <a:rPr lang="en-US" sz="2800" b="0" noProof="0">
                <a:solidFill>
                  <a:srgbClr val="6816FF"/>
                </a:solidFill>
              </a:rPr>
              <a:t>PORTFOLIO</a:t>
            </a:r>
          </a:p>
        </p:txBody>
      </p:sp>
      <p:sp>
        <p:nvSpPr>
          <p:cNvPr id="6" name="TextBox 5">
            <a:extLst>
              <a:ext uri="{FF2B5EF4-FFF2-40B4-BE49-F238E27FC236}">
                <a16:creationId xmlns:a16="http://schemas.microsoft.com/office/drawing/2014/main" id="{7AE1A347-5A50-3F48-40C1-11E666FA14E5}"/>
              </a:ext>
            </a:extLst>
          </p:cNvPr>
          <p:cNvSpPr txBox="1"/>
          <p:nvPr/>
        </p:nvSpPr>
        <p:spPr>
          <a:xfrm>
            <a:off x="1695343" y="2901315"/>
            <a:ext cx="2340000" cy="738664"/>
          </a:xfrm>
          <a:prstGeom prst="rect">
            <a:avLst/>
          </a:prstGeom>
          <a:noFill/>
        </p:spPr>
        <p:txBody>
          <a:bodyPr wrap="square" lIns="91440" tIns="45720" rIns="91440" bIns="45720" anchor="t">
            <a:spAutoFit/>
          </a:bodyPr>
          <a:lstStyle/>
          <a:p>
            <a:pPr algn="ctr"/>
            <a:r>
              <a:rPr lang="en-US" b="1" noProof="0">
                <a:solidFill>
                  <a:srgbClr val="6800FF"/>
                </a:solidFill>
                <a:latin typeface="Montserrat"/>
                <a:cs typeface="Calibri"/>
              </a:rPr>
              <a:t>IT </a:t>
            </a:r>
          </a:p>
          <a:p>
            <a:pPr algn="ctr"/>
            <a:r>
              <a:rPr lang="en-US" b="1" noProof="0">
                <a:solidFill>
                  <a:srgbClr val="6800FF"/>
                </a:solidFill>
                <a:latin typeface="Montserrat"/>
                <a:cs typeface="Calibri"/>
              </a:rPr>
              <a:t>AS A BUSINESS PARTNER</a:t>
            </a:r>
          </a:p>
        </p:txBody>
      </p:sp>
      <p:sp>
        <p:nvSpPr>
          <p:cNvPr id="7" name="Rectangle 110">
            <a:extLst>
              <a:ext uri="{FF2B5EF4-FFF2-40B4-BE49-F238E27FC236}">
                <a16:creationId xmlns:a16="http://schemas.microsoft.com/office/drawing/2014/main" id="{AF970F49-2F7B-B17B-29C3-BE99CBF687D2}"/>
              </a:ext>
            </a:extLst>
          </p:cNvPr>
          <p:cNvSpPr/>
          <p:nvPr/>
        </p:nvSpPr>
        <p:spPr>
          <a:xfrm>
            <a:off x="1849161" y="4095958"/>
            <a:ext cx="2448000" cy="1281600"/>
          </a:xfrm>
          <a:prstGeom prst="rect">
            <a:avLst/>
          </a:prstGeom>
        </p:spPr>
        <p:txBody>
          <a:bodyPr wrap="square" lIns="0" rIns="0" anchor="ctr" anchorCtr="0">
            <a:noAutofit/>
          </a:bodyPr>
          <a:lstStyle/>
          <a:p>
            <a:pPr algn="ctr">
              <a:lnSpc>
                <a:spcPts val="1800"/>
              </a:lnSpc>
            </a:pPr>
            <a:r>
              <a:rPr lang="en-US" b="1" noProof="0">
                <a:solidFill>
                  <a:schemeClr val="tx1"/>
                </a:solidFill>
                <a:latin typeface="Montserrat" panose="00000500000000000000" pitchFamily="2" charset="0"/>
                <a:cs typeface="Calibri" panose="020F0502020204030204" pitchFamily="34" charset="0"/>
              </a:rPr>
              <a:t>Align IT with Business to become a proactive Partner</a:t>
            </a:r>
          </a:p>
        </p:txBody>
      </p:sp>
      <p:sp>
        <p:nvSpPr>
          <p:cNvPr id="9" name="TextBox 8">
            <a:extLst>
              <a:ext uri="{FF2B5EF4-FFF2-40B4-BE49-F238E27FC236}">
                <a16:creationId xmlns:a16="http://schemas.microsoft.com/office/drawing/2014/main" id="{B38A05E6-D4F4-AC41-D342-BE6DEDA332BC}"/>
              </a:ext>
            </a:extLst>
          </p:cNvPr>
          <p:cNvSpPr txBox="1"/>
          <p:nvPr/>
        </p:nvSpPr>
        <p:spPr>
          <a:xfrm>
            <a:off x="4749337" y="2893740"/>
            <a:ext cx="2340000" cy="738664"/>
          </a:xfrm>
          <a:prstGeom prst="rect">
            <a:avLst/>
          </a:prstGeom>
          <a:noFill/>
        </p:spPr>
        <p:txBody>
          <a:bodyPr wrap="square" lIns="91440" tIns="45720" rIns="91440" bIns="45720" anchor="t">
            <a:spAutoFit/>
          </a:bodyPr>
          <a:lstStyle>
            <a:defPPr marR="0" lvl="0" algn="l" rtl="0">
              <a:lnSpc>
                <a:spcPct val="100000"/>
              </a:lnSpc>
              <a:spcBef>
                <a:spcPts val="0"/>
              </a:spcBef>
              <a:spcAft>
                <a:spcPts val="0"/>
              </a:spcAft>
            </a:defPPr>
            <a:lvl1pPr algn="ctr">
              <a:defRPr b="1">
                <a:solidFill>
                  <a:schemeClr val="bg1"/>
                </a:solidFill>
                <a:latin typeface="Montserrat" panose="00000500000000000000" pitchFamily="2" charset="0"/>
                <a:cs typeface="Calibri" panose="020F0502020204030204" pitchFamily="34" charset="0"/>
              </a:defRPr>
            </a:lvl1pPr>
          </a:lstStyle>
          <a:p>
            <a:r>
              <a:rPr lang="en-US" noProof="0">
                <a:solidFill>
                  <a:srgbClr val="6800FF"/>
                </a:solidFill>
                <a:latin typeface="Montserrat"/>
                <a:cs typeface="Calibri"/>
              </a:rPr>
              <a:t>IMPROVE </a:t>
            </a:r>
          </a:p>
          <a:p>
            <a:r>
              <a:rPr lang="en-US" noProof="0">
                <a:solidFill>
                  <a:srgbClr val="6800FF"/>
                </a:solidFill>
                <a:latin typeface="Montserrat"/>
                <a:cs typeface="Calibri"/>
              </a:rPr>
              <a:t>IT </a:t>
            </a:r>
          </a:p>
          <a:p>
            <a:r>
              <a:rPr lang="en-US" noProof="0">
                <a:solidFill>
                  <a:srgbClr val="6800FF"/>
                </a:solidFill>
                <a:latin typeface="Montserrat"/>
                <a:cs typeface="Calibri"/>
              </a:rPr>
              <a:t>EFFECTIVENESS</a:t>
            </a:r>
          </a:p>
        </p:txBody>
      </p:sp>
      <p:sp>
        <p:nvSpPr>
          <p:cNvPr id="11" name="Rectangle 110">
            <a:extLst>
              <a:ext uri="{FF2B5EF4-FFF2-40B4-BE49-F238E27FC236}">
                <a16:creationId xmlns:a16="http://schemas.microsoft.com/office/drawing/2014/main" id="{39AEFF58-753E-A038-F1B4-6596D4562EBC}"/>
              </a:ext>
            </a:extLst>
          </p:cNvPr>
          <p:cNvSpPr/>
          <p:nvPr/>
        </p:nvSpPr>
        <p:spPr>
          <a:xfrm>
            <a:off x="4837032" y="4095958"/>
            <a:ext cx="2448000" cy="1281600"/>
          </a:xfrm>
          <a:prstGeom prst="rect">
            <a:avLst/>
          </a:prstGeom>
        </p:spPr>
        <p:txBody>
          <a:bodyPr wrap="square" lIns="0" rIns="0" anchor="ctr" anchorCtr="0">
            <a:noAutofit/>
          </a:bodyPr>
          <a:lstStyle/>
          <a:p>
            <a:pPr algn="ctr">
              <a:lnSpc>
                <a:spcPts val="1800"/>
              </a:lnSpc>
            </a:pPr>
            <a:r>
              <a:rPr lang="en-US" b="1" noProof="0">
                <a:solidFill>
                  <a:schemeClr val="tx1"/>
                </a:solidFill>
                <a:latin typeface="Montserrat" panose="00000500000000000000" pitchFamily="2" charset="0"/>
                <a:cs typeface="Calibri" panose="020F0502020204030204" pitchFamily="34" charset="0"/>
              </a:rPr>
              <a:t>Ensure maximum </a:t>
            </a:r>
            <a:r>
              <a:rPr lang="en-US" b="1" noProof="0" err="1">
                <a:solidFill>
                  <a:schemeClr val="tx1"/>
                </a:solidFill>
                <a:latin typeface="Montserrat" panose="00000500000000000000" pitchFamily="2" charset="0"/>
                <a:cs typeface="Calibri" panose="020F0502020204030204" pitchFamily="34" charset="0"/>
              </a:rPr>
              <a:t>Opex</a:t>
            </a:r>
            <a:r>
              <a:rPr lang="en-US" b="1" noProof="0">
                <a:solidFill>
                  <a:schemeClr val="tx1"/>
                </a:solidFill>
                <a:latin typeface="Montserrat" panose="00000500000000000000" pitchFamily="2" charset="0"/>
                <a:cs typeface="Calibri" panose="020F0502020204030204" pitchFamily="34" charset="0"/>
              </a:rPr>
              <a:t>, </a:t>
            </a:r>
            <a:r>
              <a:rPr lang="en-US" b="1" noProof="0" err="1">
                <a:solidFill>
                  <a:schemeClr val="tx1"/>
                </a:solidFill>
                <a:latin typeface="Montserrat" panose="00000500000000000000" pitchFamily="2" charset="0"/>
                <a:cs typeface="Calibri" panose="020F0502020204030204" pitchFamily="34" charset="0"/>
              </a:rPr>
              <a:t>Pex</a:t>
            </a:r>
            <a:r>
              <a:rPr lang="en-US" b="1" noProof="0">
                <a:solidFill>
                  <a:schemeClr val="tx1"/>
                </a:solidFill>
                <a:latin typeface="Montserrat" panose="00000500000000000000" pitchFamily="2" charset="0"/>
                <a:cs typeface="Calibri" panose="020F0502020204030204" pitchFamily="34" charset="0"/>
              </a:rPr>
              <a:t> and Capex efficiency and Service Levels </a:t>
            </a:r>
          </a:p>
        </p:txBody>
      </p:sp>
      <p:sp>
        <p:nvSpPr>
          <p:cNvPr id="12" name="TextBox 11">
            <a:extLst>
              <a:ext uri="{FF2B5EF4-FFF2-40B4-BE49-F238E27FC236}">
                <a16:creationId xmlns:a16="http://schemas.microsoft.com/office/drawing/2014/main" id="{6DB2D570-3AC1-C2E6-A540-A68701D45FB4}"/>
              </a:ext>
            </a:extLst>
          </p:cNvPr>
          <p:cNvSpPr txBox="1"/>
          <p:nvPr/>
        </p:nvSpPr>
        <p:spPr>
          <a:xfrm>
            <a:off x="7803331" y="2913157"/>
            <a:ext cx="2340000" cy="738664"/>
          </a:xfrm>
          <a:prstGeom prst="rect">
            <a:avLst/>
          </a:prstGeom>
          <a:noFill/>
        </p:spPr>
        <p:txBody>
          <a:bodyPr wrap="square" lIns="91440" tIns="45720" rIns="91440" bIns="45720" anchor="t">
            <a:spAutoFit/>
          </a:bodyPr>
          <a:lstStyle>
            <a:defPPr marR="0" lvl="0" algn="l" rtl="0">
              <a:lnSpc>
                <a:spcPct val="100000"/>
              </a:lnSpc>
              <a:spcBef>
                <a:spcPts val="0"/>
              </a:spcBef>
              <a:spcAft>
                <a:spcPts val="0"/>
              </a:spcAft>
            </a:defPPr>
            <a:lvl1pPr algn="ctr">
              <a:defRPr b="1">
                <a:solidFill>
                  <a:schemeClr val="bg1"/>
                </a:solidFill>
                <a:latin typeface="Montserrat" panose="00000500000000000000" pitchFamily="2" charset="0"/>
                <a:cs typeface="Calibri" panose="020F0502020204030204" pitchFamily="34" charset="0"/>
              </a:defRPr>
            </a:lvl1pPr>
          </a:lstStyle>
          <a:p>
            <a:r>
              <a:rPr lang="en-US" noProof="0">
                <a:solidFill>
                  <a:srgbClr val="6800FF"/>
                </a:solidFill>
                <a:latin typeface="Montserrat"/>
                <a:cs typeface="Calibri"/>
              </a:rPr>
              <a:t>TECHNOLOGY AS A COMPETITIVE ADVANTAGE</a:t>
            </a:r>
          </a:p>
        </p:txBody>
      </p:sp>
      <p:sp>
        <p:nvSpPr>
          <p:cNvPr id="14" name="Rectangle 110">
            <a:extLst>
              <a:ext uri="{FF2B5EF4-FFF2-40B4-BE49-F238E27FC236}">
                <a16:creationId xmlns:a16="http://schemas.microsoft.com/office/drawing/2014/main" id="{5F59376D-785C-7FE5-847E-A512C9A5F3CC}"/>
              </a:ext>
            </a:extLst>
          </p:cNvPr>
          <p:cNvSpPr/>
          <p:nvPr/>
        </p:nvSpPr>
        <p:spPr>
          <a:xfrm>
            <a:off x="7919363" y="4095958"/>
            <a:ext cx="2448000" cy="1281600"/>
          </a:xfrm>
          <a:prstGeom prst="rect">
            <a:avLst/>
          </a:prstGeom>
        </p:spPr>
        <p:txBody>
          <a:bodyPr wrap="square" lIns="0" rIns="0" anchor="ctr" anchorCtr="0">
            <a:noAutofit/>
          </a:bodyPr>
          <a:lstStyle/>
          <a:p>
            <a:pPr algn="ctr">
              <a:lnSpc>
                <a:spcPts val="1800"/>
              </a:lnSpc>
            </a:pPr>
            <a:r>
              <a:rPr lang="en-US" b="1" noProof="0">
                <a:solidFill>
                  <a:schemeClr val="tx1"/>
                </a:solidFill>
                <a:latin typeface="Montserrat" panose="00000500000000000000" pitchFamily="2" charset="0"/>
                <a:cs typeface="Calibri" panose="020F0502020204030204" pitchFamily="34" charset="0"/>
              </a:rPr>
              <a:t>Leveraging market trends and solutions</a:t>
            </a:r>
          </a:p>
        </p:txBody>
      </p:sp>
      <p:sp>
        <p:nvSpPr>
          <p:cNvPr id="15" name="TextBox 14">
            <a:extLst>
              <a:ext uri="{FF2B5EF4-FFF2-40B4-BE49-F238E27FC236}">
                <a16:creationId xmlns:a16="http://schemas.microsoft.com/office/drawing/2014/main" id="{8ED4D09C-3BD2-9145-E891-70CE128205D7}"/>
              </a:ext>
            </a:extLst>
          </p:cNvPr>
          <p:cNvSpPr txBox="1"/>
          <p:nvPr/>
        </p:nvSpPr>
        <p:spPr>
          <a:xfrm>
            <a:off x="10857325" y="2901315"/>
            <a:ext cx="2340000" cy="523220"/>
          </a:xfrm>
          <a:prstGeom prst="rect">
            <a:avLst/>
          </a:prstGeom>
          <a:noFill/>
        </p:spPr>
        <p:txBody>
          <a:bodyPr wrap="square" lIns="91440" tIns="45720" rIns="91440" bIns="45720" anchor="t">
            <a:spAutoFit/>
          </a:bodyPr>
          <a:lstStyle>
            <a:defPPr marR="0" lvl="0" algn="l" rtl="0">
              <a:lnSpc>
                <a:spcPct val="100000"/>
              </a:lnSpc>
              <a:spcBef>
                <a:spcPts val="0"/>
              </a:spcBef>
              <a:spcAft>
                <a:spcPts val="0"/>
              </a:spcAft>
            </a:defPPr>
            <a:lvl1pPr algn="ctr">
              <a:defRPr b="1">
                <a:solidFill>
                  <a:schemeClr val="bg1"/>
                </a:solidFill>
                <a:latin typeface="Montserrat" panose="00000500000000000000" pitchFamily="2" charset="0"/>
                <a:cs typeface="Calibri" panose="020F0502020204030204" pitchFamily="34" charset="0"/>
              </a:defRPr>
            </a:lvl1pPr>
          </a:lstStyle>
          <a:p>
            <a:r>
              <a:rPr lang="en-US" noProof="0">
                <a:solidFill>
                  <a:srgbClr val="6800FF"/>
                </a:solidFill>
                <a:latin typeface="Montserrat"/>
                <a:cs typeface="Calibri"/>
              </a:rPr>
              <a:t>ARCHITECTURE ADVISORY SERVICES</a:t>
            </a:r>
          </a:p>
        </p:txBody>
      </p:sp>
      <p:sp>
        <p:nvSpPr>
          <p:cNvPr id="17" name="Rectangle 110">
            <a:extLst>
              <a:ext uri="{FF2B5EF4-FFF2-40B4-BE49-F238E27FC236}">
                <a16:creationId xmlns:a16="http://schemas.microsoft.com/office/drawing/2014/main" id="{8F86B8C9-BB67-FD66-E9DE-5AE95FE11AA1}"/>
              </a:ext>
            </a:extLst>
          </p:cNvPr>
          <p:cNvSpPr/>
          <p:nvPr/>
        </p:nvSpPr>
        <p:spPr>
          <a:xfrm>
            <a:off x="10888340" y="4095958"/>
            <a:ext cx="2448000" cy="1281600"/>
          </a:xfrm>
          <a:prstGeom prst="rect">
            <a:avLst/>
          </a:prstGeom>
        </p:spPr>
        <p:txBody>
          <a:bodyPr wrap="square" lIns="0" rIns="0" anchor="ctr" anchorCtr="0">
            <a:noAutofit/>
          </a:bodyPr>
          <a:lstStyle/>
          <a:p>
            <a:pPr algn="ctr">
              <a:lnSpc>
                <a:spcPts val="1800"/>
              </a:lnSpc>
            </a:pPr>
            <a:r>
              <a:rPr lang="en-US" b="1" noProof="0">
                <a:solidFill>
                  <a:schemeClr val="tx1"/>
                </a:solidFill>
                <a:latin typeface="Montserrat" panose="00000500000000000000" pitchFamily="2" charset="0"/>
                <a:cs typeface="Calibri" panose="020F0502020204030204" pitchFamily="34" charset="0"/>
              </a:rPr>
              <a:t>Recommend architecture paths, DO’s and DON’Ts based on executive experiences</a:t>
            </a:r>
          </a:p>
        </p:txBody>
      </p:sp>
      <p:sp>
        <p:nvSpPr>
          <p:cNvPr id="18" name="TextBox 17">
            <a:extLst>
              <a:ext uri="{FF2B5EF4-FFF2-40B4-BE49-F238E27FC236}">
                <a16:creationId xmlns:a16="http://schemas.microsoft.com/office/drawing/2014/main" id="{29F426DD-D892-07D1-CF36-7C1100AB71C7}"/>
              </a:ext>
            </a:extLst>
          </p:cNvPr>
          <p:cNvSpPr txBox="1"/>
          <p:nvPr/>
        </p:nvSpPr>
        <p:spPr>
          <a:xfrm>
            <a:off x="13911317" y="2930850"/>
            <a:ext cx="2340000" cy="738664"/>
          </a:xfrm>
          <a:prstGeom prst="rect">
            <a:avLst/>
          </a:prstGeom>
          <a:noFill/>
        </p:spPr>
        <p:txBody>
          <a:bodyPr wrap="square" lIns="91440" tIns="45720" rIns="91440" bIns="45720" anchor="t">
            <a:spAutoFit/>
          </a:bodyPr>
          <a:lstStyle>
            <a:defPPr marR="0" lvl="0" algn="l" rtl="0">
              <a:lnSpc>
                <a:spcPct val="100000"/>
              </a:lnSpc>
              <a:spcBef>
                <a:spcPts val="0"/>
              </a:spcBef>
              <a:spcAft>
                <a:spcPts val="0"/>
              </a:spcAft>
            </a:defPPr>
            <a:lvl1pPr algn="ctr">
              <a:defRPr b="1">
                <a:solidFill>
                  <a:schemeClr val="bg1"/>
                </a:solidFill>
                <a:latin typeface="Montserrat" panose="00000500000000000000" pitchFamily="2" charset="0"/>
                <a:cs typeface="Calibri" panose="020F0502020204030204" pitchFamily="34" charset="0"/>
              </a:defRPr>
            </a:lvl1pPr>
          </a:lstStyle>
          <a:p>
            <a:r>
              <a:rPr lang="en-US" noProof="0">
                <a:solidFill>
                  <a:srgbClr val="6800FF"/>
                </a:solidFill>
                <a:latin typeface="Montserrat"/>
                <a:cs typeface="Calibri"/>
              </a:rPr>
              <a:t>PROTECT ORGANIZATION </a:t>
            </a:r>
          </a:p>
          <a:p>
            <a:r>
              <a:rPr lang="en-US" noProof="0">
                <a:solidFill>
                  <a:srgbClr val="6800FF"/>
                </a:solidFill>
                <a:latin typeface="Montserrat"/>
                <a:cs typeface="Calibri"/>
              </a:rPr>
              <a:t>ASSETS</a:t>
            </a:r>
          </a:p>
        </p:txBody>
      </p:sp>
      <p:sp>
        <p:nvSpPr>
          <p:cNvPr id="20" name="Rectangle 110">
            <a:extLst>
              <a:ext uri="{FF2B5EF4-FFF2-40B4-BE49-F238E27FC236}">
                <a16:creationId xmlns:a16="http://schemas.microsoft.com/office/drawing/2014/main" id="{3F203E5E-41FA-FF92-143E-4FF79D516565}"/>
              </a:ext>
            </a:extLst>
          </p:cNvPr>
          <p:cNvSpPr/>
          <p:nvPr/>
        </p:nvSpPr>
        <p:spPr>
          <a:xfrm>
            <a:off x="13857317" y="4095958"/>
            <a:ext cx="2448000" cy="1279656"/>
          </a:xfrm>
          <a:prstGeom prst="rect">
            <a:avLst/>
          </a:prstGeom>
        </p:spPr>
        <p:txBody>
          <a:bodyPr wrap="square" lIns="0" rIns="0" anchor="ctr" anchorCtr="0">
            <a:noAutofit/>
          </a:bodyPr>
          <a:lstStyle/>
          <a:p>
            <a:pPr algn="ctr">
              <a:lnSpc>
                <a:spcPts val="1800"/>
              </a:lnSpc>
            </a:pPr>
            <a:r>
              <a:rPr lang="en-US" b="1" noProof="0">
                <a:solidFill>
                  <a:schemeClr val="tx1"/>
                </a:solidFill>
                <a:latin typeface="Montserrat" panose="00000500000000000000" pitchFamily="2" charset="0"/>
                <a:cs typeface="Calibri" panose="020F0502020204030204" pitchFamily="34" charset="0"/>
              </a:rPr>
              <a:t>Focus on Security Strategy and major impacting initiatives</a:t>
            </a:r>
          </a:p>
        </p:txBody>
      </p:sp>
      <p:sp>
        <p:nvSpPr>
          <p:cNvPr id="21" name="Rectangle 110">
            <a:extLst>
              <a:ext uri="{FF2B5EF4-FFF2-40B4-BE49-F238E27FC236}">
                <a16:creationId xmlns:a16="http://schemas.microsoft.com/office/drawing/2014/main" id="{D77DD4D3-146B-9B88-E43B-DC4E079520B4}"/>
              </a:ext>
            </a:extLst>
          </p:cNvPr>
          <p:cNvSpPr/>
          <p:nvPr/>
        </p:nvSpPr>
        <p:spPr>
          <a:xfrm>
            <a:off x="1812921" y="5527331"/>
            <a:ext cx="2160000" cy="1374735"/>
          </a:xfrm>
          <a:prstGeom prst="rect">
            <a:avLst/>
          </a:prstGeom>
        </p:spPr>
        <p:txBody>
          <a:bodyPr wrap="square" lIns="0" tIns="45720" rIns="0" bIns="45720" anchor="t">
            <a:spAutoFit/>
          </a:bodyPr>
          <a:lstStyle/>
          <a:p>
            <a:pPr marL="143510" indent="-143510">
              <a:spcAft>
                <a:spcPts val="800"/>
              </a:spcAft>
              <a:buFont typeface="Arial" panose="020B0604020202020204" pitchFamily="34" charset="0"/>
              <a:buChar char="•"/>
            </a:pPr>
            <a:r>
              <a:rPr lang="en-US" sz="1400" noProof="0">
                <a:solidFill>
                  <a:schemeClr val="bg1"/>
                </a:solidFill>
                <a:latin typeface="Montserrat" panose="00000500000000000000" pitchFamily="2" charset="0"/>
                <a:cs typeface="Calibri" panose="020F0502020204030204" pitchFamily="34" charset="0"/>
              </a:rPr>
              <a:t>IT </a:t>
            </a:r>
            <a:r>
              <a:rPr lang="en-US" sz="1400" i="1" noProof="0">
                <a:solidFill>
                  <a:schemeClr val="bg1"/>
                </a:solidFill>
                <a:latin typeface="Montserrat" panose="00000500000000000000" pitchFamily="2" charset="0"/>
                <a:cs typeface="Calibri" panose="020F0502020204030204" pitchFamily="34" charset="0"/>
              </a:rPr>
              <a:t>business-driven</a:t>
            </a:r>
            <a:r>
              <a:rPr lang="en-US" sz="1400" noProof="0">
                <a:solidFill>
                  <a:schemeClr val="bg1"/>
                </a:solidFill>
                <a:latin typeface="Montserrat" panose="00000500000000000000" pitchFamily="2" charset="0"/>
                <a:cs typeface="Calibri" panose="020F0502020204030204" pitchFamily="34" charset="0"/>
              </a:rPr>
              <a:t> Strategy</a:t>
            </a:r>
            <a:endParaRPr lang="en-US" noProof="0"/>
          </a:p>
          <a:p>
            <a:pPr marL="143510" indent="-143510">
              <a:spcAft>
                <a:spcPts val="800"/>
              </a:spcAft>
              <a:buFont typeface="Arial" panose="020B0604020202020204" pitchFamily="34" charset="0"/>
              <a:buChar char="•"/>
            </a:pPr>
            <a:r>
              <a:rPr lang="en-US" sz="1400" noProof="0">
                <a:solidFill>
                  <a:schemeClr val="bg1"/>
                </a:solidFill>
                <a:latin typeface="Montserrat" panose="00000500000000000000" pitchFamily="2" charset="0"/>
                <a:cs typeface="Calibri" panose="020F0502020204030204" pitchFamily="34" charset="0"/>
              </a:rPr>
              <a:t>Business Architecture  </a:t>
            </a:r>
          </a:p>
          <a:p>
            <a:pPr marL="143510" indent="-143510">
              <a:spcAft>
                <a:spcPts val="800"/>
              </a:spcAft>
              <a:buFont typeface="Arial" panose="020B0604020202020204" pitchFamily="34" charset="0"/>
              <a:buChar char="•"/>
            </a:pPr>
            <a:r>
              <a:rPr lang="en-US" sz="1400" noProof="0">
                <a:solidFill>
                  <a:schemeClr val="bg1"/>
                </a:solidFill>
                <a:latin typeface="Montserrat" panose="00000500000000000000" pitchFamily="2" charset="0"/>
                <a:cs typeface="Calibri" panose="020F0502020204030204" pitchFamily="34" charset="0"/>
              </a:rPr>
              <a:t>Business Operating Model definition</a:t>
            </a:r>
          </a:p>
        </p:txBody>
      </p:sp>
      <p:sp>
        <p:nvSpPr>
          <p:cNvPr id="22" name="Rectangle 110">
            <a:extLst>
              <a:ext uri="{FF2B5EF4-FFF2-40B4-BE49-F238E27FC236}">
                <a16:creationId xmlns:a16="http://schemas.microsoft.com/office/drawing/2014/main" id="{A30DDCCA-8DF7-6A5A-983C-C91959F4CFFB}"/>
              </a:ext>
            </a:extLst>
          </p:cNvPr>
          <p:cNvSpPr/>
          <p:nvPr/>
        </p:nvSpPr>
        <p:spPr>
          <a:xfrm>
            <a:off x="4780354" y="5527331"/>
            <a:ext cx="2448000" cy="1713290"/>
          </a:xfrm>
          <a:prstGeom prst="rect">
            <a:avLst/>
          </a:prstGeom>
        </p:spPr>
        <p:txBody>
          <a:bodyPr wrap="square" lIns="0" tIns="45720" rIns="0" bIns="45720" anchor="t">
            <a:spAutoFit/>
          </a:bodyPr>
          <a:lstStyle/>
          <a:p>
            <a:pPr marL="143510" indent="-143510">
              <a:spcAft>
                <a:spcPts val="800"/>
              </a:spcAft>
              <a:buFont typeface="Arial" panose="020B0604020202020204" pitchFamily="34" charset="0"/>
              <a:buChar char="•"/>
            </a:pPr>
            <a:r>
              <a:rPr lang="en-US" sz="1400" noProof="0">
                <a:solidFill>
                  <a:schemeClr val="bg1"/>
                </a:solidFill>
                <a:latin typeface="Montserrat" panose="00000500000000000000" pitchFamily="2" charset="0"/>
                <a:cs typeface="Calibri" panose="020F0502020204030204" pitchFamily="34" charset="0"/>
              </a:rPr>
              <a:t>Architecture Governance</a:t>
            </a:r>
            <a:endParaRPr lang="en-US" noProof="0"/>
          </a:p>
          <a:p>
            <a:pPr marL="143510" indent="-143510">
              <a:spcAft>
                <a:spcPts val="800"/>
              </a:spcAft>
              <a:buFont typeface="Arial" panose="020B0604020202020204" pitchFamily="34" charset="0"/>
              <a:buChar char="•"/>
            </a:pPr>
            <a:r>
              <a:rPr lang="en-US" sz="1400" noProof="0">
                <a:solidFill>
                  <a:schemeClr val="bg1"/>
                </a:solidFill>
                <a:latin typeface="Montserrat" panose="00000500000000000000" pitchFamily="2" charset="0"/>
                <a:cs typeface="Calibri" panose="020F0502020204030204" pitchFamily="34" charset="0"/>
              </a:rPr>
              <a:t>Delivery Optimization </a:t>
            </a:r>
            <a:r>
              <a:rPr lang="en-US" sz="1200" noProof="0">
                <a:solidFill>
                  <a:schemeClr val="bg1"/>
                </a:solidFill>
                <a:latin typeface="Montserrat" panose="00000500000000000000" pitchFamily="2" charset="0"/>
              </a:rPr>
              <a:t> </a:t>
            </a:r>
            <a:br>
              <a:rPr lang="en-US" sz="1200" noProof="0">
                <a:solidFill>
                  <a:schemeClr val="bg1"/>
                </a:solidFill>
                <a:latin typeface="Montserrat" panose="00000500000000000000" pitchFamily="2" charset="0"/>
              </a:rPr>
            </a:br>
            <a:r>
              <a:rPr lang="en-US" sz="1200" noProof="0">
                <a:solidFill>
                  <a:schemeClr val="bg1"/>
                </a:solidFill>
                <a:latin typeface="Montserrat" panose="00000500000000000000" pitchFamily="2" charset="0"/>
              </a:rPr>
              <a:t> - Self-Service tools and procedures, TCO reduction, etc. </a:t>
            </a:r>
          </a:p>
          <a:p>
            <a:pPr marL="143510" indent="-143510">
              <a:spcAft>
                <a:spcPts val="800"/>
              </a:spcAft>
              <a:buFont typeface="Arial" panose="020B0604020202020204" pitchFamily="34" charset="0"/>
              <a:buChar char="•"/>
            </a:pPr>
            <a:r>
              <a:rPr lang="en-US" sz="1400" noProof="0">
                <a:solidFill>
                  <a:schemeClr val="bg1"/>
                </a:solidFill>
                <a:latin typeface="Montserrat" panose="00000500000000000000" pitchFamily="2" charset="0"/>
              </a:rPr>
              <a:t>Transformational Roadmaps</a:t>
            </a:r>
          </a:p>
        </p:txBody>
      </p:sp>
      <p:sp>
        <p:nvSpPr>
          <p:cNvPr id="23" name="Rectangle 110">
            <a:extLst>
              <a:ext uri="{FF2B5EF4-FFF2-40B4-BE49-F238E27FC236}">
                <a16:creationId xmlns:a16="http://schemas.microsoft.com/office/drawing/2014/main" id="{23BD8E39-AC19-E4BB-9037-E947A065FF93}"/>
              </a:ext>
            </a:extLst>
          </p:cNvPr>
          <p:cNvSpPr/>
          <p:nvPr/>
        </p:nvSpPr>
        <p:spPr>
          <a:xfrm>
            <a:off x="7834347" y="5527331"/>
            <a:ext cx="2448000" cy="1374735"/>
          </a:xfrm>
          <a:prstGeom prst="rect">
            <a:avLst/>
          </a:prstGeom>
        </p:spPr>
        <p:txBody>
          <a:bodyPr wrap="square" lIns="0" tIns="45720" rIns="0" bIns="45720" anchor="t">
            <a:spAutoFit/>
          </a:bodyPr>
          <a:lstStyle/>
          <a:p>
            <a:pPr marL="143510" indent="-143510">
              <a:spcAft>
                <a:spcPts val="800"/>
              </a:spcAft>
              <a:buFont typeface="Arial" panose="020B0604020202020204" pitchFamily="34" charset="0"/>
              <a:buChar char="•"/>
            </a:pPr>
            <a:r>
              <a:rPr lang="en-US" sz="1400" noProof="0">
                <a:solidFill>
                  <a:schemeClr val="bg1"/>
                </a:solidFill>
                <a:latin typeface="Montserrat" panose="00000500000000000000" pitchFamily="2" charset="0"/>
                <a:cs typeface="Calibri" panose="020F0502020204030204" pitchFamily="34" charset="0"/>
              </a:rPr>
              <a:t>Architecture Reference models</a:t>
            </a:r>
            <a:endParaRPr lang="en-US" noProof="0"/>
          </a:p>
          <a:p>
            <a:pPr marL="143510" indent="-143510">
              <a:spcAft>
                <a:spcPts val="800"/>
              </a:spcAft>
              <a:buFont typeface="Arial" panose="020B0604020202020204" pitchFamily="34" charset="0"/>
              <a:buChar char="•"/>
            </a:pPr>
            <a:r>
              <a:rPr lang="en-US" sz="1400" noProof="0">
                <a:solidFill>
                  <a:schemeClr val="bg1"/>
                </a:solidFill>
                <a:latin typeface="Montserrat" panose="00000500000000000000" pitchFamily="2" charset="0"/>
                <a:cs typeface="Calibri" panose="020F0502020204030204" pitchFamily="34" charset="0"/>
              </a:rPr>
              <a:t>Digital Business Architecture</a:t>
            </a:r>
          </a:p>
          <a:p>
            <a:pPr marL="143510" indent="-143510">
              <a:spcAft>
                <a:spcPts val="800"/>
              </a:spcAft>
              <a:buFont typeface="Arial" panose="020B0604020202020204" pitchFamily="34" charset="0"/>
              <a:buChar char="•"/>
            </a:pPr>
            <a:endParaRPr lang="en-US" sz="1400" noProof="0">
              <a:solidFill>
                <a:schemeClr val="bg1"/>
              </a:solidFill>
              <a:latin typeface="Montserrat" panose="00000500000000000000" pitchFamily="2" charset="0"/>
              <a:cs typeface="Calibri" panose="020F0502020204030204" pitchFamily="34" charset="0"/>
            </a:endParaRPr>
          </a:p>
        </p:txBody>
      </p:sp>
      <p:sp>
        <p:nvSpPr>
          <p:cNvPr id="24" name="Rectangle 110">
            <a:extLst>
              <a:ext uri="{FF2B5EF4-FFF2-40B4-BE49-F238E27FC236}">
                <a16:creationId xmlns:a16="http://schemas.microsoft.com/office/drawing/2014/main" id="{42E80CE2-25C3-85D8-F268-CB1AEDE3A385}"/>
              </a:ext>
            </a:extLst>
          </p:cNvPr>
          <p:cNvSpPr/>
          <p:nvPr/>
        </p:nvSpPr>
        <p:spPr>
          <a:xfrm>
            <a:off x="10888340" y="5527331"/>
            <a:ext cx="2448000" cy="2021066"/>
          </a:xfrm>
          <a:prstGeom prst="rect">
            <a:avLst/>
          </a:prstGeom>
        </p:spPr>
        <p:txBody>
          <a:bodyPr wrap="square" lIns="0" tIns="45720" rIns="0" bIns="45720" anchor="t">
            <a:spAutoFit/>
          </a:bodyPr>
          <a:lstStyle/>
          <a:p>
            <a:pPr marL="143510" indent="-143510">
              <a:spcAft>
                <a:spcPts val="800"/>
              </a:spcAft>
              <a:buFont typeface="Arial" panose="020B0604020202020204" pitchFamily="34" charset="0"/>
              <a:buChar char="•"/>
            </a:pPr>
            <a:r>
              <a:rPr lang="en-US" sz="1400" noProof="0">
                <a:solidFill>
                  <a:schemeClr val="bg1"/>
                </a:solidFill>
                <a:latin typeface="Montserrat" panose="00000500000000000000" pitchFamily="2" charset="0"/>
                <a:cs typeface="Calibri" panose="020F0502020204030204" pitchFamily="34" charset="0"/>
              </a:rPr>
              <a:t>Architecture recommendations, best practices and recommended paths regarding strategy, products or roadmaps</a:t>
            </a:r>
            <a:endParaRPr lang="en-US" noProof="0"/>
          </a:p>
          <a:p>
            <a:pPr marL="143510" indent="-143510">
              <a:spcAft>
                <a:spcPts val="800"/>
              </a:spcAft>
              <a:buFont typeface="Arial" panose="020B0604020202020204" pitchFamily="34" charset="0"/>
              <a:buChar char="•"/>
            </a:pPr>
            <a:endParaRPr lang="en-US" sz="1400" noProof="0">
              <a:solidFill>
                <a:schemeClr val="bg1"/>
              </a:solidFill>
              <a:latin typeface="Montserrat" panose="00000500000000000000" pitchFamily="2" charset="0"/>
              <a:cs typeface="Calibri" panose="020F0502020204030204" pitchFamily="34" charset="0"/>
            </a:endParaRPr>
          </a:p>
          <a:p>
            <a:pPr marL="143510" indent="-143510">
              <a:spcAft>
                <a:spcPts val="800"/>
              </a:spcAft>
              <a:buFont typeface="Arial" panose="020B0604020202020204" pitchFamily="34" charset="0"/>
              <a:buChar char="•"/>
            </a:pPr>
            <a:endParaRPr lang="en-US" sz="1400" noProof="0">
              <a:solidFill>
                <a:schemeClr val="bg1"/>
              </a:solidFill>
              <a:latin typeface="Montserrat" panose="00000500000000000000" pitchFamily="2" charset="0"/>
              <a:cs typeface="Calibri" panose="020F0502020204030204" pitchFamily="34" charset="0"/>
            </a:endParaRPr>
          </a:p>
        </p:txBody>
      </p:sp>
      <p:sp>
        <p:nvSpPr>
          <p:cNvPr id="25" name="Rectangle 110">
            <a:extLst>
              <a:ext uri="{FF2B5EF4-FFF2-40B4-BE49-F238E27FC236}">
                <a16:creationId xmlns:a16="http://schemas.microsoft.com/office/drawing/2014/main" id="{6EDF1E63-607E-CC3E-229E-7F9473FE2F6B}"/>
              </a:ext>
            </a:extLst>
          </p:cNvPr>
          <p:cNvSpPr/>
          <p:nvPr/>
        </p:nvSpPr>
        <p:spPr>
          <a:xfrm>
            <a:off x="13942334" y="5527331"/>
            <a:ext cx="2448000" cy="1272143"/>
          </a:xfrm>
          <a:prstGeom prst="rect">
            <a:avLst/>
          </a:prstGeom>
        </p:spPr>
        <p:txBody>
          <a:bodyPr wrap="square" lIns="0" tIns="45720" rIns="0" bIns="45720" anchor="t">
            <a:spAutoFit/>
          </a:bodyPr>
          <a:lstStyle/>
          <a:p>
            <a:pPr marL="143510" indent="-143510">
              <a:spcAft>
                <a:spcPts val="800"/>
              </a:spcAft>
              <a:buFont typeface="Arial" panose="020B0604020202020204" pitchFamily="34" charset="0"/>
              <a:buChar char="•"/>
            </a:pPr>
            <a:r>
              <a:rPr lang="en-US" sz="1400" noProof="0">
                <a:solidFill>
                  <a:schemeClr val="bg1"/>
                </a:solidFill>
                <a:latin typeface="Montserrat"/>
                <a:cs typeface="Calibri"/>
              </a:rPr>
              <a:t>Support or drive </a:t>
            </a:r>
            <a:r>
              <a:rPr lang="en-US" noProof="0">
                <a:solidFill>
                  <a:schemeClr val="bg1"/>
                </a:solidFill>
                <a:latin typeface="Montserrat"/>
                <a:cs typeface="Calibri"/>
              </a:rPr>
              <a:t>Cyber Security</a:t>
            </a:r>
            <a:r>
              <a:rPr lang="en-US" sz="1400" noProof="0">
                <a:solidFill>
                  <a:schemeClr val="bg1"/>
                </a:solidFill>
                <a:latin typeface="Montserrat"/>
                <a:cs typeface="Calibri"/>
              </a:rPr>
              <a:t> Strategy definition</a:t>
            </a:r>
            <a:endParaRPr lang="en-US" noProof="0">
              <a:solidFill>
                <a:schemeClr val="bg1"/>
              </a:solidFill>
              <a:latin typeface="Montserrat"/>
              <a:cs typeface="Calibri"/>
            </a:endParaRPr>
          </a:p>
          <a:p>
            <a:pPr marL="143510" indent="-143510">
              <a:spcAft>
                <a:spcPts val="800"/>
              </a:spcAft>
              <a:buFont typeface="Arial" panose="020B0604020202020204" pitchFamily="34" charset="0"/>
              <a:buChar char="•"/>
            </a:pPr>
            <a:r>
              <a:rPr lang="en-US" sz="1400" noProof="0">
                <a:solidFill>
                  <a:schemeClr val="bg1"/>
                </a:solidFill>
                <a:latin typeface="Montserrat"/>
                <a:cs typeface="Calibri"/>
              </a:rPr>
              <a:t>Define and drive Security strategic programs</a:t>
            </a:r>
          </a:p>
        </p:txBody>
      </p:sp>
      <p:sp>
        <p:nvSpPr>
          <p:cNvPr id="26" name="Rectangle 110">
            <a:extLst>
              <a:ext uri="{FF2B5EF4-FFF2-40B4-BE49-F238E27FC236}">
                <a16:creationId xmlns:a16="http://schemas.microsoft.com/office/drawing/2014/main" id="{085B9FC2-9B99-338F-89D9-323C7A3CC20A}"/>
              </a:ext>
            </a:extLst>
          </p:cNvPr>
          <p:cNvSpPr/>
          <p:nvPr/>
        </p:nvSpPr>
        <p:spPr>
          <a:xfrm rot="16200000">
            <a:off x="496733" y="4718133"/>
            <a:ext cx="1575420" cy="323165"/>
          </a:xfrm>
          <a:prstGeom prst="rect">
            <a:avLst/>
          </a:prstGeom>
        </p:spPr>
        <p:txBody>
          <a:bodyPr wrap="square" lIns="0" tIns="45720" rIns="0" bIns="45720" anchor="t">
            <a:spAutoFit/>
          </a:bodyPr>
          <a:lstStyle/>
          <a:p>
            <a:pPr algn="ctr">
              <a:lnSpc>
                <a:spcPts val="1800"/>
              </a:lnSpc>
            </a:pPr>
            <a:r>
              <a:rPr lang="en-US" sz="1600" b="1" noProof="0">
                <a:solidFill>
                  <a:srgbClr val="DD2F8F"/>
                </a:solidFill>
                <a:latin typeface="Montserrat"/>
                <a:cs typeface="Calibri"/>
              </a:rPr>
              <a:t> </a:t>
            </a:r>
            <a:r>
              <a:rPr lang="en-US" b="1" noProof="0">
                <a:solidFill>
                  <a:srgbClr val="DD2F8F"/>
                </a:solidFill>
                <a:latin typeface="Montserrat"/>
                <a:cs typeface="Calibri"/>
              </a:rPr>
              <a:t> </a:t>
            </a:r>
            <a:r>
              <a:rPr lang="en-US" b="1" noProof="0">
                <a:solidFill>
                  <a:schemeClr val="tx1"/>
                </a:solidFill>
                <a:highlight>
                  <a:srgbClr val="6800FF"/>
                </a:highlight>
                <a:latin typeface="Montserrat"/>
                <a:cs typeface="Calibri"/>
              </a:rPr>
              <a:t> </a:t>
            </a:r>
            <a:r>
              <a:rPr lang="en-US" b="1" i="1" noProof="0">
                <a:solidFill>
                  <a:schemeClr val="tx1"/>
                </a:solidFill>
                <a:highlight>
                  <a:srgbClr val="6800FF"/>
                </a:highlight>
                <a:latin typeface="Montserrat"/>
                <a:cs typeface="Calibri"/>
              </a:rPr>
              <a:t>GOALS</a:t>
            </a:r>
            <a:r>
              <a:rPr lang="en-US" b="1" noProof="0">
                <a:solidFill>
                  <a:schemeClr val="tx1"/>
                </a:solidFill>
                <a:highlight>
                  <a:srgbClr val="6800FF"/>
                </a:highlight>
                <a:latin typeface="Montserrat"/>
                <a:cs typeface="Calibri"/>
              </a:rPr>
              <a:t> </a:t>
            </a:r>
          </a:p>
        </p:txBody>
      </p:sp>
      <p:sp>
        <p:nvSpPr>
          <p:cNvPr id="27" name="Rectangle 110">
            <a:extLst>
              <a:ext uri="{FF2B5EF4-FFF2-40B4-BE49-F238E27FC236}">
                <a16:creationId xmlns:a16="http://schemas.microsoft.com/office/drawing/2014/main" id="{818D189F-AE20-3D0C-FE3C-0768A5FB6932}"/>
              </a:ext>
            </a:extLst>
          </p:cNvPr>
          <p:cNvSpPr/>
          <p:nvPr/>
        </p:nvSpPr>
        <p:spPr>
          <a:xfrm rot="16200000">
            <a:off x="567763" y="5972615"/>
            <a:ext cx="1414468" cy="309828"/>
          </a:xfrm>
          <a:prstGeom prst="rect">
            <a:avLst/>
          </a:prstGeom>
        </p:spPr>
        <p:txBody>
          <a:bodyPr wrap="square" lIns="0" tIns="45720" rIns="0" bIns="45720" anchor="t">
            <a:spAutoFit/>
          </a:bodyPr>
          <a:lstStyle/>
          <a:p>
            <a:pPr algn="ctr">
              <a:lnSpc>
                <a:spcPts val="1800"/>
              </a:lnSpc>
            </a:pPr>
            <a:r>
              <a:rPr lang="en-US" b="1" i="1" noProof="0">
                <a:solidFill>
                  <a:schemeClr val="tx1"/>
                </a:solidFill>
                <a:highlight>
                  <a:srgbClr val="6800FF"/>
                </a:highlight>
                <a:latin typeface="Montserrat"/>
                <a:cs typeface="Calibri"/>
              </a:rPr>
              <a:t> SERVICES </a:t>
            </a:r>
          </a:p>
        </p:txBody>
      </p:sp>
      <p:sp>
        <p:nvSpPr>
          <p:cNvPr id="29" name="Rounded Rectangle 15">
            <a:extLst>
              <a:ext uri="{FF2B5EF4-FFF2-40B4-BE49-F238E27FC236}">
                <a16:creationId xmlns:a16="http://schemas.microsoft.com/office/drawing/2014/main" id="{8F59CC96-378F-5CDD-D45B-C144FD280594}"/>
              </a:ext>
            </a:extLst>
          </p:cNvPr>
          <p:cNvSpPr/>
          <p:nvPr/>
        </p:nvSpPr>
        <p:spPr>
          <a:xfrm>
            <a:off x="1641343" y="3730277"/>
            <a:ext cx="2448000" cy="59448"/>
          </a:xfrm>
          <a:prstGeom prst="roundRect">
            <a:avLst>
              <a:gd name="adj" fmla="val 50000"/>
            </a:avLst>
          </a:prstGeom>
          <a:solidFill>
            <a:srgbClr val="68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PT"/>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en-US" noProof="0"/>
          </a:p>
        </p:txBody>
      </p:sp>
      <p:sp>
        <p:nvSpPr>
          <p:cNvPr id="34" name="Rounded Rectangle 15">
            <a:extLst>
              <a:ext uri="{FF2B5EF4-FFF2-40B4-BE49-F238E27FC236}">
                <a16:creationId xmlns:a16="http://schemas.microsoft.com/office/drawing/2014/main" id="{A94E69E7-C36D-69A0-AAFB-21C926F15CE1}"/>
              </a:ext>
            </a:extLst>
          </p:cNvPr>
          <p:cNvSpPr/>
          <p:nvPr/>
        </p:nvSpPr>
        <p:spPr>
          <a:xfrm>
            <a:off x="4695337" y="3730277"/>
            <a:ext cx="2448000" cy="59448"/>
          </a:xfrm>
          <a:prstGeom prst="roundRect">
            <a:avLst>
              <a:gd name="adj" fmla="val 50000"/>
            </a:avLst>
          </a:prstGeom>
          <a:solidFill>
            <a:srgbClr val="68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PT"/>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en-US" noProof="0"/>
          </a:p>
        </p:txBody>
      </p:sp>
      <p:sp>
        <p:nvSpPr>
          <p:cNvPr id="35" name="Rounded Rectangle 15">
            <a:extLst>
              <a:ext uri="{FF2B5EF4-FFF2-40B4-BE49-F238E27FC236}">
                <a16:creationId xmlns:a16="http://schemas.microsoft.com/office/drawing/2014/main" id="{E914BDF2-D9EF-E349-7DDA-67234C4C9FD5}"/>
              </a:ext>
            </a:extLst>
          </p:cNvPr>
          <p:cNvSpPr/>
          <p:nvPr/>
        </p:nvSpPr>
        <p:spPr>
          <a:xfrm>
            <a:off x="7749330" y="3730277"/>
            <a:ext cx="2448000" cy="59448"/>
          </a:xfrm>
          <a:prstGeom prst="roundRect">
            <a:avLst>
              <a:gd name="adj" fmla="val 50000"/>
            </a:avLst>
          </a:prstGeom>
          <a:solidFill>
            <a:srgbClr val="68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PT"/>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en-US" noProof="0"/>
          </a:p>
        </p:txBody>
      </p:sp>
      <p:sp>
        <p:nvSpPr>
          <p:cNvPr id="36" name="Rounded Rectangle 15">
            <a:extLst>
              <a:ext uri="{FF2B5EF4-FFF2-40B4-BE49-F238E27FC236}">
                <a16:creationId xmlns:a16="http://schemas.microsoft.com/office/drawing/2014/main" id="{1DDED214-1E42-81D1-26B8-ED5AC98B5D8D}"/>
              </a:ext>
            </a:extLst>
          </p:cNvPr>
          <p:cNvSpPr/>
          <p:nvPr/>
        </p:nvSpPr>
        <p:spPr>
          <a:xfrm>
            <a:off x="10803323" y="3730277"/>
            <a:ext cx="2448000" cy="59448"/>
          </a:xfrm>
          <a:prstGeom prst="roundRect">
            <a:avLst>
              <a:gd name="adj" fmla="val 50000"/>
            </a:avLst>
          </a:prstGeom>
          <a:solidFill>
            <a:srgbClr val="68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PT"/>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en-US" noProof="0"/>
          </a:p>
        </p:txBody>
      </p:sp>
      <p:sp>
        <p:nvSpPr>
          <p:cNvPr id="37" name="Rounded Rectangle 15">
            <a:extLst>
              <a:ext uri="{FF2B5EF4-FFF2-40B4-BE49-F238E27FC236}">
                <a16:creationId xmlns:a16="http://schemas.microsoft.com/office/drawing/2014/main" id="{09701D42-62E0-085C-D5D9-379D7D45B346}"/>
              </a:ext>
            </a:extLst>
          </p:cNvPr>
          <p:cNvSpPr/>
          <p:nvPr/>
        </p:nvSpPr>
        <p:spPr>
          <a:xfrm>
            <a:off x="13857317" y="3730277"/>
            <a:ext cx="2448000" cy="59448"/>
          </a:xfrm>
          <a:prstGeom prst="roundRect">
            <a:avLst>
              <a:gd name="adj" fmla="val 50000"/>
            </a:avLst>
          </a:prstGeom>
          <a:solidFill>
            <a:srgbClr val="68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PT"/>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en-US" noProof="0"/>
          </a:p>
        </p:txBody>
      </p:sp>
      <p:sp>
        <p:nvSpPr>
          <p:cNvPr id="33" name="Freeform 75">
            <a:extLst>
              <a:ext uri="{FF2B5EF4-FFF2-40B4-BE49-F238E27FC236}">
                <a16:creationId xmlns:a16="http://schemas.microsoft.com/office/drawing/2014/main" id="{CF4E3715-DACA-37D4-B43D-BD6F5878980F}"/>
              </a:ext>
            </a:extLst>
          </p:cNvPr>
          <p:cNvSpPr/>
          <p:nvPr/>
        </p:nvSpPr>
        <p:spPr bwMode="auto">
          <a:xfrm flipV="1">
            <a:off x="1555896" y="2795698"/>
            <a:ext cx="2613446" cy="5118954"/>
          </a:xfrm>
          <a:custGeom>
            <a:avLst/>
            <a:gdLst>
              <a:gd name="connsiteX0" fmla="*/ 0 w 7548465"/>
              <a:gd name="connsiteY0" fmla="*/ 0 h 1539551"/>
              <a:gd name="connsiteX1" fmla="*/ 0 w 7548465"/>
              <a:gd name="connsiteY1" fmla="*/ 1539551 h 1539551"/>
              <a:gd name="connsiteX2" fmla="*/ 7548465 w 7548465"/>
              <a:gd name="connsiteY2" fmla="*/ 1539551 h 1539551"/>
            </a:gdLst>
            <a:ahLst/>
            <a:cxnLst>
              <a:cxn ang="0">
                <a:pos x="connsiteX0" y="connsiteY0"/>
              </a:cxn>
              <a:cxn ang="0">
                <a:pos x="connsiteX1" y="connsiteY1"/>
              </a:cxn>
              <a:cxn ang="0">
                <a:pos x="connsiteX2" y="connsiteY2"/>
              </a:cxn>
            </a:cxnLst>
            <a:rect l="l" t="t" r="r" b="b"/>
            <a:pathLst>
              <a:path w="7548465" h="1539551">
                <a:moveTo>
                  <a:pt x="0" y="0"/>
                </a:moveTo>
                <a:lnTo>
                  <a:pt x="0" y="1539551"/>
                </a:lnTo>
                <a:lnTo>
                  <a:pt x="7548465" y="1539551"/>
                </a:lnTo>
              </a:path>
            </a:pathLst>
          </a:custGeom>
          <a:noFill/>
          <a:ln w="19050" cap="flat" cmpd="sng" algn="ctr">
            <a:solidFill>
              <a:srgbClr val="6800FF"/>
            </a:solidFill>
            <a:prstDash val="sysDot"/>
            <a:round/>
            <a:headEnd type="none" w="med" len="med"/>
            <a:tailEnd type="none" w="med" len="med"/>
          </a:ln>
          <a:effectLst/>
        </p:spPr>
        <p:txBody>
          <a:bodyPr vert="horz" wrap="square" lIns="359877" tIns="179940" rIns="359877" bIns="179940" numCol="1" rtlCol="0" anchor="ctr" anchorCtr="0" compatLnSpc="1">
            <a:prstTxWarp prst="textNoShape">
              <a:avLst/>
            </a:prstTxWarp>
          </a:bodyPr>
          <a:lstStyle>
            <a:defPPr>
              <a:defRPr lang="pt-PT"/>
            </a:defPPr>
            <a:lvl1pPr algn="l" rtl="0" fontAlgn="base">
              <a:spcBef>
                <a:spcPct val="0"/>
              </a:spcBef>
              <a:spcAft>
                <a:spcPct val="0"/>
              </a:spcAft>
              <a:defRPr sz="2400" kern="1200">
                <a:solidFill>
                  <a:schemeClr val="tx1"/>
                </a:solidFill>
                <a:latin typeface="Times New Roman" pitchFamily="18" charset="0"/>
                <a:ea typeface="+mn-ea"/>
                <a:cs typeface="+mn-cs"/>
              </a:defRPr>
            </a:lvl1pPr>
            <a:lvl2pPr marL="457200" algn="l" rtl="0" fontAlgn="base">
              <a:spcBef>
                <a:spcPct val="0"/>
              </a:spcBef>
              <a:spcAft>
                <a:spcPct val="0"/>
              </a:spcAft>
              <a:defRPr sz="2400" kern="1200">
                <a:solidFill>
                  <a:schemeClr val="tx1"/>
                </a:solidFill>
                <a:latin typeface="Times New Roman" pitchFamily="18" charset="0"/>
                <a:ea typeface="+mn-ea"/>
                <a:cs typeface="+mn-cs"/>
              </a:defRPr>
            </a:lvl2pPr>
            <a:lvl3pPr marL="914400" algn="l" rtl="0" fontAlgn="base">
              <a:spcBef>
                <a:spcPct val="0"/>
              </a:spcBef>
              <a:spcAft>
                <a:spcPct val="0"/>
              </a:spcAft>
              <a:defRPr sz="2400" kern="1200">
                <a:solidFill>
                  <a:schemeClr val="tx1"/>
                </a:solidFill>
                <a:latin typeface="Times New Roman" pitchFamily="18" charset="0"/>
                <a:ea typeface="+mn-ea"/>
                <a:cs typeface="+mn-cs"/>
              </a:defRPr>
            </a:lvl3pPr>
            <a:lvl4pPr marL="1371600" algn="l" rtl="0" fontAlgn="base">
              <a:spcBef>
                <a:spcPct val="0"/>
              </a:spcBef>
              <a:spcAft>
                <a:spcPct val="0"/>
              </a:spcAft>
              <a:defRPr sz="2400" kern="1200">
                <a:solidFill>
                  <a:schemeClr val="tx1"/>
                </a:solidFill>
                <a:latin typeface="Times New Roman" pitchFamily="18" charset="0"/>
                <a:ea typeface="+mn-ea"/>
                <a:cs typeface="+mn-cs"/>
              </a:defRPr>
            </a:lvl4pPr>
            <a:lvl5pPr marL="1828800" algn="l" rtl="0" fontAlgn="base">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defTabSz="914088">
              <a:spcBef>
                <a:spcPct val="75000"/>
              </a:spcBef>
            </a:pPr>
            <a:endParaRPr lang="en-US" sz="1800" b="1" noProof="0">
              <a:latin typeface="Arial" charset="0"/>
            </a:endParaRPr>
          </a:p>
        </p:txBody>
      </p:sp>
      <p:sp>
        <p:nvSpPr>
          <p:cNvPr id="38" name="Freeform 75">
            <a:extLst>
              <a:ext uri="{FF2B5EF4-FFF2-40B4-BE49-F238E27FC236}">
                <a16:creationId xmlns:a16="http://schemas.microsoft.com/office/drawing/2014/main" id="{4ADC6592-6797-949E-B4D1-240603C6AC2A}"/>
              </a:ext>
            </a:extLst>
          </p:cNvPr>
          <p:cNvSpPr/>
          <p:nvPr/>
        </p:nvSpPr>
        <p:spPr bwMode="auto">
          <a:xfrm flipV="1">
            <a:off x="13774594" y="2795698"/>
            <a:ext cx="2613446" cy="5118954"/>
          </a:xfrm>
          <a:custGeom>
            <a:avLst/>
            <a:gdLst>
              <a:gd name="connsiteX0" fmla="*/ 0 w 7548465"/>
              <a:gd name="connsiteY0" fmla="*/ 0 h 1539551"/>
              <a:gd name="connsiteX1" fmla="*/ 0 w 7548465"/>
              <a:gd name="connsiteY1" fmla="*/ 1539551 h 1539551"/>
              <a:gd name="connsiteX2" fmla="*/ 7548465 w 7548465"/>
              <a:gd name="connsiteY2" fmla="*/ 1539551 h 1539551"/>
            </a:gdLst>
            <a:ahLst/>
            <a:cxnLst>
              <a:cxn ang="0">
                <a:pos x="connsiteX0" y="connsiteY0"/>
              </a:cxn>
              <a:cxn ang="0">
                <a:pos x="connsiteX1" y="connsiteY1"/>
              </a:cxn>
              <a:cxn ang="0">
                <a:pos x="connsiteX2" y="connsiteY2"/>
              </a:cxn>
            </a:cxnLst>
            <a:rect l="l" t="t" r="r" b="b"/>
            <a:pathLst>
              <a:path w="7548465" h="1539551">
                <a:moveTo>
                  <a:pt x="0" y="0"/>
                </a:moveTo>
                <a:lnTo>
                  <a:pt x="0" y="1539551"/>
                </a:lnTo>
                <a:lnTo>
                  <a:pt x="7548465" y="1539551"/>
                </a:lnTo>
              </a:path>
            </a:pathLst>
          </a:custGeom>
          <a:noFill/>
          <a:ln w="19050" cap="flat" cmpd="sng" algn="ctr">
            <a:solidFill>
              <a:srgbClr val="6800FF"/>
            </a:solidFill>
            <a:prstDash val="sysDot"/>
            <a:round/>
            <a:headEnd type="none" w="med" len="med"/>
            <a:tailEnd type="none" w="med" len="med"/>
          </a:ln>
          <a:effectLst/>
        </p:spPr>
        <p:txBody>
          <a:bodyPr vert="horz" wrap="square" lIns="359877" tIns="179940" rIns="359877" bIns="179940" numCol="1" rtlCol="0" anchor="ctr" anchorCtr="0" compatLnSpc="1">
            <a:prstTxWarp prst="textNoShape">
              <a:avLst/>
            </a:prstTxWarp>
          </a:bodyPr>
          <a:lstStyle>
            <a:defPPr>
              <a:defRPr lang="pt-PT"/>
            </a:defPPr>
            <a:lvl1pPr algn="l" rtl="0" fontAlgn="base">
              <a:spcBef>
                <a:spcPct val="0"/>
              </a:spcBef>
              <a:spcAft>
                <a:spcPct val="0"/>
              </a:spcAft>
              <a:defRPr sz="2400" kern="1200">
                <a:solidFill>
                  <a:schemeClr val="tx1"/>
                </a:solidFill>
                <a:latin typeface="Times New Roman" pitchFamily="18" charset="0"/>
                <a:ea typeface="+mn-ea"/>
                <a:cs typeface="+mn-cs"/>
              </a:defRPr>
            </a:lvl1pPr>
            <a:lvl2pPr marL="457200" algn="l" rtl="0" fontAlgn="base">
              <a:spcBef>
                <a:spcPct val="0"/>
              </a:spcBef>
              <a:spcAft>
                <a:spcPct val="0"/>
              </a:spcAft>
              <a:defRPr sz="2400" kern="1200">
                <a:solidFill>
                  <a:schemeClr val="tx1"/>
                </a:solidFill>
                <a:latin typeface="Times New Roman" pitchFamily="18" charset="0"/>
                <a:ea typeface="+mn-ea"/>
                <a:cs typeface="+mn-cs"/>
              </a:defRPr>
            </a:lvl2pPr>
            <a:lvl3pPr marL="914400" algn="l" rtl="0" fontAlgn="base">
              <a:spcBef>
                <a:spcPct val="0"/>
              </a:spcBef>
              <a:spcAft>
                <a:spcPct val="0"/>
              </a:spcAft>
              <a:defRPr sz="2400" kern="1200">
                <a:solidFill>
                  <a:schemeClr val="tx1"/>
                </a:solidFill>
                <a:latin typeface="Times New Roman" pitchFamily="18" charset="0"/>
                <a:ea typeface="+mn-ea"/>
                <a:cs typeface="+mn-cs"/>
              </a:defRPr>
            </a:lvl3pPr>
            <a:lvl4pPr marL="1371600" algn="l" rtl="0" fontAlgn="base">
              <a:spcBef>
                <a:spcPct val="0"/>
              </a:spcBef>
              <a:spcAft>
                <a:spcPct val="0"/>
              </a:spcAft>
              <a:defRPr sz="2400" kern="1200">
                <a:solidFill>
                  <a:schemeClr val="tx1"/>
                </a:solidFill>
                <a:latin typeface="Times New Roman" pitchFamily="18" charset="0"/>
                <a:ea typeface="+mn-ea"/>
                <a:cs typeface="+mn-cs"/>
              </a:defRPr>
            </a:lvl4pPr>
            <a:lvl5pPr marL="1828800" algn="l" rtl="0" fontAlgn="base">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defTabSz="914088">
              <a:spcBef>
                <a:spcPct val="75000"/>
              </a:spcBef>
            </a:pPr>
            <a:endParaRPr lang="en-US" sz="1800" b="1" noProof="0">
              <a:latin typeface="Arial" charset="0"/>
            </a:endParaRPr>
          </a:p>
        </p:txBody>
      </p:sp>
      <p:sp>
        <p:nvSpPr>
          <p:cNvPr id="40" name="Freeform 75">
            <a:extLst>
              <a:ext uri="{FF2B5EF4-FFF2-40B4-BE49-F238E27FC236}">
                <a16:creationId xmlns:a16="http://schemas.microsoft.com/office/drawing/2014/main" id="{D957434C-7EAC-08B9-571B-0581991E6042}"/>
              </a:ext>
            </a:extLst>
          </p:cNvPr>
          <p:cNvSpPr/>
          <p:nvPr/>
        </p:nvSpPr>
        <p:spPr bwMode="auto">
          <a:xfrm flipV="1">
            <a:off x="7665244" y="2795698"/>
            <a:ext cx="2613446" cy="5118954"/>
          </a:xfrm>
          <a:custGeom>
            <a:avLst/>
            <a:gdLst>
              <a:gd name="connsiteX0" fmla="*/ 0 w 7548465"/>
              <a:gd name="connsiteY0" fmla="*/ 0 h 1539551"/>
              <a:gd name="connsiteX1" fmla="*/ 0 w 7548465"/>
              <a:gd name="connsiteY1" fmla="*/ 1539551 h 1539551"/>
              <a:gd name="connsiteX2" fmla="*/ 7548465 w 7548465"/>
              <a:gd name="connsiteY2" fmla="*/ 1539551 h 1539551"/>
            </a:gdLst>
            <a:ahLst/>
            <a:cxnLst>
              <a:cxn ang="0">
                <a:pos x="connsiteX0" y="connsiteY0"/>
              </a:cxn>
              <a:cxn ang="0">
                <a:pos x="connsiteX1" y="connsiteY1"/>
              </a:cxn>
              <a:cxn ang="0">
                <a:pos x="connsiteX2" y="connsiteY2"/>
              </a:cxn>
            </a:cxnLst>
            <a:rect l="l" t="t" r="r" b="b"/>
            <a:pathLst>
              <a:path w="7548465" h="1539551">
                <a:moveTo>
                  <a:pt x="0" y="0"/>
                </a:moveTo>
                <a:lnTo>
                  <a:pt x="0" y="1539551"/>
                </a:lnTo>
                <a:lnTo>
                  <a:pt x="7548465" y="1539551"/>
                </a:lnTo>
              </a:path>
            </a:pathLst>
          </a:custGeom>
          <a:noFill/>
          <a:ln w="19050" cap="flat" cmpd="sng" algn="ctr">
            <a:solidFill>
              <a:srgbClr val="6800FF"/>
            </a:solidFill>
            <a:prstDash val="sysDot"/>
            <a:round/>
            <a:headEnd type="none" w="med" len="med"/>
            <a:tailEnd type="none" w="med" len="med"/>
          </a:ln>
          <a:effectLst/>
        </p:spPr>
        <p:txBody>
          <a:bodyPr vert="horz" wrap="square" lIns="359877" tIns="179940" rIns="359877" bIns="179940" numCol="1" rtlCol="0" anchor="ctr" anchorCtr="0" compatLnSpc="1">
            <a:prstTxWarp prst="textNoShape">
              <a:avLst/>
            </a:prstTxWarp>
          </a:bodyPr>
          <a:lstStyle>
            <a:defPPr>
              <a:defRPr lang="pt-PT"/>
            </a:defPPr>
            <a:lvl1pPr algn="l" rtl="0" fontAlgn="base">
              <a:spcBef>
                <a:spcPct val="0"/>
              </a:spcBef>
              <a:spcAft>
                <a:spcPct val="0"/>
              </a:spcAft>
              <a:defRPr sz="2400" kern="1200">
                <a:solidFill>
                  <a:schemeClr val="tx1"/>
                </a:solidFill>
                <a:latin typeface="Times New Roman" pitchFamily="18" charset="0"/>
                <a:ea typeface="+mn-ea"/>
                <a:cs typeface="+mn-cs"/>
              </a:defRPr>
            </a:lvl1pPr>
            <a:lvl2pPr marL="457200" algn="l" rtl="0" fontAlgn="base">
              <a:spcBef>
                <a:spcPct val="0"/>
              </a:spcBef>
              <a:spcAft>
                <a:spcPct val="0"/>
              </a:spcAft>
              <a:defRPr sz="2400" kern="1200">
                <a:solidFill>
                  <a:schemeClr val="tx1"/>
                </a:solidFill>
                <a:latin typeface="Times New Roman" pitchFamily="18" charset="0"/>
                <a:ea typeface="+mn-ea"/>
                <a:cs typeface="+mn-cs"/>
              </a:defRPr>
            </a:lvl2pPr>
            <a:lvl3pPr marL="914400" algn="l" rtl="0" fontAlgn="base">
              <a:spcBef>
                <a:spcPct val="0"/>
              </a:spcBef>
              <a:spcAft>
                <a:spcPct val="0"/>
              </a:spcAft>
              <a:defRPr sz="2400" kern="1200">
                <a:solidFill>
                  <a:schemeClr val="tx1"/>
                </a:solidFill>
                <a:latin typeface="Times New Roman" pitchFamily="18" charset="0"/>
                <a:ea typeface="+mn-ea"/>
                <a:cs typeface="+mn-cs"/>
              </a:defRPr>
            </a:lvl3pPr>
            <a:lvl4pPr marL="1371600" algn="l" rtl="0" fontAlgn="base">
              <a:spcBef>
                <a:spcPct val="0"/>
              </a:spcBef>
              <a:spcAft>
                <a:spcPct val="0"/>
              </a:spcAft>
              <a:defRPr sz="2400" kern="1200">
                <a:solidFill>
                  <a:schemeClr val="tx1"/>
                </a:solidFill>
                <a:latin typeface="Times New Roman" pitchFamily="18" charset="0"/>
                <a:ea typeface="+mn-ea"/>
                <a:cs typeface="+mn-cs"/>
              </a:defRPr>
            </a:lvl4pPr>
            <a:lvl5pPr marL="1828800" algn="l" rtl="0" fontAlgn="base">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defTabSz="914088">
              <a:spcBef>
                <a:spcPct val="75000"/>
              </a:spcBef>
            </a:pPr>
            <a:endParaRPr lang="en-US" sz="1800" b="1" noProof="0">
              <a:latin typeface="Arial" charset="0"/>
            </a:endParaRPr>
          </a:p>
        </p:txBody>
      </p:sp>
      <p:sp>
        <p:nvSpPr>
          <p:cNvPr id="41" name="Freeform 75">
            <a:extLst>
              <a:ext uri="{FF2B5EF4-FFF2-40B4-BE49-F238E27FC236}">
                <a16:creationId xmlns:a16="http://schemas.microsoft.com/office/drawing/2014/main" id="{D0FA8064-AB8F-ABF7-BE4E-2D831EFCC505}"/>
              </a:ext>
            </a:extLst>
          </p:cNvPr>
          <p:cNvSpPr/>
          <p:nvPr/>
        </p:nvSpPr>
        <p:spPr bwMode="auto">
          <a:xfrm flipV="1">
            <a:off x="10719918" y="2795698"/>
            <a:ext cx="2613446" cy="5118954"/>
          </a:xfrm>
          <a:custGeom>
            <a:avLst/>
            <a:gdLst>
              <a:gd name="connsiteX0" fmla="*/ 0 w 7548465"/>
              <a:gd name="connsiteY0" fmla="*/ 0 h 1539551"/>
              <a:gd name="connsiteX1" fmla="*/ 0 w 7548465"/>
              <a:gd name="connsiteY1" fmla="*/ 1539551 h 1539551"/>
              <a:gd name="connsiteX2" fmla="*/ 7548465 w 7548465"/>
              <a:gd name="connsiteY2" fmla="*/ 1539551 h 1539551"/>
            </a:gdLst>
            <a:ahLst/>
            <a:cxnLst>
              <a:cxn ang="0">
                <a:pos x="connsiteX0" y="connsiteY0"/>
              </a:cxn>
              <a:cxn ang="0">
                <a:pos x="connsiteX1" y="connsiteY1"/>
              </a:cxn>
              <a:cxn ang="0">
                <a:pos x="connsiteX2" y="connsiteY2"/>
              </a:cxn>
            </a:cxnLst>
            <a:rect l="l" t="t" r="r" b="b"/>
            <a:pathLst>
              <a:path w="7548465" h="1539551">
                <a:moveTo>
                  <a:pt x="0" y="0"/>
                </a:moveTo>
                <a:lnTo>
                  <a:pt x="0" y="1539551"/>
                </a:lnTo>
                <a:lnTo>
                  <a:pt x="7548465" y="1539551"/>
                </a:lnTo>
              </a:path>
            </a:pathLst>
          </a:custGeom>
          <a:noFill/>
          <a:ln w="19050" cap="flat" cmpd="sng" algn="ctr">
            <a:solidFill>
              <a:srgbClr val="6800FF"/>
            </a:solidFill>
            <a:prstDash val="sysDot"/>
            <a:round/>
            <a:headEnd type="none" w="med" len="med"/>
            <a:tailEnd type="none" w="med" len="med"/>
          </a:ln>
          <a:effectLst/>
        </p:spPr>
        <p:txBody>
          <a:bodyPr vert="horz" wrap="square" lIns="359877" tIns="179940" rIns="359877" bIns="179940" numCol="1" rtlCol="0" anchor="ctr" anchorCtr="0" compatLnSpc="1">
            <a:prstTxWarp prst="textNoShape">
              <a:avLst/>
            </a:prstTxWarp>
          </a:bodyPr>
          <a:lstStyle>
            <a:defPPr>
              <a:defRPr lang="pt-PT"/>
            </a:defPPr>
            <a:lvl1pPr algn="l" rtl="0" fontAlgn="base">
              <a:spcBef>
                <a:spcPct val="0"/>
              </a:spcBef>
              <a:spcAft>
                <a:spcPct val="0"/>
              </a:spcAft>
              <a:defRPr sz="2400" kern="1200">
                <a:solidFill>
                  <a:schemeClr val="tx1"/>
                </a:solidFill>
                <a:latin typeface="Times New Roman" pitchFamily="18" charset="0"/>
                <a:ea typeface="+mn-ea"/>
                <a:cs typeface="+mn-cs"/>
              </a:defRPr>
            </a:lvl1pPr>
            <a:lvl2pPr marL="457200" algn="l" rtl="0" fontAlgn="base">
              <a:spcBef>
                <a:spcPct val="0"/>
              </a:spcBef>
              <a:spcAft>
                <a:spcPct val="0"/>
              </a:spcAft>
              <a:defRPr sz="2400" kern="1200">
                <a:solidFill>
                  <a:schemeClr val="tx1"/>
                </a:solidFill>
                <a:latin typeface="Times New Roman" pitchFamily="18" charset="0"/>
                <a:ea typeface="+mn-ea"/>
                <a:cs typeface="+mn-cs"/>
              </a:defRPr>
            </a:lvl2pPr>
            <a:lvl3pPr marL="914400" algn="l" rtl="0" fontAlgn="base">
              <a:spcBef>
                <a:spcPct val="0"/>
              </a:spcBef>
              <a:spcAft>
                <a:spcPct val="0"/>
              </a:spcAft>
              <a:defRPr sz="2400" kern="1200">
                <a:solidFill>
                  <a:schemeClr val="tx1"/>
                </a:solidFill>
                <a:latin typeface="Times New Roman" pitchFamily="18" charset="0"/>
                <a:ea typeface="+mn-ea"/>
                <a:cs typeface="+mn-cs"/>
              </a:defRPr>
            </a:lvl3pPr>
            <a:lvl4pPr marL="1371600" algn="l" rtl="0" fontAlgn="base">
              <a:spcBef>
                <a:spcPct val="0"/>
              </a:spcBef>
              <a:spcAft>
                <a:spcPct val="0"/>
              </a:spcAft>
              <a:defRPr sz="2400" kern="1200">
                <a:solidFill>
                  <a:schemeClr val="tx1"/>
                </a:solidFill>
                <a:latin typeface="Times New Roman" pitchFamily="18" charset="0"/>
                <a:ea typeface="+mn-ea"/>
                <a:cs typeface="+mn-cs"/>
              </a:defRPr>
            </a:lvl4pPr>
            <a:lvl5pPr marL="1828800" algn="l" rtl="0" fontAlgn="base">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defTabSz="914088">
              <a:spcBef>
                <a:spcPct val="75000"/>
              </a:spcBef>
            </a:pPr>
            <a:endParaRPr lang="en-US" sz="1800" b="1" noProof="0">
              <a:latin typeface="Arial" charset="0"/>
            </a:endParaRPr>
          </a:p>
        </p:txBody>
      </p:sp>
      <p:sp>
        <p:nvSpPr>
          <p:cNvPr id="39" name="Freeform 75">
            <a:extLst>
              <a:ext uri="{FF2B5EF4-FFF2-40B4-BE49-F238E27FC236}">
                <a16:creationId xmlns:a16="http://schemas.microsoft.com/office/drawing/2014/main" id="{B1F59FAD-3169-A340-4AB5-40394C6AE445}"/>
              </a:ext>
            </a:extLst>
          </p:cNvPr>
          <p:cNvSpPr/>
          <p:nvPr/>
        </p:nvSpPr>
        <p:spPr bwMode="auto">
          <a:xfrm flipV="1">
            <a:off x="4610570" y="2795698"/>
            <a:ext cx="2613446" cy="5118954"/>
          </a:xfrm>
          <a:custGeom>
            <a:avLst/>
            <a:gdLst>
              <a:gd name="connsiteX0" fmla="*/ 0 w 7548465"/>
              <a:gd name="connsiteY0" fmla="*/ 0 h 1539551"/>
              <a:gd name="connsiteX1" fmla="*/ 0 w 7548465"/>
              <a:gd name="connsiteY1" fmla="*/ 1539551 h 1539551"/>
              <a:gd name="connsiteX2" fmla="*/ 7548465 w 7548465"/>
              <a:gd name="connsiteY2" fmla="*/ 1539551 h 1539551"/>
            </a:gdLst>
            <a:ahLst/>
            <a:cxnLst>
              <a:cxn ang="0">
                <a:pos x="connsiteX0" y="connsiteY0"/>
              </a:cxn>
              <a:cxn ang="0">
                <a:pos x="connsiteX1" y="connsiteY1"/>
              </a:cxn>
              <a:cxn ang="0">
                <a:pos x="connsiteX2" y="connsiteY2"/>
              </a:cxn>
            </a:cxnLst>
            <a:rect l="l" t="t" r="r" b="b"/>
            <a:pathLst>
              <a:path w="7548465" h="1539551">
                <a:moveTo>
                  <a:pt x="0" y="0"/>
                </a:moveTo>
                <a:lnTo>
                  <a:pt x="0" y="1539551"/>
                </a:lnTo>
                <a:lnTo>
                  <a:pt x="7548465" y="1539551"/>
                </a:lnTo>
              </a:path>
            </a:pathLst>
          </a:custGeom>
          <a:noFill/>
          <a:ln w="19050" cap="flat" cmpd="sng" algn="ctr">
            <a:solidFill>
              <a:srgbClr val="6800FF"/>
            </a:solidFill>
            <a:prstDash val="sysDot"/>
            <a:round/>
            <a:headEnd type="none" w="med" len="med"/>
            <a:tailEnd type="none" w="med" len="med"/>
          </a:ln>
          <a:effectLst/>
        </p:spPr>
        <p:txBody>
          <a:bodyPr vert="horz" wrap="square" lIns="359877" tIns="179940" rIns="359877" bIns="179940" numCol="1" rtlCol="0" anchor="ctr" anchorCtr="0" compatLnSpc="1">
            <a:prstTxWarp prst="textNoShape">
              <a:avLst/>
            </a:prstTxWarp>
          </a:bodyPr>
          <a:lstStyle>
            <a:defPPr>
              <a:defRPr lang="pt-PT"/>
            </a:defPPr>
            <a:lvl1pPr algn="l" rtl="0" fontAlgn="base">
              <a:spcBef>
                <a:spcPct val="0"/>
              </a:spcBef>
              <a:spcAft>
                <a:spcPct val="0"/>
              </a:spcAft>
              <a:defRPr sz="2400" kern="1200">
                <a:solidFill>
                  <a:schemeClr val="tx1"/>
                </a:solidFill>
                <a:latin typeface="Times New Roman" pitchFamily="18" charset="0"/>
                <a:ea typeface="+mn-ea"/>
                <a:cs typeface="+mn-cs"/>
              </a:defRPr>
            </a:lvl1pPr>
            <a:lvl2pPr marL="457200" algn="l" rtl="0" fontAlgn="base">
              <a:spcBef>
                <a:spcPct val="0"/>
              </a:spcBef>
              <a:spcAft>
                <a:spcPct val="0"/>
              </a:spcAft>
              <a:defRPr sz="2400" kern="1200">
                <a:solidFill>
                  <a:schemeClr val="tx1"/>
                </a:solidFill>
                <a:latin typeface="Times New Roman" pitchFamily="18" charset="0"/>
                <a:ea typeface="+mn-ea"/>
                <a:cs typeface="+mn-cs"/>
              </a:defRPr>
            </a:lvl2pPr>
            <a:lvl3pPr marL="914400" algn="l" rtl="0" fontAlgn="base">
              <a:spcBef>
                <a:spcPct val="0"/>
              </a:spcBef>
              <a:spcAft>
                <a:spcPct val="0"/>
              </a:spcAft>
              <a:defRPr sz="2400" kern="1200">
                <a:solidFill>
                  <a:schemeClr val="tx1"/>
                </a:solidFill>
                <a:latin typeface="Times New Roman" pitchFamily="18" charset="0"/>
                <a:ea typeface="+mn-ea"/>
                <a:cs typeface="+mn-cs"/>
              </a:defRPr>
            </a:lvl3pPr>
            <a:lvl4pPr marL="1371600" algn="l" rtl="0" fontAlgn="base">
              <a:spcBef>
                <a:spcPct val="0"/>
              </a:spcBef>
              <a:spcAft>
                <a:spcPct val="0"/>
              </a:spcAft>
              <a:defRPr sz="2400" kern="1200">
                <a:solidFill>
                  <a:schemeClr val="tx1"/>
                </a:solidFill>
                <a:latin typeface="Times New Roman" pitchFamily="18" charset="0"/>
                <a:ea typeface="+mn-ea"/>
                <a:cs typeface="+mn-cs"/>
              </a:defRPr>
            </a:lvl4pPr>
            <a:lvl5pPr marL="1828800" algn="l" rtl="0" fontAlgn="base">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defTabSz="914088">
              <a:spcBef>
                <a:spcPct val="75000"/>
              </a:spcBef>
            </a:pPr>
            <a:endParaRPr lang="en-US" sz="1800" b="1" noProof="0">
              <a:latin typeface="Arial" charset="0"/>
            </a:endParaRPr>
          </a:p>
        </p:txBody>
      </p:sp>
      <p:sp>
        <p:nvSpPr>
          <p:cNvPr id="10" name="TextBox 9">
            <a:extLst>
              <a:ext uri="{FF2B5EF4-FFF2-40B4-BE49-F238E27FC236}">
                <a16:creationId xmlns:a16="http://schemas.microsoft.com/office/drawing/2014/main" id="{2B9B5BE0-7278-26AD-57AD-4D254FB220B2}"/>
              </a:ext>
            </a:extLst>
          </p:cNvPr>
          <p:cNvSpPr txBox="1"/>
          <p:nvPr/>
        </p:nvSpPr>
        <p:spPr>
          <a:xfrm>
            <a:off x="4177152" y="8187769"/>
            <a:ext cx="10091281"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400" i="1" noProof="0">
                <a:solidFill>
                  <a:srgbClr val="6800FF"/>
                </a:solidFill>
                <a:latin typeface="Montserrat"/>
                <a:cs typeface="Segoe UI"/>
              </a:rPr>
              <a:t>Qintess also </a:t>
            </a:r>
            <a:r>
              <a:rPr lang="en-US" sz="2400" b="1" i="1" noProof="0">
                <a:solidFill>
                  <a:srgbClr val="6800FF"/>
                </a:solidFill>
                <a:latin typeface="Montserrat"/>
                <a:cs typeface="Segoe UI"/>
              </a:rPr>
              <a:t>promotes and drives all change management activities, </a:t>
            </a:r>
            <a:r>
              <a:rPr lang="en-US" sz="2400" i="1" noProof="0">
                <a:solidFill>
                  <a:srgbClr val="6800FF"/>
                </a:solidFill>
                <a:latin typeface="Montserrat"/>
                <a:cs typeface="Segoe UI"/>
              </a:rPr>
              <a:t> bridging the gap between Business and Technology</a:t>
            </a:r>
            <a:endParaRPr lang="en-US" sz="2400" noProof="0">
              <a:latin typeface="Montserrat"/>
            </a:endParaRPr>
          </a:p>
        </p:txBody>
      </p:sp>
      <p:sp>
        <p:nvSpPr>
          <p:cNvPr id="13" name="Oval 12">
            <a:extLst>
              <a:ext uri="{FF2B5EF4-FFF2-40B4-BE49-F238E27FC236}">
                <a16:creationId xmlns:a16="http://schemas.microsoft.com/office/drawing/2014/main" id="{D8660663-C937-3EA7-9A1B-3907A067CC38}"/>
              </a:ext>
            </a:extLst>
          </p:cNvPr>
          <p:cNvSpPr/>
          <p:nvPr/>
        </p:nvSpPr>
        <p:spPr>
          <a:xfrm>
            <a:off x="1420901" y="2635601"/>
            <a:ext cx="540417" cy="529532"/>
          </a:xfrm>
          <a:prstGeom prst="ellipse">
            <a:avLst/>
          </a:prstGeom>
          <a:solidFill>
            <a:srgbClr val="6800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noProof="0">
                <a:solidFill>
                  <a:srgbClr val="FFFFFF"/>
                </a:solidFill>
                <a:latin typeface="Montserrat"/>
                <a:cs typeface="Arial"/>
              </a:rPr>
              <a:t>1</a:t>
            </a:r>
            <a:endParaRPr lang="en-US" sz="1600" noProof="0">
              <a:solidFill>
                <a:srgbClr val="FFFFFF"/>
              </a:solidFill>
              <a:latin typeface="Montserrat"/>
            </a:endParaRPr>
          </a:p>
        </p:txBody>
      </p:sp>
      <p:sp>
        <p:nvSpPr>
          <p:cNvPr id="16" name="Oval 15">
            <a:extLst>
              <a:ext uri="{FF2B5EF4-FFF2-40B4-BE49-F238E27FC236}">
                <a16:creationId xmlns:a16="http://schemas.microsoft.com/office/drawing/2014/main" id="{551E608E-CA4E-E95D-4256-045128B5C075}"/>
              </a:ext>
            </a:extLst>
          </p:cNvPr>
          <p:cNvSpPr/>
          <p:nvPr/>
        </p:nvSpPr>
        <p:spPr>
          <a:xfrm>
            <a:off x="4528727" y="2645047"/>
            <a:ext cx="540417" cy="529532"/>
          </a:xfrm>
          <a:prstGeom prst="ellipse">
            <a:avLst/>
          </a:prstGeom>
          <a:solidFill>
            <a:srgbClr val="6800FF"/>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noProof="0">
                <a:solidFill>
                  <a:srgbClr val="FFFFFF"/>
                </a:solidFill>
                <a:latin typeface="Montserrat"/>
                <a:cs typeface="Arial"/>
              </a:rPr>
              <a:t>2</a:t>
            </a:r>
            <a:endParaRPr lang="en-US" sz="1600" noProof="0">
              <a:solidFill>
                <a:srgbClr val="FFFFFF"/>
              </a:solidFill>
              <a:latin typeface="Montserrat"/>
            </a:endParaRPr>
          </a:p>
        </p:txBody>
      </p:sp>
      <p:sp>
        <p:nvSpPr>
          <p:cNvPr id="19" name="Oval 18">
            <a:extLst>
              <a:ext uri="{FF2B5EF4-FFF2-40B4-BE49-F238E27FC236}">
                <a16:creationId xmlns:a16="http://schemas.microsoft.com/office/drawing/2014/main" id="{B30103DD-EA55-B8E1-533B-E6570262DD7D}"/>
              </a:ext>
            </a:extLst>
          </p:cNvPr>
          <p:cNvSpPr/>
          <p:nvPr/>
        </p:nvSpPr>
        <p:spPr>
          <a:xfrm>
            <a:off x="7532644" y="2645047"/>
            <a:ext cx="540417" cy="529532"/>
          </a:xfrm>
          <a:prstGeom prst="ellipse">
            <a:avLst/>
          </a:prstGeom>
          <a:solidFill>
            <a:srgbClr val="6800FF"/>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noProof="0">
                <a:solidFill>
                  <a:srgbClr val="FFFFFF"/>
                </a:solidFill>
                <a:latin typeface="Montserrat"/>
                <a:cs typeface="Arial"/>
              </a:rPr>
              <a:t>3</a:t>
            </a:r>
            <a:endParaRPr lang="en-US" sz="1600" noProof="0">
              <a:solidFill>
                <a:srgbClr val="FFFFFF"/>
              </a:solidFill>
              <a:latin typeface="Montserrat"/>
            </a:endParaRPr>
          </a:p>
        </p:txBody>
      </p:sp>
      <p:sp>
        <p:nvSpPr>
          <p:cNvPr id="30" name="Oval 29">
            <a:extLst>
              <a:ext uri="{FF2B5EF4-FFF2-40B4-BE49-F238E27FC236}">
                <a16:creationId xmlns:a16="http://schemas.microsoft.com/office/drawing/2014/main" id="{E3AB2C9F-7D89-1E31-B402-A1C6FC01CEF0}"/>
              </a:ext>
            </a:extLst>
          </p:cNvPr>
          <p:cNvSpPr/>
          <p:nvPr/>
        </p:nvSpPr>
        <p:spPr>
          <a:xfrm>
            <a:off x="10583793" y="2635601"/>
            <a:ext cx="540417" cy="529532"/>
          </a:xfrm>
          <a:prstGeom prst="ellipse">
            <a:avLst/>
          </a:prstGeom>
          <a:solidFill>
            <a:srgbClr val="6800FF"/>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noProof="0">
                <a:solidFill>
                  <a:srgbClr val="FFFFFF"/>
                </a:solidFill>
                <a:latin typeface="Montserrat"/>
                <a:cs typeface="Arial"/>
              </a:rPr>
              <a:t>4</a:t>
            </a:r>
            <a:endParaRPr lang="en-US" sz="1600" noProof="0">
              <a:solidFill>
                <a:srgbClr val="FFFFFF"/>
              </a:solidFill>
              <a:latin typeface="Montserrat"/>
            </a:endParaRPr>
          </a:p>
        </p:txBody>
      </p:sp>
      <p:sp>
        <p:nvSpPr>
          <p:cNvPr id="31" name="Oval 30">
            <a:extLst>
              <a:ext uri="{FF2B5EF4-FFF2-40B4-BE49-F238E27FC236}">
                <a16:creationId xmlns:a16="http://schemas.microsoft.com/office/drawing/2014/main" id="{89B954C7-FA0B-871E-F445-9D91F9215BDD}"/>
              </a:ext>
            </a:extLst>
          </p:cNvPr>
          <p:cNvSpPr/>
          <p:nvPr/>
        </p:nvSpPr>
        <p:spPr>
          <a:xfrm>
            <a:off x="13672726" y="2645047"/>
            <a:ext cx="540417" cy="529532"/>
          </a:xfrm>
          <a:prstGeom prst="ellipse">
            <a:avLst/>
          </a:prstGeom>
          <a:solidFill>
            <a:srgbClr val="6800FF"/>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noProof="0">
                <a:solidFill>
                  <a:srgbClr val="FFFFFF"/>
                </a:solidFill>
                <a:latin typeface="Montserrat"/>
                <a:cs typeface="Arial"/>
              </a:rPr>
              <a:t>5</a:t>
            </a:r>
            <a:endParaRPr lang="en-US" noProof="0"/>
          </a:p>
        </p:txBody>
      </p:sp>
      <p:grpSp>
        <p:nvGrpSpPr>
          <p:cNvPr id="8" name="Group 7">
            <a:extLst>
              <a:ext uri="{FF2B5EF4-FFF2-40B4-BE49-F238E27FC236}">
                <a16:creationId xmlns:a16="http://schemas.microsoft.com/office/drawing/2014/main" id="{9EDE4396-934D-C4F9-66B6-58AD4C1F229D}"/>
              </a:ext>
            </a:extLst>
          </p:cNvPr>
          <p:cNvGrpSpPr/>
          <p:nvPr/>
        </p:nvGrpSpPr>
        <p:grpSpPr>
          <a:xfrm>
            <a:off x="8668410" y="1514511"/>
            <a:ext cx="612363" cy="56823"/>
            <a:chOff x="0" y="0"/>
            <a:chExt cx="1078484" cy="100076"/>
          </a:xfrm>
        </p:grpSpPr>
        <p:sp>
          <p:nvSpPr>
            <p:cNvPr id="4" name="Freeform 8">
              <a:extLst>
                <a:ext uri="{FF2B5EF4-FFF2-40B4-BE49-F238E27FC236}">
                  <a16:creationId xmlns:a16="http://schemas.microsoft.com/office/drawing/2014/main" id="{77F52D71-DA6E-FD9C-4249-B8444ED66553}"/>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spTree>
    <p:extLst>
      <p:ext uri="{BB962C8B-B14F-4D97-AF65-F5344CB8AC3E}">
        <p14:creationId xmlns:p14="http://schemas.microsoft.com/office/powerpoint/2010/main" val="15939252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Oval 59">
            <a:extLst>
              <a:ext uri="{FF2B5EF4-FFF2-40B4-BE49-F238E27FC236}">
                <a16:creationId xmlns:a16="http://schemas.microsoft.com/office/drawing/2014/main" id="{AE8F801F-F4D6-2CD7-D129-365FB4884609}"/>
              </a:ext>
            </a:extLst>
          </p:cNvPr>
          <p:cNvSpPr/>
          <p:nvPr/>
        </p:nvSpPr>
        <p:spPr>
          <a:xfrm>
            <a:off x="9813519" y="6908391"/>
            <a:ext cx="2496692" cy="2496692"/>
          </a:xfrm>
          <a:prstGeom prst="ellipse">
            <a:avLst/>
          </a:prstGeom>
          <a:solidFill>
            <a:srgbClr val="6800FF">
              <a:alpha val="60000"/>
            </a:srgbClr>
          </a:solidFill>
          <a:ln w="25400" cap="flat" cmpd="sng" algn="ctr">
            <a:noFill/>
            <a:prstDash val="solid"/>
          </a:ln>
          <a:effectLst>
            <a:outerShdw blurRad="330200" dist="431800" dir="5400000" algn="t" rotWithShape="0">
              <a:prstClr val="black">
                <a:alpha val="10000"/>
              </a:prstClr>
            </a:outerShdw>
          </a:effectLst>
        </p:spPr>
        <p:txBody>
          <a:bodyPr rtlCol="0" anchor="ctr"/>
          <a:lstStyle/>
          <a:p>
            <a:pPr marL="0" marR="0" lvl="0" indent="0" algn="ctr" defTabSz="1371600" rtl="0" eaLnBrk="0" fontAlgn="base" latinLnBrk="0" hangingPunct="0">
              <a:lnSpc>
                <a:spcPct val="100000"/>
              </a:lnSpc>
              <a:spcBef>
                <a:spcPct val="50000"/>
              </a:spcBef>
              <a:spcAft>
                <a:spcPct val="0"/>
              </a:spcAft>
              <a:buClrTx/>
              <a:buSzTx/>
              <a:buFont typeface="Arial"/>
              <a:buNone/>
              <a:tabLst/>
              <a:defRPr/>
            </a:pPr>
            <a:endParaRPr kumimoji="0" lang="en-US" sz="2026" b="0" i="0" u="none" strike="noStrike" kern="1200" cap="none" spc="0" normalizeH="0" baseline="0" noProof="0">
              <a:ln>
                <a:noFill/>
              </a:ln>
              <a:solidFill>
                <a:prstClr val="white"/>
              </a:solidFill>
              <a:effectLst/>
              <a:uLnTx/>
              <a:uFillTx/>
              <a:latin typeface="Frutiger 45 Light"/>
              <a:ea typeface="MS PGothic"/>
              <a:cs typeface="Arial" panose="020B0604020202020204" pitchFamily="34" charset="0"/>
              <a:sym typeface="Arial"/>
            </a:endParaRPr>
          </a:p>
        </p:txBody>
      </p:sp>
      <p:sp>
        <p:nvSpPr>
          <p:cNvPr id="34" name="Retângulo 33">
            <a:extLst>
              <a:ext uri="{FF2B5EF4-FFF2-40B4-BE49-F238E27FC236}">
                <a16:creationId xmlns:a16="http://schemas.microsoft.com/office/drawing/2014/main" id="{C64D422B-0028-BC74-7981-B26F10038D09}"/>
              </a:ext>
            </a:extLst>
          </p:cNvPr>
          <p:cNvSpPr/>
          <p:nvPr/>
        </p:nvSpPr>
        <p:spPr>
          <a:xfrm>
            <a:off x="0" y="26115"/>
            <a:ext cx="18288000" cy="10335975"/>
          </a:xfrm>
          <a:prstGeom prst="rect">
            <a:avLst/>
          </a:prstGeom>
          <a:solidFill>
            <a:srgbClr val="212121">
              <a:alpha val="4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29" name="Google Shape;336;p50">
            <a:extLst>
              <a:ext uri="{FF2B5EF4-FFF2-40B4-BE49-F238E27FC236}">
                <a16:creationId xmlns:a16="http://schemas.microsoft.com/office/drawing/2014/main" id="{DD9DC2D6-1B1A-68F2-61F6-0A9F588F3B54}"/>
              </a:ext>
            </a:extLst>
          </p:cNvPr>
          <p:cNvPicPr preferRelativeResize="0"/>
          <p:nvPr/>
        </p:nvPicPr>
        <p:blipFill>
          <a:blip r:embed="rId2">
            <a:alphaModFix/>
          </a:blip>
          <a:stretch>
            <a:fillRect/>
          </a:stretch>
        </p:blipFill>
        <p:spPr>
          <a:xfrm rot="10800000">
            <a:off x="5502234" y="1986827"/>
            <a:ext cx="7278562" cy="6318076"/>
          </a:xfrm>
          <a:prstGeom prst="rect">
            <a:avLst/>
          </a:prstGeom>
          <a:noFill/>
          <a:ln>
            <a:noFill/>
          </a:ln>
        </p:spPr>
      </p:pic>
      <p:sp>
        <p:nvSpPr>
          <p:cNvPr id="17" name="Oval 59">
            <a:extLst>
              <a:ext uri="{FF2B5EF4-FFF2-40B4-BE49-F238E27FC236}">
                <a16:creationId xmlns:a16="http://schemas.microsoft.com/office/drawing/2014/main" id="{E0A2B7A6-EFAA-8C76-3674-C1964952E467}"/>
              </a:ext>
            </a:extLst>
          </p:cNvPr>
          <p:cNvSpPr/>
          <p:nvPr/>
        </p:nvSpPr>
        <p:spPr>
          <a:xfrm>
            <a:off x="4922334" y="4450380"/>
            <a:ext cx="2496692" cy="2496692"/>
          </a:xfrm>
          <a:prstGeom prst="ellipse">
            <a:avLst/>
          </a:prstGeom>
          <a:solidFill>
            <a:srgbClr val="6800FF">
              <a:alpha val="60000"/>
            </a:srgbClr>
          </a:solidFill>
          <a:ln w="25400" cap="flat" cmpd="sng" algn="ctr">
            <a:noFill/>
            <a:prstDash val="solid"/>
          </a:ln>
          <a:effectLst>
            <a:outerShdw blurRad="330200" dist="431800" dir="5400000" algn="t" rotWithShape="0">
              <a:prstClr val="black">
                <a:alpha val="10000"/>
              </a:prstClr>
            </a:outerShdw>
          </a:effectLst>
        </p:spPr>
        <p:txBody>
          <a:bodyPr rtlCol="0" anchor="ctr"/>
          <a:lstStyle/>
          <a:p>
            <a:pPr marL="0" marR="0" lvl="0" indent="0" algn="ctr" defTabSz="1371600" rtl="0" eaLnBrk="0" fontAlgn="base" latinLnBrk="0" hangingPunct="0">
              <a:lnSpc>
                <a:spcPct val="100000"/>
              </a:lnSpc>
              <a:spcBef>
                <a:spcPct val="50000"/>
              </a:spcBef>
              <a:spcAft>
                <a:spcPct val="0"/>
              </a:spcAft>
              <a:buClrTx/>
              <a:buSzTx/>
              <a:buFont typeface="Arial"/>
              <a:buNone/>
              <a:tabLst/>
              <a:defRPr/>
            </a:pPr>
            <a:endParaRPr kumimoji="0" lang="en-US" sz="2026" b="0" i="0" u="none" strike="noStrike" kern="1200" cap="none" spc="0" normalizeH="0" baseline="0" noProof="0">
              <a:ln>
                <a:noFill/>
              </a:ln>
              <a:solidFill>
                <a:prstClr val="white"/>
              </a:solidFill>
              <a:effectLst/>
              <a:uLnTx/>
              <a:uFillTx/>
              <a:latin typeface="Frutiger 45 Light"/>
              <a:ea typeface="MS PGothic"/>
              <a:cs typeface="Arial" panose="020B0604020202020204" pitchFamily="34" charset="0"/>
              <a:sym typeface="Arial"/>
            </a:endParaRPr>
          </a:p>
        </p:txBody>
      </p:sp>
      <p:sp>
        <p:nvSpPr>
          <p:cNvPr id="19" name="Oval 78">
            <a:extLst>
              <a:ext uri="{FF2B5EF4-FFF2-40B4-BE49-F238E27FC236}">
                <a16:creationId xmlns:a16="http://schemas.microsoft.com/office/drawing/2014/main" id="{EE56FAEF-8BC0-998A-0578-54A3ED09ACE9}"/>
              </a:ext>
            </a:extLst>
          </p:cNvPr>
          <p:cNvSpPr/>
          <p:nvPr/>
        </p:nvSpPr>
        <p:spPr>
          <a:xfrm>
            <a:off x="9544733" y="1132703"/>
            <a:ext cx="2502598" cy="2520457"/>
          </a:xfrm>
          <a:prstGeom prst="ellipse">
            <a:avLst/>
          </a:prstGeom>
          <a:solidFill>
            <a:srgbClr val="B010F0">
              <a:alpha val="60000"/>
            </a:srgbClr>
          </a:solidFill>
          <a:ln w="25400" cap="flat" cmpd="sng" algn="ctr">
            <a:noFill/>
            <a:prstDash val="solid"/>
          </a:ln>
          <a:effectLst>
            <a:outerShdw blurRad="330200" dist="317500" dir="5400000" algn="t" rotWithShape="0">
              <a:prstClr val="black">
                <a:alpha val="10000"/>
              </a:prstClr>
            </a:outerShdw>
          </a:effectLst>
        </p:spPr>
        <p:txBody>
          <a:bodyPr rtlCol="0" anchor="ctr"/>
          <a:lstStyle/>
          <a:p>
            <a:pPr marL="0" marR="0" lvl="0" indent="0" algn="ctr" defTabSz="1371600" rtl="0" eaLnBrk="0" fontAlgn="base" latinLnBrk="0" hangingPunct="0">
              <a:lnSpc>
                <a:spcPct val="100000"/>
              </a:lnSpc>
              <a:spcBef>
                <a:spcPct val="50000"/>
              </a:spcBef>
              <a:spcAft>
                <a:spcPct val="0"/>
              </a:spcAft>
              <a:buClrTx/>
              <a:buSzTx/>
              <a:buFont typeface="Arial"/>
              <a:buNone/>
              <a:tabLst/>
              <a:defRPr/>
            </a:pPr>
            <a:endParaRPr kumimoji="0" lang="en-US" sz="2026" b="0" i="0" u="none" strike="noStrike" kern="1200" cap="none" spc="0" normalizeH="0" baseline="0" noProof="0">
              <a:ln>
                <a:noFill/>
              </a:ln>
              <a:solidFill>
                <a:prstClr val="white"/>
              </a:solidFill>
              <a:effectLst/>
              <a:uLnTx/>
              <a:uFillTx/>
              <a:latin typeface="Frutiger 45 Light"/>
              <a:ea typeface="MS PGothic"/>
              <a:cs typeface="Arial" panose="020B0604020202020204" pitchFamily="34" charset="0"/>
              <a:sym typeface="Arial"/>
            </a:endParaRPr>
          </a:p>
        </p:txBody>
      </p:sp>
      <p:sp>
        <p:nvSpPr>
          <p:cNvPr id="28" name="Oval 79">
            <a:extLst>
              <a:ext uri="{FF2B5EF4-FFF2-40B4-BE49-F238E27FC236}">
                <a16:creationId xmlns:a16="http://schemas.microsoft.com/office/drawing/2014/main" id="{035B457E-1F05-7060-77D1-D746B0AC2611}"/>
              </a:ext>
            </a:extLst>
          </p:cNvPr>
          <p:cNvSpPr/>
          <p:nvPr/>
        </p:nvSpPr>
        <p:spPr>
          <a:xfrm>
            <a:off x="5679629" y="1621157"/>
            <a:ext cx="2502598" cy="2502598"/>
          </a:xfrm>
          <a:prstGeom prst="ellipse">
            <a:avLst/>
          </a:prstGeom>
          <a:solidFill>
            <a:srgbClr val="B01C7F">
              <a:alpha val="60000"/>
            </a:srgbClr>
          </a:solidFill>
          <a:ln w="25400" cap="flat" cmpd="sng" algn="ctr">
            <a:noFill/>
            <a:prstDash val="solid"/>
          </a:ln>
          <a:effectLst>
            <a:outerShdw blurRad="330200" dist="317500" dir="5400000" algn="t" rotWithShape="0">
              <a:prstClr val="black">
                <a:alpha val="10000"/>
              </a:prstClr>
            </a:outerShdw>
          </a:effectLst>
        </p:spPr>
        <p:txBody>
          <a:bodyPr rtlCol="0" anchor="ctr"/>
          <a:lstStyle/>
          <a:p>
            <a:pPr marL="0" marR="0" lvl="0" indent="0" algn="ctr" defTabSz="1371600" rtl="0" eaLnBrk="0" fontAlgn="base" latinLnBrk="0" hangingPunct="0">
              <a:lnSpc>
                <a:spcPct val="100000"/>
              </a:lnSpc>
              <a:spcBef>
                <a:spcPct val="50000"/>
              </a:spcBef>
              <a:spcAft>
                <a:spcPct val="0"/>
              </a:spcAft>
              <a:buClrTx/>
              <a:buSzTx/>
              <a:buFont typeface="Arial"/>
              <a:buNone/>
              <a:tabLst/>
              <a:defRPr/>
            </a:pPr>
            <a:endParaRPr kumimoji="0" lang="en-US" sz="2026" b="0" i="0" u="none" strike="noStrike" kern="1200" cap="none" spc="0" normalizeH="0" baseline="0" noProof="0">
              <a:ln>
                <a:noFill/>
              </a:ln>
              <a:solidFill>
                <a:prstClr val="white"/>
              </a:solidFill>
              <a:effectLst/>
              <a:uLnTx/>
              <a:uFillTx/>
              <a:latin typeface="Frutiger 45 Light"/>
              <a:ea typeface="MS PGothic"/>
              <a:cs typeface="Arial" panose="020B0604020202020204" pitchFamily="34" charset="0"/>
              <a:sym typeface="Arial"/>
            </a:endParaRPr>
          </a:p>
        </p:txBody>
      </p:sp>
      <p:sp>
        <p:nvSpPr>
          <p:cNvPr id="16" name="Google Shape;485;p73">
            <a:extLst>
              <a:ext uri="{FF2B5EF4-FFF2-40B4-BE49-F238E27FC236}">
                <a16:creationId xmlns:a16="http://schemas.microsoft.com/office/drawing/2014/main" id="{E577BD23-1562-37CA-9E49-5564CBB261AA}"/>
              </a:ext>
            </a:extLst>
          </p:cNvPr>
          <p:cNvSpPr txBox="1"/>
          <p:nvPr/>
        </p:nvSpPr>
        <p:spPr>
          <a:xfrm>
            <a:off x="9751713" y="2568698"/>
            <a:ext cx="2087117" cy="553917"/>
          </a:xfrm>
          <a:prstGeom prst="rect">
            <a:avLst/>
          </a:prstGeom>
          <a:noFill/>
          <a:ln>
            <a:noFill/>
          </a:ln>
        </p:spPr>
        <p:txBody>
          <a:bodyPr spcFirstLastPara="1" wrap="square" lIns="182850" tIns="91400" rIns="182850" bIns="91400" anchor="ctr" anchorCtr="0">
            <a:spAutoFit/>
          </a:bodyPr>
          <a:lstStyle>
            <a:defPPr>
              <a:defRPr lang="en-US"/>
            </a:defPPr>
            <a:lvl1pPr marR="0" lvl="0" indent="0" algn="ctr" defTabSz="1828710" fontAlgn="auto">
              <a:lnSpc>
                <a:spcPct val="100000"/>
              </a:lnSpc>
              <a:spcBef>
                <a:spcPts val="0"/>
              </a:spcBef>
              <a:spcAft>
                <a:spcPts val="0"/>
              </a:spcAft>
              <a:buClr>
                <a:srgbClr val="7F7F7F"/>
              </a:buClr>
              <a:buSzPts val="900"/>
              <a:buFontTx/>
              <a:buNone/>
              <a:tabLst/>
              <a:defRPr kumimoji="0" sz="1200" i="0" u="none" strike="noStrike" kern="0" cap="none" spc="0" normalizeH="0" baseline="0">
                <a:ln>
                  <a:noFill/>
                </a:ln>
                <a:solidFill>
                  <a:srgbClr val="6800FF"/>
                </a:solidFill>
                <a:effectLst/>
                <a:uLnTx/>
                <a:uFillTx/>
                <a:latin typeface="Montserrat SemiBold" pitchFamily="2" charset="0"/>
                <a:ea typeface="Montserrat"/>
                <a:cs typeface="Montserrat"/>
              </a:defRPr>
            </a:lvl1pPr>
            <a:lvl2pPr marL="342900" defTabSz="685800">
              <a:defRPr sz="1350"/>
            </a:lvl2pPr>
            <a:lvl3pPr marL="685800" defTabSz="685800">
              <a:defRPr sz="1350"/>
            </a:lvl3pPr>
            <a:lvl4pPr marL="1028700" defTabSz="685800">
              <a:defRPr sz="1350"/>
            </a:lvl4pPr>
            <a:lvl5pPr marL="1371600" defTabSz="685800">
              <a:defRPr sz="1350"/>
            </a:lvl5pPr>
            <a:lvl6pPr marL="1714500" defTabSz="685800">
              <a:defRPr sz="1350"/>
            </a:lvl6pPr>
            <a:lvl7pPr marL="2057400" defTabSz="685800">
              <a:defRPr sz="1350"/>
            </a:lvl7pPr>
            <a:lvl8pPr marL="2400300" defTabSz="685800">
              <a:defRPr sz="1350"/>
            </a:lvl8pPr>
            <a:lvl9pPr marL="2743200" defTabSz="685800">
              <a:defRPr sz="1350"/>
            </a:lvl9pPr>
          </a:lstStyle>
          <a:p>
            <a:pPr>
              <a:defRPr/>
            </a:pPr>
            <a:r>
              <a:rPr lang="pt-BR" dirty="0">
                <a:solidFill>
                  <a:schemeClr val="bg1">
                    <a:lumMod val="10000"/>
                    <a:lumOff val="90000"/>
                  </a:schemeClr>
                </a:solidFill>
                <a:latin typeface="Montserrat SemiBold"/>
                <a:sym typeface="Montserrat"/>
              </a:rPr>
              <a:t>DIGITAL INFRASTRUCTURE </a:t>
            </a:r>
            <a:endParaRPr kumimoji="0" lang="pt-BR" sz="1200" b="0" i="0" u="none" strike="noStrike" kern="0" cap="none" spc="0" normalizeH="0" baseline="0" noProof="0" dirty="0">
              <a:ln>
                <a:noFill/>
              </a:ln>
              <a:solidFill>
                <a:schemeClr val="bg1">
                  <a:lumMod val="10000"/>
                  <a:lumOff val="90000"/>
                </a:schemeClr>
              </a:solidFill>
              <a:effectLst/>
              <a:uLnTx/>
              <a:uFillTx/>
              <a:latin typeface="Montserrat SemiBold"/>
              <a:sym typeface="Montserrat"/>
            </a:endParaRPr>
          </a:p>
        </p:txBody>
      </p:sp>
      <p:sp>
        <p:nvSpPr>
          <p:cNvPr id="20" name="Google Shape;485;p73">
            <a:extLst>
              <a:ext uri="{FF2B5EF4-FFF2-40B4-BE49-F238E27FC236}">
                <a16:creationId xmlns:a16="http://schemas.microsoft.com/office/drawing/2014/main" id="{547851BC-A81B-AC8B-3844-E80D4D72BED2}"/>
              </a:ext>
            </a:extLst>
          </p:cNvPr>
          <p:cNvSpPr txBox="1"/>
          <p:nvPr/>
        </p:nvSpPr>
        <p:spPr>
          <a:xfrm>
            <a:off x="10173115" y="8264314"/>
            <a:ext cx="1874016" cy="923249"/>
          </a:xfrm>
          <a:prstGeom prst="rect">
            <a:avLst/>
          </a:prstGeom>
          <a:noFill/>
          <a:ln>
            <a:noFill/>
          </a:ln>
        </p:spPr>
        <p:txBody>
          <a:bodyPr spcFirstLastPara="1" wrap="square" lIns="182850" tIns="91400" rIns="182850" bIns="91400" anchor="ctr" anchorCtr="0">
            <a:spAutoFit/>
          </a:bodyPr>
          <a:lstStyle>
            <a:defPPr>
              <a:defRPr lang="pt-B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1828710">
              <a:defRPr/>
            </a:pPr>
            <a:r>
              <a:rPr lang="es-ES" sz="1200" kern="0" dirty="0">
                <a:solidFill>
                  <a:schemeClr val="bg1">
                    <a:lumMod val="10000"/>
                    <a:lumOff val="90000"/>
                  </a:schemeClr>
                </a:solidFill>
                <a:latin typeface="Montserrat SemiBold"/>
                <a:sym typeface="Montserrat"/>
              </a:rPr>
              <a:t>SAP SOLUTIONS AND TECHNOLOGICAL CAPACITY </a:t>
            </a:r>
            <a:endParaRPr lang="en-US" sz="1200" kern="0" dirty="0">
              <a:solidFill>
                <a:schemeClr val="bg1">
                  <a:lumMod val="10000"/>
                  <a:lumOff val="90000"/>
                </a:schemeClr>
              </a:solidFill>
              <a:latin typeface="Montserrat SemiBold"/>
            </a:endParaRPr>
          </a:p>
        </p:txBody>
      </p:sp>
      <p:pic>
        <p:nvPicPr>
          <p:cNvPr id="23" name="Picture 2" descr="Technical Support ">
            <a:extLst>
              <a:ext uri="{FF2B5EF4-FFF2-40B4-BE49-F238E27FC236}">
                <a16:creationId xmlns:a16="http://schemas.microsoft.com/office/drawing/2014/main" id="{5B8785F8-4F16-CA9D-7FE7-543F906DBB66}"/>
              </a:ext>
            </a:extLst>
          </p:cNvPr>
          <p:cNvPicPr>
            <a:picLocks noChangeAspect="1" noChangeArrowheads="1"/>
          </p:cNvPicPr>
          <p:nvPr/>
        </p:nvPicPr>
        <p:blipFill>
          <a:blip r:embed="rId3">
            <a:lum bright="70000" contrast="-70000"/>
            <a:extLst>
              <a:ext uri="{28A0092B-C50C-407E-A947-70E740481C1C}">
                <a14:useLocalDpi xmlns:a14="http://schemas.microsoft.com/office/drawing/2010/main" val="0"/>
              </a:ext>
            </a:extLst>
          </a:blip>
          <a:srcRect/>
          <a:stretch>
            <a:fillRect/>
          </a:stretch>
        </p:blipFill>
        <p:spPr bwMode="auto">
          <a:xfrm>
            <a:off x="10334669" y="1472931"/>
            <a:ext cx="929648" cy="929648"/>
          </a:xfrm>
          <a:prstGeom prst="rect">
            <a:avLst/>
          </a:prstGeom>
          <a:noFill/>
          <a:extLst>
            <a:ext uri="{909E8E84-426E-40DD-AFC4-6F175D3DCCD1}">
              <a14:hiddenFill xmlns:a14="http://schemas.microsoft.com/office/drawing/2010/main">
                <a:solidFill>
                  <a:srgbClr val="FFFFFF"/>
                </a:solidFill>
              </a14:hiddenFill>
            </a:ext>
          </a:extLst>
        </p:spPr>
      </p:pic>
      <p:pic>
        <p:nvPicPr>
          <p:cNvPr id="25" name="Imagem 64">
            <a:extLst>
              <a:ext uri="{FF2B5EF4-FFF2-40B4-BE49-F238E27FC236}">
                <a16:creationId xmlns:a16="http://schemas.microsoft.com/office/drawing/2014/main" id="{51605576-4924-35EC-9447-617770EB39FB}"/>
              </a:ext>
            </a:extLst>
          </p:cNvPr>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6416984" y="1928906"/>
            <a:ext cx="935646" cy="935646"/>
          </a:xfrm>
          <a:prstGeom prst="rect">
            <a:avLst/>
          </a:prstGeom>
        </p:spPr>
      </p:pic>
      <p:sp>
        <p:nvSpPr>
          <p:cNvPr id="26" name="CaixaDeTexto 15">
            <a:extLst>
              <a:ext uri="{FF2B5EF4-FFF2-40B4-BE49-F238E27FC236}">
                <a16:creationId xmlns:a16="http://schemas.microsoft.com/office/drawing/2014/main" id="{04B609B1-E4CC-E270-8EFB-14B8AE9CF299}"/>
              </a:ext>
            </a:extLst>
          </p:cNvPr>
          <p:cNvSpPr txBox="1"/>
          <p:nvPr/>
        </p:nvSpPr>
        <p:spPr>
          <a:xfrm>
            <a:off x="759371" y="1218438"/>
            <a:ext cx="5010464" cy="2893100"/>
          </a:xfrm>
          <a:prstGeom prst="rect">
            <a:avLst/>
          </a:prstGeom>
          <a:noFill/>
        </p:spPr>
        <p:txBody>
          <a:bodyPr wrap="square" lIns="91440" tIns="45720" rIns="91440" bIns="45720" anchor="t">
            <a:spAutoFit/>
          </a:bodyPr>
          <a:lstStyle>
            <a:defPPr>
              <a:defRPr lang="pt-B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lvl="0" defTabSz="1371566">
              <a:lnSpc>
                <a:spcPts val="1800"/>
              </a:lnSpc>
              <a:spcAft>
                <a:spcPts val="1200"/>
              </a:spcAft>
              <a:defRPr/>
            </a:pPr>
            <a:r>
              <a:rPr lang="es-CO" sz="1400" b="1" dirty="0">
                <a:highlight>
                  <a:srgbClr val="D3356E"/>
                </a:highlight>
                <a:latin typeface="Montserrat SemiBold"/>
                <a:cs typeface="Segoe UI Semilight"/>
              </a:rPr>
              <a:t>Análisis de Datos, Ciencia de Decisiones e Inteligencia Artificial</a:t>
            </a:r>
          </a:p>
          <a:p>
            <a:pPr marL="285750" indent="-285750" defTabSz="1371566">
              <a:spcAft>
                <a:spcPts val="1200"/>
              </a:spcAft>
              <a:buClr>
                <a:srgbClr val="FF2C34"/>
              </a:buClr>
              <a:buFont typeface="Arial" panose="020B0604020202020204" pitchFamily="34" charset="0"/>
              <a:buChar char="•"/>
              <a:defRPr/>
            </a:pPr>
            <a:r>
              <a:rPr lang="es-ES" sz="1400" dirty="0" err="1">
                <a:solidFill>
                  <a:schemeClr val="bg1">
                    <a:lumMod val="10000"/>
                    <a:lumOff val="90000"/>
                  </a:schemeClr>
                </a:solidFill>
                <a:latin typeface="Montserrat"/>
                <a:cs typeface="Segoe UI Semilight"/>
              </a:rPr>
              <a:t>We</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transform</a:t>
            </a:r>
            <a:r>
              <a:rPr lang="es-ES" sz="1400" dirty="0">
                <a:solidFill>
                  <a:schemeClr val="bg1">
                    <a:lumMod val="10000"/>
                    <a:lumOff val="90000"/>
                  </a:schemeClr>
                </a:solidFill>
                <a:latin typeface="Montserrat"/>
                <a:cs typeface="Segoe UI Semilight"/>
              </a:rPr>
              <a:t> data </a:t>
            </a:r>
            <a:r>
              <a:rPr lang="es-ES" sz="1400" dirty="0" err="1">
                <a:solidFill>
                  <a:schemeClr val="bg1">
                    <a:lumMod val="10000"/>
                    <a:lumOff val="90000"/>
                  </a:schemeClr>
                </a:solidFill>
                <a:latin typeface="Montserrat"/>
                <a:cs typeface="Segoe UI Semilight"/>
              </a:rPr>
              <a:t>into</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strategic</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decisions</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with</a:t>
            </a:r>
            <a:r>
              <a:rPr lang="es-ES" sz="1400" dirty="0">
                <a:solidFill>
                  <a:schemeClr val="bg1">
                    <a:lumMod val="10000"/>
                    <a:lumOff val="90000"/>
                  </a:schemeClr>
                </a:solidFill>
                <a:latin typeface="Montserrat"/>
                <a:cs typeface="Segoe UI Semilight"/>
              </a:rPr>
              <a:t> AI and data </a:t>
            </a:r>
            <a:r>
              <a:rPr lang="es-ES" sz="1400" dirty="0" err="1">
                <a:solidFill>
                  <a:schemeClr val="bg1">
                    <a:lumMod val="10000"/>
                    <a:lumOff val="90000"/>
                  </a:schemeClr>
                </a:solidFill>
                <a:latin typeface="Montserrat"/>
                <a:cs typeface="Segoe UI Semilight"/>
              </a:rPr>
              <a:t>science</a:t>
            </a:r>
            <a:r>
              <a:rPr lang="es-ES" sz="1400" dirty="0">
                <a:solidFill>
                  <a:schemeClr val="bg1">
                    <a:lumMod val="10000"/>
                    <a:lumOff val="90000"/>
                  </a:schemeClr>
                </a:solidFill>
                <a:latin typeface="Montserrat"/>
                <a:cs typeface="Segoe UI Semilight"/>
              </a:rPr>
              <a:t>.</a:t>
            </a:r>
            <a:endParaRPr lang="es-ES" sz="1400" dirty="0">
              <a:solidFill>
                <a:schemeClr val="bg1">
                  <a:lumMod val="10000"/>
                  <a:lumOff val="90000"/>
                </a:schemeClr>
              </a:solidFill>
              <a:latin typeface="Montserrat" panose="00000500000000000000" pitchFamily="2" charset="0"/>
              <a:cs typeface="Segoe UI Semilight" panose="020B0402040204020203" pitchFamily="34" charset="0"/>
            </a:endParaRPr>
          </a:p>
          <a:p>
            <a:pPr marL="285750" indent="-285750" defTabSz="1371566">
              <a:spcAft>
                <a:spcPts val="1200"/>
              </a:spcAft>
              <a:buClr>
                <a:srgbClr val="FF2C34"/>
              </a:buClr>
              <a:buFont typeface="Arial" panose="020B0604020202020204" pitchFamily="34" charset="0"/>
              <a:buChar char="•"/>
              <a:defRPr/>
            </a:pPr>
            <a:r>
              <a:rPr lang="es-ES" sz="1400" dirty="0" err="1">
                <a:solidFill>
                  <a:schemeClr val="bg1">
                    <a:lumMod val="10000"/>
                    <a:lumOff val="90000"/>
                  </a:schemeClr>
                </a:solidFill>
                <a:latin typeface="Montserrat"/>
                <a:cs typeface="Segoe UI Semilight"/>
              </a:rPr>
              <a:t>We</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accelerate</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decision</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models</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for</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quick</a:t>
            </a:r>
            <a:r>
              <a:rPr lang="es-ES" sz="1400" dirty="0">
                <a:solidFill>
                  <a:schemeClr val="bg1">
                    <a:lumMod val="10000"/>
                    <a:lumOff val="90000"/>
                  </a:schemeClr>
                </a:solidFill>
                <a:latin typeface="Montserrat"/>
                <a:cs typeface="Segoe UI Semilight"/>
              </a:rPr>
              <a:t> and </a:t>
            </a:r>
            <a:r>
              <a:rPr lang="es-ES" sz="1400" dirty="0" err="1">
                <a:solidFill>
                  <a:schemeClr val="bg1">
                    <a:lumMod val="10000"/>
                    <a:lumOff val="90000"/>
                  </a:schemeClr>
                </a:solidFill>
                <a:latin typeface="Montserrat"/>
                <a:cs typeface="Segoe UI Semilight"/>
              </a:rPr>
              <a:t>assertive</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choices</a:t>
            </a:r>
            <a:r>
              <a:rPr lang="es-ES" sz="1400" dirty="0">
                <a:solidFill>
                  <a:schemeClr val="bg1">
                    <a:lumMod val="10000"/>
                    <a:lumOff val="90000"/>
                  </a:schemeClr>
                </a:solidFill>
                <a:latin typeface="Montserrat"/>
                <a:cs typeface="Segoe UI Semilight"/>
              </a:rPr>
              <a:t>.</a:t>
            </a:r>
            <a:endParaRPr lang="es-ES" dirty="0">
              <a:solidFill>
                <a:schemeClr val="bg1">
                  <a:lumMod val="10000"/>
                  <a:lumOff val="90000"/>
                </a:schemeClr>
              </a:solidFill>
            </a:endParaRPr>
          </a:p>
          <a:p>
            <a:pPr marL="285750" indent="-285750" defTabSz="1371566">
              <a:spcAft>
                <a:spcPts val="1200"/>
              </a:spcAft>
              <a:buClr>
                <a:srgbClr val="FF2C34"/>
              </a:buClr>
              <a:buFont typeface="Arial" panose="020B0604020202020204" pitchFamily="34" charset="0"/>
              <a:buChar char="•"/>
              <a:defRPr/>
            </a:pPr>
            <a:r>
              <a:rPr lang="es-ES" sz="1400" err="1">
                <a:solidFill>
                  <a:schemeClr val="bg1">
                    <a:lumMod val="10000"/>
                    <a:lumOff val="90000"/>
                  </a:schemeClr>
                </a:solidFill>
                <a:latin typeface="Montserrat"/>
                <a:cs typeface="Segoe UI Semilight"/>
              </a:rPr>
              <a:t>We</a:t>
            </a:r>
            <a:r>
              <a:rPr lang="es-ES" sz="1400" dirty="0">
                <a:solidFill>
                  <a:schemeClr val="bg1">
                    <a:lumMod val="10000"/>
                    <a:lumOff val="90000"/>
                  </a:schemeClr>
                </a:solidFill>
                <a:latin typeface="Montserrat"/>
                <a:cs typeface="Segoe UI Semilight"/>
              </a:rPr>
              <a:t> </a:t>
            </a:r>
            <a:r>
              <a:rPr lang="es-ES" sz="1400" err="1">
                <a:solidFill>
                  <a:schemeClr val="bg1">
                    <a:lumMod val="10000"/>
                    <a:lumOff val="90000"/>
                  </a:schemeClr>
                </a:solidFill>
                <a:latin typeface="Montserrat"/>
                <a:cs typeface="Segoe UI Semilight"/>
              </a:rPr>
              <a:t>generate</a:t>
            </a:r>
            <a:r>
              <a:rPr lang="es-ES" sz="1400" dirty="0">
                <a:solidFill>
                  <a:schemeClr val="bg1">
                    <a:lumMod val="10000"/>
                    <a:lumOff val="90000"/>
                  </a:schemeClr>
                </a:solidFill>
                <a:latin typeface="Montserrat"/>
                <a:cs typeface="Segoe UI Semilight"/>
              </a:rPr>
              <a:t> </a:t>
            </a:r>
            <a:r>
              <a:rPr lang="es-ES" sz="1400" err="1">
                <a:solidFill>
                  <a:schemeClr val="bg1">
                    <a:lumMod val="10000"/>
                    <a:lumOff val="90000"/>
                  </a:schemeClr>
                </a:solidFill>
                <a:latin typeface="Montserrat"/>
                <a:cs typeface="Segoe UI Semilight"/>
              </a:rPr>
              <a:t>insights</a:t>
            </a:r>
            <a:r>
              <a:rPr lang="es-ES" sz="1400" dirty="0">
                <a:solidFill>
                  <a:schemeClr val="bg1">
                    <a:lumMod val="10000"/>
                    <a:lumOff val="90000"/>
                  </a:schemeClr>
                </a:solidFill>
                <a:latin typeface="Montserrat"/>
                <a:cs typeface="Segoe UI Semilight"/>
              </a:rPr>
              <a:t> </a:t>
            </a:r>
            <a:r>
              <a:rPr lang="es-ES" sz="1400" err="1">
                <a:solidFill>
                  <a:schemeClr val="bg1">
                    <a:lumMod val="10000"/>
                    <a:lumOff val="90000"/>
                  </a:schemeClr>
                </a:solidFill>
                <a:latin typeface="Montserrat"/>
                <a:cs typeface="Segoe UI Semilight"/>
              </a:rPr>
              <a:t>to</a:t>
            </a:r>
            <a:r>
              <a:rPr lang="es-ES" sz="1400" dirty="0">
                <a:solidFill>
                  <a:schemeClr val="bg1">
                    <a:lumMod val="10000"/>
                    <a:lumOff val="90000"/>
                  </a:schemeClr>
                </a:solidFill>
                <a:latin typeface="Montserrat"/>
                <a:cs typeface="Segoe UI Semilight"/>
              </a:rPr>
              <a:t> </a:t>
            </a:r>
            <a:r>
              <a:rPr lang="es-ES" sz="1400" err="1">
                <a:solidFill>
                  <a:schemeClr val="bg1">
                    <a:lumMod val="10000"/>
                    <a:lumOff val="90000"/>
                  </a:schemeClr>
                </a:solidFill>
                <a:latin typeface="Montserrat"/>
                <a:cs typeface="Segoe UI Semilight"/>
              </a:rPr>
              <a:t>optimize</a:t>
            </a:r>
            <a:r>
              <a:rPr lang="es-ES" sz="1400" dirty="0">
                <a:solidFill>
                  <a:schemeClr val="bg1">
                    <a:lumMod val="10000"/>
                    <a:lumOff val="90000"/>
                  </a:schemeClr>
                </a:solidFill>
                <a:latin typeface="Montserrat"/>
                <a:cs typeface="Segoe UI Semilight"/>
              </a:rPr>
              <a:t> </a:t>
            </a:r>
            <a:r>
              <a:rPr lang="es-ES" sz="1400" err="1">
                <a:solidFill>
                  <a:schemeClr val="bg1">
                    <a:lumMod val="10000"/>
                    <a:lumOff val="90000"/>
                  </a:schemeClr>
                </a:solidFill>
                <a:latin typeface="Montserrat"/>
                <a:cs typeface="Segoe UI Semilight"/>
              </a:rPr>
              <a:t>processes</a:t>
            </a:r>
            <a:r>
              <a:rPr lang="es-ES" sz="1400" dirty="0">
                <a:solidFill>
                  <a:schemeClr val="bg1">
                    <a:lumMod val="10000"/>
                    <a:lumOff val="90000"/>
                  </a:schemeClr>
                </a:solidFill>
                <a:latin typeface="Montserrat"/>
                <a:cs typeface="Segoe UI Semilight"/>
              </a:rPr>
              <a:t> and </a:t>
            </a:r>
            <a:r>
              <a:rPr lang="es-ES" sz="1400" err="1">
                <a:solidFill>
                  <a:schemeClr val="bg1">
                    <a:lumMod val="10000"/>
                    <a:lumOff val="90000"/>
                  </a:schemeClr>
                </a:solidFill>
                <a:latin typeface="Montserrat"/>
                <a:cs typeface="Segoe UI Semilight"/>
              </a:rPr>
              <a:t>strategies</a:t>
            </a:r>
            <a:r>
              <a:rPr lang="es-ES" sz="1400">
                <a:solidFill>
                  <a:schemeClr val="bg1">
                    <a:lumMod val="10000"/>
                    <a:lumOff val="90000"/>
                  </a:schemeClr>
                </a:solidFill>
                <a:latin typeface="Montserrat"/>
                <a:cs typeface="Segoe UI Semilight"/>
              </a:rPr>
              <a:t>.</a:t>
            </a:r>
            <a:endParaRPr lang="es-ES">
              <a:solidFill>
                <a:schemeClr val="bg1">
                  <a:lumMod val="10000"/>
                  <a:lumOff val="90000"/>
                </a:schemeClr>
              </a:solidFill>
            </a:endParaRPr>
          </a:p>
          <a:p>
            <a:pPr marL="285750" indent="-285750" defTabSz="1371566">
              <a:spcAft>
                <a:spcPts val="1200"/>
              </a:spcAft>
              <a:buClr>
                <a:srgbClr val="FF2C34"/>
              </a:buClr>
              <a:buFont typeface="Arial" panose="020B0604020202020204" pitchFamily="34" charset="0"/>
              <a:buChar char="•"/>
              <a:defRPr/>
            </a:pPr>
            <a:r>
              <a:rPr lang="es-ES" sz="1400" dirty="0" err="1">
                <a:solidFill>
                  <a:schemeClr val="bg1">
                    <a:lumMod val="10000"/>
                    <a:lumOff val="90000"/>
                  </a:schemeClr>
                </a:solidFill>
                <a:latin typeface="Montserrat"/>
                <a:cs typeface="Segoe UI Semilight"/>
              </a:rPr>
              <a:t>We</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offer</a:t>
            </a:r>
            <a:r>
              <a:rPr lang="es-ES" sz="1400" dirty="0">
                <a:solidFill>
                  <a:schemeClr val="bg1">
                    <a:lumMod val="10000"/>
                    <a:lumOff val="90000"/>
                  </a:schemeClr>
                </a:solidFill>
                <a:latin typeface="Montserrat"/>
                <a:cs typeface="Segoe UI Semilight"/>
              </a:rPr>
              <a:t> a </a:t>
            </a:r>
            <a:r>
              <a:rPr lang="es-ES" sz="1400" dirty="0" err="1">
                <a:solidFill>
                  <a:schemeClr val="bg1">
                    <a:lumMod val="10000"/>
                    <a:lumOff val="90000"/>
                  </a:schemeClr>
                </a:solidFill>
                <a:latin typeface="Montserrat"/>
                <a:cs typeface="Segoe UI Semilight"/>
              </a:rPr>
              <a:t>broader</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vision</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with</a:t>
            </a:r>
            <a:r>
              <a:rPr lang="es-ES" sz="1400" dirty="0">
                <a:solidFill>
                  <a:schemeClr val="bg1">
                    <a:lumMod val="10000"/>
                    <a:lumOff val="90000"/>
                  </a:schemeClr>
                </a:solidFill>
                <a:latin typeface="Montserrat"/>
                <a:cs typeface="Segoe UI Semilight"/>
              </a:rPr>
              <a:t> Big Data and Business </a:t>
            </a:r>
            <a:r>
              <a:rPr lang="es-ES" sz="1400" dirty="0" err="1">
                <a:solidFill>
                  <a:schemeClr val="bg1">
                    <a:lumMod val="10000"/>
                    <a:lumOff val="90000"/>
                  </a:schemeClr>
                </a:solidFill>
                <a:latin typeface="Montserrat"/>
                <a:cs typeface="Segoe UI Semilight"/>
              </a:rPr>
              <a:t>intelligence</a:t>
            </a:r>
            <a:r>
              <a:rPr lang="es-ES" sz="1400" dirty="0">
                <a:solidFill>
                  <a:schemeClr val="bg1">
                    <a:lumMod val="10000"/>
                    <a:lumOff val="90000"/>
                  </a:schemeClr>
                </a:solidFill>
                <a:latin typeface="Montserrat"/>
                <a:cs typeface="Segoe UI Semilight"/>
              </a:rPr>
              <a:t>.</a:t>
            </a:r>
            <a:endParaRPr lang="es-ES" dirty="0">
              <a:solidFill>
                <a:schemeClr val="bg1">
                  <a:lumMod val="10000"/>
                  <a:lumOff val="90000"/>
                </a:schemeClr>
              </a:solidFill>
            </a:endParaRPr>
          </a:p>
        </p:txBody>
      </p:sp>
      <p:sp>
        <p:nvSpPr>
          <p:cNvPr id="27" name="CaixaDeTexto 15">
            <a:extLst>
              <a:ext uri="{FF2B5EF4-FFF2-40B4-BE49-F238E27FC236}">
                <a16:creationId xmlns:a16="http://schemas.microsoft.com/office/drawing/2014/main" id="{7ECBDE22-B264-D254-98B5-7EACBDC2B7A0}"/>
              </a:ext>
            </a:extLst>
          </p:cNvPr>
          <p:cNvSpPr txBox="1"/>
          <p:nvPr/>
        </p:nvSpPr>
        <p:spPr>
          <a:xfrm>
            <a:off x="12413224" y="7608150"/>
            <a:ext cx="5525989" cy="2348848"/>
          </a:xfrm>
          <a:prstGeom prst="rect">
            <a:avLst/>
          </a:prstGeom>
          <a:noFill/>
        </p:spPr>
        <p:txBody>
          <a:bodyPr wrap="square" lIns="91440" tIns="45720" rIns="91440" bIns="45720" anchor="t">
            <a:spAutoFit/>
          </a:bodyPr>
          <a:lstStyle>
            <a:defPPr>
              <a:defRPr lang="pt-B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1371566">
              <a:lnSpc>
                <a:spcPts val="1800"/>
              </a:lnSpc>
              <a:spcAft>
                <a:spcPts val="1200"/>
              </a:spcAft>
              <a:defRPr/>
            </a:pPr>
            <a:r>
              <a:rPr lang="es-ES" sz="1400" dirty="0">
                <a:highlight>
                  <a:srgbClr val="6800FF"/>
                </a:highlight>
                <a:latin typeface="Montserrat SemiBold"/>
                <a:cs typeface="Segoe UI Semilight"/>
              </a:rPr>
              <a:t>SAP </a:t>
            </a:r>
            <a:r>
              <a:rPr lang="es-ES" sz="1400" dirty="0" err="1">
                <a:highlight>
                  <a:srgbClr val="6800FF"/>
                </a:highlight>
                <a:latin typeface="Montserrat SemiBold"/>
                <a:cs typeface="Segoe UI Semilight"/>
              </a:rPr>
              <a:t>Solutions</a:t>
            </a:r>
            <a:r>
              <a:rPr lang="es-ES" sz="1400" dirty="0">
                <a:highlight>
                  <a:srgbClr val="6800FF"/>
                </a:highlight>
                <a:latin typeface="Montserrat SemiBold"/>
                <a:cs typeface="Segoe UI Semilight"/>
              </a:rPr>
              <a:t> and </a:t>
            </a:r>
            <a:r>
              <a:rPr lang="es-ES" sz="1400" dirty="0" err="1">
                <a:highlight>
                  <a:srgbClr val="6800FF"/>
                </a:highlight>
                <a:latin typeface="Montserrat SemiBold"/>
                <a:cs typeface="Segoe UI Semilight"/>
              </a:rPr>
              <a:t>technological</a:t>
            </a:r>
            <a:r>
              <a:rPr lang="es-ES" sz="1400" dirty="0">
                <a:highlight>
                  <a:srgbClr val="6800FF"/>
                </a:highlight>
                <a:latin typeface="Montserrat SemiBold"/>
                <a:cs typeface="Segoe UI Semilight"/>
              </a:rPr>
              <a:t> </a:t>
            </a:r>
            <a:r>
              <a:rPr lang="es-ES" sz="1400" dirty="0" err="1">
                <a:highlight>
                  <a:srgbClr val="6800FF"/>
                </a:highlight>
                <a:latin typeface="Montserrat SemiBold"/>
                <a:cs typeface="Segoe UI Semilight"/>
              </a:rPr>
              <a:t>Capacity</a:t>
            </a:r>
            <a:endParaRPr lang="en-US" dirty="0" err="1">
              <a:ea typeface="+mn-ea"/>
            </a:endParaRPr>
          </a:p>
          <a:p>
            <a:pPr marL="171450" indent="-171450" defTabSz="1371566">
              <a:lnSpc>
                <a:spcPts val="1800"/>
              </a:lnSpc>
              <a:spcBef>
                <a:spcPts val="300"/>
              </a:spcBef>
              <a:spcAft>
                <a:spcPts val="300"/>
              </a:spcAft>
              <a:buClr>
                <a:srgbClr val="6800FF"/>
              </a:buClr>
              <a:buFont typeface="Arial" panose="020B0604020202020204" pitchFamily="34" charset="0"/>
              <a:buChar char="•"/>
              <a:defRPr/>
            </a:pPr>
            <a:r>
              <a:rPr lang="es-ES" sz="1400" dirty="0">
                <a:solidFill>
                  <a:schemeClr val="bg1">
                    <a:lumMod val="10000"/>
                    <a:lumOff val="90000"/>
                  </a:schemeClr>
                </a:solidFill>
                <a:latin typeface="Montserrat"/>
                <a:cs typeface="Arial"/>
              </a:rPr>
              <a:t> </a:t>
            </a:r>
            <a:r>
              <a:rPr lang="es-ES" sz="1400" dirty="0" err="1">
                <a:solidFill>
                  <a:schemeClr val="bg1">
                    <a:lumMod val="10000"/>
                    <a:lumOff val="90000"/>
                  </a:schemeClr>
                </a:solidFill>
                <a:latin typeface="Montserrat"/>
                <a:cs typeface="Arial"/>
              </a:rPr>
              <a:t>Strategic</a:t>
            </a:r>
            <a:r>
              <a:rPr lang="es-ES" sz="1400" dirty="0">
                <a:solidFill>
                  <a:schemeClr val="bg1">
                    <a:lumMod val="10000"/>
                    <a:lumOff val="90000"/>
                  </a:schemeClr>
                </a:solidFill>
                <a:latin typeface="Montserrat"/>
                <a:cs typeface="Arial"/>
              </a:rPr>
              <a:t> </a:t>
            </a:r>
            <a:r>
              <a:rPr lang="es-ES" sz="1400" dirty="0" err="1">
                <a:solidFill>
                  <a:schemeClr val="bg1">
                    <a:lumMod val="10000"/>
                    <a:lumOff val="90000"/>
                  </a:schemeClr>
                </a:solidFill>
                <a:latin typeface="Montserrat"/>
                <a:cs typeface="Arial"/>
              </a:rPr>
              <a:t>support</a:t>
            </a:r>
            <a:r>
              <a:rPr lang="es-ES" sz="1400" dirty="0">
                <a:solidFill>
                  <a:schemeClr val="bg1">
                    <a:lumMod val="10000"/>
                    <a:lumOff val="90000"/>
                  </a:schemeClr>
                </a:solidFill>
                <a:latin typeface="Montserrat"/>
                <a:cs typeface="Arial"/>
              </a:rPr>
              <a:t> in </a:t>
            </a:r>
            <a:r>
              <a:rPr lang="es-ES" sz="1400" dirty="0" err="1">
                <a:solidFill>
                  <a:schemeClr val="bg1">
                    <a:lumMod val="10000"/>
                    <a:lumOff val="90000"/>
                  </a:schemeClr>
                </a:solidFill>
                <a:latin typeface="Montserrat"/>
                <a:cs typeface="Arial"/>
              </a:rPr>
              <a:t>the</a:t>
            </a:r>
            <a:r>
              <a:rPr lang="es-ES" sz="1400" dirty="0">
                <a:solidFill>
                  <a:schemeClr val="bg1">
                    <a:lumMod val="10000"/>
                    <a:lumOff val="90000"/>
                  </a:schemeClr>
                </a:solidFill>
                <a:latin typeface="Montserrat"/>
                <a:cs typeface="Arial"/>
              </a:rPr>
              <a:t> </a:t>
            </a:r>
            <a:r>
              <a:rPr lang="es-ES" sz="1400" dirty="0" err="1">
                <a:solidFill>
                  <a:schemeClr val="bg1">
                    <a:lumMod val="10000"/>
                    <a:lumOff val="90000"/>
                  </a:schemeClr>
                </a:solidFill>
                <a:latin typeface="Montserrat"/>
                <a:cs typeface="Arial"/>
              </a:rPr>
              <a:t>selection</a:t>
            </a:r>
            <a:r>
              <a:rPr lang="es-ES" sz="1400" dirty="0">
                <a:solidFill>
                  <a:schemeClr val="bg1">
                    <a:lumMod val="10000"/>
                    <a:lumOff val="90000"/>
                  </a:schemeClr>
                </a:solidFill>
                <a:latin typeface="Montserrat"/>
                <a:cs typeface="Arial"/>
              </a:rPr>
              <a:t> and </a:t>
            </a:r>
            <a:r>
              <a:rPr lang="es-ES" sz="1400" dirty="0" err="1">
                <a:solidFill>
                  <a:schemeClr val="bg1">
                    <a:lumMod val="10000"/>
                    <a:lumOff val="90000"/>
                  </a:schemeClr>
                </a:solidFill>
                <a:latin typeface="Montserrat"/>
                <a:cs typeface="Arial"/>
              </a:rPr>
              <a:t>implementation</a:t>
            </a:r>
            <a:r>
              <a:rPr lang="es-ES" sz="1400" dirty="0">
                <a:solidFill>
                  <a:schemeClr val="bg1">
                    <a:lumMod val="10000"/>
                    <a:lumOff val="90000"/>
                  </a:schemeClr>
                </a:solidFill>
                <a:latin typeface="Montserrat"/>
                <a:cs typeface="Arial"/>
              </a:rPr>
              <a:t> </a:t>
            </a:r>
            <a:r>
              <a:rPr lang="es-ES" sz="1400" dirty="0" err="1">
                <a:solidFill>
                  <a:schemeClr val="bg1">
                    <a:lumMod val="10000"/>
                    <a:lumOff val="90000"/>
                  </a:schemeClr>
                </a:solidFill>
                <a:latin typeface="Montserrat"/>
                <a:cs typeface="Arial"/>
              </a:rPr>
              <a:t>of</a:t>
            </a:r>
            <a:r>
              <a:rPr lang="es-ES" sz="1400" dirty="0">
                <a:solidFill>
                  <a:schemeClr val="bg1">
                    <a:lumMod val="10000"/>
                    <a:lumOff val="90000"/>
                  </a:schemeClr>
                </a:solidFill>
                <a:latin typeface="Montserrat"/>
                <a:cs typeface="Arial"/>
              </a:rPr>
              <a:t> </a:t>
            </a:r>
            <a:r>
              <a:rPr lang="es-ES" sz="1400" dirty="0" err="1">
                <a:solidFill>
                  <a:schemeClr val="bg1">
                    <a:lumMod val="10000"/>
                    <a:lumOff val="90000"/>
                  </a:schemeClr>
                </a:solidFill>
                <a:latin typeface="Montserrat"/>
                <a:cs typeface="Arial"/>
              </a:rPr>
              <a:t>personalized</a:t>
            </a:r>
            <a:r>
              <a:rPr lang="es-ES" sz="1400" dirty="0">
                <a:solidFill>
                  <a:schemeClr val="bg1">
                    <a:lumMod val="10000"/>
                    <a:lumOff val="90000"/>
                  </a:schemeClr>
                </a:solidFill>
                <a:latin typeface="Montserrat"/>
                <a:cs typeface="Arial"/>
              </a:rPr>
              <a:t> SAP </a:t>
            </a:r>
            <a:r>
              <a:rPr lang="es-ES" sz="1400" dirty="0" err="1">
                <a:solidFill>
                  <a:schemeClr val="bg1">
                    <a:lumMod val="10000"/>
                    <a:lumOff val="90000"/>
                  </a:schemeClr>
                </a:solidFill>
                <a:latin typeface="Montserrat"/>
                <a:cs typeface="Arial"/>
              </a:rPr>
              <a:t>solutions</a:t>
            </a:r>
            <a:r>
              <a:rPr lang="es-ES" sz="1400" dirty="0">
                <a:solidFill>
                  <a:schemeClr val="bg1">
                    <a:lumMod val="10000"/>
                    <a:lumOff val="90000"/>
                  </a:schemeClr>
                </a:solidFill>
                <a:latin typeface="Montserrat"/>
                <a:cs typeface="Arial"/>
              </a:rPr>
              <a:t>. </a:t>
            </a:r>
          </a:p>
          <a:p>
            <a:pPr marL="171450" indent="-171450" defTabSz="1371566">
              <a:lnSpc>
                <a:spcPts val="1800"/>
              </a:lnSpc>
              <a:spcBef>
                <a:spcPts val="300"/>
              </a:spcBef>
              <a:spcAft>
                <a:spcPts val="300"/>
              </a:spcAft>
              <a:buClr>
                <a:srgbClr val="6800FF"/>
              </a:buClr>
              <a:buFont typeface="Arial" panose="020B0604020202020204" pitchFamily="34" charset="0"/>
              <a:buChar char="•"/>
              <a:defRPr/>
            </a:pPr>
            <a:r>
              <a:rPr lang="es-ES" sz="1400" dirty="0" err="1">
                <a:solidFill>
                  <a:schemeClr val="bg1">
                    <a:lumMod val="10000"/>
                    <a:lumOff val="90000"/>
                  </a:schemeClr>
                </a:solidFill>
                <a:latin typeface="Montserrat"/>
                <a:cs typeface="Arial"/>
              </a:rPr>
              <a:t>Experience</a:t>
            </a:r>
            <a:r>
              <a:rPr lang="es-ES" sz="1400" dirty="0">
                <a:solidFill>
                  <a:schemeClr val="bg1">
                    <a:lumMod val="10000"/>
                    <a:lumOff val="90000"/>
                  </a:schemeClr>
                </a:solidFill>
                <a:latin typeface="Montserrat"/>
                <a:cs typeface="Arial"/>
              </a:rPr>
              <a:t> in </a:t>
            </a:r>
            <a:r>
              <a:rPr lang="es-ES" sz="1400" dirty="0" err="1">
                <a:solidFill>
                  <a:schemeClr val="bg1">
                    <a:lumMod val="10000"/>
                    <a:lumOff val="90000"/>
                  </a:schemeClr>
                </a:solidFill>
                <a:latin typeface="Montserrat"/>
                <a:cs typeface="Arial"/>
              </a:rPr>
              <a:t>on</a:t>
            </a:r>
            <a:r>
              <a:rPr lang="es-ES" sz="1400" dirty="0">
                <a:solidFill>
                  <a:schemeClr val="bg1">
                    <a:lumMod val="10000"/>
                    <a:lumOff val="90000"/>
                  </a:schemeClr>
                </a:solidFill>
                <a:latin typeface="Montserrat"/>
                <a:cs typeface="Arial"/>
              </a:rPr>
              <a:t>-premise and </a:t>
            </a:r>
            <a:r>
              <a:rPr lang="es-ES" sz="1400" dirty="0" err="1">
                <a:solidFill>
                  <a:schemeClr val="bg1">
                    <a:lumMod val="10000"/>
                    <a:lumOff val="90000"/>
                  </a:schemeClr>
                </a:solidFill>
                <a:latin typeface="Montserrat"/>
                <a:cs typeface="Arial"/>
              </a:rPr>
              <a:t>cloud</a:t>
            </a:r>
            <a:r>
              <a:rPr lang="es-ES" sz="1400" dirty="0">
                <a:solidFill>
                  <a:schemeClr val="bg1">
                    <a:lumMod val="10000"/>
                    <a:lumOff val="90000"/>
                  </a:schemeClr>
                </a:solidFill>
                <a:latin typeface="Montserrat"/>
                <a:cs typeface="Arial"/>
              </a:rPr>
              <a:t> </a:t>
            </a:r>
            <a:r>
              <a:rPr lang="es-ES" sz="1400" dirty="0" err="1">
                <a:solidFill>
                  <a:schemeClr val="bg1">
                    <a:lumMod val="10000"/>
                    <a:lumOff val="90000"/>
                  </a:schemeClr>
                </a:solidFill>
                <a:latin typeface="Montserrat"/>
                <a:cs typeface="Arial"/>
              </a:rPr>
              <a:t>environments</a:t>
            </a:r>
            <a:r>
              <a:rPr lang="es-ES" sz="1400" dirty="0">
                <a:solidFill>
                  <a:schemeClr val="bg1">
                    <a:lumMod val="10000"/>
                    <a:lumOff val="90000"/>
                  </a:schemeClr>
                </a:solidFill>
                <a:latin typeface="Montserrat"/>
                <a:cs typeface="Arial"/>
              </a:rPr>
              <a:t>. </a:t>
            </a:r>
          </a:p>
          <a:p>
            <a:pPr marL="171450" indent="-171450" defTabSz="1371566">
              <a:lnSpc>
                <a:spcPts val="1800"/>
              </a:lnSpc>
              <a:spcBef>
                <a:spcPts val="300"/>
              </a:spcBef>
              <a:spcAft>
                <a:spcPts val="300"/>
              </a:spcAft>
              <a:buClr>
                <a:srgbClr val="6800FF"/>
              </a:buClr>
              <a:buFont typeface="Arial" panose="020B0604020202020204" pitchFamily="34" charset="0"/>
              <a:buChar char="•"/>
              <a:defRPr/>
            </a:pPr>
            <a:r>
              <a:rPr lang="es-ES" sz="1400" dirty="0" err="1">
                <a:solidFill>
                  <a:schemeClr val="bg1">
                    <a:lumMod val="10000"/>
                    <a:lumOff val="90000"/>
                  </a:schemeClr>
                </a:solidFill>
                <a:latin typeface="Montserrat"/>
                <a:cs typeface="Arial"/>
              </a:rPr>
              <a:t>We</a:t>
            </a:r>
            <a:r>
              <a:rPr lang="es-ES" sz="1400" dirty="0">
                <a:solidFill>
                  <a:schemeClr val="bg1">
                    <a:lumMod val="10000"/>
                    <a:lumOff val="90000"/>
                  </a:schemeClr>
                </a:solidFill>
                <a:latin typeface="Montserrat"/>
                <a:cs typeface="Arial"/>
              </a:rPr>
              <a:t> </a:t>
            </a:r>
            <a:r>
              <a:rPr lang="es-ES" sz="1400" dirty="0" err="1">
                <a:solidFill>
                  <a:schemeClr val="bg1">
                    <a:lumMod val="10000"/>
                    <a:lumOff val="90000"/>
                  </a:schemeClr>
                </a:solidFill>
                <a:latin typeface="Montserrat"/>
                <a:cs typeface="Arial"/>
              </a:rPr>
              <a:t>guarantee</a:t>
            </a:r>
            <a:r>
              <a:rPr lang="es-ES" sz="1400" dirty="0">
                <a:solidFill>
                  <a:schemeClr val="bg1">
                    <a:lumMod val="10000"/>
                    <a:lumOff val="90000"/>
                  </a:schemeClr>
                </a:solidFill>
                <a:latin typeface="Montserrat"/>
                <a:cs typeface="Arial"/>
              </a:rPr>
              <a:t> </a:t>
            </a:r>
            <a:r>
              <a:rPr lang="es-ES" sz="1400" dirty="0" err="1">
                <a:solidFill>
                  <a:schemeClr val="bg1">
                    <a:lumMod val="10000"/>
                    <a:lumOff val="90000"/>
                  </a:schemeClr>
                </a:solidFill>
                <a:latin typeface="Montserrat"/>
                <a:cs typeface="Arial"/>
              </a:rPr>
              <a:t>optimized</a:t>
            </a:r>
            <a:r>
              <a:rPr lang="es-ES" sz="1400" dirty="0">
                <a:solidFill>
                  <a:schemeClr val="bg1">
                    <a:lumMod val="10000"/>
                    <a:lumOff val="90000"/>
                  </a:schemeClr>
                </a:solidFill>
                <a:latin typeface="Montserrat"/>
                <a:cs typeface="Arial"/>
              </a:rPr>
              <a:t>, </a:t>
            </a:r>
            <a:r>
              <a:rPr lang="es-ES" sz="1400" dirty="0" err="1">
                <a:solidFill>
                  <a:schemeClr val="bg1">
                    <a:lumMod val="10000"/>
                    <a:lumOff val="90000"/>
                  </a:schemeClr>
                </a:solidFill>
                <a:latin typeface="Montserrat"/>
                <a:cs typeface="Arial"/>
              </a:rPr>
              <a:t>scalable</a:t>
            </a:r>
            <a:r>
              <a:rPr lang="es-ES" sz="1400" dirty="0">
                <a:solidFill>
                  <a:schemeClr val="bg1">
                    <a:lumMod val="10000"/>
                    <a:lumOff val="90000"/>
                  </a:schemeClr>
                </a:solidFill>
                <a:latin typeface="Montserrat"/>
                <a:cs typeface="Arial"/>
              </a:rPr>
              <a:t> and future-</a:t>
            </a:r>
            <a:r>
              <a:rPr lang="es-ES" sz="1400" dirty="0" err="1">
                <a:solidFill>
                  <a:schemeClr val="bg1">
                    <a:lumMod val="10000"/>
                    <a:lumOff val="90000"/>
                  </a:schemeClr>
                </a:solidFill>
                <a:latin typeface="Montserrat"/>
                <a:cs typeface="Arial"/>
              </a:rPr>
              <a:t>proof</a:t>
            </a:r>
            <a:r>
              <a:rPr lang="es-ES" sz="1400" dirty="0">
                <a:solidFill>
                  <a:schemeClr val="bg1">
                    <a:lumMod val="10000"/>
                    <a:lumOff val="90000"/>
                  </a:schemeClr>
                </a:solidFill>
                <a:latin typeface="Montserrat"/>
                <a:cs typeface="Arial"/>
              </a:rPr>
              <a:t> </a:t>
            </a:r>
            <a:r>
              <a:rPr lang="es-ES" sz="1400" dirty="0" err="1">
                <a:solidFill>
                  <a:schemeClr val="bg1">
                    <a:lumMod val="10000"/>
                    <a:lumOff val="90000"/>
                  </a:schemeClr>
                </a:solidFill>
                <a:latin typeface="Montserrat"/>
                <a:cs typeface="Arial"/>
              </a:rPr>
              <a:t>operations</a:t>
            </a:r>
            <a:r>
              <a:rPr lang="es-ES" sz="1400" dirty="0">
                <a:solidFill>
                  <a:schemeClr val="bg1">
                    <a:lumMod val="10000"/>
                    <a:lumOff val="90000"/>
                  </a:schemeClr>
                </a:solidFill>
                <a:latin typeface="Montserrat"/>
                <a:cs typeface="Arial"/>
              </a:rPr>
              <a:t>. </a:t>
            </a:r>
          </a:p>
          <a:p>
            <a:pPr marL="171450" indent="-171450" defTabSz="1371566">
              <a:lnSpc>
                <a:spcPts val="1800"/>
              </a:lnSpc>
              <a:spcBef>
                <a:spcPts val="300"/>
              </a:spcBef>
              <a:spcAft>
                <a:spcPts val="300"/>
              </a:spcAft>
              <a:buClr>
                <a:srgbClr val="6800FF"/>
              </a:buClr>
              <a:buFont typeface="Arial" panose="020B0604020202020204" pitchFamily="34" charset="0"/>
              <a:buChar char="•"/>
              <a:defRPr/>
            </a:pPr>
            <a:r>
              <a:rPr lang="es-ES" sz="1400" dirty="0" err="1">
                <a:solidFill>
                  <a:schemeClr val="bg1">
                    <a:lumMod val="10000"/>
                    <a:lumOff val="90000"/>
                  </a:schemeClr>
                </a:solidFill>
                <a:latin typeface="Montserrat"/>
                <a:cs typeface="Arial"/>
              </a:rPr>
              <a:t>We</a:t>
            </a:r>
            <a:r>
              <a:rPr lang="es-ES" sz="1400" dirty="0">
                <a:solidFill>
                  <a:schemeClr val="bg1">
                    <a:lumMod val="10000"/>
                    <a:lumOff val="90000"/>
                  </a:schemeClr>
                </a:solidFill>
                <a:latin typeface="Montserrat"/>
                <a:cs typeface="Arial"/>
              </a:rPr>
              <a:t> </a:t>
            </a:r>
            <a:r>
              <a:rPr lang="es-ES" sz="1400" dirty="0" err="1">
                <a:solidFill>
                  <a:schemeClr val="bg1">
                    <a:lumMod val="10000"/>
                    <a:lumOff val="90000"/>
                  </a:schemeClr>
                </a:solidFill>
                <a:latin typeface="Montserrat"/>
                <a:cs typeface="Arial"/>
              </a:rPr>
              <a:t>act</a:t>
            </a:r>
            <a:r>
              <a:rPr lang="es-ES" sz="1400" dirty="0">
                <a:solidFill>
                  <a:schemeClr val="bg1">
                    <a:lumMod val="10000"/>
                    <a:lumOff val="90000"/>
                  </a:schemeClr>
                </a:solidFill>
                <a:latin typeface="Montserrat"/>
                <a:cs typeface="Arial"/>
              </a:rPr>
              <a:t> </a:t>
            </a:r>
            <a:r>
              <a:rPr lang="es-ES" sz="1400" dirty="0" err="1">
                <a:solidFill>
                  <a:schemeClr val="bg1">
                    <a:lumMod val="10000"/>
                    <a:lumOff val="90000"/>
                  </a:schemeClr>
                </a:solidFill>
                <a:latin typeface="Montserrat"/>
                <a:cs typeface="Arial"/>
              </a:rPr>
              <a:t>to</a:t>
            </a:r>
            <a:r>
              <a:rPr lang="es-ES" sz="1400" dirty="0">
                <a:solidFill>
                  <a:schemeClr val="bg1">
                    <a:lumMod val="10000"/>
                    <a:lumOff val="90000"/>
                  </a:schemeClr>
                </a:solidFill>
                <a:latin typeface="Montserrat"/>
                <a:cs typeface="Arial"/>
              </a:rPr>
              <a:t> </a:t>
            </a:r>
            <a:r>
              <a:rPr lang="es-ES" sz="1400" dirty="0" err="1">
                <a:solidFill>
                  <a:schemeClr val="bg1">
                    <a:lumMod val="10000"/>
                    <a:lumOff val="90000"/>
                  </a:schemeClr>
                </a:solidFill>
                <a:latin typeface="Montserrat"/>
                <a:cs typeface="Arial"/>
              </a:rPr>
              <a:t>simplify</a:t>
            </a:r>
            <a:r>
              <a:rPr lang="es-ES" sz="1400" dirty="0">
                <a:solidFill>
                  <a:schemeClr val="bg1">
                    <a:lumMod val="10000"/>
                    <a:lumOff val="90000"/>
                  </a:schemeClr>
                </a:solidFill>
                <a:latin typeface="Montserrat"/>
                <a:cs typeface="Arial"/>
              </a:rPr>
              <a:t> </a:t>
            </a:r>
            <a:r>
              <a:rPr lang="es-ES" sz="1400" dirty="0" err="1">
                <a:solidFill>
                  <a:schemeClr val="bg1">
                    <a:lumMod val="10000"/>
                    <a:lumOff val="90000"/>
                  </a:schemeClr>
                </a:solidFill>
                <a:latin typeface="Montserrat"/>
                <a:cs typeface="Arial"/>
              </a:rPr>
              <a:t>processes</a:t>
            </a:r>
            <a:r>
              <a:rPr lang="es-ES" sz="1400" dirty="0">
                <a:solidFill>
                  <a:schemeClr val="bg1">
                    <a:lumMod val="10000"/>
                    <a:lumOff val="90000"/>
                  </a:schemeClr>
                </a:solidFill>
                <a:latin typeface="Montserrat"/>
                <a:cs typeface="Arial"/>
              </a:rPr>
              <a:t>, </a:t>
            </a:r>
            <a:r>
              <a:rPr lang="es-ES" sz="1400" dirty="0" err="1">
                <a:solidFill>
                  <a:schemeClr val="bg1">
                    <a:lumMod val="10000"/>
                    <a:lumOff val="90000"/>
                  </a:schemeClr>
                </a:solidFill>
                <a:latin typeface="Montserrat"/>
                <a:cs typeface="Arial"/>
              </a:rPr>
              <a:t>improve</a:t>
            </a:r>
            <a:r>
              <a:rPr lang="es-ES" sz="1400" dirty="0">
                <a:solidFill>
                  <a:schemeClr val="bg1">
                    <a:lumMod val="10000"/>
                    <a:lumOff val="90000"/>
                  </a:schemeClr>
                </a:solidFill>
                <a:latin typeface="Montserrat"/>
                <a:cs typeface="Arial"/>
              </a:rPr>
              <a:t> </a:t>
            </a:r>
            <a:r>
              <a:rPr lang="es-ES" sz="1400" dirty="0" err="1">
                <a:solidFill>
                  <a:schemeClr val="bg1">
                    <a:lumMod val="10000"/>
                    <a:lumOff val="90000"/>
                  </a:schemeClr>
                </a:solidFill>
                <a:latin typeface="Montserrat"/>
                <a:cs typeface="Arial"/>
              </a:rPr>
              <a:t>decision</a:t>
            </a:r>
            <a:r>
              <a:rPr lang="es-ES" sz="1400" dirty="0">
                <a:solidFill>
                  <a:schemeClr val="bg1">
                    <a:lumMod val="10000"/>
                    <a:lumOff val="90000"/>
                  </a:schemeClr>
                </a:solidFill>
                <a:latin typeface="Montserrat"/>
                <a:cs typeface="Arial"/>
              </a:rPr>
              <a:t> </a:t>
            </a:r>
            <a:r>
              <a:rPr lang="es-ES" sz="1400" dirty="0" err="1">
                <a:solidFill>
                  <a:schemeClr val="bg1">
                    <a:lumMod val="10000"/>
                    <a:lumOff val="90000"/>
                  </a:schemeClr>
                </a:solidFill>
                <a:latin typeface="Montserrat"/>
                <a:cs typeface="Arial"/>
              </a:rPr>
              <a:t>making</a:t>
            </a:r>
            <a:r>
              <a:rPr lang="es-ES" sz="1400" dirty="0">
                <a:solidFill>
                  <a:schemeClr val="bg1">
                    <a:lumMod val="10000"/>
                    <a:lumOff val="90000"/>
                  </a:schemeClr>
                </a:solidFill>
                <a:latin typeface="Montserrat"/>
                <a:cs typeface="Arial"/>
              </a:rPr>
              <a:t> and continue </a:t>
            </a:r>
            <a:r>
              <a:rPr lang="es-ES" sz="1400" dirty="0" err="1">
                <a:solidFill>
                  <a:schemeClr val="bg1">
                    <a:lumMod val="10000"/>
                    <a:lumOff val="90000"/>
                  </a:schemeClr>
                </a:solidFill>
                <a:latin typeface="Montserrat"/>
                <a:cs typeface="Arial"/>
              </a:rPr>
              <a:t>integration</a:t>
            </a:r>
            <a:r>
              <a:rPr lang="es-ES" sz="1400" dirty="0">
                <a:solidFill>
                  <a:schemeClr val="bg1">
                    <a:lumMod val="10000"/>
                    <a:lumOff val="90000"/>
                  </a:schemeClr>
                </a:solidFill>
                <a:latin typeface="Montserrat"/>
                <a:cs typeface="Arial"/>
              </a:rPr>
              <a:t> </a:t>
            </a:r>
            <a:r>
              <a:rPr lang="es-ES" sz="1400" dirty="0" err="1">
                <a:solidFill>
                  <a:schemeClr val="bg1">
                    <a:lumMod val="10000"/>
                    <a:lumOff val="90000"/>
                  </a:schemeClr>
                </a:solidFill>
                <a:latin typeface="Montserrat"/>
                <a:cs typeface="Arial"/>
              </a:rPr>
              <a:t>into</a:t>
            </a:r>
            <a:r>
              <a:rPr lang="es-ES" sz="1400" dirty="0">
                <a:solidFill>
                  <a:schemeClr val="bg1">
                    <a:lumMod val="10000"/>
                    <a:lumOff val="90000"/>
                  </a:schemeClr>
                </a:solidFill>
                <a:latin typeface="Montserrat"/>
                <a:cs typeface="Arial"/>
              </a:rPr>
              <a:t> </a:t>
            </a:r>
            <a:r>
              <a:rPr lang="es-ES" sz="1400" dirty="0" err="1">
                <a:solidFill>
                  <a:schemeClr val="bg1">
                    <a:lumMod val="10000"/>
                    <a:lumOff val="90000"/>
                  </a:schemeClr>
                </a:solidFill>
                <a:latin typeface="Montserrat"/>
                <a:cs typeface="Arial"/>
              </a:rPr>
              <a:t>the</a:t>
            </a:r>
            <a:r>
              <a:rPr lang="es-ES" sz="1400" dirty="0">
                <a:solidFill>
                  <a:schemeClr val="bg1">
                    <a:lumMod val="10000"/>
                    <a:lumOff val="90000"/>
                  </a:schemeClr>
                </a:solidFill>
                <a:latin typeface="Montserrat"/>
                <a:cs typeface="Arial"/>
              </a:rPr>
              <a:t> </a:t>
            </a:r>
            <a:r>
              <a:rPr lang="es-ES" sz="1400" dirty="0" err="1">
                <a:solidFill>
                  <a:schemeClr val="bg1">
                    <a:lumMod val="10000"/>
                    <a:lumOff val="90000"/>
                  </a:schemeClr>
                </a:solidFill>
                <a:latin typeface="Montserrat"/>
                <a:cs typeface="Arial"/>
              </a:rPr>
              <a:t>organization</a:t>
            </a:r>
            <a:r>
              <a:rPr lang="es-ES" sz="1400" dirty="0">
                <a:solidFill>
                  <a:schemeClr val="bg1">
                    <a:lumMod val="10000"/>
                    <a:lumOff val="90000"/>
                  </a:schemeClr>
                </a:solidFill>
                <a:latin typeface="Montserrat"/>
                <a:cs typeface="Arial"/>
              </a:rPr>
              <a:t>.</a:t>
            </a:r>
            <a:endParaRPr lang="es-CO" sz="1400" dirty="0">
              <a:solidFill>
                <a:schemeClr val="bg1">
                  <a:lumMod val="10000"/>
                  <a:lumOff val="90000"/>
                </a:schemeClr>
              </a:solidFill>
              <a:latin typeface="Montserrat"/>
              <a:cs typeface="Arial"/>
            </a:endParaRPr>
          </a:p>
        </p:txBody>
      </p:sp>
      <p:sp>
        <p:nvSpPr>
          <p:cNvPr id="3" name="CaixaDeTexto 15">
            <a:extLst>
              <a:ext uri="{FF2B5EF4-FFF2-40B4-BE49-F238E27FC236}">
                <a16:creationId xmlns:a16="http://schemas.microsoft.com/office/drawing/2014/main" id="{B309CA1C-6D8F-B4CE-FDED-819C171798A3}"/>
              </a:ext>
            </a:extLst>
          </p:cNvPr>
          <p:cNvSpPr txBox="1"/>
          <p:nvPr/>
        </p:nvSpPr>
        <p:spPr>
          <a:xfrm>
            <a:off x="12311598" y="487656"/>
            <a:ext cx="5627616" cy="2768515"/>
          </a:xfrm>
          <a:prstGeom prst="rect">
            <a:avLst/>
          </a:prstGeom>
          <a:noFill/>
        </p:spPr>
        <p:txBody>
          <a:bodyPr wrap="square" lIns="91440" tIns="45720" rIns="91440" bIns="45720" anchor="t">
            <a:spAutoFit/>
          </a:bodyPr>
          <a:lstStyle>
            <a:defPPr>
              <a:defRPr lang="pt-B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1371566">
              <a:lnSpc>
                <a:spcPts val="1800"/>
              </a:lnSpc>
              <a:spcAft>
                <a:spcPts val="1200"/>
              </a:spcAft>
              <a:defRPr/>
            </a:pPr>
            <a:r>
              <a:rPr lang="es-ES" sz="1400" b="1" dirty="0" err="1">
                <a:highlight>
                  <a:srgbClr val="B010F0"/>
                </a:highlight>
                <a:latin typeface="Montserrat"/>
                <a:cs typeface="Segoe UI Semilight"/>
              </a:rPr>
              <a:t>InfraestructuraDigital</a:t>
            </a:r>
            <a:r>
              <a:rPr lang="es-ES" sz="1400" b="1" dirty="0">
                <a:highlight>
                  <a:srgbClr val="B010F0"/>
                </a:highlight>
                <a:latin typeface="Montserrat"/>
                <a:cs typeface="Segoe UI Semilight"/>
              </a:rPr>
              <a:t> </a:t>
            </a:r>
            <a:r>
              <a:rPr lang="es-ES" sz="1400" b="1" dirty="0" err="1">
                <a:highlight>
                  <a:srgbClr val="B010F0"/>
                </a:highlight>
                <a:latin typeface="Montserrat"/>
                <a:cs typeface="Segoe UI Semilight"/>
              </a:rPr>
              <a:t>Infrastructure</a:t>
            </a:r>
            <a:r>
              <a:rPr lang="es-ES" sz="1400" b="1" dirty="0">
                <a:highlight>
                  <a:srgbClr val="B010F0"/>
                </a:highlight>
                <a:latin typeface="Montserrat"/>
                <a:cs typeface="Segoe UI Semilight"/>
              </a:rPr>
              <a:t> and Cloud </a:t>
            </a:r>
            <a:r>
              <a:rPr lang="es-ES" sz="1400" b="1" dirty="0" err="1">
                <a:highlight>
                  <a:srgbClr val="B010F0"/>
                </a:highlight>
                <a:latin typeface="Montserrat"/>
                <a:cs typeface="Segoe UI Semilight"/>
              </a:rPr>
              <a:t>Architecture</a:t>
            </a:r>
            <a:r>
              <a:rPr lang="es-ES" sz="1400" b="1" dirty="0">
                <a:highlight>
                  <a:srgbClr val="B010F0"/>
                </a:highlight>
                <a:latin typeface="Montserrat"/>
                <a:cs typeface="Segoe UI Semilight"/>
              </a:rPr>
              <a:t> </a:t>
            </a:r>
          </a:p>
          <a:p>
            <a:pPr marL="171450" indent="-171450" defTabSz="1371566">
              <a:lnSpc>
                <a:spcPts val="1800"/>
              </a:lnSpc>
              <a:spcAft>
                <a:spcPts val="1200"/>
              </a:spcAft>
              <a:buClr>
                <a:srgbClr val="B010F0"/>
              </a:buClr>
              <a:buFont typeface="Arial" panose="020B0604020202020204" pitchFamily="34" charset="0"/>
              <a:buChar char="•"/>
              <a:defRPr/>
            </a:pPr>
            <a:r>
              <a:rPr lang="es-ES" sz="1400" dirty="0" err="1">
                <a:solidFill>
                  <a:schemeClr val="bg1">
                    <a:lumMod val="10000"/>
                    <a:lumOff val="90000"/>
                  </a:schemeClr>
                </a:solidFill>
                <a:latin typeface="Montserrat"/>
                <a:cs typeface="Segoe UI Semilight"/>
              </a:rPr>
              <a:t>Design</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implementation</a:t>
            </a:r>
            <a:r>
              <a:rPr lang="es-ES" sz="1400" dirty="0">
                <a:solidFill>
                  <a:schemeClr val="bg1">
                    <a:lumMod val="10000"/>
                    <a:lumOff val="90000"/>
                  </a:schemeClr>
                </a:solidFill>
                <a:latin typeface="Montserrat"/>
                <a:cs typeface="Segoe UI Semilight"/>
              </a:rPr>
              <a:t> and </a:t>
            </a:r>
            <a:r>
              <a:rPr lang="es-ES" sz="1400" dirty="0" err="1">
                <a:solidFill>
                  <a:schemeClr val="bg1">
                    <a:lumMod val="10000"/>
                    <a:lumOff val="90000"/>
                  </a:schemeClr>
                </a:solidFill>
                <a:latin typeface="Montserrat"/>
                <a:cs typeface="Segoe UI Semilight"/>
              </a:rPr>
              <a:t>support</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of</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modern</a:t>
            </a:r>
            <a:r>
              <a:rPr lang="es-ES" sz="1400" dirty="0">
                <a:solidFill>
                  <a:schemeClr val="bg1">
                    <a:lumMod val="10000"/>
                    <a:lumOff val="90000"/>
                  </a:schemeClr>
                </a:solidFill>
                <a:latin typeface="Montserrat"/>
                <a:cs typeface="Segoe UI Semilight"/>
              </a:rPr>
              <a:t> digital </a:t>
            </a:r>
            <a:r>
              <a:rPr lang="es-ES" sz="1400" dirty="0" err="1">
                <a:solidFill>
                  <a:schemeClr val="bg1">
                    <a:lumMod val="10000"/>
                    <a:lumOff val="90000"/>
                  </a:schemeClr>
                </a:solidFill>
                <a:latin typeface="Montserrat"/>
                <a:cs typeface="Segoe UI Semilight"/>
              </a:rPr>
              <a:t>infrastructures</a:t>
            </a:r>
            <a:r>
              <a:rPr lang="es-ES" sz="1400" dirty="0">
                <a:solidFill>
                  <a:schemeClr val="bg1">
                    <a:lumMod val="10000"/>
                    <a:lumOff val="90000"/>
                  </a:schemeClr>
                </a:solidFill>
                <a:latin typeface="Montserrat"/>
                <a:cs typeface="Segoe UI Semilight"/>
              </a:rPr>
              <a:t>.</a:t>
            </a:r>
          </a:p>
          <a:p>
            <a:pPr marL="171450" indent="-171450" defTabSz="1371566">
              <a:lnSpc>
                <a:spcPts val="1800"/>
              </a:lnSpc>
              <a:spcAft>
                <a:spcPts val="1200"/>
              </a:spcAft>
              <a:buClr>
                <a:srgbClr val="B010F0"/>
              </a:buClr>
              <a:buFont typeface="Arial" panose="020B0604020202020204" pitchFamily="34" charset="0"/>
              <a:buChar char="•"/>
              <a:defRPr/>
            </a:pP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Acting</a:t>
            </a:r>
            <a:r>
              <a:rPr lang="es-ES" sz="1400" dirty="0">
                <a:solidFill>
                  <a:schemeClr val="bg1">
                    <a:lumMod val="10000"/>
                    <a:lumOff val="90000"/>
                  </a:schemeClr>
                </a:solidFill>
                <a:latin typeface="Montserrat"/>
                <a:cs typeface="Segoe UI Semilight"/>
              </a:rPr>
              <a:t> in </a:t>
            </a:r>
            <a:r>
              <a:rPr lang="es-ES" sz="1400" dirty="0" err="1">
                <a:solidFill>
                  <a:schemeClr val="bg1">
                    <a:lumMod val="10000"/>
                    <a:lumOff val="90000"/>
                  </a:schemeClr>
                </a:solidFill>
                <a:latin typeface="Montserrat"/>
                <a:cs typeface="Segoe UI Semilight"/>
              </a:rPr>
              <a:t>on</a:t>
            </a:r>
            <a:r>
              <a:rPr lang="es-ES" sz="1400" dirty="0">
                <a:solidFill>
                  <a:schemeClr val="bg1">
                    <a:lumMod val="10000"/>
                    <a:lumOff val="90000"/>
                  </a:schemeClr>
                </a:solidFill>
                <a:latin typeface="Montserrat"/>
                <a:cs typeface="Segoe UI Semilight"/>
              </a:rPr>
              <a:t>-premise and </a:t>
            </a:r>
            <a:r>
              <a:rPr lang="es-ES" sz="1400" dirty="0" err="1">
                <a:solidFill>
                  <a:schemeClr val="bg1">
                    <a:lumMod val="10000"/>
                    <a:lumOff val="90000"/>
                  </a:schemeClr>
                </a:solidFill>
                <a:latin typeface="Montserrat"/>
                <a:cs typeface="Segoe UI Semilight"/>
              </a:rPr>
              <a:t>cloud</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environments</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with</a:t>
            </a:r>
            <a:r>
              <a:rPr lang="es-ES" sz="1400" dirty="0">
                <a:solidFill>
                  <a:schemeClr val="bg1">
                    <a:lumMod val="10000"/>
                    <a:lumOff val="90000"/>
                  </a:schemeClr>
                </a:solidFill>
                <a:latin typeface="Montserrat"/>
                <a:cs typeface="Segoe UI Semilight"/>
              </a:rPr>
              <a:t> a </a:t>
            </a:r>
            <a:r>
              <a:rPr lang="es-ES" sz="1400" dirty="0" err="1">
                <a:solidFill>
                  <a:schemeClr val="bg1">
                    <a:lumMod val="10000"/>
                    <a:lumOff val="90000"/>
                  </a:schemeClr>
                </a:solidFill>
                <a:latin typeface="Montserrat"/>
                <a:cs typeface="Segoe UI Semilight"/>
              </a:rPr>
              <a:t>focus</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on</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robustness</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security</a:t>
            </a:r>
            <a:r>
              <a:rPr lang="es-ES" sz="1400" dirty="0">
                <a:solidFill>
                  <a:schemeClr val="bg1">
                    <a:lumMod val="10000"/>
                    <a:lumOff val="90000"/>
                  </a:schemeClr>
                </a:solidFill>
                <a:latin typeface="Montserrat"/>
                <a:cs typeface="Segoe UI Semilight"/>
              </a:rPr>
              <a:t> and </a:t>
            </a:r>
            <a:r>
              <a:rPr lang="es-ES" sz="1400" dirty="0" err="1">
                <a:solidFill>
                  <a:schemeClr val="bg1">
                    <a:lumMod val="10000"/>
                    <a:lumOff val="90000"/>
                  </a:schemeClr>
                </a:solidFill>
                <a:latin typeface="Montserrat"/>
                <a:cs typeface="Segoe UI Semilight"/>
              </a:rPr>
              <a:t>scalability</a:t>
            </a:r>
            <a:r>
              <a:rPr lang="es-ES" sz="1400" dirty="0">
                <a:solidFill>
                  <a:schemeClr val="bg1">
                    <a:lumMod val="10000"/>
                    <a:lumOff val="90000"/>
                  </a:schemeClr>
                </a:solidFill>
                <a:latin typeface="Montserrat"/>
                <a:cs typeface="Segoe UI Semilight"/>
              </a:rPr>
              <a:t>. </a:t>
            </a:r>
          </a:p>
          <a:p>
            <a:pPr marL="171450" indent="-171450" defTabSz="1371566">
              <a:lnSpc>
                <a:spcPts val="1800"/>
              </a:lnSpc>
              <a:spcAft>
                <a:spcPts val="1200"/>
              </a:spcAft>
              <a:buClr>
                <a:srgbClr val="B010F0"/>
              </a:buClr>
              <a:buFont typeface="Arial" panose="020B0604020202020204" pitchFamily="34" charset="0"/>
              <a:buChar char="•"/>
              <a:defRPr/>
            </a:pPr>
            <a:r>
              <a:rPr lang="es-ES" sz="1400" dirty="0" err="1">
                <a:solidFill>
                  <a:schemeClr val="bg1">
                    <a:lumMod val="10000"/>
                    <a:lumOff val="90000"/>
                  </a:schemeClr>
                </a:solidFill>
                <a:latin typeface="Montserrat"/>
                <a:cs typeface="Segoe UI Semilight"/>
              </a:rPr>
              <a:t>Creation</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of</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secure</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scalable</a:t>
            </a:r>
            <a:r>
              <a:rPr lang="es-ES" sz="1400" dirty="0">
                <a:solidFill>
                  <a:schemeClr val="bg1">
                    <a:lumMod val="10000"/>
                    <a:lumOff val="90000"/>
                  </a:schemeClr>
                </a:solidFill>
                <a:latin typeface="Montserrat"/>
                <a:cs typeface="Segoe UI Semilight"/>
              </a:rPr>
              <a:t> and </a:t>
            </a:r>
            <a:r>
              <a:rPr lang="es-ES" sz="1400" dirty="0" err="1">
                <a:solidFill>
                  <a:schemeClr val="bg1">
                    <a:lumMod val="10000"/>
                    <a:lumOff val="90000"/>
                  </a:schemeClr>
                </a:solidFill>
                <a:latin typeface="Montserrat"/>
                <a:cs typeface="Segoe UI Semilight"/>
              </a:rPr>
              <a:t>high</a:t>
            </a:r>
            <a:r>
              <a:rPr lang="es-ES" sz="1400" dirty="0">
                <a:solidFill>
                  <a:schemeClr val="bg1">
                    <a:lumMod val="10000"/>
                    <a:lumOff val="90000"/>
                  </a:schemeClr>
                </a:solidFill>
                <a:latin typeface="Montserrat"/>
                <a:cs typeface="Segoe UI Semilight"/>
              </a:rPr>
              <a:t>-performance </a:t>
            </a:r>
            <a:r>
              <a:rPr lang="es-ES" sz="1400" dirty="0" err="1">
                <a:solidFill>
                  <a:schemeClr val="bg1">
                    <a:lumMod val="10000"/>
                    <a:lumOff val="90000"/>
                  </a:schemeClr>
                </a:solidFill>
                <a:latin typeface="Montserrat"/>
                <a:cs typeface="Segoe UI Semilight"/>
              </a:rPr>
              <a:t>computing</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environments</a:t>
            </a:r>
            <a:r>
              <a:rPr lang="es-ES" sz="1400" dirty="0">
                <a:solidFill>
                  <a:schemeClr val="bg1">
                    <a:lumMod val="10000"/>
                    <a:lumOff val="90000"/>
                  </a:schemeClr>
                </a:solidFill>
                <a:latin typeface="Montserrat"/>
                <a:cs typeface="Segoe UI Semilight"/>
              </a:rPr>
              <a:t>. </a:t>
            </a:r>
          </a:p>
          <a:p>
            <a:pPr marL="171450" indent="-171450" defTabSz="1371566">
              <a:lnSpc>
                <a:spcPts val="1800"/>
              </a:lnSpc>
              <a:spcAft>
                <a:spcPts val="1200"/>
              </a:spcAft>
              <a:buClr>
                <a:srgbClr val="B010F0"/>
              </a:buClr>
              <a:buFont typeface="Arial" panose="020B0604020202020204" pitchFamily="34" charset="0"/>
              <a:buChar char="•"/>
              <a:defRPr/>
            </a:pPr>
            <a:r>
              <a:rPr lang="es-ES" sz="1400" err="1">
                <a:solidFill>
                  <a:schemeClr val="bg1">
                    <a:lumMod val="10000"/>
                    <a:lumOff val="90000"/>
                  </a:schemeClr>
                </a:solidFill>
                <a:latin typeface="Montserrat"/>
                <a:cs typeface="Segoe UI Semilight"/>
              </a:rPr>
              <a:t>Support</a:t>
            </a:r>
            <a:r>
              <a:rPr lang="es-ES" sz="1400">
                <a:solidFill>
                  <a:schemeClr val="bg1">
                    <a:lumMod val="10000"/>
                    <a:lumOff val="90000"/>
                  </a:schemeClr>
                </a:solidFill>
                <a:latin typeface="Montserrat"/>
                <a:cs typeface="Segoe UI Semilight"/>
              </a:rPr>
              <a:t> </a:t>
            </a:r>
            <a:r>
              <a:rPr lang="es-ES" sz="1400" err="1">
                <a:solidFill>
                  <a:schemeClr val="bg1">
                    <a:lumMod val="10000"/>
                    <a:lumOff val="90000"/>
                  </a:schemeClr>
                </a:solidFill>
                <a:latin typeface="Montserrat"/>
                <a:cs typeface="Segoe UI Semilight"/>
              </a:rPr>
              <a:t>efficiency</a:t>
            </a:r>
            <a:r>
              <a:rPr lang="es-ES" sz="1400">
                <a:solidFill>
                  <a:schemeClr val="bg1">
                    <a:lumMod val="10000"/>
                    <a:lumOff val="90000"/>
                  </a:schemeClr>
                </a:solidFill>
                <a:latin typeface="Montserrat"/>
                <a:cs typeface="Segoe UI Semilight"/>
              </a:rPr>
              <a:t> and innovation in </a:t>
            </a:r>
            <a:r>
              <a:rPr lang="es-ES" sz="1400" err="1">
                <a:solidFill>
                  <a:schemeClr val="bg1">
                    <a:lumMod val="10000"/>
                    <a:lumOff val="90000"/>
                  </a:schemeClr>
                </a:solidFill>
                <a:latin typeface="Montserrat"/>
                <a:cs typeface="Segoe UI Semilight"/>
              </a:rPr>
              <a:t>business</a:t>
            </a:r>
            <a:r>
              <a:rPr lang="es-ES" sz="1400">
                <a:solidFill>
                  <a:schemeClr val="bg1">
                    <a:lumMod val="10000"/>
                    <a:lumOff val="90000"/>
                  </a:schemeClr>
                </a:solidFill>
                <a:latin typeface="Montserrat"/>
                <a:cs typeface="Segoe UI Semilight"/>
              </a:rPr>
              <a:t> </a:t>
            </a:r>
            <a:r>
              <a:rPr lang="es-ES" sz="1400" err="1">
                <a:solidFill>
                  <a:schemeClr val="bg1">
                    <a:lumMod val="10000"/>
                    <a:lumOff val="90000"/>
                  </a:schemeClr>
                </a:solidFill>
                <a:latin typeface="Montserrat"/>
                <a:cs typeface="Segoe UI Semilight"/>
              </a:rPr>
              <a:t>operations</a:t>
            </a:r>
            <a:r>
              <a:rPr lang="es-ES" sz="1400">
                <a:solidFill>
                  <a:schemeClr val="bg1">
                    <a:lumMod val="10000"/>
                    <a:lumOff val="90000"/>
                  </a:schemeClr>
                </a:solidFill>
                <a:latin typeface="Montserrat"/>
                <a:cs typeface="Segoe UI Semilight"/>
              </a:rPr>
              <a:t>.</a:t>
            </a:r>
          </a:p>
        </p:txBody>
      </p:sp>
      <p:sp>
        <p:nvSpPr>
          <p:cNvPr id="6" name="Google Shape;485;p73">
            <a:extLst>
              <a:ext uri="{FF2B5EF4-FFF2-40B4-BE49-F238E27FC236}">
                <a16:creationId xmlns:a16="http://schemas.microsoft.com/office/drawing/2014/main" id="{1A8D6850-8AC4-8FDD-7EB5-295B815B255B}"/>
              </a:ext>
            </a:extLst>
          </p:cNvPr>
          <p:cNvSpPr txBox="1"/>
          <p:nvPr/>
        </p:nvSpPr>
        <p:spPr>
          <a:xfrm>
            <a:off x="5946598" y="3090028"/>
            <a:ext cx="1874016" cy="553917"/>
          </a:xfrm>
          <a:prstGeom prst="rect">
            <a:avLst/>
          </a:prstGeom>
          <a:noFill/>
          <a:ln>
            <a:noFill/>
          </a:ln>
        </p:spPr>
        <p:txBody>
          <a:bodyPr spcFirstLastPara="1" wrap="square" lIns="182850" tIns="91400" rIns="182850" bIns="91400" anchor="ctr" anchorCtr="0">
            <a:spAutoFit/>
          </a:bodyPr>
          <a:lstStyle>
            <a:defPPr>
              <a:defRPr lang="pt-B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1828710">
              <a:defRPr/>
            </a:pPr>
            <a:r>
              <a:rPr lang="es-ES" sz="1200" kern="0" dirty="0">
                <a:solidFill>
                  <a:schemeClr val="bg1">
                    <a:lumMod val="10000"/>
                    <a:lumOff val="90000"/>
                  </a:schemeClr>
                </a:solidFill>
                <a:latin typeface="Montserrat SemiBold"/>
                <a:sym typeface="Montserrat"/>
              </a:rPr>
              <a:t>AI &amp; DECISION SCIENCE</a:t>
            </a:r>
            <a:endParaRPr lang="en-US" dirty="0">
              <a:solidFill>
                <a:schemeClr val="bg1">
                  <a:lumMod val="10000"/>
                  <a:lumOff val="90000"/>
                </a:schemeClr>
              </a:solidFill>
            </a:endParaRPr>
          </a:p>
        </p:txBody>
      </p:sp>
      <p:pic>
        <p:nvPicPr>
          <p:cNvPr id="8" name="Google Shape;40;p6">
            <a:extLst>
              <a:ext uri="{FF2B5EF4-FFF2-40B4-BE49-F238E27FC236}">
                <a16:creationId xmlns:a16="http://schemas.microsoft.com/office/drawing/2014/main" id="{022F25DC-3060-D510-A240-B1C94A4B7AFB}"/>
              </a:ext>
            </a:extLst>
          </p:cNvPr>
          <p:cNvPicPr preferRelativeResize="0">
            <a:picLocks noChangeAspect="1"/>
          </p:cNvPicPr>
          <p:nvPr/>
        </p:nvPicPr>
        <p:blipFill>
          <a:blip r:embed="rId5">
            <a:alphaModFix/>
          </a:blip>
          <a:stretch>
            <a:fillRect/>
          </a:stretch>
        </p:blipFill>
        <p:spPr>
          <a:xfrm>
            <a:off x="8068501" y="4191909"/>
            <a:ext cx="2237466" cy="2237466"/>
          </a:xfrm>
          <a:prstGeom prst="rect">
            <a:avLst/>
          </a:prstGeom>
          <a:noFill/>
          <a:ln>
            <a:noFill/>
          </a:ln>
        </p:spPr>
      </p:pic>
      <p:pic>
        <p:nvPicPr>
          <p:cNvPr id="7" name="Imagem 6">
            <a:extLst>
              <a:ext uri="{FF2B5EF4-FFF2-40B4-BE49-F238E27FC236}">
                <a16:creationId xmlns:a16="http://schemas.microsoft.com/office/drawing/2014/main" id="{A78842DE-0732-06B5-F443-553A6AE648BD}"/>
              </a:ext>
            </a:extLst>
          </p:cNvPr>
          <p:cNvPicPr>
            <a:picLocks noChangeAspect="1"/>
          </p:cNvPicPr>
          <p:nvPr/>
        </p:nvPicPr>
        <p:blipFill>
          <a:blip r:embed="rId6">
            <a:lum bright="70000" contrast="-70000"/>
          </a:blip>
          <a:stretch>
            <a:fillRect/>
          </a:stretch>
        </p:blipFill>
        <p:spPr>
          <a:xfrm>
            <a:off x="10499626" y="7224480"/>
            <a:ext cx="1214005" cy="1175039"/>
          </a:xfrm>
          <a:prstGeom prst="rect">
            <a:avLst/>
          </a:prstGeom>
        </p:spPr>
      </p:pic>
      <p:sp>
        <p:nvSpPr>
          <p:cNvPr id="2" name="Oval 58">
            <a:extLst>
              <a:ext uri="{FF2B5EF4-FFF2-40B4-BE49-F238E27FC236}">
                <a16:creationId xmlns:a16="http://schemas.microsoft.com/office/drawing/2014/main" id="{123D9EEC-2CC3-EE2A-E5F8-31A9ADC2A8DD}"/>
              </a:ext>
            </a:extLst>
          </p:cNvPr>
          <p:cNvSpPr/>
          <p:nvPr/>
        </p:nvSpPr>
        <p:spPr>
          <a:xfrm>
            <a:off x="11090061" y="3741006"/>
            <a:ext cx="2502598" cy="2502598"/>
          </a:xfrm>
          <a:prstGeom prst="ellipse">
            <a:avLst/>
          </a:prstGeom>
          <a:solidFill>
            <a:srgbClr val="D3356E">
              <a:alpha val="60000"/>
            </a:srgbClr>
          </a:solidFill>
          <a:ln w="25400" cap="flat" cmpd="sng" algn="ctr">
            <a:noFill/>
            <a:prstDash val="solid"/>
          </a:ln>
          <a:effectLst>
            <a:outerShdw blurRad="330200" dist="342900" dir="5400000" algn="t" rotWithShape="0">
              <a:prstClr val="black">
                <a:alpha val="10000"/>
              </a:prstClr>
            </a:outerShdw>
          </a:effectLst>
        </p:spPr>
        <p:txBody>
          <a:bodyPr rtlCol="0" anchor="ctr"/>
          <a:lstStyle/>
          <a:p>
            <a:pPr marL="0" marR="0" lvl="0" indent="0" algn="ctr" defTabSz="1371600" rtl="0" eaLnBrk="0" fontAlgn="base" latinLnBrk="0" hangingPunct="0">
              <a:lnSpc>
                <a:spcPct val="100000"/>
              </a:lnSpc>
              <a:spcBef>
                <a:spcPct val="50000"/>
              </a:spcBef>
              <a:spcAft>
                <a:spcPct val="0"/>
              </a:spcAft>
              <a:buClrTx/>
              <a:buSzTx/>
              <a:buFont typeface="Arial"/>
              <a:buNone/>
              <a:tabLst/>
              <a:defRPr/>
            </a:pPr>
            <a:endParaRPr kumimoji="0" lang="en-US" sz="2026" b="0" i="0" u="none" strike="noStrike" kern="1200" cap="none" spc="0" normalizeH="0" baseline="0" noProof="0">
              <a:ln>
                <a:noFill/>
              </a:ln>
              <a:solidFill>
                <a:prstClr val="white"/>
              </a:solidFill>
              <a:effectLst/>
              <a:uLnTx/>
              <a:uFillTx/>
              <a:latin typeface="Frutiger 45 Light"/>
              <a:ea typeface="MS PGothic"/>
              <a:cs typeface="Arial" panose="020B0604020202020204" pitchFamily="34" charset="0"/>
              <a:sym typeface="Arial"/>
            </a:endParaRPr>
          </a:p>
        </p:txBody>
      </p:sp>
      <p:sp>
        <p:nvSpPr>
          <p:cNvPr id="4" name="CaixaDeTexto 15">
            <a:extLst>
              <a:ext uri="{FF2B5EF4-FFF2-40B4-BE49-F238E27FC236}">
                <a16:creationId xmlns:a16="http://schemas.microsoft.com/office/drawing/2014/main" id="{A69E2B9B-C1E5-1F28-4AA1-6310E05AADFD}"/>
              </a:ext>
            </a:extLst>
          </p:cNvPr>
          <p:cNvSpPr txBox="1"/>
          <p:nvPr/>
        </p:nvSpPr>
        <p:spPr>
          <a:xfrm>
            <a:off x="13841720" y="3804527"/>
            <a:ext cx="3966596" cy="3233706"/>
          </a:xfrm>
          <a:prstGeom prst="rect">
            <a:avLst/>
          </a:prstGeom>
          <a:noFill/>
        </p:spPr>
        <p:txBody>
          <a:bodyPr wrap="square" lIns="91440" tIns="45720" rIns="91440" bIns="45720" anchor="t">
            <a:spAutoFit/>
          </a:bodyPr>
          <a:lstStyle>
            <a:defPPr>
              <a:defRPr lang="pt-B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1371566">
              <a:lnSpc>
                <a:spcPts val="1800"/>
              </a:lnSpc>
              <a:spcAft>
                <a:spcPts val="1200"/>
              </a:spcAft>
              <a:defRPr/>
            </a:pPr>
            <a:r>
              <a:rPr lang="es-ES" sz="1400" b="1" dirty="0" err="1">
                <a:highlight>
                  <a:srgbClr val="FF2C34"/>
                </a:highlight>
                <a:latin typeface="Montserrat SemiBold"/>
                <a:cs typeface="Segoe UI Semilight"/>
              </a:rPr>
              <a:t>Strategic</a:t>
            </a:r>
            <a:r>
              <a:rPr lang="es-ES" sz="1400" b="1" dirty="0">
                <a:highlight>
                  <a:srgbClr val="FF2C34"/>
                </a:highlight>
                <a:latin typeface="Montserrat SemiBold"/>
                <a:cs typeface="Segoe UI Semilight"/>
              </a:rPr>
              <a:t> </a:t>
            </a:r>
            <a:r>
              <a:rPr lang="es-ES" sz="1400" b="1" dirty="0" err="1">
                <a:highlight>
                  <a:srgbClr val="FF2C34"/>
                </a:highlight>
                <a:latin typeface="Montserrat SemiBold"/>
                <a:cs typeface="Segoe UI Semilight"/>
              </a:rPr>
              <a:t>consulting</a:t>
            </a:r>
            <a:r>
              <a:rPr lang="es-ES" sz="1400" b="1" dirty="0">
                <a:highlight>
                  <a:srgbClr val="FF2C34"/>
                </a:highlight>
                <a:latin typeface="Montserrat SemiBold"/>
                <a:cs typeface="Segoe UI Semilight"/>
              </a:rPr>
              <a:t> and </a:t>
            </a:r>
            <a:r>
              <a:rPr lang="es-ES" sz="1400" b="1" dirty="0" err="1">
                <a:highlight>
                  <a:srgbClr val="FF2C34"/>
                </a:highlight>
                <a:latin typeface="Montserrat SemiBold"/>
                <a:cs typeface="Segoe UI Semilight"/>
              </a:rPr>
              <a:t>Advisory</a:t>
            </a:r>
            <a:endParaRPr lang="en-US" dirty="0" err="1"/>
          </a:p>
          <a:p>
            <a:pPr marL="285750" indent="-285750" defTabSz="1371566">
              <a:lnSpc>
                <a:spcPts val="1800"/>
              </a:lnSpc>
              <a:spcAft>
                <a:spcPts val="1200"/>
              </a:spcAft>
              <a:buClr>
                <a:srgbClr val="FF2C34"/>
              </a:buClr>
              <a:buFont typeface="Arial" panose="020B0604020202020204" pitchFamily="34" charset="0"/>
              <a:buChar char="•"/>
              <a:defRPr/>
            </a:pPr>
            <a:r>
              <a:rPr lang="es-ES" sz="1400" dirty="0" err="1">
                <a:solidFill>
                  <a:schemeClr val="bg1">
                    <a:lumMod val="10000"/>
                    <a:lumOff val="90000"/>
                  </a:schemeClr>
                </a:solidFill>
                <a:latin typeface="Montserrat"/>
                <a:ea typeface="Roboto"/>
                <a:cs typeface="Segoe UI Semilight"/>
              </a:rPr>
              <a:t>Customized</a:t>
            </a:r>
            <a:r>
              <a:rPr lang="es-ES" sz="1400" dirty="0">
                <a:solidFill>
                  <a:schemeClr val="bg1">
                    <a:lumMod val="10000"/>
                    <a:lumOff val="90000"/>
                  </a:schemeClr>
                </a:solidFill>
                <a:latin typeface="Montserrat"/>
                <a:ea typeface="Roboto"/>
                <a:cs typeface="Segoe UI Semilight"/>
              </a:rPr>
              <a:t> </a:t>
            </a:r>
            <a:r>
              <a:rPr lang="es-ES" sz="1400" dirty="0" err="1">
                <a:solidFill>
                  <a:schemeClr val="bg1">
                    <a:lumMod val="10000"/>
                    <a:lumOff val="90000"/>
                  </a:schemeClr>
                </a:solidFill>
                <a:latin typeface="Montserrat"/>
                <a:ea typeface="Roboto"/>
                <a:cs typeface="Segoe UI Semilight"/>
              </a:rPr>
              <a:t>strategic</a:t>
            </a:r>
            <a:r>
              <a:rPr lang="es-ES" sz="1400" dirty="0">
                <a:solidFill>
                  <a:schemeClr val="bg1">
                    <a:lumMod val="10000"/>
                    <a:lumOff val="90000"/>
                  </a:schemeClr>
                </a:solidFill>
                <a:latin typeface="Montserrat"/>
                <a:ea typeface="Roboto"/>
                <a:cs typeface="Segoe UI Semilight"/>
              </a:rPr>
              <a:t> </a:t>
            </a:r>
            <a:r>
              <a:rPr lang="es-ES" sz="1400" dirty="0" err="1">
                <a:solidFill>
                  <a:schemeClr val="bg1">
                    <a:lumMod val="10000"/>
                    <a:lumOff val="90000"/>
                  </a:schemeClr>
                </a:solidFill>
                <a:latin typeface="Montserrat"/>
                <a:ea typeface="Roboto"/>
                <a:cs typeface="Segoe UI Semilight"/>
              </a:rPr>
              <a:t>solutions</a:t>
            </a:r>
            <a:r>
              <a:rPr lang="es-ES" sz="1400" dirty="0">
                <a:solidFill>
                  <a:schemeClr val="bg1">
                    <a:lumMod val="10000"/>
                    <a:lumOff val="90000"/>
                  </a:schemeClr>
                </a:solidFill>
                <a:latin typeface="Montserrat"/>
                <a:ea typeface="Roboto"/>
                <a:cs typeface="Segoe UI Semilight"/>
              </a:rPr>
              <a:t> </a:t>
            </a:r>
            <a:r>
              <a:rPr lang="es-ES" sz="1400" dirty="0" err="1">
                <a:solidFill>
                  <a:schemeClr val="bg1">
                    <a:lumMod val="10000"/>
                    <a:lumOff val="90000"/>
                  </a:schemeClr>
                </a:solidFill>
                <a:latin typeface="Montserrat"/>
                <a:ea typeface="Roboto"/>
                <a:cs typeface="Segoe UI Semilight"/>
              </a:rPr>
              <a:t>for</a:t>
            </a:r>
            <a:r>
              <a:rPr lang="es-ES" sz="1400" dirty="0">
                <a:solidFill>
                  <a:schemeClr val="bg1">
                    <a:lumMod val="10000"/>
                    <a:lumOff val="90000"/>
                  </a:schemeClr>
                </a:solidFill>
                <a:latin typeface="Montserrat"/>
                <a:ea typeface="Roboto"/>
                <a:cs typeface="Segoe UI Semilight"/>
              </a:rPr>
              <a:t> </a:t>
            </a:r>
            <a:r>
              <a:rPr lang="es-ES" sz="1400" dirty="0" err="1">
                <a:solidFill>
                  <a:schemeClr val="bg1">
                    <a:lumMod val="10000"/>
                    <a:lumOff val="90000"/>
                  </a:schemeClr>
                </a:solidFill>
                <a:latin typeface="Montserrat"/>
                <a:ea typeface="Roboto"/>
                <a:cs typeface="Segoe UI Semilight"/>
              </a:rPr>
              <a:t>business</a:t>
            </a:r>
            <a:r>
              <a:rPr lang="es-ES" sz="1400" dirty="0">
                <a:solidFill>
                  <a:schemeClr val="bg1">
                    <a:lumMod val="10000"/>
                    <a:lumOff val="90000"/>
                  </a:schemeClr>
                </a:solidFill>
                <a:latin typeface="Montserrat"/>
                <a:ea typeface="Roboto"/>
                <a:cs typeface="Segoe UI Semilight"/>
              </a:rPr>
              <a:t> </a:t>
            </a:r>
            <a:r>
              <a:rPr lang="es-ES" sz="1400" dirty="0" err="1">
                <a:solidFill>
                  <a:schemeClr val="bg1">
                    <a:lumMod val="10000"/>
                    <a:lumOff val="90000"/>
                  </a:schemeClr>
                </a:solidFill>
                <a:latin typeface="Montserrat"/>
                <a:ea typeface="Roboto"/>
                <a:cs typeface="Segoe UI Semilight"/>
              </a:rPr>
              <a:t>environments</a:t>
            </a:r>
            <a:r>
              <a:rPr lang="es-ES" sz="1400" dirty="0">
                <a:solidFill>
                  <a:schemeClr val="bg1">
                    <a:lumMod val="10000"/>
                    <a:lumOff val="90000"/>
                  </a:schemeClr>
                </a:solidFill>
                <a:latin typeface="Montserrat"/>
                <a:ea typeface="Roboto"/>
                <a:cs typeface="Segoe UI Semilight"/>
              </a:rPr>
              <a:t> in </a:t>
            </a:r>
            <a:r>
              <a:rPr lang="es-ES" sz="1400" dirty="0" err="1">
                <a:solidFill>
                  <a:schemeClr val="bg1">
                    <a:lumMod val="10000"/>
                    <a:lumOff val="90000"/>
                  </a:schemeClr>
                </a:solidFill>
                <a:latin typeface="Montserrat"/>
                <a:ea typeface="Roboto"/>
                <a:cs typeface="Segoe UI Semilight"/>
              </a:rPr>
              <a:t>constant</a:t>
            </a:r>
            <a:r>
              <a:rPr lang="es-ES" sz="1400" dirty="0">
                <a:solidFill>
                  <a:schemeClr val="bg1">
                    <a:lumMod val="10000"/>
                    <a:lumOff val="90000"/>
                  </a:schemeClr>
                </a:solidFill>
                <a:latin typeface="Montserrat"/>
                <a:ea typeface="Roboto"/>
                <a:cs typeface="Segoe UI Semilight"/>
              </a:rPr>
              <a:t> </a:t>
            </a:r>
            <a:r>
              <a:rPr lang="es-ES" sz="1400" dirty="0" err="1">
                <a:solidFill>
                  <a:schemeClr val="bg1">
                    <a:lumMod val="10000"/>
                    <a:lumOff val="90000"/>
                  </a:schemeClr>
                </a:solidFill>
                <a:latin typeface="Montserrat"/>
                <a:ea typeface="Roboto"/>
                <a:cs typeface="Segoe UI Semilight"/>
              </a:rPr>
              <a:t>change</a:t>
            </a:r>
            <a:endParaRPr lang="es-ES" sz="1400">
              <a:solidFill>
                <a:schemeClr val="bg1">
                  <a:lumMod val="10000"/>
                  <a:lumOff val="90000"/>
                </a:schemeClr>
              </a:solidFill>
              <a:latin typeface="Montserrat"/>
              <a:ea typeface="Roboto"/>
              <a:cs typeface="Segoe UI Semilight"/>
            </a:endParaRPr>
          </a:p>
          <a:p>
            <a:pPr marL="285750" indent="-285750" defTabSz="1371566">
              <a:lnSpc>
                <a:spcPts val="1800"/>
              </a:lnSpc>
              <a:spcAft>
                <a:spcPts val="1200"/>
              </a:spcAft>
              <a:buClr>
                <a:srgbClr val="FF2C34"/>
              </a:buClr>
              <a:buFont typeface="Arial" panose="020B0604020202020204" pitchFamily="34" charset="0"/>
              <a:buChar char="•"/>
              <a:defRPr/>
            </a:pPr>
            <a:r>
              <a:rPr lang="es-ES" sz="1400" dirty="0" err="1">
                <a:solidFill>
                  <a:schemeClr val="bg1">
                    <a:lumMod val="10000"/>
                    <a:lumOff val="90000"/>
                  </a:schemeClr>
                </a:solidFill>
                <a:latin typeface="Montserrat"/>
                <a:cs typeface="Segoe UI Semilight"/>
              </a:rPr>
              <a:t>Support</a:t>
            </a:r>
            <a:r>
              <a:rPr lang="es-ES" sz="1400" dirty="0">
                <a:solidFill>
                  <a:schemeClr val="bg1">
                    <a:lumMod val="10000"/>
                    <a:lumOff val="90000"/>
                  </a:schemeClr>
                </a:solidFill>
                <a:latin typeface="Montserrat"/>
                <a:cs typeface="Segoe UI Semilight"/>
              </a:rPr>
              <a:t> in </a:t>
            </a:r>
            <a:r>
              <a:rPr lang="es-ES" sz="1400" dirty="0" err="1">
                <a:solidFill>
                  <a:schemeClr val="bg1">
                    <a:lumMod val="10000"/>
                    <a:lumOff val="90000"/>
                  </a:schemeClr>
                </a:solidFill>
                <a:latin typeface="Montserrat"/>
                <a:cs typeface="Segoe UI Semilight"/>
              </a:rPr>
              <a:t>transforming</a:t>
            </a:r>
            <a:r>
              <a:rPr lang="es-ES" sz="1400" dirty="0">
                <a:solidFill>
                  <a:schemeClr val="bg1">
                    <a:lumMod val="10000"/>
                    <a:lumOff val="90000"/>
                  </a:schemeClr>
                </a:solidFill>
                <a:latin typeface="Montserrat"/>
                <a:cs typeface="Segoe UI Semilight"/>
              </a:rPr>
              <a:t> and </a:t>
            </a:r>
            <a:r>
              <a:rPr lang="es-ES" sz="1400" dirty="0" err="1">
                <a:solidFill>
                  <a:schemeClr val="bg1">
                    <a:lumMod val="10000"/>
                    <a:lumOff val="90000"/>
                  </a:schemeClr>
                </a:solidFill>
                <a:latin typeface="Montserrat"/>
                <a:cs typeface="Segoe UI Semilight"/>
              </a:rPr>
              <a:t>overcoming</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operational</a:t>
            </a:r>
            <a:r>
              <a:rPr lang="es-ES" sz="1400" dirty="0">
                <a:solidFill>
                  <a:schemeClr val="bg1">
                    <a:lumMod val="10000"/>
                    <a:lumOff val="90000"/>
                  </a:schemeClr>
                </a:solidFill>
                <a:latin typeface="Montserrat"/>
                <a:cs typeface="Segoe UI Semilight"/>
              </a:rPr>
              <a:t> and </a:t>
            </a:r>
            <a:r>
              <a:rPr lang="es-ES" sz="1400" dirty="0" err="1">
                <a:solidFill>
                  <a:schemeClr val="bg1">
                    <a:lumMod val="10000"/>
                    <a:lumOff val="90000"/>
                  </a:schemeClr>
                </a:solidFill>
                <a:latin typeface="Montserrat"/>
                <a:cs typeface="Segoe UI Semilight"/>
              </a:rPr>
              <a:t>strategic</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challenges</a:t>
            </a:r>
            <a:r>
              <a:rPr lang="es-ES" sz="1400" dirty="0">
                <a:solidFill>
                  <a:schemeClr val="bg1">
                    <a:lumMod val="10000"/>
                    <a:lumOff val="90000"/>
                  </a:schemeClr>
                </a:solidFill>
                <a:latin typeface="Montserrat"/>
                <a:cs typeface="Segoe UI Semilight"/>
              </a:rPr>
              <a:t>. </a:t>
            </a:r>
          </a:p>
          <a:p>
            <a:pPr marL="285750" indent="-285750" defTabSz="1371566">
              <a:lnSpc>
                <a:spcPts val="1800"/>
              </a:lnSpc>
              <a:spcAft>
                <a:spcPts val="1200"/>
              </a:spcAft>
              <a:buClr>
                <a:srgbClr val="FF2C34"/>
              </a:buClr>
              <a:buFont typeface="Arial" panose="020B0604020202020204" pitchFamily="34" charset="0"/>
              <a:buChar char="•"/>
              <a:defRPr/>
            </a:pPr>
            <a:r>
              <a:rPr lang="es-ES" sz="1400" dirty="0" err="1">
                <a:solidFill>
                  <a:schemeClr val="bg1">
                    <a:lumMod val="10000"/>
                    <a:lumOff val="90000"/>
                  </a:schemeClr>
                </a:solidFill>
                <a:latin typeface="Montserrat"/>
                <a:cs typeface="Segoe UI Semilight"/>
              </a:rPr>
              <a:t>We</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act</a:t>
            </a:r>
            <a:r>
              <a:rPr lang="es-ES" sz="1400" dirty="0">
                <a:solidFill>
                  <a:schemeClr val="bg1">
                    <a:lumMod val="10000"/>
                    <a:lumOff val="90000"/>
                  </a:schemeClr>
                </a:solidFill>
                <a:latin typeface="Montserrat"/>
                <a:cs typeface="Segoe UI Semilight"/>
              </a:rPr>
              <a:t> as </a:t>
            </a:r>
            <a:r>
              <a:rPr lang="es-ES" sz="1400" dirty="0" err="1">
                <a:solidFill>
                  <a:schemeClr val="bg1">
                    <a:lumMod val="10000"/>
                    <a:lumOff val="90000"/>
                  </a:schemeClr>
                </a:solidFill>
                <a:latin typeface="Montserrat"/>
                <a:cs typeface="Segoe UI Semilight"/>
              </a:rPr>
              <a:t>an</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extension</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of</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leadership</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with</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an</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independent</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vision</a:t>
            </a:r>
            <a:r>
              <a:rPr lang="es-ES" sz="1400" dirty="0">
                <a:solidFill>
                  <a:schemeClr val="bg1">
                    <a:lumMod val="10000"/>
                    <a:lumOff val="90000"/>
                  </a:schemeClr>
                </a:solidFill>
                <a:latin typeface="Montserrat"/>
                <a:cs typeface="Segoe UI Semilight"/>
              </a:rPr>
              <a:t>.</a:t>
            </a:r>
          </a:p>
          <a:p>
            <a:pPr marL="285750" indent="-285750" defTabSz="1371566">
              <a:lnSpc>
                <a:spcPts val="1800"/>
              </a:lnSpc>
              <a:spcAft>
                <a:spcPts val="1200"/>
              </a:spcAft>
              <a:buClr>
                <a:srgbClr val="FF2C34"/>
              </a:buClr>
              <a:buFont typeface="Arial" panose="020B0604020202020204" pitchFamily="34" charset="0"/>
              <a:buChar char="•"/>
              <a:defRPr/>
            </a:pPr>
            <a:r>
              <a:rPr lang="es-ES" sz="1400" dirty="0">
                <a:solidFill>
                  <a:schemeClr val="bg1">
                    <a:lumMod val="10000"/>
                    <a:lumOff val="90000"/>
                  </a:schemeClr>
                </a:solidFill>
                <a:latin typeface="Montserrat"/>
                <a:cs typeface="Segoe UI Semilight"/>
              </a:rPr>
              <a:t>Use </a:t>
            </a:r>
            <a:r>
              <a:rPr lang="es-ES" sz="1400" dirty="0" err="1">
                <a:solidFill>
                  <a:schemeClr val="bg1">
                    <a:lumMod val="10000"/>
                    <a:lumOff val="90000"/>
                  </a:schemeClr>
                </a:solidFill>
                <a:latin typeface="Montserrat"/>
                <a:cs typeface="Segoe UI Semilight"/>
              </a:rPr>
              <a:t>of</a:t>
            </a:r>
            <a:r>
              <a:rPr lang="es-ES" sz="1400" dirty="0">
                <a:solidFill>
                  <a:schemeClr val="bg1">
                    <a:lumMod val="10000"/>
                    <a:lumOff val="90000"/>
                  </a:schemeClr>
                </a:solidFill>
                <a:latin typeface="Montserrat"/>
                <a:cs typeface="Segoe UI Semilight"/>
              </a:rPr>
              <a:t> data, </a:t>
            </a:r>
            <a:r>
              <a:rPr lang="es-ES" sz="1400" dirty="0" err="1">
                <a:solidFill>
                  <a:schemeClr val="bg1">
                    <a:lumMod val="10000"/>
                    <a:lumOff val="90000"/>
                  </a:schemeClr>
                </a:solidFill>
                <a:latin typeface="Montserrat"/>
                <a:cs typeface="Segoe UI Semilight"/>
              </a:rPr>
              <a:t>operational</a:t>
            </a:r>
            <a:r>
              <a:rPr lang="es-ES" sz="1400" dirty="0">
                <a:solidFill>
                  <a:schemeClr val="bg1">
                    <a:lumMod val="10000"/>
                    <a:lumOff val="90000"/>
                  </a:schemeClr>
                </a:solidFill>
                <a:latin typeface="Montserrat"/>
                <a:cs typeface="Segoe UI Semilight"/>
              </a:rPr>
              <a:t> rigor and </a:t>
            </a:r>
            <a:r>
              <a:rPr lang="es-ES" sz="1400" dirty="0" err="1">
                <a:solidFill>
                  <a:schemeClr val="bg1">
                    <a:lumMod val="10000"/>
                    <a:lumOff val="90000"/>
                  </a:schemeClr>
                </a:solidFill>
                <a:latin typeface="Montserrat"/>
                <a:cs typeface="Segoe UI Semilight"/>
              </a:rPr>
              <a:t>focus</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on</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long-term</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value</a:t>
            </a:r>
            <a:r>
              <a:rPr lang="es-ES" sz="1400" dirty="0">
                <a:solidFill>
                  <a:schemeClr val="bg1">
                    <a:lumMod val="10000"/>
                    <a:lumOff val="90000"/>
                  </a:schemeClr>
                </a:solidFill>
                <a:latin typeface="Montserrat"/>
                <a:cs typeface="Segoe UI Semilight"/>
              </a:rPr>
              <a:t>. </a:t>
            </a:r>
            <a:endParaRPr lang="en-US" sz="1400" dirty="0">
              <a:solidFill>
                <a:schemeClr val="bg1">
                  <a:lumMod val="10000"/>
                  <a:lumOff val="90000"/>
                </a:schemeClr>
              </a:solidFill>
              <a:latin typeface="Montserrat"/>
              <a:cs typeface="Segoe UI Semilight"/>
            </a:endParaRPr>
          </a:p>
        </p:txBody>
      </p:sp>
      <p:sp>
        <p:nvSpPr>
          <p:cNvPr id="9" name="Google Shape;294;g8cff37a39f_0_44">
            <a:extLst>
              <a:ext uri="{FF2B5EF4-FFF2-40B4-BE49-F238E27FC236}">
                <a16:creationId xmlns:a16="http://schemas.microsoft.com/office/drawing/2014/main" id="{55381ED9-22C3-7548-3C21-1369AB928CBC}"/>
              </a:ext>
            </a:extLst>
          </p:cNvPr>
          <p:cNvSpPr txBox="1">
            <a:spLocks/>
          </p:cNvSpPr>
          <p:nvPr/>
        </p:nvSpPr>
        <p:spPr>
          <a:xfrm>
            <a:off x="380492" y="265838"/>
            <a:ext cx="9527071" cy="863795"/>
          </a:xfrm>
          <a:prstGeom prst="rect">
            <a:avLst/>
          </a:prstGeom>
          <a:noFill/>
          <a:ln>
            <a:noFill/>
          </a:ln>
        </p:spPr>
        <p:txBody>
          <a:bodyPr spcFirstLastPara="1" wrap="square" lIns="182850" tIns="182850" rIns="182850" bIns="182850" anchor="t" anchorCtr="0">
            <a:noAutofit/>
          </a:bodyPr>
          <a:lstStyle>
            <a:defPPr marR="0" lvl="0" algn="l" rtl="0">
              <a:lnSpc>
                <a:spcPct val="100000"/>
              </a:lnSpc>
              <a:spcBef>
                <a:spcPts val="0"/>
              </a:spcBef>
              <a:spcAft>
                <a:spcPts val="0"/>
              </a:spcAft>
              <a:defRPr/>
            </a:defPPr>
            <a:lvl1pPr defTabSz="1371600">
              <a:buClr>
                <a:srgbClr val="FFFFFF"/>
              </a:buClr>
              <a:buSzPts val="2000"/>
              <a:buFont typeface="Montserrat"/>
              <a:buNone/>
              <a:defRPr sz="3000" b="1" kern="1200">
                <a:solidFill>
                  <a:srgbClr val="212121"/>
                </a:solidFill>
                <a:latin typeface="Montserrat" panose="020B0604020202020204" charset="0"/>
                <a:ea typeface="Montserrat"/>
                <a:cs typeface="Montserrat"/>
              </a:defRPr>
            </a:lvl1pPr>
            <a:lvl2pPr>
              <a:buClr>
                <a:schemeClr val="dk1"/>
              </a:buClr>
              <a:buSzPts val="2000"/>
              <a:buFont typeface="Montserrat"/>
              <a:buNone/>
              <a:defRPr sz="2000" b="1">
                <a:solidFill>
                  <a:schemeClr val="dk1"/>
                </a:solidFill>
                <a:latin typeface="Montserrat"/>
                <a:ea typeface="Montserrat"/>
                <a:cs typeface="Montserrat"/>
              </a:defRPr>
            </a:lvl2pPr>
            <a:lvl3pPr>
              <a:buClr>
                <a:schemeClr val="dk1"/>
              </a:buClr>
              <a:buSzPts val="2000"/>
              <a:buFont typeface="Montserrat"/>
              <a:buNone/>
              <a:defRPr sz="2000" b="1">
                <a:solidFill>
                  <a:schemeClr val="dk1"/>
                </a:solidFill>
                <a:latin typeface="Montserrat"/>
                <a:ea typeface="Montserrat"/>
                <a:cs typeface="Montserrat"/>
              </a:defRPr>
            </a:lvl3pPr>
            <a:lvl4pPr>
              <a:buClr>
                <a:schemeClr val="dk1"/>
              </a:buClr>
              <a:buSzPts val="2000"/>
              <a:buFont typeface="Montserrat"/>
              <a:buNone/>
              <a:defRPr sz="2000" b="1">
                <a:solidFill>
                  <a:schemeClr val="dk1"/>
                </a:solidFill>
                <a:latin typeface="Montserrat"/>
                <a:ea typeface="Montserrat"/>
                <a:cs typeface="Montserrat"/>
              </a:defRPr>
            </a:lvl4pPr>
            <a:lvl5pPr>
              <a:buClr>
                <a:schemeClr val="dk1"/>
              </a:buClr>
              <a:buSzPts val="2000"/>
              <a:buFont typeface="Montserrat"/>
              <a:buNone/>
              <a:defRPr sz="2000" b="1">
                <a:solidFill>
                  <a:schemeClr val="dk1"/>
                </a:solidFill>
                <a:latin typeface="Montserrat"/>
                <a:ea typeface="Montserrat"/>
                <a:cs typeface="Montserrat"/>
              </a:defRPr>
            </a:lvl5pPr>
            <a:lvl6pPr>
              <a:buClr>
                <a:schemeClr val="dk1"/>
              </a:buClr>
              <a:buSzPts val="2000"/>
              <a:buFont typeface="Montserrat"/>
              <a:buNone/>
              <a:defRPr sz="2000" b="1">
                <a:solidFill>
                  <a:schemeClr val="dk1"/>
                </a:solidFill>
                <a:latin typeface="Montserrat"/>
                <a:ea typeface="Montserrat"/>
                <a:cs typeface="Montserrat"/>
              </a:defRPr>
            </a:lvl6pPr>
            <a:lvl7pPr>
              <a:buClr>
                <a:schemeClr val="dk1"/>
              </a:buClr>
              <a:buSzPts val="2000"/>
              <a:buFont typeface="Montserrat"/>
              <a:buNone/>
              <a:defRPr sz="2000" b="1">
                <a:solidFill>
                  <a:schemeClr val="dk1"/>
                </a:solidFill>
                <a:latin typeface="Montserrat"/>
                <a:ea typeface="Montserrat"/>
                <a:cs typeface="Montserrat"/>
              </a:defRPr>
            </a:lvl7pPr>
            <a:lvl8pPr>
              <a:buClr>
                <a:schemeClr val="dk1"/>
              </a:buClr>
              <a:buSzPts val="2000"/>
              <a:buFont typeface="Montserrat"/>
              <a:buNone/>
              <a:defRPr sz="2000" b="1">
                <a:solidFill>
                  <a:schemeClr val="dk1"/>
                </a:solidFill>
                <a:latin typeface="Montserrat"/>
                <a:ea typeface="Montserrat"/>
                <a:cs typeface="Montserrat"/>
              </a:defRPr>
            </a:lvl8pPr>
            <a:lvl9pPr>
              <a:buClr>
                <a:schemeClr val="dk1"/>
              </a:buClr>
              <a:buSzPts val="2000"/>
              <a:buFont typeface="Montserrat"/>
              <a:buNone/>
              <a:defRPr sz="2000" b="1">
                <a:solidFill>
                  <a:schemeClr val="dk1"/>
                </a:solidFill>
                <a:latin typeface="Montserrat"/>
                <a:ea typeface="Montserrat"/>
                <a:cs typeface="Montserrat"/>
              </a:defRPr>
            </a:lvl9pPr>
          </a:lstStyle>
          <a:p>
            <a:pPr>
              <a:defRPr/>
            </a:pPr>
            <a:r>
              <a:rPr lang="en-US" sz="2800" dirty="0">
                <a:solidFill>
                  <a:schemeClr val="tx1"/>
                </a:solidFill>
                <a:latin typeface="Montserrat"/>
                <a:sym typeface="Montserrat"/>
              </a:rPr>
              <a:t>High-value offers that deliver tangible results</a:t>
            </a:r>
            <a:endParaRPr lang="es-ES" sz="2800" b="0" dirty="0">
              <a:solidFill>
                <a:schemeClr val="tx1"/>
              </a:solidFill>
              <a:latin typeface="Montserrat"/>
              <a:sym typeface="Montserrat"/>
            </a:endParaRPr>
          </a:p>
          <a:p>
            <a:pPr>
              <a:defRPr/>
            </a:pPr>
            <a:endParaRPr lang="es-ES" sz="2800" dirty="0">
              <a:solidFill>
                <a:schemeClr val="tx1"/>
              </a:solidFill>
              <a:latin typeface="Montserrat" pitchFamily="2" charset="0"/>
            </a:endParaRPr>
          </a:p>
        </p:txBody>
      </p:sp>
      <p:pic>
        <p:nvPicPr>
          <p:cNvPr id="10" name="Imagem 9" descr="Ícone&#10;&#10;O conteúdo gerado por IA pode estar incorreto.">
            <a:extLst>
              <a:ext uri="{FF2B5EF4-FFF2-40B4-BE49-F238E27FC236}">
                <a16:creationId xmlns:a16="http://schemas.microsoft.com/office/drawing/2014/main" id="{5C1DCE69-D075-08C7-B6F4-4A5A03781B9D}"/>
              </a:ext>
            </a:extLst>
          </p:cNvPr>
          <p:cNvPicPr>
            <a:picLocks noChangeAspect="1"/>
          </p:cNvPicPr>
          <p:nvPr/>
        </p:nvPicPr>
        <p:blipFill>
          <a:blip r:embed="rId7"/>
          <a:stretch>
            <a:fillRect/>
          </a:stretch>
        </p:blipFill>
        <p:spPr>
          <a:xfrm>
            <a:off x="11965571" y="4145478"/>
            <a:ext cx="751577" cy="751577"/>
          </a:xfrm>
          <a:prstGeom prst="rect">
            <a:avLst/>
          </a:prstGeom>
        </p:spPr>
      </p:pic>
      <p:sp>
        <p:nvSpPr>
          <p:cNvPr id="13" name="Google Shape;485;p73">
            <a:extLst>
              <a:ext uri="{FF2B5EF4-FFF2-40B4-BE49-F238E27FC236}">
                <a16:creationId xmlns:a16="http://schemas.microsoft.com/office/drawing/2014/main" id="{5C3DCC7C-ED02-28C7-9AD2-CAA610354D11}"/>
              </a:ext>
            </a:extLst>
          </p:cNvPr>
          <p:cNvSpPr txBox="1"/>
          <p:nvPr/>
        </p:nvSpPr>
        <p:spPr>
          <a:xfrm>
            <a:off x="11404351" y="5046542"/>
            <a:ext cx="1874016" cy="738583"/>
          </a:xfrm>
          <a:prstGeom prst="rect">
            <a:avLst/>
          </a:prstGeom>
          <a:noFill/>
          <a:ln>
            <a:noFill/>
          </a:ln>
        </p:spPr>
        <p:txBody>
          <a:bodyPr spcFirstLastPara="1" wrap="square" lIns="182850" tIns="91400" rIns="182850" bIns="91400" anchor="ctr" anchorCtr="0">
            <a:spAutoFit/>
          </a:bodyPr>
          <a:lstStyle>
            <a:defPPr>
              <a:defRPr lang="pt-B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1828710">
              <a:buClr>
                <a:srgbClr val="7F7F7F"/>
              </a:buClr>
              <a:buSzPts val="900"/>
              <a:defRPr/>
            </a:pPr>
            <a:r>
              <a:rPr lang="es-ES" sz="1200" kern="0" dirty="0">
                <a:solidFill>
                  <a:schemeClr val="bg1">
                    <a:lumMod val="10000"/>
                    <a:lumOff val="90000"/>
                  </a:schemeClr>
                </a:solidFill>
                <a:latin typeface="Montserrat SemiBold"/>
                <a:sym typeface="Montserrat"/>
              </a:rPr>
              <a:t>STRATEGIC CONSULTANCY AND ADVICE </a:t>
            </a:r>
          </a:p>
        </p:txBody>
      </p:sp>
      <p:sp>
        <p:nvSpPr>
          <p:cNvPr id="5" name="Oval 58">
            <a:extLst>
              <a:ext uri="{FF2B5EF4-FFF2-40B4-BE49-F238E27FC236}">
                <a16:creationId xmlns:a16="http://schemas.microsoft.com/office/drawing/2014/main" id="{5C3348E1-967D-0B52-466C-CAFB9F2282F1}"/>
              </a:ext>
            </a:extLst>
          </p:cNvPr>
          <p:cNvSpPr/>
          <p:nvPr/>
        </p:nvSpPr>
        <p:spPr>
          <a:xfrm>
            <a:off x="6421117" y="7228834"/>
            <a:ext cx="2502598" cy="2502598"/>
          </a:xfrm>
          <a:prstGeom prst="ellipse">
            <a:avLst/>
          </a:prstGeom>
          <a:solidFill>
            <a:srgbClr val="D3356E">
              <a:alpha val="60000"/>
            </a:srgbClr>
          </a:solidFill>
          <a:ln w="25400" cap="flat" cmpd="sng" algn="ctr">
            <a:noFill/>
            <a:prstDash val="solid"/>
          </a:ln>
          <a:effectLst>
            <a:outerShdw blurRad="330200" dist="342900" dir="5400000" algn="t" rotWithShape="0">
              <a:prstClr val="black">
                <a:alpha val="10000"/>
              </a:prstClr>
            </a:outerShdw>
          </a:effectLst>
        </p:spPr>
        <p:txBody>
          <a:bodyPr rtlCol="0" anchor="ctr"/>
          <a:lstStyle/>
          <a:p>
            <a:pPr marL="0" marR="0" lvl="0" indent="0" algn="ctr" defTabSz="1371600" rtl="0" eaLnBrk="0" fontAlgn="base" latinLnBrk="0" hangingPunct="0">
              <a:lnSpc>
                <a:spcPct val="100000"/>
              </a:lnSpc>
              <a:spcBef>
                <a:spcPct val="50000"/>
              </a:spcBef>
              <a:spcAft>
                <a:spcPct val="0"/>
              </a:spcAft>
              <a:buClrTx/>
              <a:buSzTx/>
              <a:buFont typeface="Arial"/>
              <a:buNone/>
              <a:tabLst/>
              <a:defRPr/>
            </a:pPr>
            <a:endParaRPr kumimoji="0" lang="en-US" sz="2026" b="0" i="0" u="none" strike="noStrike" kern="1200" cap="none" spc="0" normalizeH="0" baseline="0" noProof="0">
              <a:ln>
                <a:noFill/>
              </a:ln>
              <a:solidFill>
                <a:prstClr val="white"/>
              </a:solidFill>
              <a:effectLst/>
              <a:uLnTx/>
              <a:uFillTx/>
              <a:latin typeface="Frutiger 45 Light"/>
              <a:ea typeface="MS PGothic"/>
              <a:cs typeface="Arial" panose="020B0604020202020204" pitchFamily="34" charset="0"/>
              <a:sym typeface="Arial"/>
            </a:endParaRPr>
          </a:p>
        </p:txBody>
      </p:sp>
      <p:sp>
        <p:nvSpPr>
          <p:cNvPr id="11" name="Google Shape;485;p73">
            <a:extLst>
              <a:ext uri="{FF2B5EF4-FFF2-40B4-BE49-F238E27FC236}">
                <a16:creationId xmlns:a16="http://schemas.microsoft.com/office/drawing/2014/main" id="{8BA92CCD-9297-CE64-3DC5-CB19BFC067F8}"/>
              </a:ext>
            </a:extLst>
          </p:cNvPr>
          <p:cNvSpPr txBox="1"/>
          <p:nvPr/>
        </p:nvSpPr>
        <p:spPr>
          <a:xfrm>
            <a:off x="6470395" y="8828680"/>
            <a:ext cx="2352682" cy="369251"/>
          </a:xfrm>
          <a:prstGeom prst="rect">
            <a:avLst/>
          </a:prstGeom>
          <a:noFill/>
          <a:ln>
            <a:noFill/>
          </a:ln>
        </p:spPr>
        <p:txBody>
          <a:bodyPr spcFirstLastPara="1" wrap="square" lIns="182850" tIns="91400" rIns="182850" bIns="91400" anchor="ctr" anchorCtr="0">
            <a:spAutoFit/>
          </a:bodyPr>
          <a:lstStyle>
            <a:defPPr>
              <a:defRPr lang="pt-B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1828710">
              <a:defRPr/>
            </a:pPr>
            <a:r>
              <a:rPr lang="es-ES" sz="1200" kern="0" dirty="0">
                <a:solidFill>
                  <a:schemeClr val="bg1">
                    <a:lumMod val="10000"/>
                    <a:lumOff val="90000"/>
                  </a:schemeClr>
                </a:solidFill>
                <a:latin typeface="Montserrat SemiBold"/>
                <a:sym typeface="Montserrat"/>
              </a:rPr>
              <a:t>PROCESS EXCELLENCE</a:t>
            </a:r>
            <a:r>
              <a:rPr lang="es-ES" sz="1200" kern="0" dirty="0">
                <a:solidFill>
                  <a:schemeClr val="bg1">
                    <a:lumMod val="10000"/>
                    <a:lumOff val="90000"/>
                  </a:schemeClr>
                </a:solidFill>
                <a:ea typeface="+mn-lt"/>
                <a:cs typeface="+mn-lt"/>
                <a:sym typeface="Montserrat"/>
              </a:rPr>
              <a:t> </a:t>
            </a:r>
            <a:endParaRPr lang="en-US" dirty="0">
              <a:solidFill>
                <a:schemeClr val="bg1">
                  <a:lumMod val="10000"/>
                  <a:lumOff val="90000"/>
                </a:schemeClr>
              </a:solidFill>
              <a:ea typeface="+mn-lt"/>
              <a:cs typeface="+mn-lt"/>
            </a:endParaRPr>
          </a:p>
        </p:txBody>
      </p:sp>
      <p:pic>
        <p:nvPicPr>
          <p:cNvPr id="12" name="Imagem 2" descr="Ícone&#10;&#10;O conteúdo gerado por IA pode estar incorreto.">
            <a:extLst>
              <a:ext uri="{FF2B5EF4-FFF2-40B4-BE49-F238E27FC236}">
                <a16:creationId xmlns:a16="http://schemas.microsoft.com/office/drawing/2014/main" id="{7817447A-33F7-BD6A-80A3-D65E34280E57}"/>
              </a:ext>
            </a:extLst>
          </p:cNvPr>
          <p:cNvPicPr>
            <a:picLocks noChangeAspect="1"/>
          </p:cNvPicPr>
          <p:nvPr/>
        </p:nvPicPr>
        <p:blipFill>
          <a:blip r:embed="rId8"/>
          <a:stretch>
            <a:fillRect/>
          </a:stretch>
        </p:blipFill>
        <p:spPr>
          <a:xfrm>
            <a:off x="7190376" y="7804287"/>
            <a:ext cx="927261" cy="927261"/>
          </a:xfrm>
          <a:prstGeom prst="rect">
            <a:avLst/>
          </a:prstGeom>
        </p:spPr>
      </p:pic>
      <p:sp>
        <p:nvSpPr>
          <p:cNvPr id="15" name="CaixaDeTexto 15">
            <a:extLst>
              <a:ext uri="{FF2B5EF4-FFF2-40B4-BE49-F238E27FC236}">
                <a16:creationId xmlns:a16="http://schemas.microsoft.com/office/drawing/2014/main" id="{19F9BB92-9605-2619-A959-09CB3FA7E9A2}"/>
              </a:ext>
            </a:extLst>
          </p:cNvPr>
          <p:cNvSpPr txBox="1"/>
          <p:nvPr/>
        </p:nvSpPr>
        <p:spPr>
          <a:xfrm>
            <a:off x="1330268" y="7753833"/>
            <a:ext cx="5151127" cy="2156488"/>
          </a:xfrm>
          <a:prstGeom prst="rect">
            <a:avLst/>
          </a:prstGeom>
          <a:noFill/>
        </p:spPr>
        <p:txBody>
          <a:bodyPr wrap="square" lIns="91440" tIns="45720" rIns="91440" bIns="45720" anchor="t">
            <a:spAutoFit/>
          </a:bodyPr>
          <a:lstStyle>
            <a:defPPr>
              <a:defRPr lang="pt-B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1371566">
              <a:lnSpc>
                <a:spcPts val="1800"/>
              </a:lnSpc>
              <a:spcAft>
                <a:spcPts val="1200"/>
              </a:spcAft>
              <a:defRPr/>
            </a:pPr>
            <a:r>
              <a:rPr lang="es-ES" sz="1400" b="1" dirty="0" err="1">
                <a:highlight>
                  <a:srgbClr val="FF2C34"/>
                </a:highlight>
                <a:latin typeface="Montserrat SemiBold"/>
                <a:cs typeface="Segoe UI Semilight"/>
              </a:rPr>
              <a:t>Process</a:t>
            </a:r>
            <a:r>
              <a:rPr lang="es-ES" sz="1400" b="1" dirty="0">
                <a:highlight>
                  <a:srgbClr val="FF2C34"/>
                </a:highlight>
                <a:latin typeface="Montserrat SemiBold"/>
                <a:cs typeface="Segoe UI Semilight"/>
              </a:rPr>
              <a:t> </a:t>
            </a:r>
            <a:r>
              <a:rPr lang="es-ES" sz="1400" b="1" dirty="0" err="1">
                <a:highlight>
                  <a:srgbClr val="FF2C34"/>
                </a:highlight>
                <a:latin typeface="Montserrat SemiBold"/>
                <a:cs typeface="Segoe UI Semilight"/>
              </a:rPr>
              <a:t>excellence</a:t>
            </a:r>
            <a:r>
              <a:rPr lang="es-ES" sz="1400" b="1" dirty="0">
                <a:highlight>
                  <a:srgbClr val="FF2C34"/>
                </a:highlight>
                <a:latin typeface="Montserrat SemiBold"/>
                <a:cs typeface="Segoe UI Semilight"/>
              </a:rPr>
              <a:t> and </a:t>
            </a:r>
            <a:r>
              <a:rPr lang="es-ES" sz="1400" b="1" dirty="0" err="1">
                <a:highlight>
                  <a:srgbClr val="FF2C34"/>
                </a:highlight>
                <a:latin typeface="Montserrat SemiBold"/>
                <a:cs typeface="Segoe UI Semilight"/>
              </a:rPr>
              <a:t>Operational</a:t>
            </a:r>
            <a:r>
              <a:rPr lang="es-ES" sz="1400" b="1" dirty="0">
                <a:highlight>
                  <a:srgbClr val="FF2C34"/>
                </a:highlight>
                <a:latin typeface="Montserrat SemiBold"/>
                <a:cs typeface="Segoe UI Semilight"/>
              </a:rPr>
              <a:t> </a:t>
            </a:r>
            <a:r>
              <a:rPr lang="es-ES" sz="1400" b="1" dirty="0" err="1">
                <a:highlight>
                  <a:srgbClr val="FF2C34"/>
                </a:highlight>
                <a:latin typeface="Montserrat SemiBold"/>
                <a:cs typeface="Segoe UI Semilight"/>
              </a:rPr>
              <a:t>Efficiency</a:t>
            </a:r>
            <a:endParaRPr lang="en-US" dirty="0" err="1">
              <a:solidFill>
                <a:srgbClr val="E9E9E9"/>
              </a:solidFill>
              <a:latin typeface="Montserrat"/>
              <a:cs typeface="Segoe UI Semilight"/>
            </a:endParaRPr>
          </a:p>
          <a:p>
            <a:pPr marL="285750" indent="-285750" defTabSz="1371566">
              <a:lnSpc>
                <a:spcPts val="1800"/>
              </a:lnSpc>
              <a:spcAft>
                <a:spcPts val="1200"/>
              </a:spcAft>
              <a:buClr>
                <a:srgbClr val="FF2C34"/>
              </a:buClr>
              <a:buFont typeface="Arial" panose="020B0604020202020204" pitchFamily="34" charset="0"/>
              <a:buChar char="•"/>
              <a:defRPr/>
            </a:pPr>
            <a:r>
              <a:rPr lang="es-ES" sz="1400">
                <a:solidFill>
                  <a:schemeClr val="bg1">
                    <a:lumMod val="10000"/>
                    <a:lumOff val="90000"/>
                  </a:schemeClr>
                </a:solidFill>
                <a:latin typeface="Montserrat"/>
                <a:cs typeface="Segoe UI Semilight"/>
              </a:rPr>
              <a:t>We</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automate</a:t>
            </a:r>
            <a:r>
              <a:rPr lang="es-ES" sz="1400" dirty="0">
                <a:solidFill>
                  <a:schemeClr val="bg1">
                    <a:lumMod val="10000"/>
                    <a:lumOff val="90000"/>
                  </a:schemeClr>
                </a:solidFill>
                <a:latin typeface="Montserrat"/>
                <a:cs typeface="Segoe UI Semilight"/>
              </a:rPr>
              <a:t> and </a:t>
            </a:r>
            <a:r>
              <a:rPr lang="es-ES" sz="1400" dirty="0" err="1">
                <a:solidFill>
                  <a:schemeClr val="bg1">
                    <a:lumMod val="10000"/>
                    <a:lumOff val="90000"/>
                  </a:schemeClr>
                </a:solidFill>
                <a:latin typeface="Montserrat"/>
                <a:cs typeface="Segoe UI Semilight"/>
              </a:rPr>
              <a:t>optimize</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processes</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for</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greater</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operational</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efficiency</a:t>
            </a:r>
            <a:r>
              <a:rPr lang="es-ES" sz="1400" dirty="0">
                <a:solidFill>
                  <a:schemeClr val="bg1">
                    <a:lumMod val="10000"/>
                    <a:lumOff val="90000"/>
                  </a:schemeClr>
                </a:solidFill>
                <a:latin typeface="Montserrat"/>
                <a:cs typeface="Segoe UI Semilight"/>
              </a:rPr>
              <a:t>. </a:t>
            </a:r>
            <a:endParaRPr lang="en-US" sz="1400" dirty="0">
              <a:solidFill>
                <a:schemeClr val="bg1">
                  <a:lumMod val="10000"/>
                  <a:lumOff val="90000"/>
                </a:schemeClr>
              </a:solidFill>
              <a:latin typeface="Montserrat"/>
              <a:cs typeface="Segoe UI Semilight"/>
            </a:endParaRPr>
          </a:p>
          <a:p>
            <a:pPr marL="285750" indent="-285750" defTabSz="1371566">
              <a:lnSpc>
                <a:spcPts val="1800"/>
              </a:lnSpc>
              <a:spcAft>
                <a:spcPts val="1200"/>
              </a:spcAft>
              <a:buClr>
                <a:srgbClr val="FF2C34"/>
              </a:buClr>
              <a:buFont typeface="Arial" panose="020B0604020202020204" pitchFamily="34" charset="0"/>
              <a:buChar char="•"/>
              <a:defRPr/>
            </a:pPr>
            <a:r>
              <a:rPr lang="es-ES" sz="1400">
                <a:solidFill>
                  <a:schemeClr val="bg1">
                    <a:lumMod val="10000"/>
                    <a:lumOff val="90000"/>
                  </a:schemeClr>
                </a:solidFill>
                <a:latin typeface="Montserrat"/>
                <a:cs typeface="Segoe UI Semilight"/>
              </a:rPr>
              <a:t>We use BPM, RPA and low-code to accelerate innovation and reduce errors. </a:t>
            </a:r>
          </a:p>
          <a:p>
            <a:pPr marL="285750" indent="-285750" defTabSz="1371566">
              <a:lnSpc>
                <a:spcPts val="1800"/>
              </a:lnSpc>
              <a:spcAft>
                <a:spcPts val="1200"/>
              </a:spcAft>
              <a:buClr>
                <a:srgbClr val="FF2C34"/>
              </a:buClr>
              <a:buFont typeface="Arial" panose="020B0604020202020204" pitchFamily="34" charset="0"/>
              <a:buChar char="•"/>
              <a:defRPr/>
            </a:pPr>
            <a:r>
              <a:rPr lang="es-ES" sz="1400">
                <a:solidFill>
                  <a:schemeClr val="bg1">
                    <a:lumMod val="10000"/>
                    <a:lumOff val="90000"/>
                  </a:schemeClr>
                </a:solidFill>
                <a:latin typeface="Montserrat"/>
                <a:cs typeface="Segoe UI Semilight"/>
              </a:rPr>
              <a:t>Focus on agility, cost reduction and increased productivity. </a:t>
            </a:r>
          </a:p>
        </p:txBody>
      </p:sp>
      <p:sp>
        <p:nvSpPr>
          <p:cNvPr id="21" name="Google Shape;485;p73">
            <a:extLst>
              <a:ext uri="{FF2B5EF4-FFF2-40B4-BE49-F238E27FC236}">
                <a16:creationId xmlns:a16="http://schemas.microsoft.com/office/drawing/2014/main" id="{7285D375-85E0-B4F1-6296-A8A7F75E15B7}"/>
              </a:ext>
            </a:extLst>
          </p:cNvPr>
          <p:cNvSpPr txBox="1"/>
          <p:nvPr/>
        </p:nvSpPr>
        <p:spPr>
          <a:xfrm>
            <a:off x="4988490" y="5905238"/>
            <a:ext cx="2352682" cy="553917"/>
          </a:xfrm>
          <a:prstGeom prst="rect">
            <a:avLst/>
          </a:prstGeom>
          <a:noFill/>
          <a:ln>
            <a:noFill/>
          </a:ln>
        </p:spPr>
        <p:txBody>
          <a:bodyPr spcFirstLastPara="1" wrap="square" lIns="182850" tIns="91400" rIns="182850" bIns="91400" anchor="ctr" anchorCtr="0">
            <a:spAutoFit/>
          </a:bodyPr>
          <a:lstStyle>
            <a:defPPr>
              <a:defRPr lang="pt-B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1828710">
              <a:defRPr/>
            </a:pPr>
            <a:r>
              <a:rPr lang="es-ES" sz="1200" kern="0" dirty="0">
                <a:solidFill>
                  <a:schemeClr val="bg1">
                    <a:lumMod val="10000"/>
                    <a:lumOff val="90000"/>
                  </a:schemeClr>
                </a:solidFill>
                <a:latin typeface="Arial"/>
                <a:cs typeface="Arial"/>
                <a:sym typeface="Montserrat"/>
              </a:rPr>
              <a:t>APPLICATION DEVELOPMENT </a:t>
            </a:r>
            <a:endParaRPr lang="en-US" sz="1200" kern="0" dirty="0">
              <a:solidFill>
                <a:schemeClr val="bg1">
                  <a:lumMod val="10000"/>
                  <a:lumOff val="90000"/>
                </a:schemeClr>
              </a:solidFill>
              <a:latin typeface="Arial"/>
              <a:cs typeface="Arial"/>
            </a:endParaRPr>
          </a:p>
        </p:txBody>
      </p:sp>
      <p:pic>
        <p:nvPicPr>
          <p:cNvPr id="22" name="Picture 2" descr="App development ">
            <a:extLst>
              <a:ext uri="{FF2B5EF4-FFF2-40B4-BE49-F238E27FC236}">
                <a16:creationId xmlns:a16="http://schemas.microsoft.com/office/drawing/2014/main" id="{36AE08B7-360D-B4B1-2F91-71CA3D17A323}"/>
              </a:ext>
            </a:extLst>
          </p:cNvPr>
          <p:cNvPicPr>
            <a:picLocks noChangeAspect="1" noChangeArrowheads="1"/>
          </p:cNvPicPr>
          <p:nvPr/>
        </p:nvPicPr>
        <p:blipFill>
          <a:blip r:embed="rId9">
            <a:lum bright="70000" contrast="-70000"/>
            <a:extLst>
              <a:ext uri="{28A0092B-C50C-407E-A947-70E740481C1C}">
                <a14:useLocalDpi xmlns:a14="http://schemas.microsoft.com/office/drawing/2010/main" val="0"/>
              </a:ext>
            </a:extLst>
          </a:blip>
          <a:srcRect/>
          <a:stretch>
            <a:fillRect/>
          </a:stretch>
        </p:blipFill>
        <p:spPr bwMode="auto">
          <a:xfrm>
            <a:off x="5678601" y="4994236"/>
            <a:ext cx="824293" cy="824293"/>
          </a:xfrm>
          <a:prstGeom prst="rect">
            <a:avLst/>
          </a:prstGeom>
          <a:noFill/>
          <a:extLst>
            <a:ext uri="{909E8E84-426E-40DD-AFC4-6F175D3DCCD1}">
              <a14:hiddenFill xmlns:a14="http://schemas.microsoft.com/office/drawing/2010/main">
                <a:solidFill>
                  <a:srgbClr val="FFFFFF"/>
                </a:solidFill>
              </a14:hiddenFill>
            </a:ext>
          </a:extLst>
        </p:spPr>
      </p:pic>
      <p:sp>
        <p:nvSpPr>
          <p:cNvPr id="24" name="CaixaDeTexto 15">
            <a:extLst>
              <a:ext uri="{FF2B5EF4-FFF2-40B4-BE49-F238E27FC236}">
                <a16:creationId xmlns:a16="http://schemas.microsoft.com/office/drawing/2014/main" id="{F2783CEA-A90B-A0C6-84E5-4A899E02DEFE}"/>
              </a:ext>
            </a:extLst>
          </p:cNvPr>
          <p:cNvSpPr txBox="1"/>
          <p:nvPr/>
        </p:nvSpPr>
        <p:spPr>
          <a:xfrm>
            <a:off x="453798" y="4404541"/>
            <a:ext cx="4445615" cy="3233706"/>
          </a:xfrm>
          <a:prstGeom prst="rect">
            <a:avLst/>
          </a:prstGeom>
          <a:noFill/>
        </p:spPr>
        <p:txBody>
          <a:bodyPr wrap="square" lIns="91440" tIns="45720" rIns="91440" bIns="45720" anchor="t">
            <a:spAutoFit/>
          </a:bodyPr>
          <a:lstStyle>
            <a:defPPr>
              <a:defRPr lang="pt-B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1371566">
              <a:lnSpc>
                <a:spcPts val="1800"/>
              </a:lnSpc>
              <a:spcAft>
                <a:spcPts val="1200"/>
              </a:spcAft>
              <a:defRPr/>
            </a:pPr>
            <a:r>
              <a:rPr lang="es-ES" sz="1400" b="1" dirty="0">
                <a:highlight>
                  <a:srgbClr val="B010F0"/>
                </a:highlight>
                <a:latin typeface="Montserrat SemiBold"/>
                <a:cs typeface="Segoe UI Semilight"/>
              </a:rPr>
              <a:t>Software </a:t>
            </a:r>
            <a:r>
              <a:rPr lang="es-ES" sz="1400" b="1" dirty="0" err="1">
                <a:highlight>
                  <a:srgbClr val="B010F0"/>
                </a:highlight>
                <a:latin typeface="Montserrat SemiBold"/>
                <a:cs typeface="Segoe UI Semilight"/>
              </a:rPr>
              <a:t>development</a:t>
            </a:r>
            <a:r>
              <a:rPr lang="es-ES" sz="1400" b="1" dirty="0">
                <a:highlight>
                  <a:srgbClr val="B010F0"/>
                </a:highlight>
                <a:latin typeface="Montserrat SemiBold"/>
                <a:cs typeface="Segoe UI Semilight"/>
              </a:rPr>
              <a:t>, </a:t>
            </a:r>
            <a:r>
              <a:rPr lang="es-ES" sz="1400" b="1" dirty="0" err="1">
                <a:highlight>
                  <a:srgbClr val="B010F0"/>
                </a:highlight>
                <a:latin typeface="Montserrat SemiBold"/>
                <a:cs typeface="Segoe UI Semilight"/>
              </a:rPr>
              <a:t>Modernization</a:t>
            </a:r>
            <a:r>
              <a:rPr lang="es-ES" sz="1400" b="1" dirty="0">
                <a:highlight>
                  <a:srgbClr val="B010F0"/>
                </a:highlight>
                <a:latin typeface="Montserrat SemiBold"/>
                <a:cs typeface="Segoe UI Semilight"/>
              </a:rPr>
              <a:t> and </a:t>
            </a:r>
            <a:r>
              <a:rPr lang="es-ES" sz="1400" b="1" dirty="0" err="1">
                <a:highlight>
                  <a:srgbClr val="B010F0"/>
                </a:highlight>
                <a:latin typeface="Montserrat SemiBold"/>
                <a:cs typeface="Segoe UI Semilight"/>
              </a:rPr>
              <a:t>Industrialization</a:t>
            </a:r>
          </a:p>
          <a:p>
            <a:pPr marL="285750" indent="-285750" defTabSz="1371566">
              <a:lnSpc>
                <a:spcPts val="1800"/>
              </a:lnSpc>
              <a:spcAft>
                <a:spcPts val="1200"/>
              </a:spcAft>
              <a:buClr>
                <a:srgbClr val="B010F0"/>
              </a:buClr>
              <a:buFont typeface="Arial" panose="020B0604020202020204" pitchFamily="34" charset="0"/>
              <a:buChar char="•"/>
              <a:defRPr/>
            </a:pPr>
            <a:r>
              <a:rPr lang="es-ES" sz="1400">
                <a:solidFill>
                  <a:schemeClr val="bg1">
                    <a:lumMod val="10000"/>
                    <a:lumOff val="90000"/>
                  </a:schemeClr>
                </a:solidFill>
                <a:latin typeface="Montserrat"/>
                <a:cs typeface="Segoe UI Semilight"/>
              </a:rPr>
              <a:t>We</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accelerate</a:t>
            </a:r>
            <a:r>
              <a:rPr lang="es-ES" sz="1400" dirty="0">
                <a:solidFill>
                  <a:schemeClr val="bg1">
                    <a:lumMod val="10000"/>
                    <a:lumOff val="90000"/>
                  </a:schemeClr>
                </a:solidFill>
                <a:latin typeface="Montserrat"/>
                <a:cs typeface="Segoe UI Semilight"/>
              </a:rPr>
              <a:t> digital </a:t>
            </a:r>
            <a:r>
              <a:rPr lang="es-ES" sz="1400" dirty="0" err="1">
                <a:solidFill>
                  <a:schemeClr val="bg1">
                    <a:lumMod val="10000"/>
                    <a:lumOff val="90000"/>
                  </a:schemeClr>
                </a:solidFill>
                <a:latin typeface="Montserrat"/>
                <a:cs typeface="Segoe UI Semilight"/>
              </a:rPr>
              <a:t>transformation</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with</a:t>
            </a:r>
            <a:r>
              <a:rPr lang="es-ES" sz="1400" dirty="0">
                <a:solidFill>
                  <a:schemeClr val="bg1">
                    <a:lumMod val="10000"/>
                    <a:lumOff val="90000"/>
                  </a:schemeClr>
                </a:solidFill>
                <a:latin typeface="Montserrat"/>
                <a:cs typeface="Segoe UI Semilight"/>
              </a:rPr>
              <a:t> agile </a:t>
            </a:r>
            <a:r>
              <a:rPr lang="es-ES" sz="1400" dirty="0" err="1">
                <a:solidFill>
                  <a:schemeClr val="bg1">
                    <a:lumMod val="10000"/>
                    <a:lumOff val="90000"/>
                  </a:schemeClr>
                </a:solidFill>
                <a:latin typeface="Montserrat"/>
                <a:cs typeface="Segoe UI Semilight"/>
              </a:rPr>
              <a:t>development</a:t>
            </a:r>
            <a:r>
              <a:rPr lang="es-ES" sz="1400" dirty="0">
                <a:solidFill>
                  <a:schemeClr val="bg1">
                    <a:lumMod val="10000"/>
                    <a:lumOff val="90000"/>
                  </a:schemeClr>
                </a:solidFill>
                <a:latin typeface="Montserrat"/>
                <a:cs typeface="Segoe UI Semilight"/>
              </a:rPr>
              <a:t> and </a:t>
            </a:r>
            <a:r>
              <a:rPr lang="es-ES" sz="1400" dirty="0" err="1">
                <a:solidFill>
                  <a:schemeClr val="bg1">
                    <a:lumMod val="10000"/>
                    <a:lumOff val="90000"/>
                  </a:schemeClr>
                </a:solidFill>
                <a:latin typeface="Montserrat"/>
                <a:cs typeface="Segoe UI Semilight"/>
              </a:rPr>
              <a:t>systems</a:t>
            </a:r>
            <a:r>
              <a:rPr lang="es-ES" sz="1400" dirty="0">
                <a:solidFill>
                  <a:schemeClr val="bg1">
                    <a:lumMod val="10000"/>
                    <a:lumOff val="90000"/>
                  </a:schemeClr>
                </a:solidFill>
                <a:latin typeface="Montserrat"/>
                <a:cs typeface="Segoe UI Semilight"/>
              </a:rPr>
              <a:t> </a:t>
            </a:r>
            <a:r>
              <a:rPr lang="es-ES" sz="1400" dirty="0" err="1">
                <a:solidFill>
                  <a:schemeClr val="bg1">
                    <a:lumMod val="10000"/>
                    <a:lumOff val="90000"/>
                  </a:schemeClr>
                </a:solidFill>
                <a:latin typeface="Montserrat"/>
                <a:cs typeface="Segoe UI Semilight"/>
              </a:rPr>
              <a:t>modernization</a:t>
            </a:r>
            <a:r>
              <a:rPr lang="es-ES" sz="1400" dirty="0">
                <a:solidFill>
                  <a:schemeClr val="bg1">
                    <a:lumMod val="10000"/>
                    <a:lumOff val="90000"/>
                  </a:schemeClr>
                </a:solidFill>
                <a:latin typeface="Montserrat"/>
                <a:cs typeface="Segoe UI Semilight"/>
              </a:rPr>
              <a:t>. </a:t>
            </a:r>
          </a:p>
          <a:p>
            <a:pPr marL="285750" indent="-285750" defTabSz="1371566">
              <a:lnSpc>
                <a:spcPts val="1800"/>
              </a:lnSpc>
              <a:spcAft>
                <a:spcPts val="1200"/>
              </a:spcAft>
              <a:buClr>
                <a:srgbClr val="B010F0"/>
              </a:buClr>
              <a:buFont typeface="Arial" panose="020B0604020202020204" pitchFamily="34" charset="0"/>
              <a:buChar char="•"/>
              <a:defRPr/>
            </a:pPr>
            <a:r>
              <a:rPr lang="es-ES" sz="1400">
                <a:solidFill>
                  <a:schemeClr val="bg1">
                    <a:lumMod val="10000"/>
                    <a:lumOff val="90000"/>
                  </a:schemeClr>
                </a:solidFill>
                <a:latin typeface="Montserrat"/>
                <a:cs typeface="Segoe UI Semilight"/>
              </a:rPr>
              <a:t>We use low-code and intelligent automation to optimize processes</a:t>
            </a:r>
          </a:p>
          <a:p>
            <a:pPr marL="285750" indent="-285750" defTabSz="1371566">
              <a:lnSpc>
                <a:spcPts val="1800"/>
              </a:lnSpc>
              <a:spcAft>
                <a:spcPts val="1200"/>
              </a:spcAft>
              <a:buClr>
                <a:srgbClr val="B010F0"/>
              </a:buClr>
              <a:buFont typeface="Arial" panose="020B0604020202020204" pitchFamily="34" charset="0"/>
              <a:buChar char="•"/>
              <a:defRPr/>
            </a:pPr>
            <a:r>
              <a:rPr lang="es-ES" sz="1400">
                <a:solidFill>
                  <a:schemeClr val="bg1">
                    <a:lumMod val="10000"/>
                    <a:lumOff val="90000"/>
                  </a:schemeClr>
                </a:solidFill>
                <a:latin typeface="Montserrat"/>
                <a:cs typeface="Segoe UI Semilight"/>
              </a:rPr>
              <a:t>We allow rapid execution and scale of strategic decisions. </a:t>
            </a:r>
          </a:p>
          <a:p>
            <a:pPr marL="285750" indent="-285750" defTabSz="1371566">
              <a:lnSpc>
                <a:spcPts val="1800"/>
              </a:lnSpc>
              <a:spcAft>
                <a:spcPts val="1200"/>
              </a:spcAft>
              <a:buClr>
                <a:srgbClr val="B010F0"/>
              </a:buClr>
              <a:buFont typeface="Arial" panose="020B0604020202020204" pitchFamily="34" charset="0"/>
              <a:buChar char="•"/>
              <a:defRPr/>
            </a:pPr>
            <a:r>
              <a:rPr lang="es-ES" sz="1400">
                <a:solidFill>
                  <a:schemeClr val="bg1">
                    <a:lumMod val="10000"/>
                    <a:lumOff val="90000"/>
                  </a:schemeClr>
                </a:solidFill>
                <a:latin typeface="Montserrat"/>
                <a:cs typeface="Segoe UI Semilight"/>
              </a:rPr>
              <a:t>Focus on operational excellence with tailor-made solutions.</a:t>
            </a:r>
            <a:endParaRPr lang="es-CO" sz="1400">
              <a:solidFill>
                <a:schemeClr val="bg1">
                  <a:lumMod val="10000"/>
                  <a:lumOff val="90000"/>
                </a:schemeClr>
              </a:solidFill>
              <a:latin typeface="Montserrat"/>
              <a:cs typeface="Segoe UI Semilight"/>
            </a:endParaRPr>
          </a:p>
        </p:txBody>
      </p:sp>
    </p:spTree>
    <p:extLst>
      <p:ext uri="{BB962C8B-B14F-4D97-AF65-F5344CB8AC3E}">
        <p14:creationId xmlns:p14="http://schemas.microsoft.com/office/powerpoint/2010/main" val="24717732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0F25F25-420C-AB8D-C25F-0B87181827CC}"/>
              </a:ext>
            </a:extLst>
          </p:cNvPr>
          <p:cNvSpPr>
            <a:spLocks noGrp="1"/>
          </p:cNvSpPr>
          <p:nvPr>
            <p:ph type="body" idx="4294967295"/>
          </p:nvPr>
        </p:nvSpPr>
        <p:spPr>
          <a:xfrm>
            <a:off x="1080599" y="2996406"/>
            <a:ext cx="8307388" cy="6964363"/>
          </a:xfrm>
        </p:spPr>
        <p:txBody>
          <a:bodyPr/>
          <a:lstStyle/>
          <a:p>
            <a:r>
              <a:rPr lang="en-US" sz="2000" noProof="0">
                <a:solidFill>
                  <a:schemeClr val="bg1"/>
                </a:solidFill>
              </a:rPr>
              <a:t>Provides a holistic approach to addressing these challenges by </a:t>
            </a:r>
            <a:r>
              <a:rPr lang="en-US" sz="2000" b="1" noProof="0">
                <a:solidFill>
                  <a:srgbClr val="6800FF"/>
                </a:solidFill>
              </a:rPr>
              <a:t>establishing a structured framework for aligning IT capabilities with business goals</a:t>
            </a:r>
            <a:r>
              <a:rPr lang="en-US" sz="2000" b="1" noProof="0"/>
              <a:t>.</a:t>
            </a:r>
            <a:endParaRPr lang="en-US" sz="2000" b="1" noProof="0">
              <a:solidFill>
                <a:schemeClr val="bg1"/>
              </a:solidFill>
            </a:endParaRPr>
          </a:p>
          <a:p>
            <a:endParaRPr lang="en-US" sz="2000" b="1" noProof="0">
              <a:solidFill>
                <a:schemeClr val="bg1"/>
              </a:solidFill>
            </a:endParaRPr>
          </a:p>
          <a:p>
            <a:r>
              <a:rPr lang="en-US" sz="2000" noProof="0">
                <a:solidFill>
                  <a:schemeClr val="bg1"/>
                </a:solidFill>
              </a:rPr>
              <a:t>Enables organizations to </a:t>
            </a:r>
            <a:r>
              <a:rPr lang="en-US" sz="2000" b="1" noProof="0">
                <a:solidFill>
                  <a:srgbClr val="6800FF"/>
                </a:solidFill>
              </a:rPr>
              <a:t>analyze, design, and optimize</a:t>
            </a:r>
            <a:r>
              <a:rPr lang="en-US" sz="2000" noProof="0"/>
              <a:t> their </a:t>
            </a:r>
            <a:r>
              <a:rPr lang="en-US" sz="2000" noProof="0">
                <a:solidFill>
                  <a:schemeClr val="bg1"/>
                </a:solidFill>
              </a:rPr>
              <a:t>IT systems, </a:t>
            </a:r>
            <a:r>
              <a:rPr lang="en-US" sz="2000" b="1" noProof="0">
                <a:solidFill>
                  <a:srgbClr val="6800FF"/>
                </a:solidFill>
              </a:rPr>
              <a:t>processes, and technologies</a:t>
            </a:r>
            <a:r>
              <a:rPr lang="en-US" sz="2000" noProof="0"/>
              <a:t> </a:t>
            </a:r>
            <a:r>
              <a:rPr lang="en-US" sz="2000" noProof="0">
                <a:solidFill>
                  <a:schemeClr val="bg1"/>
                </a:solidFill>
              </a:rPr>
              <a:t>to support current and future business needs.</a:t>
            </a:r>
          </a:p>
          <a:p>
            <a:endParaRPr lang="en-US" sz="2000" noProof="0">
              <a:solidFill>
                <a:schemeClr val="bg1"/>
              </a:solidFill>
            </a:endParaRPr>
          </a:p>
          <a:p>
            <a:r>
              <a:rPr lang="en-US" sz="2000" noProof="0">
                <a:solidFill>
                  <a:schemeClr val="bg1"/>
                </a:solidFill>
              </a:rPr>
              <a:t>By defining standardized architectures and governance mechanisms, </a:t>
            </a:r>
            <a:r>
              <a:rPr lang="en-US" sz="2000" b="1" noProof="0">
                <a:solidFill>
                  <a:srgbClr val="6800FF"/>
                </a:solidFill>
              </a:rPr>
              <a:t>promotes consistency, interoperability, and scalability </a:t>
            </a:r>
            <a:r>
              <a:rPr lang="en-US" sz="2000" noProof="0">
                <a:solidFill>
                  <a:schemeClr val="bg1"/>
                </a:solidFill>
              </a:rPr>
              <a:t>across the enterprise.</a:t>
            </a:r>
          </a:p>
          <a:p>
            <a:endParaRPr lang="en-US" sz="2000" noProof="0">
              <a:solidFill>
                <a:schemeClr val="bg1"/>
              </a:solidFill>
            </a:endParaRPr>
          </a:p>
          <a:p>
            <a:r>
              <a:rPr lang="en-US" sz="2000" noProof="0">
                <a:solidFill>
                  <a:schemeClr val="bg1"/>
                </a:solidFill>
              </a:rPr>
              <a:t>Ultimately, empowers organizations </a:t>
            </a:r>
            <a:r>
              <a:rPr lang="en-US" sz="2000" b="1" noProof="0">
                <a:solidFill>
                  <a:srgbClr val="6800FF"/>
                </a:solidFill>
              </a:rPr>
              <a:t>to make informed decisions</a:t>
            </a:r>
            <a:r>
              <a:rPr lang="en-US" sz="2000" noProof="0"/>
              <a:t>, </a:t>
            </a:r>
            <a:r>
              <a:rPr lang="en-US" sz="2000" b="1" noProof="0">
                <a:solidFill>
                  <a:srgbClr val="6800FF"/>
                </a:solidFill>
              </a:rPr>
              <a:t>streamline operations, and drive innovation</a:t>
            </a:r>
            <a:r>
              <a:rPr lang="en-US" sz="2000" noProof="0"/>
              <a:t> while reducing costs and mitigating risks.</a:t>
            </a:r>
          </a:p>
          <a:p>
            <a:endParaRPr lang="en-US" sz="2000" noProof="0"/>
          </a:p>
        </p:txBody>
      </p:sp>
      <p:graphicFrame>
        <p:nvGraphicFramePr>
          <p:cNvPr id="5" name="Diagrama 9">
            <a:extLst>
              <a:ext uri="{FF2B5EF4-FFF2-40B4-BE49-F238E27FC236}">
                <a16:creationId xmlns:a16="http://schemas.microsoft.com/office/drawing/2014/main" id="{77591546-FD83-8115-9D9A-88B7CD5112B4}"/>
              </a:ext>
            </a:extLst>
          </p:cNvPr>
          <p:cNvGraphicFramePr/>
          <p:nvPr>
            <p:extLst>
              <p:ext uri="{D42A27DB-BD31-4B8C-83A1-F6EECF244321}">
                <p14:modId xmlns:p14="http://schemas.microsoft.com/office/powerpoint/2010/main" val="1071257733"/>
              </p:ext>
            </p:extLst>
          </p:nvPr>
        </p:nvGraphicFramePr>
        <p:xfrm>
          <a:off x="8730484" y="2477810"/>
          <a:ext cx="9554700" cy="695213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itle 1">
            <a:extLst>
              <a:ext uri="{FF2B5EF4-FFF2-40B4-BE49-F238E27FC236}">
                <a16:creationId xmlns:a16="http://schemas.microsoft.com/office/drawing/2014/main" id="{6862413D-2087-42B1-85A2-79E0C6261C36}"/>
              </a:ext>
            </a:extLst>
          </p:cNvPr>
          <p:cNvSpPr txBox="1">
            <a:spLocks/>
          </p:cNvSpPr>
          <p:nvPr/>
        </p:nvSpPr>
        <p:spPr>
          <a:xfrm>
            <a:off x="1080599" y="1042450"/>
            <a:ext cx="11012889" cy="11454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9pPr>
          </a:lstStyle>
          <a:p>
            <a:r>
              <a:rPr lang="en-US" sz="4000" b="1" noProof="0">
                <a:solidFill>
                  <a:srgbClr val="6800FF"/>
                </a:solidFill>
                <a:latin typeface="Montserrat"/>
                <a:sym typeface="Montserrat"/>
              </a:rPr>
              <a:t>A structured approach</a:t>
            </a:r>
            <a:r>
              <a:rPr lang="en-US" sz="4000" b="1" noProof="0">
                <a:solidFill>
                  <a:schemeClr val="bg1"/>
                </a:solidFill>
                <a:latin typeface="Montserrat"/>
                <a:sym typeface="Montserrat"/>
              </a:rPr>
              <a:t> to ensure IT meets Business and vice-versa</a:t>
            </a:r>
            <a:endParaRPr lang="en-US" sz="4000" noProof="0">
              <a:solidFill>
                <a:schemeClr val="bg1"/>
              </a:solidFill>
            </a:endParaRPr>
          </a:p>
        </p:txBody>
      </p:sp>
      <p:grpSp>
        <p:nvGrpSpPr>
          <p:cNvPr id="61" name="Group 7">
            <a:extLst>
              <a:ext uri="{FF2B5EF4-FFF2-40B4-BE49-F238E27FC236}">
                <a16:creationId xmlns:a16="http://schemas.microsoft.com/office/drawing/2014/main" id="{E0DB817E-C6A5-7F49-83C0-8CBE6BF217FD}"/>
              </a:ext>
            </a:extLst>
          </p:cNvPr>
          <p:cNvGrpSpPr/>
          <p:nvPr/>
        </p:nvGrpSpPr>
        <p:grpSpPr>
          <a:xfrm>
            <a:off x="7401278" y="2130515"/>
            <a:ext cx="612363" cy="56823"/>
            <a:chOff x="0" y="0"/>
            <a:chExt cx="1078484" cy="100076"/>
          </a:xfrm>
        </p:grpSpPr>
        <p:sp>
          <p:nvSpPr>
            <p:cNvPr id="60" name="Freeform 8">
              <a:extLst>
                <a:ext uri="{FF2B5EF4-FFF2-40B4-BE49-F238E27FC236}">
                  <a16:creationId xmlns:a16="http://schemas.microsoft.com/office/drawing/2014/main" id="{F6F2E146-DD85-EE57-E7B6-5032E1FD87CC}"/>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spTree>
    <p:extLst>
      <p:ext uri="{BB962C8B-B14F-4D97-AF65-F5344CB8AC3E}">
        <p14:creationId xmlns:p14="http://schemas.microsoft.com/office/powerpoint/2010/main" val="20037222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8AD109-42BB-31F8-8C79-6D26CD2F6EDD}"/>
              </a:ext>
            </a:extLst>
          </p:cNvPr>
          <p:cNvSpPr>
            <a:spLocks noGrp="1"/>
          </p:cNvSpPr>
          <p:nvPr>
            <p:ph type="title" idx="4294967295"/>
          </p:nvPr>
        </p:nvSpPr>
        <p:spPr>
          <a:xfrm>
            <a:off x="1152477" y="891324"/>
            <a:ext cx="8855075" cy="1144587"/>
          </a:xfrm>
        </p:spPr>
        <p:txBody>
          <a:bodyPr/>
          <a:lstStyle/>
          <a:p>
            <a:r>
              <a:rPr lang="en-US" sz="4000" noProof="0">
                <a:solidFill>
                  <a:schemeClr val="bg1"/>
                </a:solidFill>
              </a:rPr>
              <a:t>Vision,</a:t>
            </a:r>
            <a:r>
              <a:rPr kumimoji="0" lang="en-US" sz="4000" b="1" i="0" u="none" strike="noStrike" kern="0" cap="none" spc="0" normalizeH="0" baseline="0" noProof="0">
                <a:ln>
                  <a:noFill/>
                </a:ln>
                <a:solidFill>
                  <a:schemeClr val="bg1"/>
                </a:solidFill>
                <a:effectLst/>
                <a:uLnTx/>
                <a:uFillTx/>
                <a:latin typeface="Montserrat"/>
                <a:sym typeface="Montserrat"/>
              </a:rPr>
              <a:t> </a:t>
            </a:r>
            <a:r>
              <a:rPr lang="en-US" sz="4000" noProof="0">
                <a:solidFill>
                  <a:schemeClr val="bg1"/>
                </a:solidFill>
              </a:rPr>
              <a:t>Mission</a:t>
            </a:r>
            <a:r>
              <a:rPr kumimoji="0" lang="en-US" sz="4000" b="1" i="0" u="none" strike="noStrike" kern="0" cap="none" spc="0" normalizeH="0" baseline="0" noProof="0">
                <a:ln>
                  <a:noFill/>
                </a:ln>
                <a:solidFill>
                  <a:schemeClr val="bg1"/>
                </a:solidFill>
                <a:effectLst/>
                <a:uLnTx/>
                <a:uFillTx/>
                <a:latin typeface="Montserrat"/>
                <a:sym typeface="Montserrat"/>
              </a:rPr>
              <a:t> </a:t>
            </a:r>
            <a:r>
              <a:rPr lang="en-US" sz="4000" noProof="0">
                <a:solidFill>
                  <a:schemeClr val="bg1"/>
                </a:solidFill>
              </a:rPr>
              <a:t>and</a:t>
            </a:r>
            <a:r>
              <a:rPr kumimoji="0" lang="en-US" sz="4000" b="1" i="0" u="none" strike="noStrike" kern="0" cap="none" spc="0" normalizeH="0" baseline="0" noProof="0">
                <a:ln>
                  <a:noFill/>
                </a:ln>
                <a:solidFill>
                  <a:schemeClr val="bg1"/>
                </a:solidFill>
                <a:effectLst/>
                <a:uLnTx/>
                <a:uFillTx/>
                <a:latin typeface="Montserrat"/>
                <a:sym typeface="Montserrat"/>
              </a:rPr>
              <a:t> </a:t>
            </a:r>
            <a:r>
              <a:rPr lang="en-US" sz="4000" noProof="0">
                <a:solidFill>
                  <a:schemeClr val="bg1"/>
                </a:solidFill>
              </a:rPr>
              <a:t>Value</a:t>
            </a:r>
          </a:p>
        </p:txBody>
      </p:sp>
      <p:grpSp>
        <p:nvGrpSpPr>
          <p:cNvPr id="42" name="Group 41">
            <a:extLst>
              <a:ext uri="{FF2B5EF4-FFF2-40B4-BE49-F238E27FC236}">
                <a16:creationId xmlns:a16="http://schemas.microsoft.com/office/drawing/2014/main" id="{D9E234C4-649F-AB5C-65F3-44C7502AED4B}"/>
              </a:ext>
            </a:extLst>
          </p:cNvPr>
          <p:cNvGrpSpPr/>
          <p:nvPr/>
        </p:nvGrpSpPr>
        <p:grpSpPr>
          <a:xfrm>
            <a:off x="7599794" y="2393468"/>
            <a:ext cx="9937983" cy="5541356"/>
            <a:chOff x="2743957" y="2567441"/>
            <a:chExt cx="13769746" cy="7714573"/>
          </a:xfrm>
        </p:grpSpPr>
        <p:sp>
          <p:nvSpPr>
            <p:cNvPr id="11" name="Rectangle 366">
              <a:extLst>
                <a:ext uri="{FF2B5EF4-FFF2-40B4-BE49-F238E27FC236}">
                  <a16:creationId xmlns:a16="http://schemas.microsoft.com/office/drawing/2014/main" id="{4D235617-C7B3-8C96-7E82-40052AF20FD3}"/>
                </a:ext>
              </a:extLst>
            </p:cNvPr>
            <p:cNvSpPr>
              <a:spLocks noChangeArrowheads="1"/>
            </p:cNvSpPr>
            <p:nvPr/>
          </p:nvSpPr>
          <p:spPr bwMode="auto">
            <a:xfrm>
              <a:off x="4960414" y="2713761"/>
              <a:ext cx="11281266" cy="7019743"/>
            </a:xfrm>
            <a:prstGeom prst="rect">
              <a:avLst/>
            </a:prstGeom>
            <a:solidFill>
              <a:schemeClr val="tx1"/>
            </a:solidFill>
            <a:ln w="28575" algn="ctr">
              <a:solidFill>
                <a:srgbClr val="7E33EF"/>
              </a:solidFill>
              <a:miter lim="800000"/>
              <a:headEnd/>
              <a:tailEnd/>
            </a:ln>
            <a:effectLst>
              <a:outerShdw blurRad="44450" dist="27940" dir="5400000" algn="ctr">
                <a:srgbClr val="000000">
                  <a:alpha val="32000"/>
                </a:srgbClr>
              </a:outerShdw>
            </a:effectLst>
          </p:spPr>
          <p:txBody>
            <a:bodyPr wrap="none" lIns="36000" tIns="90000" rIns="36000" bIns="90000" anchor="t">
              <a:flatTx/>
            </a:bodyPr>
            <a:lstStyle/>
            <a:p>
              <a:pPr algn="ctr">
                <a:tabLst>
                  <a:tab pos="6464300" algn="r"/>
                </a:tabLst>
              </a:pPr>
              <a:endParaRPr lang="en-US" sz="1000" b="1" noProof="0">
                <a:solidFill>
                  <a:srgbClr val="00B0F0"/>
                </a:solidFill>
                <a:latin typeface="Montserrat" panose="00000500000000000000" pitchFamily="2" charset="0"/>
              </a:endParaRPr>
            </a:p>
          </p:txBody>
        </p:sp>
        <p:sp>
          <p:nvSpPr>
            <p:cNvPr id="12" name="Rectangle 365">
              <a:extLst>
                <a:ext uri="{FF2B5EF4-FFF2-40B4-BE49-F238E27FC236}">
                  <a16:creationId xmlns:a16="http://schemas.microsoft.com/office/drawing/2014/main" id="{B10467F5-FDD1-8A95-1A73-C8CA57A086C6}"/>
                </a:ext>
              </a:extLst>
            </p:cNvPr>
            <p:cNvSpPr>
              <a:spLocks noChangeArrowheads="1"/>
            </p:cNvSpPr>
            <p:nvPr/>
          </p:nvSpPr>
          <p:spPr bwMode="auto">
            <a:xfrm>
              <a:off x="5370674" y="3468693"/>
              <a:ext cx="10393713" cy="6420365"/>
            </a:xfrm>
            <a:prstGeom prst="rect">
              <a:avLst/>
            </a:prstGeom>
            <a:solidFill>
              <a:schemeClr val="tx1"/>
            </a:solidFill>
            <a:ln w="28575" algn="ctr">
              <a:solidFill>
                <a:srgbClr val="7E33EF"/>
              </a:solidFill>
              <a:prstDash val="sysDot"/>
              <a:miter lim="800000"/>
              <a:headEnd/>
              <a:tailEnd/>
            </a:ln>
            <a:effectLst>
              <a:outerShdw blurRad="44450" dist="27940" dir="5400000" algn="ctr">
                <a:srgbClr val="000000">
                  <a:alpha val="32000"/>
                </a:srgbClr>
              </a:outerShdw>
            </a:effectLst>
          </p:spPr>
          <p:txBody>
            <a:bodyPr wrap="none" lIns="36000" tIns="90000" rIns="36000" bIns="90000" anchor="t">
              <a:flatTx/>
            </a:bodyPr>
            <a:lstStyle/>
            <a:p>
              <a:pPr algn="ctr">
                <a:tabLst>
                  <a:tab pos="6464300" algn="r"/>
                </a:tabLst>
              </a:pPr>
              <a:endParaRPr lang="en-US" sz="1000" b="1" noProof="0">
                <a:solidFill>
                  <a:srgbClr val="FF0000"/>
                </a:solidFill>
                <a:latin typeface="Montserrat" panose="00000500000000000000" pitchFamily="2" charset="0"/>
              </a:endParaRPr>
            </a:p>
          </p:txBody>
        </p:sp>
        <p:sp>
          <p:nvSpPr>
            <p:cNvPr id="20" name="Rectangle 362">
              <a:extLst>
                <a:ext uri="{FF2B5EF4-FFF2-40B4-BE49-F238E27FC236}">
                  <a16:creationId xmlns:a16="http://schemas.microsoft.com/office/drawing/2014/main" id="{424F77A3-D8B9-4939-EABE-D01D696AEFD9}"/>
                </a:ext>
              </a:extLst>
            </p:cNvPr>
            <p:cNvSpPr>
              <a:spLocks noChangeArrowheads="1"/>
            </p:cNvSpPr>
            <p:nvPr/>
          </p:nvSpPr>
          <p:spPr bwMode="auto">
            <a:xfrm>
              <a:off x="8246663" y="4228758"/>
              <a:ext cx="2252734" cy="6053256"/>
            </a:xfrm>
            <a:prstGeom prst="rect">
              <a:avLst/>
            </a:prstGeom>
            <a:solidFill>
              <a:schemeClr val="tx1"/>
            </a:solidFill>
            <a:ln w="12700" algn="ctr">
              <a:solidFill>
                <a:srgbClr val="7E33EF"/>
              </a:solidFill>
              <a:prstDash val="dash"/>
              <a:miter lim="800000"/>
              <a:headEnd/>
              <a:tailEnd/>
            </a:ln>
            <a:effectLst>
              <a:outerShdw blurRad="44450" dist="27940" dir="5400000" algn="ctr">
                <a:srgbClr val="000000">
                  <a:alpha val="32000"/>
                </a:srgbClr>
              </a:outerShdw>
            </a:effectLst>
          </p:spPr>
          <p:txBody>
            <a:bodyPr wrap="square" lIns="36000" tIns="90000" rIns="36000" bIns="90000" anchor="t">
              <a:flatTx/>
            </a:bodyPr>
            <a:lstStyle/>
            <a:p>
              <a:pPr algn="ctr">
                <a:tabLst>
                  <a:tab pos="6464300" algn="r"/>
                </a:tabLst>
              </a:pPr>
              <a:endParaRPr lang="en-US" sz="1000" b="1" noProof="0">
                <a:solidFill>
                  <a:srgbClr val="00B050"/>
                </a:solidFill>
                <a:latin typeface="Montserrat" panose="00000500000000000000" pitchFamily="2" charset="0"/>
              </a:endParaRPr>
            </a:p>
          </p:txBody>
        </p:sp>
        <p:sp>
          <p:nvSpPr>
            <p:cNvPr id="21" name="Rectangle 363">
              <a:extLst>
                <a:ext uri="{FF2B5EF4-FFF2-40B4-BE49-F238E27FC236}">
                  <a16:creationId xmlns:a16="http://schemas.microsoft.com/office/drawing/2014/main" id="{C3330E0F-E72C-CA72-B33C-0BC257531049}"/>
                </a:ext>
              </a:extLst>
            </p:cNvPr>
            <p:cNvSpPr>
              <a:spLocks noChangeArrowheads="1"/>
            </p:cNvSpPr>
            <p:nvPr/>
          </p:nvSpPr>
          <p:spPr bwMode="auto">
            <a:xfrm>
              <a:off x="10627464" y="4228758"/>
              <a:ext cx="2252737" cy="6053255"/>
            </a:xfrm>
            <a:prstGeom prst="rect">
              <a:avLst/>
            </a:prstGeom>
            <a:solidFill>
              <a:schemeClr val="tx1"/>
            </a:solidFill>
            <a:ln w="12700" algn="ctr">
              <a:solidFill>
                <a:srgbClr val="7E33EF"/>
              </a:solidFill>
              <a:prstDash val="dash"/>
              <a:miter lim="800000"/>
              <a:headEnd/>
              <a:tailEnd/>
            </a:ln>
            <a:effectLst>
              <a:outerShdw blurRad="44450" dist="27940" dir="5400000" algn="ctr">
                <a:srgbClr val="000000">
                  <a:alpha val="32000"/>
                </a:srgbClr>
              </a:outerShdw>
            </a:effectLst>
          </p:spPr>
          <p:txBody>
            <a:bodyPr wrap="square" lIns="36000" tIns="90000" rIns="36000" bIns="90000" anchor="t">
              <a:flatTx/>
            </a:bodyPr>
            <a:lstStyle/>
            <a:p>
              <a:pPr algn="ctr">
                <a:tabLst>
                  <a:tab pos="6464300" algn="r"/>
                </a:tabLst>
              </a:pPr>
              <a:endParaRPr lang="en-US" sz="1000" b="1" noProof="0">
                <a:solidFill>
                  <a:srgbClr val="D98CF8"/>
                </a:solidFill>
                <a:latin typeface="Montserrat" panose="00000500000000000000" pitchFamily="2" charset="0"/>
              </a:endParaRPr>
            </a:p>
          </p:txBody>
        </p:sp>
        <p:sp>
          <p:nvSpPr>
            <p:cNvPr id="22" name="Rectangle 364">
              <a:extLst>
                <a:ext uri="{FF2B5EF4-FFF2-40B4-BE49-F238E27FC236}">
                  <a16:creationId xmlns:a16="http://schemas.microsoft.com/office/drawing/2014/main" id="{C52DE8E0-B58F-3009-BD97-C02E58C6029D}"/>
                </a:ext>
              </a:extLst>
            </p:cNvPr>
            <p:cNvSpPr>
              <a:spLocks noChangeArrowheads="1"/>
            </p:cNvSpPr>
            <p:nvPr/>
          </p:nvSpPr>
          <p:spPr bwMode="auto">
            <a:xfrm>
              <a:off x="13008272" y="4228758"/>
              <a:ext cx="2252737" cy="6053255"/>
            </a:xfrm>
            <a:prstGeom prst="rect">
              <a:avLst/>
            </a:prstGeom>
            <a:solidFill>
              <a:schemeClr val="tx1"/>
            </a:solidFill>
            <a:ln w="12700" algn="ctr">
              <a:solidFill>
                <a:srgbClr val="7E33EF"/>
              </a:solidFill>
              <a:prstDash val="dash"/>
              <a:miter lim="800000"/>
              <a:headEnd/>
              <a:tailEnd/>
            </a:ln>
            <a:effectLst>
              <a:outerShdw blurRad="44450" dist="27940" dir="5400000" algn="ctr">
                <a:srgbClr val="000000">
                  <a:alpha val="32000"/>
                </a:srgbClr>
              </a:outerShdw>
            </a:effectLst>
          </p:spPr>
          <p:txBody>
            <a:bodyPr wrap="square" lIns="36000" tIns="90000" rIns="36000" bIns="90000" anchor="t">
              <a:flatTx/>
            </a:bodyPr>
            <a:lstStyle/>
            <a:p>
              <a:pPr algn="ctr">
                <a:tabLst>
                  <a:tab pos="6464300" algn="r"/>
                </a:tabLst>
              </a:pPr>
              <a:endParaRPr lang="en-US" sz="1000" b="1" noProof="0">
                <a:solidFill>
                  <a:srgbClr val="B01C7F"/>
                </a:solidFill>
                <a:latin typeface="Montserrat" panose="00000500000000000000" pitchFamily="2" charset="0"/>
              </a:endParaRPr>
            </a:p>
          </p:txBody>
        </p:sp>
        <p:sp>
          <p:nvSpPr>
            <p:cNvPr id="23" name="Rectangle 361">
              <a:extLst>
                <a:ext uri="{FF2B5EF4-FFF2-40B4-BE49-F238E27FC236}">
                  <a16:creationId xmlns:a16="http://schemas.microsoft.com/office/drawing/2014/main" id="{1B39634A-93AF-67A5-0F4E-E8007B5B0051}"/>
                </a:ext>
              </a:extLst>
            </p:cNvPr>
            <p:cNvSpPr>
              <a:spLocks noChangeArrowheads="1"/>
            </p:cNvSpPr>
            <p:nvPr/>
          </p:nvSpPr>
          <p:spPr bwMode="auto">
            <a:xfrm>
              <a:off x="5865861" y="4228758"/>
              <a:ext cx="2252734" cy="6053255"/>
            </a:xfrm>
            <a:prstGeom prst="rect">
              <a:avLst/>
            </a:prstGeom>
            <a:solidFill>
              <a:schemeClr val="tx1"/>
            </a:solidFill>
            <a:ln w="12700" algn="ctr">
              <a:solidFill>
                <a:srgbClr val="7E33EF"/>
              </a:solidFill>
              <a:prstDash val="dash"/>
              <a:miter lim="800000"/>
              <a:headEnd/>
              <a:tailEnd/>
            </a:ln>
            <a:effectLst>
              <a:outerShdw blurRad="44450" dist="27940" dir="5400000" algn="ctr">
                <a:srgbClr val="000000">
                  <a:alpha val="32000"/>
                </a:srgbClr>
              </a:outerShdw>
            </a:effectLst>
          </p:spPr>
          <p:txBody>
            <a:bodyPr wrap="square" lIns="36000" tIns="90000" rIns="36000" bIns="90000" anchor="t">
              <a:flatTx/>
            </a:bodyPr>
            <a:lstStyle/>
            <a:p>
              <a:pPr algn="ctr">
                <a:buFont typeface="Wingdings" pitchFamily="2" charset="2"/>
                <a:buNone/>
                <a:tabLst>
                  <a:tab pos="6464300" algn="r"/>
                </a:tabLst>
              </a:pPr>
              <a:endParaRPr lang="en-US" sz="1000" b="1" noProof="0">
                <a:solidFill>
                  <a:srgbClr val="D3356E"/>
                </a:solidFill>
                <a:latin typeface="Montserrat" panose="00000500000000000000" pitchFamily="2" charset="0"/>
              </a:endParaRPr>
            </a:p>
          </p:txBody>
        </p:sp>
        <p:sp>
          <p:nvSpPr>
            <p:cNvPr id="24" name="Rectangle 92">
              <a:extLst>
                <a:ext uri="{FF2B5EF4-FFF2-40B4-BE49-F238E27FC236}">
                  <a16:creationId xmlns:a16="http://schemas.microsoft.com/office/drawing/2014/main" id="{5F52E1F9-8D6C-BF48-E3AC-BD8560788A1C}"/>
                </a:ext>
              </a:extLst>
            </p:cNvPr>
            <p:cNvSpPr>
              <a:spLocks noChangeArrowheads="1"/>
            </p:cNvSpPr>
            <p:nvPr/>
          </p:nvSpPr>
          <p:spPr bwMode="auto">
            <a:xfrm>
              <a:off x="4693228" y="4666878"/>
              <a:ext cx="11820474" cy="870745"/>
            </a:xfrm>
            <a:prstGeom prst="rect">
              <a:avLst/>
            </a:prstGeom>
            <a:solidFill>
              <a:srgbClr val="6800FF">
                <a:alpha val="75000"/>
              </a:srgbClr>
            </a:solidFill>
            <a:ln w="9525">
              <a:noFill/>
              <a:miter lim="800000"/>
              <a:headEnd/>
              <a:tailEnd/>
            </a:ln>
            <a:effectLst>
              <a:outerShdw blurRad="63500" sx="102000" sy="102000" algn="ctr" rotWithShape="0">
                <a:prstClr val="black">
                  <a:alpha val="40000"/>
                </a:prstClr>
              </a:outerShdw>
            </a:effectLst>
          </p:spPr>
          <p:txBody>
            <a:bodyPr lIns="36000" tIns="45720" rIns="36000" bIns="45720" anchor="ctr"/>
            <a:lstStyle/>
            <a:p>
              <a:pPr eaLnBrk="0" hangingPunct="0">
                <a:lnSpc>
                  <a:spcPct val="85000"/>
                </a:lnSpc>
              </a:pPr>
              <a:endParaRPr lang="en-US" sz="1000" b="1" noProof="0">
                <a:solidFill>
                  <a:schemeClr val="tx1"/>
                </a:solidFill>
                <a:latin typeface="Montserrat" panose="00000500000000000000" pitchFamily="2" charset="0"/>
              </a:endParaRPr>
            </a:p>
          </p:txBody>
        </p:sp>
        <p:sp>
          <p:nvSpPr>
            <p:cNvPr id="25" name="Rectangle 92">
              <a:extLst>
                <a:ext uri="{FF2B5EF4-FFF2-40B4-BE49-F238E27FC236}">
                  <a16:creationId xmlns:a16="http://schemas.microsoft.com/office/drawing/2014/main" id="{07F221B7-7387-761F-C5F8-CAD0C37BE16D}"/>
                </a:ext>
              </a:extLst>
            </p:cNvPr>
            <p:cNvSpPr>
              <a:spLocks noChangeArrowheads="1"/>
            </p:cNvSpPr>
            <p:nvPr/>
          </p:nvSpPr>
          <p:spPr bwMode="auto">
            <a:xfrm>
              <a:off x="4706317" y="5846823"/>
              <a:ext cx="11807386" cy="831294"/>
            </a:xfrm>
            <a:prstGeom prst="rect">
              <a:avLst/>
            </a:prstGeom>
            <a:solidFill>
              <a:srgbClr val="6800FF">
                <a:alpha val="75000"/>
              </a:srgbClr>
            </a:solidFill>
            <a:ln w="9525">
              <a:noFill/>
              <a:miter lim="800000"/>
              <a:headEnd/>
              <a:tailEnd/>
            </a:ln>
            <a:effectLst>
              <a:outerShdw blurRad="63500" sx="102000" sy="102000" algn="ctr" rotWithShape="0">
                <a:prstClr val="black">
                  <a:alpha val="40000"/>
                </a:prstClr>
              </a:outerShdw>
            </a:effectLst>
          </p:spPr>
          <p:txBody>
            <a:bodyPr lIns="36000" tIns="45720" rIns="36000" bIns="45720" anchor="ctr"/>
            <a:lstStyle/>
            <a:p>
              <a:pPr eaLnBrk="0" hangingPunct="0">
                <a:lnSpc>
                  <a:spcPct val="85000"/>
                </a:lnSpc>
              </a:pPr>
              <a:endParaRPr lang="en-US" sz="1000" b="1" noProof="0">
                <a:solidFill>
                  <a:schemeClr val="tx1"/>
                </a:solidFill>
                <a:latin typeface="Montserrat" panose="00000500000000000000" pitchFamily="2" charset="0"/>
              </a:endParaRPr>
            </a:p>
          </p:txBody>
        </p:sp>
        <p:sp>
          <p:nvSpPr>
            <p:cNvPr id="26" name="Rectangle 92">
              <a:extLst>
                <a:ext uri="{FF2B5EF4-FFF2-40B4-BE49-F238E27FC236}">
                  <a16:creationId xmlns:a16="http://schemas.microsoft.com/office/drawing/2014/main" id="{FD5E8A0B-DFE2-7FC9-BDAF-08C81FB10462}"/>
                </a:ext>
              </a:extLst>
            </p:cNvPr>
            <p:cNvSpPr>
              <a:spLocks noChangeArrowheads="1"/>
            </p:cNvSpPr>
            <p:nvPr/>
          </p:nvSpPr>
          <p:spPr bwMode="auto">
            <a:xfrm>
              <a:off x="4719405" y="6881740"/>
              <a:ext cx="11794298" cy="917976"/>
            </a:xfrm>
            <a:prstGeom prst="rect">
              <a:avLst/>
            </a:prstGeom>
            <a:solidFill>
              <a:srgbClr val="6800FF">
                <a:alpha val="75000"/>
              </a:srgbClr>
            </a:solidFill>
            <a:ln w="9525">
              <a:noFill/>
              <a:miter lim="800000"/>
              <a:headEnd/>
              <a:tailEnd/>
            </a:ln>
            <a:effectLst>
              <a:outerShdw blurRad="63500" sx="102000" sy="102000" algn="ctr" rotWithShape="0">
                <a:prstClr val="black">
                  <a:alpha val="40000"/>
                </a:prstClr>
              </a:outerShdw>
            </a:effectLst>
          </p:spPr>
          <p:txBody>
            <a:bodyPr lIns="36000" tIns="45720" rIns="36000" bIns="45720" anchor="ctr"/>
            <a:lstStyle/>
            <a:p>
              <a:pPr eaLnBrk="0" hangingPunct="0">
                <a:lnSpc>
                  <a:spcPct val="85000"/>
                </a:lnSpc>
              </a:pPr>
              <a:endParaRPr lang="en-US" sz="1000" b="1" noProof="0">
                <a:solidFill>
                  <a:schemeClr val="tx1"/>
                </a:solidFill>
                <a:latin typeface="Montserrat" panose="00000500000000000000" pitchFamily="2" charset="0"/>
              </a:endParaRPr>
            </a:p>
          </p:txBody>
        </p:sp>
        <p:sp>
          <p:nvSpPr>
            <p:cNvPr id="27" name="Rectangle 92">
              <a:extLst>
                <a:ext uri="{FF2B5EF4-FFF2-40B4-BE49-F238E27FC236}">
                  <a16:creationId xmlns:a16="http://schemas.microsoft.com/office/drawing/2014/main" id="{1462A2E5-588A-1A07-33D6-E2408EFF762E}"/>
                </a:ext>
              </a:extLst>
            </p:cNvPr>
            <p:cNvSpPr>
              <a:spLocks noChangeArrowheads="1"/>
            </p:cNvSpPr>
            <p:nvPr/>
          </p:nvSpPr>
          <p:spPr bwMode="auto">
            <a:xfrm>
              <a:off x="4705955" y="8050574"/>
              <a:ext cx="11807388" cy="899085"/>
            </a:xfrm>
            <a:prstGeom prst="rect">
              <a:avLst/>
            </a:prstGeom>
            <a:solidFill>
              <a:srgbClr val="6800FF">
                <a:alpha val="75000"/>
              </a:srgbClr>
            </a:solidFill>
            <a:ln w="9525">
              <a:noFill/>
              <a:miter lim="800000"/>
              <a:headEnd/>
              <a:tailEnd/>
            </a:ln>
            <a:effectLst>
              <a:outerShdw blurRad="63500" sx="102000" sy="102000" algn="ctr" rotWithShape="0">
                <a:prstClr val="black">
                  <a:alpha val="40000"/>
                </a:prstClr>
              </a:outerShdw>
            </a:effectLst>
          </p:spPr>
          <p:txBody>
            <a:bodyPr lIns="36000" tIns="45720" rIns="36000" bIns="45720" anchor="ctr"/>
            <a:lstStyle/>
            <a:p>
              <a:pPr eaLnBrk="0" hangingPunct="0">
                <a:lnSpc>
                  <a:spcPct val="85000"/>
                </a:lnSpc>
              </a:pPr>
              <a:endParaRPr lang="en-US" sz="1000" b="1" noProof="0">
                <a:solidFill>
                  <a:schemeClr val="tx1"/>
                </a:solidFill>
                <a:latin typeface="Montserrat" panose="00000500000000000000" pitchFamily="2" charset="0"/>
              </a:endParaRPr>
            </a:p>
          </p:txBody>
        </p:sp>
        <p:sp>
          <p:nvSpPr>
            <p:cNvPr id="28" name="Title 1">
              <a:extLst>
                <a:ext uri="{FF2B5EF4-FFF2-40B4-BE49-F238E27FC236}">
                  <a16:creationId xmlns:a16="http://schemas.microsoft.com/office/drawing/2014/main" id="{9B44589F-825A-0DC9-2A83-50FD72089B12}"/>
                </a:ext>
              </a:extLst>
            </p:cNvPr>
            <p:cNvSpPr txBox="1">
              <a:spLocks/>
            </p:cNvSpPr>
            <p:nvPr/>
          </p:nvSpPr>
          <p:spPr>
            <a:xfrm>
              <a:off x="3225717" y="4671081"/>
              <a:ext cx="1403050" cy="86201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222222"/>
                </a:buClr>
                <a:buSzPts val="2000"/>
                <a:buFont typeface="Montserrat"/>
                <a:buNone/>
                <a:defRPr sz="4000" b="1" i="0" u="none" strike="noStrike" cap="none">
                  <a:solidFill>
                    <a:srgbClr val="222222"/>
                  </a:solidFill>
                  <a:latin typeface="Montserrat"/>
                  <a:ea typeface="Montserrat"/>
                  <a:cs typeface="Montserrat"/>
                  <a:sym typeface="Montserrat"/>
                </a:defRPr>
              </a:lvl1pPr>
              <a:lvl2pPr marR="0" lvl="1"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2pPr>
              <a:lvl3pPr marR="0" lvl="2"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3pPr>
              <a:lvl4pPr marR="0" lvl="3"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4pPr>
              <a:lvl5pPr marR="0" lvl="4"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5pPr>
              <a:lvl6pPr marR="0" lvl="5"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6pPr>
              <a:lvl7pPr marR="0" lvl="6"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7pPr>
              <a:lvl8pPr marR="0" lvl="7"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8pPr>
              <a:lvl9pPr marR="0" lvl="8"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9pPr>
            </a:lstStyle>
            <a:p>
              <a:pPr algn="r"/>
              <a:r>
                <a:rPr lang="en-US" sz="1400" noProof="0">
                  <a:solidFill>
                    <a:schemeClr val="bg1"/>
                  </a:solidFill>
                  <a:latin typeface="Montserrat Bold"/>
                </a:rPr>
                <a:t>Why?</a:t>
              </a:r>
            </a:p>
            <a:p>
              <a:pPr algn="r"/>
              <a:r>
                <a:rPr lang="en-US" sz="1400" b="0" noProof="0">
                  <a:solidFill>
                    <a:schemeClr val="bg1"/>
                  </a:solidFill>
                  <a:latin typeface="Montserrat Light"/>
                </a:rPr>
                <a:t>Context</a:t>
              </a:r>
            </a:p>
          </p:txBody>
        </p:sp>
        <p:sp>
          <p:nvSpPr>
            <p:cNvPr id="29" name="Title 1">
              <a:extLst>
                <a:ext uri="{FF2B5EF4-FFF2-40B4-BE49-F238E27FC236}">
                  <a16:creationId xmlns:a16="http://schemas.microsoft.com/office/drawing/2014/main" id="{41106044-9B26-5564-884F-278DDB65C061}"/>
                </a:ext>
              </a:extLst>
            </p:cNvPr>
            <p:cNvSpPr txBox="1">
              <a:spLocks/>
            </p:cNvSpPr>
            <p:nvPr/>
          </p:nvSpPr>
          <p:spPr>
            <a:xfrm>
              <a:off x="2932881" y="5804633"/>
              <a:ext cx="1695886" cy="862011"/>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222222"/>
                </a:buClr>
                <a:buSzPts val="2000"/>
                <a:buFont typeface="Montserrat"/>
                <a:buNone/>
                <a:defRPr sz="4000" b="1" i="0" u="none" strike="noStrike" cap="none">
                  <a:solidFill>
                    <a:srgbClr val="222222"/>
                  </a:solidFill>
                  <a:latin typeface="Montserrat"/>
                  <a:ea typeface="Montserrat"/>
                  <a:cs typeface="Montserrat"/>
                  <a:sym typeface="Montserrat"/>
                </a:defRPr>
              </a:lvl1pPr>
              <a:lvl2pPr marR="0" lvl="1"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2pPr>
              <a:lvl3pPr marR="0" lvl="2"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3pPr>
              <a:lvl4pPr marR="0" lvl="3"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4pPr>
              <a:lvl5pPr marR="0" lvl="4"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5pPr>
              <a:lvl6pPr marR="0" lvl="5"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6pPr>
              <a:lvl7pPr marR="0" lvl="6"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7pPr>
              <a:lvl8pPr marR="0" lvl="7"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8pPr>
              <a:lvl9pPr marR="0" lvl="8"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9pPr>
            </a:lstStyle>
            <a:p>
              <a:pPr algn="r"/>
              <a:r>
                <a:rPr lang="en-US" sz="1400" noProof="0">
                  <a:solidFill>
                    <a:srgbClr val="212121"/>
                  </a:solidFill>
                  <a:latin typeface="Montserrat Bold"/>
                </a:rPr>
                <a:t>What?</a:t>
              </a:r>
            </a:p>
            <a:p>
              <a:pPr algn="r"/>
              <a:r>
                <a:rPr lang="en-US" sz="1400" noProof="0">
                  <a:solidFill>
                    <a:srgbClr val="212121"/>
                  </a:solidFill>
                  <a:latin typeface="Montserrat Light"/>
                </a:rPr>
                <a:t>Conceptual</a:t>
              </a:r>
            </a:p>
          </p:txBody>
        </p:sp>
        <p:sp>
          <p:nvSpPr>
            <p:cNvPr id="30" name="Title 1">
              <a:extLst>
                <a:ext uri="{FF2B5EF4-FFF2-40B4-BE49-F238E27FC236}">
                  <a16:creationId xmlns:a16="http://schemas.microsoft.com/office/drawing/2014/main" id="{C3581CA9-1758-D7BE-46E2-B4CC774129AB}"/>
                </a:ext>
              </a:extLst>
            </p:cNvPr>
            <p:cNvSpPr txBox="1">
              <a:spLocks/>
            </p:cNvSpPr>
            <p:nvPr/>
          </p:nvSpPr>
          <p:spPr>
            <a:xfrm>
              <a:off x="3225717" y="6928741"/>
              <a:ext cx="1403050" cy="8620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222222"/>
                </a:buClr>
                <a:buSzPts val="2000"/>
                <a:buFont typeface="Montserrat"/>
                <a:buNone/>
                <a:defRPr sz="4000" b="1" i="0" u="none" strike="noStrike" cap="none">
                  <a:solidFill>
                    <a:srgbClr val="222222"/>
                  </a:solidFill>
                  <a:latin typeface="Montserrat"/>
                  <a:ea typeface="Montserrat"/>
                  <a:cs typeface="Montserrat"/>
                  <a:sym typeface="Montserrat"/>
                </a:defRPr>
              </a:lvl1pPr>
              <a:lvl2pPr marR="0" lvl="1"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2pPr>
              <a:lvl3pPr marR="0" lvl="2"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3pPr>
              <a:lvl4pPr marR="0" lvl="3"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4pPr>
              <a:lvl5pPr marR="0" lvl="4"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5pPr>
              <a:lvl6pPr marR="0" lvl="5"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6pPr>
              <a:lvl7pPr marR="0" lvl="6"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7pPr>
              <a:lvl8pPr marR="0" lvl="7"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8pPr>
              <a:lvl9pPr marR="0" lvl="8"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9pPr>
            </a:lstStyle>
            <a:p>
              <a:pPr algn="r"/>
              <a:r>
                <a:rPr lang="en-US" sz="1400" noProof="0">
                  <a:solidFill>
                    <a:srgbClr val="212121"/>
                  </a:solidFill>
                  <a:latin typeface="Montserrat Bold"/>
                </a:rPr>
                <a:t>How?</a:t>
              </a:r>
              <a:endParaRPr lang="en-US" sz="4800" noProof="0">
                <a:solidFill>
                  <a:srgbClr val="212121"/>
                </a:solidFill>
                <a:latin typeface="Montserrat Bold"/>
              </a:endParaRPr>
            </a:p>
            <a:p>
              <a:pPr algn="r"/>
              <a:r>
                <a:rPr lang="en-US" sz="1400" b="0" noProof="0">
                  <a:solidFill>
                    <a:srgbClr val="212121"/>
                  </a:solidFill>
                  <a:latin typeface="Montserrat Light"/>
                </a:rPr>
                <a:t>Logical</a:t>
              </a:r>
              <a:endParaRPr lang="en-US" sz="4800" b="0" noProof="0">
                <a:solidFill>
                  <a:srgbClr val="212121"/>
                </a:solidFill>
                <a:latin typeface="Montserrat Light"/>
              </a:endParaRPr>
            </a:p>
          </p:txBody>
        </p:sp>
        <p:sp>
          <p:nvSpPr>
            <p:cNvPr id="31" name="Title 1">
              <a:extLst>
                <a:ext uri="{FF2B5EF4-FFF2-40B4-BE49-F238E27FC236}">
                  <a16:creationId xmlns:a16="http://schemas.microsoft.com/office/drawing/2014/main" id="{7887E2C0-0E48-0AE7-6E75-DC57F23A8E73}"/>
                </a:ext>
              </a:extLst>
            </p:cNvPr>
            <p:cNvSpPr txBox="1">
              <a:spLocks/>
            </p:cNvSpPr>
            <p:nvPr/>
          </p:nvSpPr>
          <p:spPr>
            <a:xfrm>
              <a:off x="2743957" y="8052850"/>
              <a:ext cx="1922597" cy="890349"/>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222222"/>
                </a:buClr>
                <a:buSzPts val="2000"/>
                <a:buFont typeface="Montserrat"/>
                <a:buNone/>
                <a:defRPr sz="4000" b="1" i="0" u="none" strike="noStrike" cap="none">
                  <a:solidFill>
                    <a:srgbClr val="222222"/>
                  </a:solidFill>
                  <a:latin typeface="Montserrat"/>
                  <a:ea typeface="Montserrat"/>
                  <a:cs typeface="Montserrat"/>
                  <a:sym typeface="Montserrat"/>
                </a:defRPr>
              </a:lvl1pPr>
              <a:lvl2pPr marR="0" lvl="1"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2pPr>
              <a:lvl3pPr marR="0" lvl="2"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3pPr>
              <a:lvl4pPr marR="0" lvl="3"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4pPr>
              <a:lvl5pPr marR="0" lvl="4"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5pPr>
              <a:lvl6pPr marR="0" lvl="5"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6pPr>
              <a:lvl7pPr marR="0" lvl="6"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7pPr>
              <a:lvl8pPr marR="0" lvl="7"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8pPr>
              <a:lvl9pPr marR="0" lvl="8"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9pPr>
            </a:lstStyle>
            <a:p>
              <a:pPr algn="r"/>
              <a:r>
                <a:rPr lang="en-US" sz="1400" noProof="0">
                  <a:solidFill>
                    <a:srgbClr val="212121"/>
                  </a:solidFill>
                  <a:latin typeface="Montserrat Bold"/>
                </a:rPr>
                <a:t>With What?</a:t>
              </a:r>
              <a:endParaRPr lang="en-US" sz="4800" noProof="0">
                <a:solidFill>
                  <a:srgbClr val="212121"/>
                </a:solidFill>
                <a:latin typeface="Montserrat Bold"/>
              </a:endParaRPr>
            </a:p>
            <a:p>
              <a:pPr algn="r"/>
              <a:r>
                <a:rPr lang="en-US" sz="1400" b="0" noProof="0">
                  <a:solidFill>
                    <a:srgbClr val="212121"/>
                  </a:solidFill>
                  <a:latin typeface="Montserrat Light"/>
                </a:rPr>
                <a:t>Physical</a:t>
              </a:r>
              <a:endParaRPr lang="en-US" sz="4800" b="0" noProof="0">
                <a:solidFill>
                  <a:srgbClr val="212121"/>
                </a:solidFill>
                <a:latin typeface="Montserrat Light"/>
              </a:endParaRPr>
            </a:p>
          </p:txBody>
        </p:sp>
        <p:sp>
          <p:nvSpPr>
            <p:cNvPr id="32" name="Title 1">
              <a:extLst>
                <a:ext uri="{FF2B5EF4-FFF2-40B4-BE49-F238E27FC236}">
                  <a16:creationId xmlns:a16="http://schemas.microsoft.com/office/drawing/2014/main" id="{5EF72735-F9F4-7362-77BD-D2DB37CDB2A3}"/>
                </a:ext>
              </a:extLst>
            </p:cNvPr>
            <p:cNvSpPr txBox="1">
              <a:spLocks/>
            </p:cNvSpPr>
            <p:nvPr/>
          </p:nvSpPr>
          <p:spPr>
            <a:xfrm>
              <a:off x="8176016" y="4834074"/>
              <a:ext cx="4794267" cy="342467"/>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222222"/>
                </a:buClr>
                <a:buSzPts val="2000"/>
                <a:buFont typeface="Montserrat"/>
                <a:buNone/>
                <a:defRPr sz="4000" b="1" i="0" u="none" strike="noStrike" cap="none">
                  <a:solidFill>
                    <a:srgbClr val="222222"/>
                  </a:solidFill>
                  <a:latin typeface="Montserrat"/>
                  <a:ea typeface="Montserrat"/>
                  <a:cs typeface="Montserrat"/>
                  <a:sym typeface="Montserrat"/>
                </a:defRPr>
              </a:lvl1pPr>
              <a:lvl2pPr marR="0" lvl="1"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2pPr>
              <a:lvl3pPr marR="0" lvl="2"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3pPr>
              <a:lvl4pPr marR="0" lvl="3"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4pPr>
              <a:lvl5pPr marR="0" lvl="4"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5pPr>
              <a:lvl6pPr marR="0" lvl="5"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6pPr>
              <a:lvl7pPr marR="0" lvl="6"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7pPr>
              <a:lvl8pPr marR="0" lvl="7"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8pPr>
              <a:lvl9pPr marR="0" lvl="8"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9pPr>
            </a:lstStyle>
            <a:p>
              <a:pPr algn="ctr"/>
              <a:r>
                <a:rPr lang="en-US" sz="1600" noProof="0">
                  <a:solidFill>
                    <a:srgbClr val="FFFFFF"/>
                  </a:solidFill>
                </a:rPr>
                <a:t>Vision, Goals, Motivation</a:t>
              </a:r>
              <a:endParaRPr lang="en-US" sz="5400" noProof="0">
                <a:solidFill>
                  <a:srgbClr val="FFFFFF"/>
                </a:solidFill>
              </a:endParaRPr>
            </a:p>
          </p:txBody>
        </p:sp>
        <p:sp>
          <p:nvSpPr>
            <p:cNvPr id="33" name="Title 1">
              <a:extLst>
                <a:ext uri="{FF2B5EF4-FFF2-40B4-BE49-F238E27FC236}">
                  <a16:creationId xmlns:a16="http://schemas.microsoft.com/office/drawing/2014/main" id="{6B15288F-F25A-4FBB-477F-71889DDC1831}"/>
                </a:ext>
              </a:extLst>
            </p:cNvPr>
            <p:cNvSpPr txBox="1">
              <a:spLocks/>
            </p:cNvSpPr>
            <p:nvPr/>
          </p:nvSpPr>
          <p:spPr>
            <a:xfrm>
              <a:off x="6080069" y="6020229"/>
              <a:ext cx="9684316" cy="58851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222222"/>
                </a:buClr>
                <a:buSzPts val="2000"/>
                <a:buFont typeface="Montserrat"/>
                <a:buNone/>
                <a:defRPr sz="4000" b="1" i="0" u="none" strike="noStrike" cap="none">
                  <a:solidFill>
                    <a:srgbClr val="222222"/>
                  </a:solidFill>
                  <a:latin typeface="Montserrat"/>
                  <a:ea typeface="Montserrat"/>
                  <a:cs typeface="Montserrat"/>
                  <a:sym typeface="Montserrat"/>
                </a:defRPr>
              </a:lvl1pPr>
              <a:lvl2pPr marR="0" lvl="1"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2pPr>
              <a:lvl3pPr marR="0" lvl="2"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3pPr>
              <a:lvl4pPr marR="0" lvl="3"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4pPr>
              <a:lvl5pPr marR="0" lvl="4"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5pPr>
              <a:lvl6pPr marR="0" lvl="5"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6pPr>
              <a:lvl7pPr marR="0" lvl="6"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7pPr>
              <a:lvl8pPr marR="0" lvl="7"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8pPr>
              <a:lvl9pPr marR="0" lvl="8"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9pPr>
            </a:lstStyle>
            <a:p>
              <a:pPr algn="ctr"/>
              <a:r>
                <a:rPr lang="en-US" sz="1600" noProof="0">
                  <a:solidFill>
                    <a:srgbClr val="FFFFFF"/>
                  </a:solidFill>
                </a:rPr>
                <a:t>What do we want? Taxonomy and organizational alignment</a:t>
              </a:r>
            </a:p>
          </p:txBody>
        </p:sp>
        <p:sp>
          <p:nvSpPr>
            <p:cNvPr id="34" name="Title 1">
              <a:extLst>
                <a:ext uri="{FF2B5EF4-FFF2-40B4-BE49-F238E27FC236}">
                  <a16:creationId xmlns:a16="http://schemas.microsoft.com/office/drawing/2014/main" id="{88F35E02-7003-0AAC-0BEF-5E7527E51EE3}"/>
                </a:ext>
              </a:extLst>
            </p:cNvPr>
            <p:cNvSpPr txBox="1">
              <a:spLocks/>
            </p:cNvSpPr>
            <p:nvPr/>
          </p:nvSpPr>
          <p:spPr>
            <a:xfrm>
              <a:off x="7807609" y="7039130"/>
              <a:ext cx="5521628" cy="342467"/>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222222"/>
                </a:buClr>
                <a:buSzPts val="2000"/>
                <a:buFont typeface="Montserrat"/>
                <a:buNone/>
                <a:defRPr sz="4000" b="1" i="0" u="none" strike="noStrike" cap="none">
                  <a:solidFill>
                    <a:srgbClr val="222222"/>
                  </a:solidFill>
                  <a:latin typeface="Montserrat"/>
                  <a:ea typeface="Montserrat"/>
                  <a:cs typeface="Montserrat"/>
                  <a:sym typeface="Montserrat"/>
                </a:defRPr>
              </a:lvl1pPr>
              <a:lvl2pPr marR="0" lvl="1"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2pPr>
              <a:lvl3pPr marR="0" lvl="2"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3pPr>
              <a:lvl4pPr marR="0" lvl="3"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4pPr>
              <a:lvl5pPr marR="0" lvl="4"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5pPr>
              <a:lvl6pPr marR="0" lvl="5"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6pPr>
              <a:lvl7pPr marR="0" lvl="6"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7pPr>
              <a:lvl8pPr marR="0" lvl="7"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8pPr>
              <a:lvl9pPr marR="0" lvl="8"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9pPr>
            </a:lstStyle>
            <a:p>
              <a:pPr algn="ctr"/>
              <a:r>
                <a:rPr lang="en-US" sz="1600" noProof="0">
                  <a:solidFill>
                    <a:srgbClr val="FFFFFF"/>
                  </a:solidFill>
                </a:rPr>
                <a:t>Solutions, Roadmaps and Benefits</a:t>
              </a:r>
              <a:endParaRPr lang="en-US" sz="5400" noProof="0">
                <a:solidFill>
                  <a:srgbClr val="FFFFFF"/>
                </a:solidFill>
              </a:endParaRPr>
            </a:p>
          </p:txBody>
        </p:sp>
        <p:sp>
          <p:nvSpPr>
            <p:cNvPr id="35" name="Title 1">
              <a:extLst>
                <a:ext uri="{FF2B5EF4-FFF2-40B4-BE49-F238E27FC236}">
                  <a16:creationId xmlns:a16="http://schemas.microsoft.com/office/drawing/2014/main" id="{6CF26AA5-A37B-4DA2-EA58-6E8B100BFBAC}"/>
                </a:ext>
              </a:extLst>
            </p:cNvPr>
            <p:cNvSpPr txBox="1">
              <a:spLocks/>
            </p:cNvSpPr>
            <p:nvPr/>
          </p:nvSpPr>
          <p:spPr>
            <a:xfrm>
              <a:off x="6962548" y="8212136"/>
              <a:ext cx="7688743" cy="464529"/>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222222"/>
                </a:buClr>
                <a:buSzPts val="2000"/>
                <a:buFont typeface="Montserrat"/>
                <a:buNone/>
                <a:defRPr sz="4000" b="1" i="0" u="none" strike="noStrike" cap="none">
                  <a:solidFill>
                    <a:srgbClr val="222222"/>
                  </a:solidFill>
                  <a:latin typeface="Montserrat"/>
                  <a:ea typeface="Montserrat"/>
                  <a:cs typeface="Montserrat"/>
                  <a:sym typeface="Montserrat"/>
                </a:defRPr>
              </a:lvl1pPr>
              <a:lvl2pPr marR="0" lvl="1"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2pPr>
              <a:lvl3pPr marR="0" lvl="2"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3pPr>
              <a:lvl4pPr marR="0" lvl="3"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4pPr>
              <a:lvl5pPr marR="0" lvl="4"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5pPr>
              <a:lvl6pPr marR="0" lvl="5"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6pPr>
              <a:lvl7pPr marR="0" lvl="6"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7pPr>
              <a:lvl8pPr marR="0" lvl="7"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8pPr>
              <a:lvl9pPr marR="0" lvl="8"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9pPr>
            </a:lstStyle>
            <a:p>
              <a:pPr algn="ctr"/>
              <a:r>
                <a:rPr lang="en-US" sz="1600" noProof="0">
                  <a:solidFill>
                    <a:srgbClr val="FFFFFF"/>
                  </a:solidFill>
                </a:rPr>
                <a:t>Toolset, Procedures and Change Management</a:t>
              </a:r>
              <a:endParaRPr lang="en-US" sz="5400" noProof="0">
                <a:solidFill>
                  <a:srgbClr val="FFFFFF"/>
                </a:solidFill>
              </a:endParaRPr>
            </a:p>
          </p:txBody>
        </p:sp>
        <p:sp>
          <p:nvSpPr>
            <p:cNvPr id="36" name="Rectangle 35">
              <a:extLst>
                <a:ext uri="{FF2B5EF4-FFF2-40B4-BE49-F238E27FC236}">
                  <a16:creationId xmlns:a16="http://schemas.microsoft.com/office/drawing/2014/main" id="{5CBB6B9D-788F-8AD2-692D-3882A64DFB54}"/>
                </a:ext>
              </a:extLst>
            </p:cNvPr>
            <p:cNvSpPr/>
            <p:nvPr/>
          </p:nvSpPr>
          <p:spPr>
            <a:xfrm>
              <a:off x="9904445" y="3312590"/>
              <a:ext cx="1420262" cy="342251"/>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noProof="0">
                  <a:solidFill>
                    <a:srgbClr val="7E33EF"/>
                  </a:solidFill>
                  <a:latin typeface="Montserrat Bold"/>
                  <a:cs typeface="Arial"/>
                </a:rPr>
                <a:t>Security</a:t>
              </a:r>
              <a:endParaRPr lang="en-US" sz="1100" noProof="0">
                <a:solidFill>
                  <a:srgbClr val="7E33EF"/>
                </a:solidFill>
                <a:latin typeface="Montserrat Bold"/>
              </a:endParaRPr>
            </a:p>
          </p:txBody>
        </p:sp>
        <p:sp>
          <p:nvSpPr>
            <p:cNvPr id="37" name="Rectangle 36">
              <a:extLst>
                <a:ext uri="{FF2B5EF4-FFF2-40B4-BE49-F238E27FC236}">
                  <a16:creationId xmlns:a16="http://schemas.microsoft.com/office/drawing/2014/main" id="{4EDC7AF5-EFBF-9D55-831F-B5F745630279}"/>
                </a:ext>
              </a:extLst>
            </p:cNvPr>
            <p:cNvSpPr/>
            <p:nvPr/>
          </p:nvSpPr>
          <p:spPr>
            <a:xfrm>
              <a:off x="9473441" y="2567441"/>
              <a:ext cx="2194293" cy="302798"/>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noProof="0">
                  <a:solidFill>
                    <a:srgbClr val="7E33EF"/>
                  </a:solidFill>
                  <a:latin typeface="Montserrat Bold"/>
                  <a:cs typeface="Arial"/>
                </a:rPr>
                <a:t>Governance</a:t>
              </a:r>
              <a:endParaRPr lang="en-US" noProof="0">
                <a:solidFill>
                  <a:srgbClr val="7E33EF"/>
                </a:solidFill>
                <a:latin typeface="Montserrat Bold"/>
              </a:endParaRPr>
            </a:p>
          </p:txBody>
        </p:sp>
        <p:sp>
          <p:nvSpPr>
            <p:cNvPr id="38" name="Rectangle 37">
              <a:extLst>
                <a:ext uri="{FF2B5EF4-FFF2-40B4-BE49-F238E27FC236}">
                  <a16:creationId xmlns:a16="http://schemas.microsoft.com/office/drawing/2014/main" id="{49D492D0-367F-C4CF-5521-51AABD81509A}"/>
                </a:ext>
              </a:extLst>
            </p:cNvPr>
            <p:cNvSpPr/>
            <p:nvPr/>
          </p:nvSpPr>
          <p:spPr>
            <a:xfrm>
              <a:off x="6403634" y="4028839"/>
              <a:ext cx="1168504" cy="394854"/>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00" noProof="0">
                  <a:solidFill>
                    <a:srgbClr val="7E33EF"/>
                  </a:solidFill>
                  <a:latin typeface="Montserrat Bold"/>
                  <a:cs typeface="Arial"/>
                </a:rPr>
                <a:t>Business</a:t>
              </a:r>
              <a:endParaRPr lang="en-US" sz="1000" noProof="0">
                <a:solidFill>
                  <a:srgbClr val="7E33EF"/>
                </a:solidFill>
                <a:latin typeface="Montserrat Bold"/>
              </a:endParaRPr>
            </a:p>
          </p:txBody>
        </p:sp>
        <p:sp>
          <p:nvSpPr>
            <p:cNvPr id="39" name="Rectangle 38">
              <a:extLst>
                <a:ext uri="{FF2B5EF4-FFF2-40B4-BE49-F238E27FC236}">
                  <a16:creationId xmlns:a16="http://schemas.microsoft.com/office/drawing/2014/main" id="{B8AC84C2-D2E2-6B0C-4222-71DF005DB6F3}"/>
                </a:ext>
              </a:extLst>
            </p:cNvPr>
            <p:cNvSpPr/>
            <p:nvPr/>
          </p:nvSpPr>
          <p:spPr>
            <a:xfrm>
              <a:off x="10852833" y="4068291"/>
              <a:ext cx="1801404" cy="394855"/>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00" noProof="0">
                  <a:solidFill>
                    <a:srgbClr val="7E33EF"/>
                  </a:solidFill>
                  <a:latin typeface="Montserrat Bold"/>
                  <a:cs typeface="Arial"/>
                </a:rPr>
                <a:t>Information Systems</a:t>
              </a:r>
            </a:p>
          </p:txBody>
        </p:sp>
        <p:sp>
          <p:nvSpPr>
            <p:cNvPr id="40" name="Rectangle 39">
              <a:extLst>
                <a:ext uri="{FF2B5EF4-FFF2-40B4-BE49-F238E27FC236}">
                  <a16:creationId xmlns:a16="http://schemas.microsoft.com/office/drawing/2014/main" id="{6244A5C3-4522-B775-F403-C3B47635DB8E}"/>
                </a:ext>
              </a:extLst>
            </p:cNvPr>
            <p:cNvSpPr/>
            <p:nvPr/>
          </p:nvSpPr>
          <p:spPr>
            <a:xfrm>
              <a:off x="9066123" y="4028839"/>
              <a:ext cx="733975" cy="404301"/>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00" noProof="0">
                  <a:solidFill>
                    <a:srgbClr val="7E33EF"/>
                  </a:solidFill>
                  <a:latin typeface="Montserrat Bold"/>
                  <a:cs typeface="Arial"/>
                </a:rPr>
                <a:t>Data</a:t>
              </a:r>
              <a:endParaRPr lang="en-US" sz="1100" noProof="0">
                <a:solidFill>
                  <a:srgbClr val="7E33EF"/>
                </a:solidFill>
                <a:cs typeface="Arial"/>
              </a:endParaRPr>
            </a:p>
          </p:txBody>
        </p:sp>
        <p:sp>
          <p:nvSpPr>
            <p:cNvPr id="41" name="Rectangle 40">
              <a:extLst>
                <a:ext uri="{FF2B5EF4-FFF2-40B4-BE49-F238E27FC236}">
                  <a16:creationId xmlns:a16="http://schemas.microsoft.com/office/drawing/2014/main" id="{4AEEE0F9-B390-5882-20BE-A5F17854C994}"/>
                </a:ext>
              </a:extLst>
            </p:cNvPr>
            <p:cNvSpPr/>
            <p:nvPr/>
          </p:nvSpPr>
          <p:spPr>
            <a:xfrm>
              <a:off x="13380679" y="4028838"/>
              <a:ext cx="1506641" cy="421156"/>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00" noProof="0">
                  <a:solidFill>
                    <a:srgbClr val="7E33EF"/>
                  </a:solidFill>
                  <a:latin typeface="Montserrat Bold"/>
                  <a:cs typeface="Arial"/>
                </a:rPr>
                <a:t>Technology</a:t>
              </a:r>
              <a:endParaRPr lang="en-US" sz="1100" noProof="0">
                <a:solidFill>
                  <a:srgbClr val="7E33EF"/>
                </a:solidFill>
                <a:cs typeface="Arial"/>
              </a:endParaRPr>
            </a:p>
          </p:txBody>
        </p:sp>
      </p:grpSp>
      <p:sp>
        <p:nvSpPr>
          <p:cNvPr id="4" name="Text Placeholder 2">
            <a:extLst>
              <a:ext uri="{FF2B5EF4-FFF2-40B4-BE49-F238E27FC236}">
                <a16:creationId xmlns:a16="http://schemas.microsoft.com/office/drawing/2014/main" id="{8CE9485C-0E87-2A38-699E-DF3C7C0AF3F9}"/>
              </a:ext>
            </a:extLst>
          </p:cNvPr>
          <p:cNvSpPr txBox="1">
            <a:spLocks/>
          </p:cNvSpPr>
          <p:nvPr/>
        </p:nvSpPr>
        <p:spPr>
          <a:xfrm>
            <a:off x="839132" y="2089548"/>
            <a:ext cx="6127659" cy="6413553"/>
          </a:xfrm>
          <a:prstGeom prst="rect">
            <a:avLst/>
          </a:prstGeom>
        </p:spPr>
        <p:txBody>
          <a:bodyPr lIns="91440" tIns="45720" rIns="91440" bIns="45720" anchor="t"/>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9pPr>
          </a:lstStyle>
          <a:p>
            <a:pPr marL="304800" algn="just">
              <a:lnSpc>
                <a:spcPct val="114999"/>
              </a:lnSpc>
              <a:spcAft>
                <a:spcPts val="2800"/>
              </a:spcAft>
            </a:pPr>
            <a:r>
              <a:rPr lang="en-US" sz="1600" b="1" noProof="0" dirty="0">
                <a:solidFill>
                  <a:srgbClr val="6816FF"/>
                </a:solidFill>
                <a:latin typeface="Montserrat Light"/>
                <a:cs typeface="Montserrat Light"/>
                <a:sym typeface="Montserrat Light"/>
              </a:rPr>
              <a:t>Architecture encompasses more than just Technology, Software or Systems Architecture. </a:t>
            </a:r>
            <a:endParaRPr lang="en-US" sz="1600" b="1" noProof="0" dirty="0">
              <a:solidFill>
                <a:srgbClr val="6816FF"/>
              </a:solidFill>
              <a:latin typeface="Montserrat Light"/>
              <a:cs typeface="Montserrat Light"/>
            </a:endParaRPr>
          </a:p>
          <a:p>
            <a:pPr marL="304800" algn="just">
              <a:lnSpc>
                <a:spcPct val="114999"/>
              </a:lnSpc>
              <a:spcAft>
                <a:spcPts val="2800"/>
              </a:spcAft>
            </a:pPr>
            <a:r>
              <a:rPr lang="en-US" sz="1600" noProof="0" dirty="0">
                <a:latin typeface="Montserrat"/>
              </a:rPr>
              <a:t>-  </a:t>
            </a:r>
            <a:r>
              <a:rPr lang="en-US" sz="1600" noProof="0" dirty="0" err="1">
                <a:latin typeface="Montserrat"/>
              </a:rPr>
              <a:t>Qintess</a:t>
            </a:r>
            <a:r>
              <a:rPr lang="en-US" sz="1600" noProof="0" dirty="0">
                <a:latin typeface="Montserrat"/>
              </a:rPr>
              <a:t> understands Architecture as the </a:t>
            </a:r>
            <a:r>
              <a:rPr lang="en-US" sz="1600" b="1" noProof="0" dirty="0">
                <a:solidFill>
                  <a:srgbClr val="6800FF"/>
                </a:solidFill>
                <a:latin typeface="Montserrat"/>
              </a:rPr>
              <a:t>tool that provides a global and coherent view across Business, Information, Systems and Technology</a:t>
            </a:r>
            <a:r>
              <a:rPr lang="en-US" sz="1600" b="1" noProof="0" dirty="0">
                <a:latin typeface="Montserrat"/>
              </a:rPr>
              <a:t>; </a:t>
            </a:r>
            <a:r>
              <a:rPr lang="en-US" sz="1600" noProof="0" dirty="0">
                <a:latin typeface="Montserrat"/>
              </a:rPr>
              <a:t>not only to design IT systems, but to enable business changes supported and facilitated by IT. Therefore, Architecture is a</a:t>
            </a:r>
            <a:r>
              <a:rPr lang="en-US" sz="1600" b="1" noProof="0" dirty="0">
                <a:latin typeface="Montserrat"/>
              </a:rPr>
              <a:t> </a:t>
            </a:r>
            <a:r>
              <a:rPr lang="en-US" sz="1600" b="1" noProof="0" dirty="0">
                <a:solidFill>
                  <a:srgbClr val="6800FF"/>
                </a:solidFill>
                <a:latin typeface="Montserrat"/>
              </a:rPr>
              <a:t>lever to help transform an organization. </a:t>
            </a:r>
            <a:endParaRPr lang="en-US" sz="1600" noProof="0" dirty="0">
              <a:latin typeface="Montserrat"/>
            </a:endParaRPr>
          </a:p>
          <a:p>
            <a:pPr marL="304800" algn="just">
              <a:lnSpc>
                <a:spcPct val="114999"/>
              </a:lnSpc>
              <a:spcAft>
                <a:spcPts val="2800"/>
              </a:spcAft>
            </a:pPr>
            <a:r>
              <a:rPr lang="en-US" sz="1600" noProof="0" dirty="0">
                <a:latin typeface="Montserrat"/>
              </a:rPr>
              <a:t>-  Covers the </a:t>
            </a:r>
            <a:r>
              <a:rPr lang="en-US" sz="1600" b="1" noProof="0" dirty="0">
                <a:solidFill>
                  <a:srgbClr val="6800FF"/>
                </a:solidFill>
                <a:latin typeface="Montserrat"/>
              </a:rPr>
              <a:t>structure and relationships of the enterprise, its business models, how the organization should work, and how and in what way the organization will be supported, via IT, in achieving its business objectives</a:t>
            </a:r>
            <a:r>
              <a:rPr lang="en-US" sz="1600" b="1" noProof="0" dirty="0">
                <a:latin typeface="Montserrat"/>
              </a:rPr>
              <a:t>. </a:t>
            </a:r>
            <a:r>
              <a:rPr lang="en-US" sz="1600" noProof="0" dirty="0">
                <a:latin typeface="Montserrat"/>
              </a:rPr>
              <a:t>The Architecture model is divided into several viewpoints. Combining them, each “cell” in this model has a set of defined Artifacts. These are views that allow architects to gather and visualize artifacts to assist in modeling and communicating the Architecture with various stakeholders.</a:t>
            </a:r>
            <a:endParaRPr lang="en-US" sz="1600" b="1" noProof="0" dirty="0">
              <a:solidFill>
                <a:srgbClr val="6800FF"/>
              </a:solidFill>
              <a:latin typeface="Montserrat"/>
            </a:endParaRPr>
          </a:p>
        </p:txBody>
      </p:sp>
      <p:grpSp>
        <p:nvGrpSpPr>
          <p:cNvPr id="6" name="Group 7">
            <a:extLst>
              <a:ext uri="{FF2B5EF4-FFF2-40B4-BE49-F238E27FC236}">
                <a16:creationId xmlns:a16="http://schemas.microsoft.com/office/drawing/2014/main" id="{4F080391-6553-F9DC-652D-7983E2AFAFF6}"/>
              </a:ext>
            </a:extLst>
          </p:cNvPr>
          <p:cNvGrpSpPr/>
          <p:nvPr/>
        </p:nvGrpSpPr>
        <p:grpSpPr>
          <a:xfrm>
            <a:off x="7764505" y="1461755"/>
            <a:ext cx="612363" cy="56823"/>
            <a:chOff x="0" y="0"/>
            <a:chExt cx="1078484" cy="100076"/>
          </a:xfrm>
        </p:grpSpPr>
        <p:sp>
          <p:nvSpPr>
            <p:cNvPr id="5" name="Freeform 8">
              <a:extLst>
                <a:ext uri="{FF2B5EF4-FFF2-40B4-BE49-F238E27FC236}">
                  <a16:creationId xmlns:a16="http://schemas.microsoft.com/office/drawing/2014/main" id="{EF1B90EB-BD4C-6153-93C7-1F563967DD74}"/>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spTree>
    <p:extLst>
      <p:ext uri="{BB962C8B-B14F-4D97-AF65-F5344CB8AC3E}">
        <p14:creationId xmlns:p14="http://schemas.microsoft.com/office/powerpoint/2010/main" val="32930554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A4D02B-E4A4-FF00-9B4C-72F9CFF75ECD}"/>
              </a:ext>
            </a:extLst>
          </p:cNvPr>
          <p:cNvSpPr>
            <a:spLocks noGrp="1"/>
          </p:cNvSpPr>
          <p:nvPr>
            <p:ph type="title" idx="4294967295"/>
          </p:nvPr>
        </p:nvSpPr>
        <p:spPr>
          <a:xfrm>
            <a:off x="657847" y="635354"/>
            <a:ext cx="15321450" cy="1145400"/>
          </a:xfrm>
        </p:spPr>
        <p:txBody>
          <a:bodyPr/>
          <a:lstStyle/>
          <a:p>
            <a:pPr rtl="0" fontAlgn="base"/>
            <a:r>
              <a:rPr lang="en-US" sz="4000" b="1" i="0" u="none" strike="noStrike" noProof="0">
                <a:solidFill>
                  <a:srgbClr val="000000"/>
                </a:solidFill>
                <a:effectLst/>
                <a:latin typeface="Montserrat Bold" panose="00000800000000000000" pitchFamily="2" charset="0"/>
              </a:rPr>
              <a:t>Qintess will help you </a:t>
            </a:r>
            <a:r>
              <a:rPr lang="en-US" sz="4000" b="1" i="0" u="none" strike="noStrike" noProof="0">
                <a:solidFill>
                  <a:srgbClr val="6800FF"/>
                </a:solidFill>
                <a:effectLst/>
                <a:latin typeface="Montserrat Bold" panose="00000800000000000000" pitchFamily="2" charset="0"/>
              </a:rPr>
              <a:t>choose the best path to success…</a:t>
            </a:r>
            <a:r>
              <a:rPr lang="en-US" sz="4000" b="0" i="0" noProof="0">
                <a:solidFill>
                  <a:srgbClr val="000000"/>
                </a:solidFill>
                <a:effectLst/>
                <a:latin typeface="Montserrat Bold" panose="00000800000000000000" pitchFamily="2" charset="0"/>
              </a:rPr>
              <a:t>​</a:t>
            </a:r>
            <a:endParaRPr lang="en-US" noProof="0"/>
          </a:p>
        </p:txBody>
      </p:sp>
      <p:sp>
        <p:nvSpPr>
          <p:cNvPr id="4" name="Subtitle 3">
            <a:extLst>
              <a:ext uri="{FF2B5EF4-FFF2-40B4-BE49-F238E27FC236}">
                <a16:creationId xmlns:a16="http://schemas.microsoft.com/office/drawing/2014/main" id="{6A636291-C3FF-88CD-0E34-12977323D04C}"/>
              </a:ext>
            </a:extLst>
          </p:cNvPr>
          <p:cNvSpPr>
            <a:spLocks noGrp="1"/>
          </p:cNvSpPr>
          <p:nvPr>
            <p:ph type="subTitle" idx="4294967295"/>
          </p:nvPr>
        </p:nvSpPr>
        <p:spPr>
          <a:xfrm>
            <a:off x="8731280" y="8568450"/>
            <a:ext cx="9263400" cy="1585200"/>
          </a:xfrm>
        </p:spPr>
        <p:txBody>
          <a:bodyPr/>
          <a:lstStyle/>
          <a:p>
            <a:r>
              <a:rPr lang="en-US" noProof="0"/>
              <a:t>ARCHITECTURE PATH</a:t>
            </a:r>
          </a:p>
        </p:txBody>
      </p:sp>
      <p:sp>
        <p:nvSpPr>
          <p:cNvPr id="107" name="Retângulo 55">
            <a:extLst>
              <a:ext uri="{FF2B5EF4-FFF2-40B4-BE49-F238E27FC236}">
                <a16:creationId xmlns:a16="http://schemas.microsoft.com/office/drawing/2014/main" id="{F59E39D4-FABF-161E-91D2-BC28956AB5DC}"/>
              </a:ext>
            </a:extLst>
          </p:cNvPr>
          <p:cNvSpPr/>
          <p:nvPr/>
        </p:nvSpPr>
        <p:spPr>
          <a:xfrm>
            <a:off x="15323286" y="2194200"/>
            <a:ext cx="1330004" cy="5160684"/>
          </a:xfrm>
          <a:prstGeom prst="rect">
            <a:avLst/>
          </a:prstGeom>
          <a:solidFill>
            <a:sysClr val="window" lastClr="FFFFFF">
              <a:lumMod val="95000"/>
            </a:sys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s-CO"/>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algn="ctr"/>
            <a:endParaRPr lang="en-US" noProof="0"/>
          </a:p>
        </p:txBody>
      </p:sp>
      <p:sp>
        <p:nvSpPr>
          <p:cNvPr id="108" name="Retângulo 54">
            <a:extLst>
              <a:ext uri="{FF2B5EF4-FFF2-40B4-BE49-F238E27FC236}">
                <a16:creationId xmlns:a16="http://schemas.microsoft.com/office/drawing/2014/main" id="{57320D35-A796-76B3-6E0A-7EB06C0C8252}"/>
              </a:ext>
            </a:extLst>
          </p:cNvPr>
          <p:cNvSpPr/>
          <p:nvPr/>
        </p:nvSpPr>
        <p:spPr>
          <a:xfrm>
            <a:off x="2413095" y="2191517"/>
            <a:ext cx="3305530" cy="5157016"/>
          </a:xfrm>
          <a:prstGeom prst="rect">
            <a:avLst/>
          </a:prstGeom>
          <a:solidFill>
            <a:srgbClr val="E6E6E6"/>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s-CO"/>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algn="ctr"/>
            <a:endParaRPr lang="en-US" noProof="0"/>
          </a:p>
        </p:txBody>
      </p:sp>
      <p:sp>
        <p:nvSpPr>
          <p:cNvPr id="109" name="Freeform 3">
            <a:extLst>
              <a:ext uri="{FF2B5EF4-FFF2-40B4-BE49-F238E27FC236}">
                <a16:creationId xmlns:a16="http://schemas.microsoft.com/office/drawing/2014/main" id="{1ED94EB1-8507-F943-EBE8-7C1BE179BE80}"/>
              </a:ext>
            </a:extLst>
          </p:cNvPr>
          <p:cNvSpPr/>
          <p:nvPr/>
        </p:nvSpPr>
        <p:spPr>
          <a:xfrm>
            <a:off x="2628910" y="4474793"/>
            <a:ext cx="1258356" cy="823107"/>
          </a:xfrm>
          <a:prstGeom prst="roundRect">
            <a:avLst/>
          </a:prstGeom>
          <a:solidFill>
            <a:sysClr val="window" lastClr="FFFFFF"/>
          </a:solidFill>
        </p:spPr>
        <p:txBody>
          <a:bodyP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endParaRPr lang="en-US" noProof="0"/>
          </a:p>
        </p:txBody>
      </p:sp>
      <p:sp>
        <p:nvSpPr>
          <p:cNvPr id="110" name="TextBox 4">
            <a:extLst>
              <a:ext uri="{FF2B5EF4-FFF2-40B4-BE49-F238E27FC236}">
                <a16:creationId xmlns:a16="http://schemas.microsoft.com/office/drawing/2014/main" id="{6A8D80A5-8FE7-30E4-4F47-631B95B2BC8F}"/>
              </a:ext>
            </a:extLst>
          </p:cNvPr>
          <p:cNvSpPr txBox="1"/>
          <p:nvPr/>
        </p:nvSpPr>
        <p:spPr>
          <a:xfrm>
            <a:off x="2628910" y="4428945"/>
            <a:ext cx="1258356" cy="930829"/>
          </a:xfrm>
          <a:prstGeom prst="roundRect">
            <a:avLst/>
          </a:prstGeom>
        </p:spPr>
        <p:txBody>
          <a:bodyPr lIns="33867" tIns="33867" rIns="33867" bIns="33867" rtlCol="0" anchor="ct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pPr algn="ctr">
              <a:lnSpc>
                <a:spcPts val="1307"/>
              </a:lnSpc>
            </a:pPr>
            <a:r>
              <a:rPr lang="en-US" sz="1050" noProof="0">
                <a:solidFill>
                  <a:srgbClr val="000000"/>
                </a:solidFill>
                <a:latin typeface="Montserrat"/>
              </a:rPr>
              <a:t>Business opportunity</a:t>
            </a:r>
          </a:p>
        </p:txBody>
      </p:sp>
      <p:sp>
        <p:nvSpPr>
          <p:cNvPr id="111" name="Freeform 3">
            <a:extLst>
              <a:ext uri="{FF2B5EF4-FFF2-40B4-BE49-F238E27FC236}">
                <a16:creationId xmlns:a16="http://schemas.microsoft.com/office/drawing/2014/main" id="{42EBDE65-FAFB-6423-DAD5-BDC8C74D4D66}"/>
              </a:ext>
            </a:extLst>
          </p:cNvPr>
          <p:cNvSpPr/>
          <p:nvPr/>
        </p:nvSpPr>
        <p:spPr>
          <a:xfrm>
            <a:off x="2628910" y="3101279"/>
            <a:ext cx="1258356" cy="823107"/>
          </a:xfrm>
          <a:prstGeom prst="roundRect">
            <a:avLst/>
          </a:prstGeom>
          <a:solidFill>
            <a:sysClr val="window" lastClr="FFFFFF"/>
          </a:solidFill>
        </p:spPr>
        <p:txBody>
          <a:bodyP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endParaRPr lang="en-US" noProof="0"/>
          </a:p>
        </p:txBody>
      </p:sp>
      <p:sp>
        <p:nvSpPr>
          <p:cNvPr id="112" name="TextBox 4">
            <a:extLst>
              <a:ext uri="{FF2B5EF4-FFF2-40B4-BE49-F238E27FC236}">
                <a16:creationId xmlns:a16="http://schemas.microsoft.com/office/drawing/2014/main" id="{A68B5621-6CB1-AB0A-9813-7E738CBEE63B}"/>
              </a:ext>
            </a:extLst>
          </p:cNvPr>
          <p:cNvSpPr txBox="1"/>
          <p:nvPr/>
        </p:nvSpPr>
        <p:spPr>
          <a:xfrm>
            <a:off x="2628910" y="3055431"/>
            <a:ext cx="1258356" cy="930829"/>
          </a:xfrm>
          <a:prstGeom prst="roundRect">
            <a:avLst/>
          </a:prstGeom>
        </p:spPr>
        <p:txBody>
          <a:bodyPr lIns="33867" tIns="33867" rIns="33867" bIns="33867" rtlCol="0" anchor="ct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pPr algn="ctr">
              <a:lnSpc>
                <a:spcPts val="1307"/>
              </a:lnSpc>
            </a:pPr>
            <a:r>
              <a:rPr lang="en-US" sz="1050" noProof="0">
                <a:solidFill>
                  <a:srgbClr val="000000"/>
                </a:solidFill>
                <a:latin typeface="Montserrat"/>
              </a:rPr>
              <a:t>Process Awareness</a:t>
            </a:r>
          </a:p>
        </p:txBody>
      </p:sp>
      <p:grpSp>
        <p:nvGrpSpPr>
          <p:cNvPr id="113" name="Group 112">
            <a:extLst>
              <a:ext uri="{FF2B5EF4-FFF2-40B4-BE49-F238E27FC236}">
                <a16:creationId xmlns:a16="http://schemas.microsoft.com/office/drawing/2014/main" id="{CAB9BB85-4AF9-07F3-BB1D-556B8369CBE1}"/>
              </a:ext>
            </a:extLst>
          </p:cNvPr>
          <p:cNvGrpSpPr/>
          <p:nvPr/>
        </p:nvGrpSpPr>
        <p:grpSpPr>
          <a:xfrm>
            <a:off x="2622860" y="5815929"/>
            <a:ext cx="1258356" cy="930829"/>
            <a:chOff x="0" y="-13523"/>
            <a:chExt cx="344094" cy="246919"/>
          </a:xfrm>
        </p:grpSpPr>
        <p:sp>
          <p:nvSpPr>
            <p:cNvPr id="194" name="Freeform 6">
              <a:extLst>
                <a:ext uri="{FF2B5EF4-FFF2-40B4-BE49-F238E27FC236}">
                  <a16:creationId xmlns:a16="http://schemas.microsoft.com/office/drawing/2014/main" id="{F1A0127C-E2E8-BC13-95F8-49ADC9D9C303}"/>
                </a:ext>
              </a:extLst>
            </p:cNvPr>
            <p:cNvSpPr/>
            <p:nvPr/>
          </p:nvSpPr>
          <p:spPr>
            <a:xfrm>
              <a:off x="0" y="0"/>
              <a:ext cx="344094" cy="218344"/>
            </a:xfrm>
            <a:prstGeom prst="roundRect">
              <a:avLst/>
            </a:prstGeom>
            <a:solidFill>
              <a:sysClr val="window" lastClr="FFFFFF"/>
            </a:solidFill>
          </p:spPr>
          <p:txBody>
            <a:bodyP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endParaRPr lang="en-US" noProof="0"/>
            </a:p>
          </p:txBody>
        </p:sp>
        <p:sp>
          <p:nvSpPr>
            <p:cNvPr id="195" name="TextBox 7">
              <a:extLst>
                <a:ext uri="{FF2B5EF4-FFF2-40B4-BE49-F238E27FC236}">
                  <a16:creationId xmlns:a16="http://schemas.microsoft.com/office/drawing/2014/main" id="{0407DD23-1A3C-7085-E56D-9EFE542E8AA3}"/>
                </a:ext>
              </a:extLst>
            </p:cNvPr>
            <p:cNvSpPr txBox="1"/>
            <p:nvPr/>
          </p:nvSpPr>
          <p:spPr>
            <a:xfrm>
              <a:off x="0" y="-13523"/>
              <a:ext cx="344094" cy="246919"/>
            </a:xfrm>
            <a:prstGeom prst="roundRect">
              <a:avLst/>
            </a:prstGeom>
          </p:spPr>
          <p:txBody>
            <a:bodyPr lIns="33867" tIns="33867" rIns="33867" bIns="33867" rtlCol="0" anchor="ct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pPr algn="ctr">
                <a:lnSpc>
                  <a:spcPts val="1307"/>
                </a:lnSpc>
              </a:pPr>
              <a:r>
                <a:rPr lang="en-US" sz="1050" noProof="0">
                  <a:solidFill>
                    <a:srgbClr val="000000"/>
                  </a:solidFill>
                  <a:latin typeface="Montserrat"/>
                </a:rPr>
                <a:t>Technology availability</a:t>
              </a:r>
            </a:p>
          </p:txBody>
        </p:sp>
      </p:grpSp>
      <p:grpSp>
        <p:nvGrpSpPr>
          <p:cNvPr id="114" name="Group 113">
            <a:extLst>
              <a:ext uri="{FF2B5EF4-FFF2-40B4-BE49-F238E27FC236}">
                <a16:creationId xmlns:a16="http://schemas.microsoft.com/office/drawing/2014/main" id="{C0EA060F-6A07-4925-BECF-0D947DC788C4}"/>
              </a:ext>
            </a:extLst>
          </p:cNvPr>
          <p:cNvGrpSpPr/>
          <p:nvPr/>
        </p:nvGrpSpPr>
        <p:grpSpPr>
          <a:xfrm>
            <a:off x="4156399" y="4430140"/>
            <a:ext cx="1258356" cy="929635"/>
            <a:chOff x="0" y="-13457"/>
            <a:chExt cx="344094" cy="246919"/>
          </a:xfrm>
        </p:grpSpPr>
        <p:sp>
          <p:nvSpPr>
            <p:cNvPr id="192" name="Freeform 9">
              <a:extLst>
                <a:ext uri="{FF2B5EF4-FFF2-40B4-BE49-F238E27FC236}">
                  <a16:creationId xmlns:a16="http://schemas.microsoft.com/office/drawing/2014/main" id="{4DEB552C-AB75-A6E2-617E-D567E12870C6}"/>
                </a:ext>
              </a:extLst>
            </p:cNvPr>
            <p:cNvSpPr/>
            <p:nvPr/>
          </p:nvSpPr>
          <p:spPr>
            <a:xfrm>
              <a:off x="0" y="0"/>
              <a:ext cx="344094" cy="218344"/>
            </a:xfrm>
            <a:custGeom>
              <a:avLst/>
              <a:gdLst/>
              <a:ahLst/>
              <a:cxnLst/>
              <a:rect l="l" t="t" r="r" b="b"/>
              <a:pathLst>
                <a:path w="344094" h="218344">
                  <a:moveTo>
                    <a:pt x="59258" y="0"/>
                  </a:moveTo>
                  <a:lnTo>
                    <a:pt x="284837" y="0"/>
                  </a:lnTo>
                  <a:cubicBezTo>
                    <a:pt x="317564" y="0"/>
                    <a:pt x="344094" y="26531"/>
                    <a:pt x="344094" y="59258"/>
                  </a:cubicBezTo>
                  <a:lnTo>
                    <a:pt x="344094" y="159086"/>
                  </a:lnTo>
                  <a:cubicBezTo>
                    <a:pt x="344094" y="191813"/>
                    <a:pt x="317564" y="218344"/>
                    <a:pt x="284837" y="218344"/>
                  </a:cubicBezTo>
                  <a:lnTo>
                    <a:pt x="59258" y="218344"/>
                  </a:lnTo>
                  <a:cubicBezTo>
                    <a:pt x="43542" y="218344"/>
                    <a:pt x="28469" y="212101"/>
                    <a:pt x="17356" y="200988"/>
                  </a:cubicBezTo>
                  <a:cubicBezTo>
                    <a:pt x="6243" y="189875"/>
                    <a:pt x="0" y="174802"/>
                    <a:pt x="0" y="159086"/>
                  </a:cubicBezTo>
                  <a:lnTo>
                    <a:pt x="0" y="59258"/>
                  </a:lnTo>
                  <a:cubicBezTo>
                    <a:pt x="0" y="26531"/>
                    <a:pt x="26531" y="0"/>
                    <a:pt x="59258" y="0"/>
                  </a:cubicBezTo>
                  <a:close/>
                </a:path>
              </a:pathLst>
            </a:custGeom>
            <a:solidFill>
              <a:srgbClr val="6800FF"/>
            </a:solidFill>
          </p:spPr>
          <p:txBody>
            <a:bodyP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endParaRPr lang="en-US" noProof="0"/>
            </a:p>
          </p:txBody>
        </p:sp>
        <p:sp>
          <p:nvSpPr>
            <p:cNvPr id="193" name="TextBox 10">
              <a:extLst>
                <a:ext uri="{FF2B5EF4-FFF2-40B4-BE49-F238E27FC236}">
                  <a16:creationId xmlns:a16="http://schemas.microsoft.com/office/drawing/2014/main" id="{C274BD67-ED09-2F92-F736-5EDD2A32DFB0}"/>
                </a:ext>
              </a:extLst>
            </p:cNvPr>
            <p:cNvSpPr txBox="1"/>
            <p:nvPr/>
          </p:nvSpPr>
          <p:spPr>
            <a:xfrm>
              <a:off x="0" y="-13457"/>
              <a:ext cx="344094" cy="246919"/>
            </a:xfrm>
            <a:prstGeom prst="rect">
              <a:avLst/>
            </a:prstGeom>
          </p:spPr>
          <p:txBody>
            <a:bodyPr lIns="33867" tIns="33867" rIns="33867" bIns="33867" rtlCol="0" anchor="ct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pPr algn="ctr">
                <a:lnSpc>
                  <a:spcPts val="1307"/>
                </a:lnSpc>
              </a:pPr>
              <a:r>
                <a:rPr lang="en-US" sz="1050" noProof="0">
                  <a:solidFill>
                    <a:srgbClr val="FFFFFF"/>
                  </a:solidFill>
                  <a:latin typeface="Montserrat"/>
                </a:rPr>
                <a:t>Business strategy</a:t>
              </a:r>
            </a:p>
          </p:txBody>
        </p:sp>
      </p:grpSp>
      <p:grpSp>
        <p:nvGrpSpPr>
          <p:cNvPr id="115" name="Group 114">
            <a:extLst>
              <a:ext uri="{FF2B5EF4-FFF2-40B4-BE49-F238E27FC236}">
                <a16:creationId xmlns:a16="http://schemas.microsoft.com/office/drawing/2014/main" id="{17CADB78-B44C-258C-1AA1-4C619A0041ED}"/>
              </a:ext>
            </a:extLst>
          </p:cNvPr>
          <p:cNvGrpSpPr/>
          <p:nvPr/>
        </p:nvGrpSpPr>
        <p:grpSpPr>
          <a:xfrm>
            <a:off x="4156399" y="5844387"/>
            <a:ext cx="1258356" cy="930829"/>
            <a:chOff x="0" y="-9223"/>
            <a:chExt cx="344094" cy="246919"/>
          </a:xfrm>
        </p:grpSpPr>
        <p:sp>
          <p:nvSpPr>
            <p:cNvPr id="190" name="Freeform 12">
              <a:extLst>
                <a:ext uri="{FF2B5EF4-FFF2-40B4-BE49-F238E27FC236}">
                  <a16:creationId xmlns:a16="http://schemas.microsoft.com/office/drawing/2014/main" id="{DA859C42-631E-4660-8AAF-6EB5E587170E}"/>
                </a:ext>
              </a:extLst>
            </p:cNvPr>
            <p:cNvSpPr/>
            <p:nvPr/>
          </p:nvSpPr>
          <p:spPr>
            <a:xfrm>
              <a:off x="0" y="0"/>
              <a:ext cx="344094" cy="218344"/>
            </a:xfrm>
            <a:custGeom>
              <a:avLst/>
              <a:gdLst/>
              <a:ahLst/>
              <a:cxnLst/>
              <a:rect l="l" t="t" r="r" b="b"/>
              <a:pathLst>
                <a:path w="344094" h="218344">
                  <a:moveTo>
                    <a:pt x="59258" y="0"/>
                  </a:moveTo>
                  <a:lnTo>
                    <a:pt x="284837" y="0"/>
                  </a:lnTo>
                  <a:cubicBezTo>
                    <a:pt x="317564" y="0"/>
                    <a:pt x="344094" y="26531"/>
                    <a:pt x="344094" y="59258"/>
                  </a:cubicBezTo>
                  <a:lnTo>
                    <a:pt x="344094" y="159086"/>
                  </a:lnTo>
                  <a:cubicBezTo>
                    <a:pt x="344094" y="191813"/>
                    <a:pt x="317564" y="218344"/>
                    <a:pt x="284837" y="218344"/>
                  </a:cubicBezTo>
                  <a:lnTo>
                    <a:pt x="59258" y="218344"/>
                  </a:lnTo>
                  <a:cubicBezTo>
                    <a:pt x="43542" y="218344"/>
                    <a:pt x="28469" y="212101"/>
                    <a:pt x="17356" y="200988"/>
                  </a:cubicBezTo>
                  <a:cubicBezTo>
                    <a:pt x="6243" y="189875"/>
                    <a:pt x="0" y="174802"/>
                    <a:pt x="0" y="159086"/>
                  </a:cubicBezTo>
                  <a:lnTo>
                    <a:pt x="0" y="59258"/>
                  </a:lnTo>
                  <a:cubicBezTo>
                    <a:pt x="0" y="26531"/>
                    <a:pt x="26531" y="0"/>
                    <a:pt x="59258" y="0"/>
                  </a:cubicBezTo>
                  <a:close/>
                </a:path>
              </a:pathLst>
            </a:custGeom>
            <a:solidFill>
              <a:srgbClr val="6800FF"/>
            </a:solidFill>
          </p:spPr>
          <p:txBody>
            <a:bodyP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endParaRPr lang="en-US" noProof="0"/>
            </a:p>
          </p:txBody>
        </p:sp>
        <p:sp>
          <p:nvSpPr>
            <p:cNvPr id="191" name="TextBox 13">
              <a:extLst>
                <a:ext uri="{FF2B5EF4-FFF2-40B4-BE49-F238E27FC236}">
                  <a16:creationId xmlns:a16="http://schemas.microsoft.com/office/drawing/2014/main" id="{415E17D1-7708-C9BD-E572-E2D3F9EC1FF0}"/>
                </a:ext>
              </a:extLst>
            </p:cNvPr>
            <p:cNvSpPr txBox="1"/>
            <p:nvPr/>
          </p:nvSpPr>
          <p:spPr>
            <a:xfrm>
              <a:off x="0" y="-9223"/>
              <a:ext cx="344094" cy="246919"/>
            </a:xfrm>
            <a:prstGeom prst="rect">
              <a:avLst/>
            </a:prstGeom>
          </p:spPr>
          <p:txBody>
            <a:bodyPr lIns="33867" tIns="33867" rIns="33867" bIns="33867" rtlCol="0" anchor="ct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pPr algn="ctr">
                <a:lnSpc>
                  <a:spcPts val="1307"/>
                </a:lnSpc>
              </a:pPr>
              <a:r>
                <a:rPr lang="en-US" sz="1050" noProof="0">
                  <a:solidFill>
                    <a:srgbClr val="FFFFFF"/>
                  </a:solidFill>
                  <a:latin typeface="Montserrat"/>
                </a:rPr>
                <a:t>IT strategy</a:t>
              </a:r>
            </a:p>
          </p:txBody>
        </p:sp>
      </p:grpSp>
      <p:sp>
        <p:nvSpPr>
          <p:cNvPr id="116" name="Freeform 16">
            <a:extLst>
              <a:ext uri="{FF2B5EF4-FFF2-40B4-BE49-F238E27FC236}">
                <a16:creationId xmlns:a16="http://schemas.microsoft.com/office/drawing/2014/main" id="{B9BEC21F-9D39-CD1F-3381-B9384E841633}"/>
              </a:ext>
            </a:extLst>
          </p:cNvPr>
          <p:cNvSpPr/>
          <p:nvPr/>
        </p:nvSpPr>
        <p:spPr>
          <a:xfrm>
            <a:off x="5813921" y="2187850"/>
            <a:ext cx="8481752" cy="5163897"/>
          </a:xfrm>
          <a:custGeom>
            <a:avLst/>
            <a:gdLst/>
            <a:ahLst/>
            <a:cxnLst/>
            <a:rect l="l" t="t" r="r" b="b"/>
            <a:pathLst>
              <a:path w="12024063" h="6223859">
                <a:moveTo>
                  <a:pt x="0" y="0"/>
                </a:moveTo>
                <a:lnTo>
                  <a:pt x="12024063" y="0"/>
                </a:lnTo>
                <a:lnTo>
                  <a:pt x="12024063" y="6223859"/>
                </a:lnTo>
                <a:lnTo>
                  <a:pt x="0" y="6223859"/>
                </a:lnTo>
                <a:lnTo>
                  <a:pt x="0" y="0"/>
                </a:lnTo>
                <a:close/>
              </a:path>
            </a:pathLst>
          </a:custGeom>
          <a:blipFill>
            <a:blip r:embed="rId2" cstate="email">
              <a:extLst>
                <a:ext uri="{28A0092B-C50C-407E-A947-70E740481C1C}">
                  <a14:useLocalDpi xmlns:a14="http://schemas.microsoft.com/office/drawing/2010/main"/>
                </a:ext>
              </a:extLst>
            </a:blip>
            <a:stretch>
              <a:fillRect/>
            </a:stretch>
          </a:blipFill>
        </p:spPr>
        <p:txBody>
          <a:bodyP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endParaRPr lang="en-US" noProof="0"/>
          </a:p>
        </p:txBody>
      </p:sp>
      <p:sp>
        <p:nvSpPr>
          <p:cNvPr id="117" name="AutoShape 20">
            <a:extLst>
              <a:ext uri="{FF2B5EF4-FFF2-40B4-BE49-F238E27FC236}">
                <a16:creationId xmlns:a16="http://schemas.microsoft.com/office/drawing/2014/main" id="{E00E0527-3AEA-D08E-8078-5633CA840FF5}"/>
              </a:ext>
            </a:extLst>
          </p:cNvPr>
          <p:cNvSpPr/>
          <p:nvPr/>
        </p:nvSpPr>
        <p:spPr>
          <a:xfrm flipH="1">
            <a:off x="7217599" y="4611980"/>
            <a:ext cx="368256" cy="0"/>
          </a:xfrm>
          <a:prstGeom prst="line">
            <a:avLst/>
          </a:prstGeom>
          <a:ln w="38100" cap="flat">
            <a:solidFill>
              <a:srgbClr val="BD8FFF"/>
            </a:solidFill>
            <a:prstDash val="solid"/>
            <a:headEnd type="none" w="sm" len="sm"/>
            <a:tailEnd type="diamond" w="lg" len="lg"/>
          </a:ln>
        </p:spPr>
        <p:txBody>
          <a:bodyP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endParaRPr lang="en-US" noProof="0"/>
          </a:p>
        </p:txBody>
      </p:sp>
      <p:grpSp>
        <p:nvGrpSpPr>
          <p:cNvPr id="118" name="Group 117">
            <a:extLst>
              <a:ext uri="{FF2B5EF4-FFF2-40B4-BE49-F238E27FC236}">
                <a16:creationId xmlns:a16="http://schemas.microsoft.com/office/drawing/2014/main" id="{EED87B38-2AFA-06CF-9DB0-DD78C4DADAB8}"/>
              </a:ext>
            </a:extLst>
          </p:cNvPr>
          <p:cNvGrpSpPr/>
          <p:nvPr/>
        </p:nvGrpSpPr>
        <p:grpSpPr>
          <a:xfrm rot="16200000">
            <a:off x="8738484" y="5912659"/>
            <a:ext cx="586201" cy="498401"/>
            <a:chOff x="0" y="0"/>
            <a:chExt cx="812800" cy="812800"/>
          </a:xfrm>
        </p:grpSpPr>
        <p:sp>
          <p:nvSpPr>
            <p:cNvPr id="188" name="Freeform 24">
              <a:extLst>
                <a:ext uri="{FF2B5EF4-FFF2-40B4-BE49-F238E27FC236}">
                  <a16:creationId xmlns:a16="http://schemas.microsoft.com/office/drawing/2014/main" id="{B8C0E33B-CDEE-AF7F-6877-0CBAE6530434}"/>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BD8FFF"/>
            </a:solidFill>
          </p:spPr>
          <p:txBody>
            <a:bodyP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endParaRPr lang="en-US" noProof="0"/>
            </a:p>
          </p:txBody>
        </p:sp>
        <p:sp>
          <p:nvSpPr>
            <p:cNvPr id="189" name="TextBox 25">
              <a:extLst>
                <a:ext uri="{FF2B5EF4-FFF2-40B4-BE49-F238E27FC236}">
                  <a16:creationId xmlns:a16="http://schemas.microsoft.com/office/drawing/2014/main" id="{64722E06-CEAD-867D-41FD-C372CF5A1DAB}"/>
                </a:ext>
              </a:extLst>
            </p:cNvPr>
            <p:cNvSpPr txBox="1"/>
            <p:nvPr/>
          </p:nvSpPr>
          <p:spPr>
            <a:xfrm>
              <a:off x="76200" y="38100"/>
              <a:ext cx="660400" cy="698500"/>
            </a:xfrm>
            <a:prstGeom prst="rect">
              <a:avLst/>
            </a:prstGeom>
          </p:spPr>
          <p:txBody>
            <a:bodyPr lIns="33867" tIns="33867" rIns="33867" bIns="33867" rtlCol="0" anchor="ct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pPr algn="ctr">
                <a:lnSpc>
                  <a:spcPts val="1773"/>
                </a:lnSpc>
              </a:pPr>
              <a:endParaRPr lang="en-US" sz="800" noProof="0"/>
            </a:p>
          </p:txBody>
        </p:sp>
      </p:grpSp>
      <p:sp>
        <p:nvSpPr>
          <p:cNvPr id="119" name="AutoShape 26">
            <a:extLst>
              <a:ext uri="{FF2B5EF4-FFF2-40B4-BE49-F238E27FC236}">
                <a16:creationId xmlns:a16="http://schemas.microsoft.com/office/drawing/2014/main" id="{8D017A8A-A43F-EE61-F44D-0BB7CBD4F846}"/>
              </a:ext>
            </a:extLst>
          </p:cNvPr>
          <p:cNvSpPr/>
          <p:nvPr/>
        </p:nvSpPr>
        <p:spPr>
          <a:xfrm>
            <a:off x="9258870" y="6165066"/>
            <a:ext cx="508377" cy="4698"/>
          </a:xfrm>
          <a:prstGeom prst="line">
            <a:avLst/>
          </a:prstGeom>
          <a:ln w="38100" cap="flat">
            <a:solidFill>
              <a:srgbClr val="BD8FFF"/>
            </a:solidFill>
            <a:prstDash val="solid"/>
            <a:headEnd type="none" w="sm" len="sm"/>
            <a:tailEnd type="diamond" w="lg" len="lg"/>
          </a:ln>
        </p:spPr>
        <p:txBody>
          <a:bodyP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endParaRPr lang="en-US" noProof="0"/>
          </a:p>
        </p:txBody>
      </p:sp>
      <p:sp>
        <p:nvSpPr>
          <p:cNvPr id="120" name="Freeform 28">
            <a:extLst>
              <a:ext uri="{FF2B5EF4-FFF2-40B4-BE49-F238E27FC236}">
                <a16:creationId xmlns:a16="http://schemas.microsoft.com/office/drawing/2014/main" id="{11E7D5B9-82DC-991C-39C4-5D925AFD9812}"/>
              </a:ext>
            </a:extLst>
          </p:cNvPr>
          <p:cNvSpPr/>
          <p:nvPr/>
        </p:nvSpPr>
        <p:spPr>
          <a:xfrm>
            <a:off x="8902285" y="5975363"/>
            <a:ext cx="262386" cy="308609"/>
          </a:xfrm>
          <a:custGeom>
            <a:avLst/>
            <a:gdLst/>
            <a:ahLst/>
            <a:cxnLst/>
            <a:rect l="l" t="t" r="r" b="b"/>
            <a:pathLst>
              <a:path w="374015" h="374015">
                <a:moveTo>
                  <a:pt x="0" y="0"/>
                </a:moveTo>
                <a:lnTo>
                  <a:pt x="374015" y="0"/>
                </a:lnTo>
                <a:lnTo>
                  <a:pt x="374015" y="374015"/>
                </a:lnTo>
                <a:lnTo>
                  <a:pt x="0" y="374015"/>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endParaRPr lang="en-US" noProof="0"/>
          </a:p>
        </p:txBody>
      </p:sp>
      <p:grpSp>
        <p:nvGrpSpPr>
          <p:cNvPr id="121" name="Group 120">
            <a:extLst>
              <a:ext uri="{FF2B5EF4-FFF2-40B4-BE49-F238E27FC236}">
                <a16:creationId xmlns:a16="http://schemas.microsoft.com/office/drawing/2014/main" id="{7487A4DC-2EB7-BD53-0BC9-B1ECBBA8B81C}"/>
              </a:ext>
            </a:extLst>
          </p:cNvPr>
          <p:cNvGrpSpPr/>
          <p:nvPr/>
        </p:nvGrpSpPr>
        <p:grpSpPr>
          <a:xfrm>
            <a:off x="11456471" y="5273181"/>
            <a:ext cx="498401" cy="586201"/>
            <a:chOff x="0" y="0"/>
            <a:chExt cx="812800" cy="812800"/>
          </a:xfrm>
        </p:grpSpPr>
        <p:sp>
          <p:nvSpPr>
            <p:cNvPr id="186" name="Freeform 30">
              <a:extLst>
                <a:ext uri="{FF2B5EF4-FFF2-40B4-BE49-F238E27FC236}">
                  <a16:creationId xmlns:a16="http://schemas.microsoft.com/office/drawing/2014/main" id="{B804DADD-61DF-3316-C7E5-82BA96FFD9FD}"/>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BD8FFF"/>
            </a:solidFill>
          </p:spPr>
          <p:txBody>
            <a:bodyP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endParaRPr lang="en-US" noProof="0"/>
            </a:p>
          </p:txBody>
        </p:sp>
        <p:sp>
          <p:nvSpPr>
            <p:cNvPr id="187" name="TextBox 31">
              <a:extLst>
                <a:ext uri="{FF2B5EF4-FFF2-40B4-BE49-F238E27FC236}">
                  <a16:creationId xmlns:a16="http://schemas.microsoft.com/office/drawing/2014/main" id="{23B41941-4C33-EFD5-85EB-42D6B166290F}"/>
                </a:ext>
              </a:extLst>
            </p:cNvPr>
            <p:cNvSpPr txBox="1"/>
            <p:nvPr/>
          </p:nvSpPr>
          <p:spPr>
            <a:xfrm>
              <a:off x="76200" y="38100"/>
              <a:ext cx="660400" cy="698500"/>
            </a:xfrm>
            <a:prstGeom prst="rect">
              <a:avLst/>
            </a:prstGeom>
          </p:spPr>
          <p:txBody>
            <a:bodyPr lIns="33867" tIns="33867" rIns="33867" bIns="33867" rtlCol="0" anchor="ct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pPr algn="ctr">
                <a:lnSpc>
                  <a:spcPts val="1773"/>
                </a:lnSpc>
              </a:pPr>
              <a:endParaRPr lang="en-US" sz="800" noProof="0"/>
            </a:p>
          </p:txBody>
        </p:sp>
      </p:grpSp>
      <p:sp>
        <p:nvSpPr>
          <p:cNvPr id="122" name="AutoShape 32">
            <a:extLst>
              <a:ext uri="{FF2B5EF4-FFF2-40B4-BE49-F238E27FC236}">
                <a16:creationId xmlns:a16="http://schemas.microsoft.com/office/drawing/2014/main" id="{65F2C5F3-03CF-464F-3B20-67794C1110E1}"/>
              </a:ext>
            </a:extLst>
          </p:cNvPr>
          <p:cNvSpPr/>
          <p:nvPr/>
        </p:nvSpPr>
        <p:spPr>
          <a:xfrm flipH="1">
            <a:off x="11682779" y="5850538"/>
            <a:ext cx="7364" cy="601897"/>
          </a:xfrm>
          <a:prstGeom prst="line">
            <a:avLst/>
          </a:prstGeom>
          <a:ln w="38100" cap="flat">
            <a:solidFill>
              <a:srgbClr val="BD8FFF"/>
            </a:solidFill>
            <a:prstDash val="solid"/>
            <a:headEnd type="none" w="sm" len="sm"/>
            <a:tailEnd type="diamond" w="lg" len="lg"/>
          </a:ln>
        </p:spPr>
        <p:txBody>
          <a:bodyP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endParaRPr lang="en-US" noProof="0"/>
          </a:p>
        </p:txBody>
      </p:sp>
      <p:sp>
        <p:nvSpPr>
          <p:cNvPr id="123" name="Freeform 34">
            <a:extLst>
              <a:ext uri="{FF2B5EF4-FFF2-40B4-BE49-F238E27FC236}">
                <a16:creationId xmlns:a16="http://schemas.microsoft.com/office/drawing/2014/main" id="{C67DFC35-A4B0-0BF6-5555-55B9AED912A9}"/>
              </a:ext>
            </a:extLst>
          </p:cNvPr>
          <p:cNvSpPr/>
          <p:nvPr/>
        </p:nvSpPr>
        <p:spPr>
          <a:xfrm>
            <a:off x="11577633" y="5408728"/>
            <a:ext cx="236868" cy="345161"/>
          </a:xfrm>
          <a:custGeom>
            <a:avLst/>
            <a:gdLst/>
            <a:ahLst/>
            <a:cxnLst/>
            <a:rect l="l" t="t" r="r" b="b"/>
            <a:pathLst>
              <a:path w="339572" h="415957">
                <a:moveTo>
                  <a:pt x="0" y="0"/>
                </a:moveTo>
                <a:lnTo>
                  <a:pt x="339572" y="0"/>
                </a:lnTo>
                <a:lnTo>
                  <a:pt x="339572" y="415956"/>
                </a:lnTo>
                <a:lnTo>
                  <a:pt x="0" y="415956"/>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endParaRPr lang="en-US" noProof="0"/>
          </a:p>
        </p:txBody>
      </p:sp>
      <p:sp>
        <p:nvSpPr>
          <p:cNvPr id="124" name="Freeform 35">
            <a:extLst>
              <a:ext uri="{FF2B5EF4-FFF2-40B4-BE49-F238E27FC236}">
                <a16:creationId xmlns:a16="http://schemas.microsoft.com/office/drawing/2014/main" id="{B2471860-C44E-25A3-FB72-103308C3C8EB}"/>
              </a:ext>
            </a:extLst>
          </p:cNvPr>
          <p:cNvSpPr/>
          <p:nvPr/>
        </p:nvSpPr>
        <p:spPr>
          <a:xfrm>
            <a:off x="13318998" y="3814612"/>
            <a:ext cx="618769" cy="991140"/>
          </a:xfrm>
          <a:custGeom>
            <a:avLst/>
            <a:gdLst/>
            <a:ahLst/>
            <a:cxnLst/>
            <a:rect l="l" t="t" r="r" b="b"/>
            <a:pathLst>
              <a:path w="874891" h="1196990">
                <a:moveTo>
                  <a:pt x="0" y="0"/>
                </a:moveTo>
                <a:lnTo>
                  <a:pt x="874891" y="0"/>
                </a:lnTo>
                <a:lnTo>
                  <a:pt x="874891" y="1196990"/>
                </a:lnTo>
                <a:lnTo>
                  <a:pt x="0" y="1196990"/>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endParaRPr lang="en-US" noProof="0"/>
          </a:p>
        </p:txBody>
      </p:sp>
      <p:grpSp>
        <p:nvGrpSpPr>
          <p:cNvPr id="125" name="Group 124">
            <a:extLst>
              <a:ext uri="{FF2B5EF4-FFF2-40B4-BE49-F238E27FC236}">
                <a16:creationId xmlns:a16="http://schemas.microsoft.com/office/drawing/2014/main" id="{1B651421-C0FB-187E-711A-7104CC0E8BFC}"/>
              </a:ext>
            </a:extLst>
          </p:cNvPr>
          <p:cNvGrpSpPr/>
          <p:nvPr/>
        </p:nvGrpSpPr>
        <p:grpSpPr>
          <a:xfrm>
            <a:off x="9131466" y="2820829"/>
            <a:ext cx="498401" cy="586201"/>
            <a:chOff x="0" y="0"/>
            <a:chExt cx="812800" cy="812800"/>
          </a:xfrm>
        </p:grpSpPr>
        <p:sp>
          <p:nvSpPr>
            <p:cNvPr id="184" name="Freeform 41">
              <a:extLst>
                <a:ext uri="{FF2B5EF4-FFF2-40B4-BE49-F238E27FC236}">
                  <a16:creationId xmlns:a16="http://schemas.microsoft.com/office/drawing/2014/main" id="{E1683C44-21F9-61C3-53EC-2D9F52B489AF}"/>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BD8FFF"/>
            </a:solidFill>
          </p:spPr>
          <p:txBody>
            <a:bodyP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endParaRPr lang="en-US" noProof="0"/>
            </a:p>
          </p:txBody>
        </p:sp>
        <p:sp>
          <p:nvSpPr>
            <p:cNvPr id="185" name="TextBox 42">
              <a:extLst>
                <a:ext uri="{FF2B5EF4-FFF2-40B4-BE49-F238E27FC236}">
                  <a16:creationId xmlns:a16="http://schemas.microsoft.com/office/drawing/2014/main" id="{D3D653D7-0C1C-237A-4AF2-9D677593B5DF}"/>
                </a:ext>
              </a:extLst>
            </p:cNvPr>
            <p:cNvSpPr txBox="1"/>
            <p:nvPr/>
          </p:nvSpPr>
          <p:spPr>
            <a:xfrm>
              <a:off x="76199" y="57415"/>
              <a:ext cx="660400" cy="698499"/>
            </a:xfrm>
            <a:prstGeom prst="rect">
              <a:avLst/>
            </a:prstGeom>
          </p:spPr>
          <p:txBody>
            <a:bodyPr lIns="33867" tIns="33867" rIns="33867" bIns="33867" rtlCol="0" anchor="ct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pPr algn="ctr">
                <a:lnSpc>
                  <a:spcPts val="1773"/>
                </a:lnSpc>
              </a:pPr>
              <a:endParaRPr lang="en-US" sz="800" noProof="0"/>
            </a:p>
          </p:txBody>
        </p:sp>
      </p:grpSp>
      <p:sp>
        <p:nvSpPr>
          <p:cNvPr id="126" name="AutoShape 43">
            <a:extLst>
              <a:ext uri="{FF2B5EF4-FFF2-40B4-BE49-F238E27FC236}">
                <a16:creationId xmlns:a16="http://schemas.microsoft.com/office/drawing/2014/main" id="{B6C06CAE-BF11-6FC0-9140-E421EC487947}"/>
              </a:ext>
            </a:extLst>
          </p:cNvPr>
          <p:cNvSpPr/>
          <p:nvPr/>
        </p:nvSpPr>
        <p:spPr>
          <a:xfrm flipH="1">
            <a:off x="9369622" y="3394614"/>
            <a:ext cx="7364" cy="849723"/>
          </a:xfrm>
          <a:prstGeom prst="line">
            <a:avLst/>
          </a:prstGeom>
          <a:ln w="38100" cap="flat">
            <a:solidFill>
              <a:srgbClr val="BD8FFF"/>
            </a:solidFill>
            <a:prstDash val="solid"/>
            <a:headEnd type="none" w="sm" len="sm"/>
            <a:tailEnd type="diamond" w="lg" len="lg"/>
          </a:ln>
        </p:spPr>
        <p:txBody>
          <a:bodyP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endParaRPr lang="en-US" noProof="0"/>
          </a:p>
        </p:txBody>
      </p:sp>
      <p:sp>
        <p:nvSpPr>
          <p:cNvPr id="127" name="Freeform 44">
            <a:extLst>
              <a:ext uri="{FF2B5EF4-FFF2-40B4-BE49-F238E27FC236}">
                <a16:creationId xmlns:a16="http://schemas.microsoft.com/office/drawing/2014/main" id="{5C7CE3D8-D0F7-9126-F3C5-6A70BF2DE7E8}"/>
              </a:ext>
            </a:extLst>
          </p:cNvPr>
          <p:cNvSpPr/>
          <p:nvPr/>
        </p:nvSpPr>
        <p:spPr>
          <a:xfrm>
            <a:off x="9246876" y="2962260"/>
            <a:ext cx="272068" cy="308609"/>
          </a:xfrm>
          <a:custGeom>
            <a:avLst/>
            <a:gdLst/>
            <a:ahLst/>
            <a:cxnLst/>
            <a:rect l="l" t="t" r="r" b="b"/>
            <a:pathLst>
              <a:path w="387079" h="374015">
                <a:moveTo>
                  <a:pt x="0" y="0"/>
                </a:moveTo>
                <a:lnTo>
                  <a:pt x="387079" y="0"/>
                </a:lnTo>
                <a:lnTo>
                  <a:pt x="387079" y="374015"/>
                </a:lnTo>
                <a:lnTo>
                  <a:pt x="0" y="374015"/>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txBody>
          <a:bodyP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endParaRPr lang="en-US" noProof="0"/>
          </a:p>
        </p:txBody>
      </p:sp>
      <p:cxnSp>
        <p:nvCxnSpPr>
          <p:cNvPr id="128" name="Conector de Seta Reta 49">
            <a:extLst>
              <a:ext uri="{FF2B5EF4-FFF2-40B4-BE49-F238E27FC236}">
                <a16:creationId xmlns:a16="http://schemas.microsoft.com/office/drawing/2014/main" id="{4196A538-AA32-A9D2-250C-9368FA0AE83E}"/>
              </a:ext>
            </a:extLst>
          </p:cNvPr>
          <p:cNvCxnSpPr/>
          <p:nvPr/>
        </p:nvCxnSpPr>
        <p:spPr>
          <a:xfrm>
            <a:off x="3878365" y="4840247"/>
            <a:ext cx="281227" cy="1879"/>
          </a:xfrm>
          <a:prstGeom prst="straightConnector1">
            <a:avLst/>
          </a:prstGeom>
          <a:noFill/>
          <a:ln w="6350" cap="flat" cmpd="sng" algn="ctr">
            <a:solidFill>
              <a:sysClr val="windowText" lastClr="000000"/>
            </a:solidFill>
            <a:prstDash val="solid"/>
            <a:miter lim="800000"/>
            <a:tailEnd type="triangle"/>
          </a:ln>
          <a:effectLst/>
        </p:spPr>
        <p:style>
          <a:lnRef idx="1">
            <a:schemeClr val="accent1"/>
          </a:lnRef>
          <a:fillRef idx="0">
            <a:schemeClr val="accent1"/>
          </a:fillRef>
          <a:effectRef idx="0">
            <a:schemeClr val="accent1"/>
          </a:effectRef>
          <a:fontRef idx="minor">
            <a:schemeClr val="tx1"/>
          </a:fontRef>
        </p:style>
      </p:cxnSp>
      <p:cxnSp>
        <p:nvCxnSpPr>
          <p:cNvPr id="129" name="Conector de Seta Reta 50">
            <a:extLst>
              <a:ext uri="{FF2B5EF4-FFF2-40B4-BE49-F238E27FC236}">
                <a16:creationId xmlns:a16="http://schemas.microsoft.com/office/drawing/2014/main" id="{FE1B21A2-A693-E8CD-93A7-FC32661731A7}"/>
              </a:ext>
            </a:extLst>
          </p:cNvPr>
          <p:cNvCxnSpPr>
            <a:cxnSpLocks/>
          </p:cNvCxnSpPr>
          <p:nvPr/>
        </p:nvCxnSpPr>
        <p:spPr>
          <a:xfrm>
            <a:off x="3878363" y="6277015"/>
            <a:ext cx="281227" cy="1879"/>
          </a:xfrm>
          <a:prstGeom prst="straightConnector1">
            <a:avLst/>
          </a:prstGeom>
          <a:noFill/>
          <a:ln w="6350" cap="flat" cmpd="sng" algn="ctr">
            <a:solidFill>
              <a:sysClr val="windowText" lastClr="000000"/>
            </a:solidFill>
            <a:prstDash val="solid"/>
            <a:miter lim="800000"/>
            <a:tailEnd type="triangle"/>
          </a:ln>
          <a:effectLst/>
        </p:spPr>
        <p:style>
          <a:lnRef idx="1">
            <a:schemeClr val="accent1"/>
          </a:lnRef>
          <a:fillRef idx="0">
            <a:schemeClr val="accent1"/>
          </a:fillRef>
          <a:effectRef idx="0">
            <a:schemeClr val="accent1"/>
          </a:effectRef>
          <a:fontRef idx="minor">
            <a:schemeClr val="tx1"/>
          </a:fontRef>
        </p:style>
      </p:cxnSp>
      <p:sp>
        <p:nvSpPr>
          <p:cNvPr id="130" name="Retângulo: Cantos Arredondados 14">
            <a:extLst>
              <a:ext uri="{FF2B5EF4-FFF2-40B4-BE49-F238E27FC236}">
                <a16:creationId xmlns:a16="http://schemas.microsoft.com/office/drawing/2014/main" id="{9D1BFA4F-7C8A-6076-E2BA-A6ED00BF8452}"/>
              </a:ext>
            </a:extLst>
          </p:cNvPr>
          <p:cNvSpPr/>
          <p:nvPr/>
        </p:nvSpPr>
        <p:spPr>
          <a:xfrm>
            <a:off x="8771222" y="2564393"/>
            <a:ext cx="1267347" cy="257721"/>
          </a:xfrm>
          <a:prstGeom prst="roundRect">
            <a:avLst/>
          </a:prstGeom>
          <a:solidFill>
            <a:srgbClr val="BE8FFF"/>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s-CO"/>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algn="ctr"/>
            <a:endParaRPr lang="en-US" noProof="0"/>
          </a:p>
        </p:txBody>
      </p:sp>
      <p:sp>
        <p:nvSpPr>
          <p:cNvPr id="131" name="TextBox 21">
            <a:extLst>
              <a:ext uri="{FF2B5EF4-FFF2-40B4-BE49-F238E27FC236}">
                <a16:creationId xmlns:a16="http://schemas.microsoft.com/office/drawing/2014/main" id="{F3D1056C-AFB3-5886-B0EB-535698FE56B2}"/>
              </a:ext>
            </a:extLst>
          </p:cNvPr>
          <p:cNvSpPr txBox="1"/>
          <p:nvPr/>
        </p:nvSpPr>
        <p:spPr>
          <a:xfrm>
            <a:off x="8846015" y="2609813"/>
            <a:ext cx="1076510" cy="197353"/>
          </a:xfrm>
          <a:prstGeom prst="rect">
            <a:avLst/>
          </a:prstGeom>
        </p:spPr>
        <p:txBody>
          <a:bodyPr wrap="square" lIns="0" tIns="0" rIns="0" bIns="0" rtlCol="0" anchor="t">
            <a:spAutoFit/>
          </a:bodyP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pPr algn="ctr">
              <a:lnSpc>
                <a:spcPts val="1000"/>
              </a:lnSpc>
            </a:pPr>
            <a:r>
              <a:rPr lang="en-US" sz="900" noProof="0">
                <a:solidFill>
                  <a:sysClr val="window" lastClr="FFFFFF"/>
                </a:solidFill>
                <a:latin typeface="Montserrat"/>
              </a:rPr>
              <a:t>Infrastructure</a:t>
            </a:r>
            <a:endParaRPr lang="en-US" sz="1100" noProof="0"/>
          </a:p>
        </p:txBody>
      </p:sp>
      <p:sp>
        <p:nvSpPr>
          <p:cNvPr id="132" name="Retângulo: Cantos Arredondados 36">
            <a:extLst>
              <a:ext uri="{FF2B5EF4-FFF2-40B4-BE49-F238E27FC236}">
                <a16:creationId xmlns:a16="http://schemas.microsoft.com/office/drawing/2014/main" id="{A3392933-BBC7-A33D-AC6E-F63A0C09FB47}"/>
              </a:ext>
            </a:extLst>
          </p:cNvPr>
          <p:cNvSpPr/>
          <p:nvPr/>
        </p:nvSpPr>
        <p:spPr>
          <a:xfrm>
            <a:off x="8640934" y="6444149"/>
            <a:ext cx="769883" cy="236824"/>
          </a:xfrm>
          <a:prstGeom prst="roundRect">
            <a:avLst/>
          </a:prstGeom>
          <a:solidFill>
            <a:srgbClr val="BE8FFF"/>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s-CO"/>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algn="ctr"/>
            <a:endParaRPr lang="en-US" noProof="0"/>
          </a:p>
        </p:txBody>
      </p:sp>
      <p:sp>
        <p:nvSpPr>
          <p:cNvPr id="133" name="TextBox 21">
            <a:extLst>
              <a:ext uri="{FF2B5EF4-FFF2-40B4-BE49-F238E27FC236}">
                <a16:creationId xmlns:a16="http://schemas.microsoft.com/office/drawing/2014/main" id="{40EE9F4D-820D-83F1-DB59-AC9265054973}"/>
              </a:ext>
            </a:extLst>
          </p:cNvPr>
          <p:cNvSpPr txBox="1"/>
          <p:nvPr/>
        </p:nvSpPr>
        <p:spPr>
          <a:xfrm>
            <a:off x="8579517" y="6489568"/>
            <a:ext cx="910690" cy="169391"/>
          </a:xfrm>
          <a:prstGeom prst="rect">
            <a:avLst/>
          </a:prstGeom>
        </p:spPr>
        <p:txBody>
          <a:bodyPr wrap="square" lIns="0" tIns="0" rIns="0" bIns="0" rtlCol="0" anchor="t">
            <a:spAutoFit/>
          </a:bodyP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pPr algn="ctr">
              <a:lnSpc>
                <a:spcPts val="1000"/>
              </a:lnSpc>
            </a:pPr>
            <a:r>
              <a:rPr lang="en-US" sz="1000" noProof="0">
                <a:solidFill>
                  <a:sysClr val="window" lastClr="FFFFFF"/>
                </a:solidFill>
                <a:latin typeface="Montserrat"/>
              </a:rPr>
              <a:t>Data</a:t>
            </a:r>
            <a:endParaRPr lang="en-US" noProof="0"/>
          </a:p>
        </p:txBody>
      </p:sp>
      <p:sp>
        <p:nvSpPr>
          <p:cNvPr id="134" name="Retângulo: Cantos Arredondados 47">
            <a:extLst>
              <a:ext uri="{FF2B5EF4-FFF2-40B4-BE49-F238E27FC236}">
                <a16:creationId xmlns:a16="http://schemas.microsoft.com/office/drawing/2014/main" id="{7782447A-C4B6-9CD4-F5FB-E969A26A1323}"/>
              </a:ext>
            </a:extLst>
          </p:cNvPr>
          <p:cNvSpPr/>
          <p:nvPr/>
        </p:nvSpPr>
        <p:spPr>
          <a:xfrm>
            <a:off x="11282227" y="5044093"/>
            <a:ext cx="912016" cy="229860"/>
          </a:xfrm>
          <a:prstGeom prst="roundRect">
            <a:avLst/>
          </a:prstGeom>
          <a:solidFill>
            <a:srgbClr val="BE8FFF"/>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s-CO"/>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algn="ctr"/>
            <a:endParaRPr lang="en-US" noProof="0"/>
          </a:p>
        </p:txBody>
      </p:sp>
      <p:sp>
        <p:nvSpPr>
          <p:cNvPr id="135" name="TextBox 21">
            <a:extLst>
              <a:ext uri="{FF2B5EF4-FFF2-40B4-BE49-F238E27FC236}">
                <a16:creationId xmlns:a16="http://schemas.microsoft.com/office/drawing/2014/main" id="{614A6040-BEE0-104B-379A-D71E0215A229}"/>
              </a:ext>
            </a:extLst>
          </p:cNvPr>
          <p:cNvSpPr txBox="1"/>
          <p:nvPr/>
        </p:nvSpPr>
        <p:spPr>
          <a:xfrm>
            <a:off x="11280031" y="5075583"/>
            <a:ext cx="910690" cy="169391"/>
          </a:xfrm>
          <a:prstGeom prst="rect">
            <a:avLst/>
          </a:prstGeom>
        </p:spPr>
        <p:txBody>
          <a:bodyPr wrap="square" lIns="0" tIns="0" rIns="0" bIns="0" rtlCol="0" anchor="t">
            <a:spAutoFit/>
          </a:bodyP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pPr algn="ctr">
              <a:lnSpc>
                <a:spcPts val="1000"/>
              </a:lnSpc>
            </a:pPr>
            <a:r>
              <a:rPr lang="en-US" sz="1000" noProof="0">
                <a:solidFill>
                  <a:sysClr val="window" lastClr="FFFFFF"/>
                </a:solidFill>
                <a:latin typeface="Montserrat"/>
              </a:rPr>
              <a:t>Security</a:t>
            </a:r>
            <a:endParaRPr lang="en-US" noProof="0">
              <a:solidFill>
                <a:sysClr val="window" lastClr="FFFFFF"/>
              </a:solidFill>
            </a:endParaRPr>
          </a:p>
        </p:txBody>
      </p:sp>
      <p:sp>
        <p:nvSpPr>
          <p:cNvPr id="136" name="Retângulo: Cantos Arredondados 52">
            <a:extLst>
              <a:ext uri="{FF2B5EF4-FFF2-40B4-BE49-F238E27FC236}">
                <a16:creationId xmlns:a16="http://schemas.microsoft.com/office/drawing/2014/main" id="{648EEF5B-2F28-FB15-3EA2-A22A52F09A97}"/>
              </a:ext>
            </a:extLst>
          </p:cNvPr>
          <p:cNvSpPr/>
          <p:nvPr/>
        </p:nvSpPr>
        <p:spPr>
          <a:xfrm>
            <a:off x="13224700" y="3421144"/>
            <a:ext cx="758040" cy="327375"/>
          </a:xfrm>
          <a:prstGeom prst="roundRect">
            <a:avLst/>
          </a:prstGeom>
          <a:solidFill>
            <a:srgbClr val="6800FF"/>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s-CO"/>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algn="ctr"/>
            <a:endParaRPr lang="en-US" noProof="0"/>
          </a:p>
        </p:txBody>
      </p:sp>
      <p:sp>
        <p:nvSpPr>
          <p:cNvPr id="137" name="TextBox 38">
            <a:extLst>
              <a:ext uri="{FF2B5EF4-FFF2-40B4-BE49-F238E27FC236}">
                <a16:creationId xmlns:a16="http://schemas.microsoft.com/office/drawing/2014/main" id="{880860D8-EBD5-2055-0829-9B32FB33F8AB}"/>
              </a:ext>
            </a:extLst>
          </p:cNvPr>
          <p:cNvSpPr txBox="1"/>
          <p:nvPr/>
        </p:nvSpPr>
        <p:spPr>
          <a:xfrm>
            <a:off x="13156711" y="3512824"/>
            <a:ext cx="910690" cy="236824"/>
          </a:xfrm>
          <a:prstGeom prst="rect">
            <a:avLst/>
          </a:prstGeom>
        </p:spPr>
        <p:txBody>
          <a:bodyPr wrap="square" lIns="0" tIns="0" rIns="0" bIns="0" rtlCol="0" anchor="t">
            <a:spAutoFit/>
          </a:bodyP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pPr algn="ctr">
              <a:lnSpc>
                <a:spcPts val="1199"/>
              </a:lnSpc>
            </a:pPr>
            <a:r>
              <a:rPr lang="en-US" sz="1050" b="1" noProof="0">
                <a:solidFill>
                  <a:sysClr val="window" lastClr="FFFFFF"/>
                </a:solidFill>
                <a:latin typeface="Montserrat Medium"/>
              </a:rPr>
              <a:t>To Be</a:t>
            </a:r>
          </a:p>
        </p:txBody>
      </p:sp>
      <p:sp>
        <p:nvSpPr>
          <p:cNvPr id="138" name="Elipse 53">
            <a:extLst>
              <a:ext uri="{FF2B5EF4-FFF2-40B4-BE49-F238E27FC236}">
                <a16:creationId xmlns:a16="http://schemas.microsoft.com/office/drawing/2014/main" id="{E4F8025A-3B7B-9FD7-EF09-DF6FF07AC836}"/>
              </a:ext>
            </a:extLst>
          </p:cNvPr>
          <p:cNvSpPr/>
          <p:nvPr/>
        </p:nvSpPr>
        <p:spPr>
          <a:xfrm>
            <a:off x="13517793" y="4050300"/>
            <a:ext cx="225042" cy="278617"/>
          </a:xfrm>
          <a:prstGeom prst="ellipse">
            <a:avLst/>
          </a:prstGeom>
          <a:solidFill>
            <a:sysClr val="window" lastClr="FFFFFF"/>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s-CO"/>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algn="ctr"/>
            <a:endParaRPr lang="en-US" noProof="0"/>
          </a:p>
        </p:txBody>
      </p:sp>
      <p:grpSp>
        <p:nvGrpSpPr>
          <p:cNvPr id="139" name="Group 138">
            <a:extLst>
              <a:ext uri="{FF2B5EF4-FFF2-40B4-BE49-F238E27FC236}">
                <a16:creationId xmlns:a16="http://schemas.microsoft.com/office/drawing/2014/main" id="{E1B2DAF6-A732-D0FE-6416-4208F4E3FEC1}"/>
              </a:ext>
            </a:extLst>
          </p:cNvPr>
          <p:cNvGrpSpPr/>
          <p:nvPr/>
        </p:nvGrpSpPr>
        <p:grpSpPr>
          <a:xfrm>
            <a:off x="4165304" y="3108050"/>
            <a:ext cx="1258356" cy="929635"/>
            <a:chOff x="0" y="-13457"/>
            <a:chExt cx="344094" cy="246919"/>
          </a:xfrm>
        </p:grpSpPr>
        <p:sp>
          <p:nvSpPr>
            <p:cNvPr id="182" name="Freeform 9">
              <a:extLst>
                <a:ext uri="{FF2B5EF4-FFF2-40B4-BE49-F238E27FC236}">
                  <a16:creationId xmlns:a16="http://schemas.microsoft.com/office/drawing/2014/main" id="{E0084968-7729-14E0-8515-57CBF6BB68DA}"/>
                </a:ext>
              </a:extLst>
            </p:cNvPr>
            <p:cNvSpPr/>
            <p:nvPr/>
          </p:nvSpPr>
          <p:spPr>
            <a:xfrm>
              <a:off x="0" y="0"/>
              <a:ext cx="344094" cy="218344"/>
            </a:xfrm>
            <a:custGeom>
              <a:avLst/>
              <a:gdLst/>
              <a:ahLst/>
              <a:cxnLst/>
              <a:rect l="l" t="t" r="r" b="b"/>
              <a:pathLst>
                <a:path w="344094" h="218344">
                  <a:moveTo>
                    <a:pt x="59258" y="0"/>
                  </a:moveTo>
                  <a:lnTo>
                    <a:pt x="284837" y="0"/>
                  </a:lnTo>
                  <a:cubicBezTo>
                    <a:pt x="317564" y="0"/>
                    <a:pt x="344094" y="26531"/>
                    <a:pt x="344094" y="59258"/>
                  </a:cubicBezTo>
                  <a:lnTo>
                    <a:pt x="344094" y="159086"/>
                  </a:lnTo>
                  <a:cubicBezTo>
                    <a:pt x="344094" y="191813"/>
                    <a:pt x="317564" y="218344"/>
                    <a:pt x="284837" y="218344"/>
                  </a:cubicBezTo>
                  <a:lnTo>
                    <a:pt x="59258" y="218344"/>
                  </a:lnTo>
                  <a:cubicBezTo>
                    <a:pt x="43542" y="218344"/>
                    <a:pt x="28469" y="212101"/>
                    <a:pt x="17356" y="200988"/>
                  </a:cubicBezTo>
                  <a:cubicBezTo>
                    <a:pt x="6243" y="189875"/>
                    <a:pt x="0" y="174802"/>
                    <a:pt x="0" y="159086"/>
                  </a:cubicBezTo>
                  <a:lnTo>
                    <a:pt x="0" y="59258"/>
                  </a:lnTo>
                  <a:cubicBezTo>
                    <a:pt x="0" y="26531"/>
                    <a:pt x="26531" y="0"/>
                    <a:pt x="59258" y="0"/>
                  </a:cubicBezTo>
                  <a:close/>
                </a:path>
              </a:pathLst>
            </a:custGeom>
            <a:solidFill>
              <a:srgbClr val="6800FF"/>
            </a:solidFill>
          </p:spPr>
          <p:txBody>
            <a:bodyP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endParaRPr lang="en-US" noProof="0"/>
            </a:p>
          </p:txBody>
        </p:sp>
        <p:sp>
          <p:nvSpPr>
            <p:cNvPr id="183" name="TextBox 10">
              <a:extLst>
                <a:ext uri="{FF2B5EF4-FFF2-40B4-BE49-F238E27FC236}">
                  <a16:creationId xmlns:a16="http://schemas.microsoft.com/office/drawing/2014/main" id="{B625C768-19BB-6C6E-5CEA-B2B0D1759ABE}"/>
                </a:ext>
              </a:extLst>
            </p:cNvPr>
            <p:cNvSpPr txBox="1"/>
            <p:nvPr/>
          </p:nvSpPr>
          <p:spPr>
            <a:xfrm>
              <a:off x="0" y="-13457"/>
              <a:ext cx="344094" cy="246919"/>
            </a:xfrm>
            <a:prstGeom prst="rect">
              <a:avLst/>
            </a:prstGeom>
          </p:spPr>
          <p:txBody>
            <a:bodyPr lIns="33867" tIns="33867" rIns="33867" bIns="33867" rtlCol="0" anchor="ct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pPr algn="ctr">
                <a:lnSpc>
                  <a:spcPts val="1307"/>
                </a:lnSpc>
              </a:pPr>
              <a:r>
                <a:rPr lang="en-US" sz="1050" noProof="0">
                  <a:solidFill>
                    <a:srgbClr val="FFFFFF"/>
                  </a:solidFill>
                  <a:latin typeface="Montserrat"/>
                </a:rPr>
                <a:t>Culture strategy</a:t>
              </a:r>
            </a:p>
          </p:txBody>
        </p:sp>
      </p:grpSp>
      <p:cxnSp>
        <p:nvCxnSpPr>
          <p:cNvPr id="140" name="Conector de Seta Reta 65">
            <a:extLst>
              <a:ext uri="{FF2B5EF4-FFF2-40B4-BE49-F238E27FC236}">
                <a16:creationId xmlns:a16="http://schemas.microsoft.com/office/drawing/2014/main" id="{014EA8AD-2F07-4A9D-589A-8EA41556550F}"/>
              </a:ext>
            </a:extLst>
          </p:cNvPr>
          <p:cNvCxnSpPr/>
          <p:nvPr/>
        </p:nvCxnSpPr>
        <p:spPr>
          <a:xfrm>
            <a:off x="3878365" y="3533788"/>
            <a:ext cx="281227" cy="1879"/>
          </a:xfrm>
          <a:prstGeom prst="straightConnector1">
            <a:avLst/>
          </a:prstGeom>
          <a:noFill/>
          <a:ln w="6350" cap="flat" cmpd="sng" algn="ctr">
            <a:solidFill>
              <a:sysClr val="windowText" lastClr="000000"/>
            </a:solidFill>
            <a:prstDash val="solid"/>
            <a:miter lim="800000"/>
            <a:tailEnd type="triangle"/>
          </a:ln>
          <a:effectLst/>
        </p:spPr>
        <p:style>
          <a:lnRef idx="1">
            <a:schemeClr val="accent1"/>
          </a:lnRef>
          <a:fillRef idx="0">
            <a:schemeClr val="accent1"/>
          </a:fillRef>
          <a:effectRef idx="0">
            <a:schemeClr val="accent1"/>
          </a:effectRef>
          <a:fontRef idx="minor">
            <a:schemeClr val="tx1"/>
          </a:fontRef>
        </p:style>
      </p:cxnSp>
      <p:sp>
        <p:nvSpPr>
          <p:cNvPr id="141" name="Colchete Direito 78">
            <a:extLst>
              <a:ext uri="{FF2B5EF4-FFF2-40B4-BE49-F238E27FC236}">
                <a16:creationId xmlns:a16="http://schemas.microsoft.com/office/drawing/2014/main" id="{01BE5B2F-185D-3464-4D0E-3E55DFB8C213}"/>
              </a:ext>
            </a:extLst>
          </p:cNvPr>
          <p:cNvSpPr/>
          <p:nvPr/>
        </p:nvSpPr>
        <p:spPr>
          <a:xfrm>
            <a:off x="5423660" y="3533788"/>
            <a:ext cx="176795" cy="2776014"/>
          </a:xfrm>
          <a:prstGeom prst="rightBracket">
            <a:avLst/>
          </a:prstGeom>
          <a:noFill/>
          <a:ln w="12700" cap="flat" cmpd="sng" algn="ctr">
            <a:solidFill>
              <a:sysClr val="windowText" lastClr="000000"/>
            </a:solid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pPr algn="ctr"/>
            <a:endParaRPr lang="en-US" noProof="0"/>
          </a:p>
        </p:txBody>
      </p:sp>
      <p:cxnSp>
        <p:nvCxnSpPr>
          <p:cNvPr id="142" name="Conector de Seta Reta 80">
            <a:extLst>
              <a:ext uri="{FF2B5EF4-FFF2-40B4-BE49-F238E27FC236}">
                <a16:creationId xmlns:a16="http://schemas.microsoft.com/office/drawing/2014/main" id="{C372AC31-668B-7DAC-BBE2-5105AB24F208}"/>
              </a:ext>
            </a:extLst>
          </p:cNvPr>
          <p:cNvCxnSpPr>
            <a:cxnSpLocks/>
          </p:cNvCxnSpPr>
          <p:nvPr/>
        </p:nvCxnSpPr>
        <p:spPr>
          <a:xfrm>
            <a:off x="5600455" y="5626590"/>
            <a:ext cx="213468" cy="0"/>
          </a:xfrm>
          <a:prstGeom prst="straightConnector1">
            <a:avLst/>
          </a:prstGeom>
          <a:noFill/>
          <a:ln w="12700" cap="flat" cmpd="sng" algn="ctr">
            <a:solidFill>
              <a:sysClr val="windowText" lastClr="000000"/>
            </a:solidFill>
            <a:prstDash val="solid"/>
            <a:miter lim="800000"/>
            <a:tailEnd type="triangle"/>
          </a:ln>
          <a:effectLst/>
        </p:spPr>
        <p:style>
          <a:lnRef idx="1">
            <a:schemeClr val="accent1"/>
          </a:lnRef>
          <a:fillRef idx="0">
            <a:schemeClr val="accent1"/>
          </a:fillRef>
          <a:effectRef idx="0">
            <a:schemeClr val="accent1"/>
          </a:effectRef>
          <a:fontRef idx="minor">
            <a:schemeClr val="tx1"/>
          </a:fontRef>
        </p:style>
      </p:cxnSp>
      <p:cxnSp>
        <p:nvCxnSpPr>
          <p:cNvPr id="143" name="Conector Reto 83">
            <a:extLst>
              <a:ext uri="{FF2B5EF4-FFF2-40B4-BE49-F238E27FC236}">
                <a16:creationId xmlns:a16="http://schemas.microsoft.com/office/drawing/2014/main" id="{23A137B6-7833-BFB2-6600-7979B65F644F}"/>
              </a:ext>
            </a:extLst>
          </p:cNvPr>
          <p:cNvCxnSpPr>
            <a:endCxn id="141" idx="2"/>
          </p:cNvCxnSpPr>
          <p:nvPr/>
        </p:nvCxnSpPr>
        <p:spPr>
          <a:xfrm>
            <a:off x="5414754" y="4918073"/>
            <a:ext cx="185700" cy="3723"/>
          </a:xfrm>
          <a:prstGeom prst="line">
            <a:avLst/>
          </a:prstGeom>
          <a:noFill/>
          <a:ln w="12700" cap="flat" cmpd="sng" algn="ctr">
            <a:solidFill>
              <a:sysClr val="windowText" lastClr="000000"/>
            </a:solidFill>
            <a:prstDash val="solid"/>
            <a:miter lim="800000"/>
          </a:ln>
          <a:effectLst/>
        </p:spPr>
        <p:style>
          <a:lnRef idx="1">
            <a:schemeClr val="accent1"/>
          </a:lnRef>
          <a:fillRef idx="0">
            <a:schemeClr val="accent1"/>
          </a:fillRef>
          <a:effectRef idx="0">
            <a:schemeClr val="accent1"/>
          </a:effectRef>
          <a:fontRef idx="minor">
            <a:schemeClr val="tx1"/>
          </a:fontRef>
        </p:style>
      </p:cxnSp>
      <p:pic>
        <p:nvPicPr>
          <p:cNvPr id="144" name="Gráfico 90" descr="Aviso com preenchimento sólido">
            <a:extLst>
              <a:ext uri="{FF2B5EF4-FFF2-40B4-BE49-F238E27FC236}">
                <a16:creationId xmlns:a16="http://schemas.microsoft.com/office/drawing/2014/main" id="{9AB0EBED-19A5-E8C3-E9A2-F5862666B17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587011" y="5109270"/>
            <a:ext cx="330611" cy="388853"/>
          </a:xfrm>
          <a:prstGeom prst="rect">
            <a:avLst/>
          </a:prstGeom>
        </p:spPr>
      </p:pic>
      <p:pic>
        <p:nvPicPr>
          <p:cNvPr id="145" name="Gráfico 92" descr="Aviso com preenchimento sólido">
            <a:extLst>
              <a:ext uri="{FF2B5EF4-FFF2-40B4-BE49-F238E27FC236}">
                <a16:creationId xmlns:a16="http://schemas.microsoft.com/office/drawing/2014/main" id="{27EDA663-34B6-1E65-A823-44DDD30ED04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879606" y="5402844"/>
            <a:ext cx="330611" cy="388853"/>
          </a:xfrm>
          <a:prstGeom prst="rect">
            <a:avLst/>
          </a:prstGeom>
        </p:spPr>
      </p:pic>
      <p:sp>
        <p:nvSpPr>
          <p:cNvPr id="146" name="Retângulo 1">
            <a:extLst>
              <a:ext uri="{FF2B5EF4-FFF2-40B4-BE49-F238E27FC236}">
                <a16:creationId xmlns:a16="http://schemas.microsoft.com/office/drawing/2014/main" id="{18A52E79-13D2-7D1F-C3DE-357D5DDEAB9A}"/>
              </a:ext>
            </a:extLst>
          </p:cNvPr>
          <p:cNvSpPr/>
          <p:nvPr/>
        </p:nvSpPr>
        <p:spPr>
          <a:xfrm>
            <a:off x="7255019" y="4771504"/>
            <a:ext cx="2479077" cy="103069"/>
          </a:xfrm>
          <a:prstGeom prst="rect">
            <a:avLst/>
          </a:prstGeom>
          <a:solidFill>
            <a:sysClr val="window" lastClr="FFFFFF"/>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s-CO"/>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algn="ctr"/>
            <a:endParaRPr lang="en-US" noProof="0"/>
          </a:p>
        </p:txBody>
      </p:sp>
      <p:sp>
        <p:nvSpPr>
          <p:cNvPr id="147" name="Retângulo 26">
            <a:extLst>
              <a:ext uri="{FF2B5EF4-FFF2-40B4-BE49-F238E27FC236}">
                <a16:creationId xmlns:a16="http://schemas.microsoft.com/office/drawing/2014/main" id="{16BD1A95-1D37-7509-8682-802267F67222}"/>
              </a:ext>
            </a:extLst>
          </p:cNvPr>
          <p:cNvSpPr/>
          <p:nvPr/>
        </p:nvSpPr>
        <p:spPr>
          <a:xfrm>
            <a:off x="9807449" y="4771504"/>
            <a:ext cx="3790490" cy="103069"/>
          </a:xfrm>
          <a:prstGeom prst="rect">
            <a:avLst/>
          </a:prstGeom>
          <a:solidFill>
            <a:sysClr val="window" lastClr="FFFFFF"/>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s-CO"/>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algn="ctr"/>
            <a:endParaRPr lang="en-US" noProof="0"/>
          </a:p>
        </p:txBody>
      </p:sp>
      <p:cxnSp>
        <p:nvCxnSpPr>
          <p:cNvPr id="148" name="Conector Reto 44">
            <a:extLst>
              <a:ext uri="{FF2B5EF4-FFF2-40B4-BE49-F238E27FC236}">
                <a16:creationId xmlns:a16="http://schemas.microsoft.com/office/drawing/2014/main" id="{4A0B4A5A-BC04-080B-7BF6-E7114715D1DF}"/>
              </a:ext>
            </a:extLst>
          </p:cNvPr>
          <p:cNvCxnSpPr>
            <a:cxnSpLocks/>
          </p:cNvCxnSpPr>
          <p:nvPr/>
        </p:nvCxnSpPr>
        <p:spPr>
          <a:xfrm>
            <a:off x="5758549" y="4819887"/>
            <a:ext cx="7839389" cy="0"/>
          </a:xfrm>
          <a:prstGeom prst="line">
            <a:avLst/>
          </a:prstGeom>
          <a:noFill/>
          <a:ln w="28575" cap="flat" cmpd="sng" algn="ctr">
            <a:solidFill>
              <a:srgbClr val="EF2974"/>
            </a:solidFill>
            <a:prstDash val="dash"/>
            <a:miter lim="800000"/>
          </a:ln>
          <a:effectLst/>
        </p:spPr>
        <p:style>
          <a:lnRef idx="1">
            <a:schemeClr val="accent1"/>
          </a:lnRef>
          <a:fillRef idx="0">
            <a:schemeClr val="accent1"/>
          </a:fillRef>
          <a:effectRef idx="0">
            <a:schemeClr val="accent1"/>
          </a:effectRef>
          <a:fontRef idx="minor">
            <a:schemeClr val="tx1"/>
          </a:fontRef>
        </p:style>
      </p:cxnSp>
      <p:grpSp>
        <p:nvGrpSpPr>
          <p:cNvPr id="149" name="Group 148">
            <a:extLst>
              <a:ext uri="{FF2B5EF4-FFF2-40B4-BE49-F238E27FC236}">
                <a16:creationId xmlns:a16="http://schemas.microsoft.com/office/drawing/2014/main" id="{F3FCE099-11D8-5CC2-A523-3499DBD62FCE}"/>
              </a:ext>
            </a:extLst>
          </p:cNvPr>
          <p:cNvGrpSpPr/>
          <p:nvPr/>
        </p:nvGrpSpPr>
        <p:grpSpPr>
          <a:xfrm>
            <a:off x="7584258" y="4331870"/>
            <a:ext cx="498401" cy="586201"/>
            <a:chOff x="0" y="0"/>
            <a:chExt cx="812800" cy="812800"/>
          </a:xfrm>
        </p:grpSpPr>
        <p:sp>
          <p:nvSpPr>
            <p:cNvPr id="180" name="Freeform 18">
              <a:extLst>
                <a:ext uri="{FF2B5EF4-FFF2-40B4-BE49-F238E27FC236}">
                  <a16:creationId xmlns:a16="http://schemas.microsoft.com/office/drawing/2014/main" id="{34564C6B-A565-5223-CC8C-1291DDFEE9EC}"/>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BD8FFF"/>
            </a:solidFill>
          </p:spPr>
          <p:txBody>
            <a:bodyP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endParaRPr lang="en-US" noProof="0"/>
            </a:p>
          </p:txBody>
        </p:sp>
        <p:sp>
          <p:nvSpPr>
            <p:cNvPr id="181" name="TextBox 19">
              <a:extLst>
                <a:ext uri="{FF2B5EF4-FFF2-40B4-BE49-F238E27FC236}">
                  <a16:creationId xmlns:a16="http://schemas.microsoft.com/office/drawing/2014/main" id="{1D576431-648B-68B3-EFC3-17A8160AF378}"/>
                </a:ext>
              </a:extLst>
            </p:cNvPr>
            <p:cNvSpPr txBox="1"/>
            <p:nvPr/>
          </p:nvSpPr>
          <p:spPr>
            <a:xfrm>
              <a:off x="76200" y="38100"/>
              <a:ext cx="660400" cy="698500"/>
            </a:xfrm>
            <a:prstGeom prst="rect">
              <a:avLst/>
            </a:prstGeom>
          </p:spPr>
          <p:txBody>
            <a:bodyPr lIns="33867" tIns="33867" rIns="33867" bIns="33867" rtlCol="0" anchor="ct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pPr algn="ctr">
                <a:lnSpc>
                  <a:spcPts val="1773"/>
                </a:lnSpc>
              </a:pPr>
              <a:endParaRPr lang="en-US" sz="800" noProof="0"/>
            </a:p>
          </p:txBody>
        </p:sp>
      </p:grpSp>
      <p:sp>
        <p:nvSpPr>
          <p:cNvPr id="150" name="Freeform 22">
            <a:extLst>
              <a:ext uri="{FF2B5EF4-FFF2-40B4-BE49-F238E27FC236}">
                <a16:creationId xmlns:a16="http://schemas.microsoft.com/office/drawing/2014/main" id="{C1F274A0-D30A-6BFA-9DD6-EF6C781F56A7}"/>
              </a:ext>
            </a:extLst>
          </p:cNvPr>
          <p:cNvSpPr/>
          <p:nvPr/>
        </p:nvSpPr>
        <p:spPr>
          <a:xfrm>
            <a:off x="7702151" y="4432455"/>
            <a:ext cx="302631" cy="369984"/>
          </a:xfrm>
          <a:custGeom>
            <a:avLst/>
            <a:gdLst/>
            <a:ahLst/>
            <a:cxnLst/>
            <a:rect l="l" t="t" r="r" b="b"/>
            <a:pathLst>
              <a:path w="428331" h="444442">
                <a:moveTo>
                  <a:pt x="0" y="0"/>
                </a:moveTo>
                <a:lnTo>
                  <a:pt x="428331" y="0"/>
                </a:lnTo>
                <a:lnTo>
                  <a:pt x="428331" y="444442"/>
                </a:lnTo>
                <a:lnTo>
                  <a:pt x="0" y="444442"/>
                </a:lnTo>
                <a:lnTo>
                  <a:pt x="0" y="0"/>
                </a:lnTo>
                <a:close/>
              </a:path>
            </a:pathLst>
          </a:custGeom>
          <a:blipFill>
            <a:blip r:embed="rId13">
              <a:extLst>
                <a:ext uri="{96DAC541-7B7A-43D3-8B79-37D633B846F1}">
                  <asvg:svgBlip xmlns:asvg="http://schemas.microsoft.com/office/drawing/2016/SVG/main" r:embed="rId14"/>
                </a:ext>
              </a:extLst>
            </a:blip>
            <a:stretch>
              <a:fillRect/>
            </a:stretch>
          </a:blipFill>
        </p:spPr>
        <p:txBody>
          <a:bodyP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endParaRPr lang="en-US" noProof="0"/>
          </a:p>
        </p:txBody>
      </p:sp>
      <p:sp>
        <p:nvSpPr>
          <p:cNvPr id="151" name="Retângulo: Cantos Arredondados 13">
            <a:extLst>
              <a:ext uri="{FF2B5EF4-FFF2-40B4-BE49-F238E27FC236}">
                <a16:creationId xmlns:a16="http://schemas.microsoft.com/office/drawing/2014/main" id="{07FA737D-E1D2-0CDA-0177-3A4495CFC091}"/>
              </a:ext>
            </a:extLst>
          </p:cNvPr>
          <p:cNvSpPr/>
          <p:nvPr/>
        </p:nvSpPr>
        <p:spPr>
          <a:xfrm>
            <a:off x="7346969" y="4918715"/>
            <a:ext cx="1008627" cy="231527"/>
          </a:xfrm>
          <a:prstGeom prst="roundRect">
            <a:avLst/>
          </a:prstGeom>
          <a:solidFill>
            <a:srgbClr val="BE8FFF"/>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s-CO"/>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algn="ctr"/>
            <a:endParaRPr lang="en-US" noProof="0"/>
          </a:p>
        </p:txBody>
      </p:sp>
      <p:sp>
        <p:nvSpPr>
          <p:cNvPr id="152" name="TextBox 21">
            <a:extLst>
              <a:ext uri="{FF2B5EF4-FFF2-40B4-BE49-F238E27FC236}">
                <a16:creationId xmlns:a16="http://schemas.microsoft.com/office/drawing/2014/main" id="{2B743808-CBE4-44D8-293C-10F126B9C058}"/>
              </a:ext>
            </a:extLst>
          </p:cNvPr>
          <p:cNvSpPr txBox="1"/>
          <p:nvPr/>
        </p:nvSpPr>
        <p:spPr>
          <a:xfrm>
            <a:off x="7396128" y="4952240"/>
            <a:ext cx="910690" cy="197353"/>
          </a:xfrm>
          <a:prstGeom prst="rect">
            <a:avLst/>
          </a:prstGeom>
        </p:spPr>
        <p:txBody>
          <a:bodyPr wrap="square" lIns="0" tIns="0" rIns="0" bIns="0" rtlCol="0" anchor="t">
            <a:spAutoFit/>
          </a:bodyP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pPr algn="ctr">
              <a:lnSpc>
                <a:spcPts val="1000"/>
              </a:lnSpc>
            </a:pPr>
            <a:r>
              <a:rPr lang="en-US" sz="900" noProof="0">
                <a:solidFill>
                  <a:sysClr val="window" lastClr="FFFFFF"/>
                </a:solidFill>
                <a:latin typeface="Montserrat"/>
              </a:rPr>
              <a:t>Technology</a:t>
            </a:r>
          </a:p>
        </p:txBody>
      </p:sp>
      <p:pic>
        <p:nvPicPr>
          <p:cNvPr id="153" name="Gráfico 60" descr="Aviso com preenchimento sólido">
            <a:extLst>
              <a:ext uri="{FF2B5EF4-FFF2-40B4-BE49-F238E27FC236}">
                <a16:creationId xmlns:a16="http://schemas.microsoft.com/office/drawing/2014/main" id="{30DF9108-80FD-5F38-86CF-754820134A6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997809" y="4562674"/>
            <a:ext cx="330611" cy="388853"/>
          </a:xfrm>
          <a:prstGeom prst="rect">
            <a:avLst/>
          </a:prstGeom>
        </p:spPr>
      </p:pic>
      <p:cxnSp>
        <p:nvCxnSpPr>
          <p:cNvPr id="154" name="Conector Reto 62">
            <a:extLst>
              <a:ext uri="{FF2B5EF4-FFF2-40B4-BE49-F238E27FC236}">
                <a16:creationId xmlns:a16="http://schemas.microsoft.com/office/drawing/2014/main" id="{66270585-E7E3-E4CB-0146-6638BE862A35}"/>
              </a:ext>
            </a:extLst>
          </p:cNvPr>
          <p:cNvCxnSpPr/>
          <p:nvPr/>
        </p:nvCxnSpPr>
        <p:spPr>
          <a:xfrm>
            <a:off x="5764827" y="4808034"/>
            <a:ext cx="0" cy="675086"/>
          </a:xfrm>
          <a:prstGeom prst="line">
            <a:avLst/>
          </a:prstGeom>
          <a:noFill/>
          <a:ln w="28575" cap="flat" cmpd="sng" algn="ctr">
            <a:solidFill>
              <a:srgbClr val="EF2974"/>
            </a:solidFill>
            <a:prstDash val="dash"/>
            <a:miter lim="800000"/>
          </a:ln>
          <a:effectLst/>
        </p:spPr>
        <p:style>
          <a:lnRef idx="1">
            <a:schemeClr val="accent1"/>
          </a:lnRef>
          <a:fillRef idx="0">
            <a:schemeClr val="accent1"/>
          </a:fillRef>
          <a:effectRef idx="0">
            <a:schemeClr val="accent1"/>
          </a:effectRef>
          <a:fontRef idx="minor">
            <a:schemeClr val="tx1"/>
          </a:fontRef>
        </p:style>
      </p:cxnSp>
      <p:cxnSp>
        <p:nvCxnSpPr>
          <p:cNvPr id="155" name="Conector Reto 66">
            <a:extLst>
              <a:ext uri="{FF2B5EF4-FFF2-40B4-BE49-F238E27FC236}">
                <a16:creationId xmlns:a16="http://schemas.microsoft.com/office/drawing/2014/main" id="{8CBC394B-3E67-B0BB-D71A-CA4736362D10}"/>
              </a:ext>
            </a:extLst>
          </p:cNvPr>
          <p:cNvCxnSpPr>
            <a:cxnSpLocks/>
          </p:cNvCxnSpPr>
          <p:nvPr/>
        </p:nvCxnSpPr>
        <p:spPr>
          <a:xfrm>
            <a:off x="12190722" y="5626590"/>
            <a:ext cx="0" cy="773415"/>
          </a:xfrm>
          <a:prstGeom prst="line">
            <a:avLst/>
          </a:prstGeom>
          <a:noFill/>
          <a:ln w="28575" cap="flat" cmpd="sng" algn="ctr">
            <a:solidFill>
              <a:srgbClr val="6800FF"/>
            </a:solidFill>
            <a:prstDash val="dash"/>
            <a:miter lim="800000"/>
          </a:ln>
          <a:effectLst/>
        </p:spPr>
        <p:style>
          <a:lnRef idx="1">
            <a:schemeClr val="accent1"/>
          </a:lnRef>
          <a:fillRef idx="0">
            <a:schemeClr val="accent1"/>
          </a:fillRef>
          <a:effectRef idx="0">
            <a:schemeClr val="accent1"/>
          </a:effectRef>
          <a:fontRef idx="minor">
            <a:schemeClr val="tx1"/>
          </a:fontRef>
        </p:style>
      </p:cxnSp>
      <p:cxnSp>
        <p:nvCxnSpPr>
          <p:cNvPr id="156" name="Conector Reto 69">
            <a:extLst>
              <a:ext uri="{FF2B5EF4-FFF2-40B4-BE49-F238E27FC236}">
                <a16:creationId xmlns:a16="http://schemas.microsoft.com/office/drawing/2014/main" id="{8AE4AA10-AC1D-7F10-D36B-095FBD0EFC22}"/>
              </a:ext>
            </a:extLst>
          </p:cNvPr>
          <p:cNvCxnSpPr>
            <a:cxnSpLocks/>
          </p:cNvCxnSpPr>
          <p:nvPr/>
        </p:nvCxnSpPr>
        <p:spPr>
          <a:xfrm flipH="1">
            <a:off x="12190722" y="5644467"/>
            <a:ext cx="1437660" cy="0"/>
          </a:xfrm>
          <a:prstGeom prst="line">
            <a:avLst/>
          </a:prstGeom>
          <a:noFill/>
          <a:ln w="28575" cap="flat" cmpd="sng" algn="ctr">
            <a:solidFill>
              <a:srgbClr val="6800FF"/>
            </a:solidFill>
            <a:prstDash val="dash"/>
            <a:miter lim="800000"/>
          </a:ln>
          <a:effectLst/>
        </p:spPr>
        <p:style>
          <a:lnRef idx="1">
            <a:schemeClr val="accent1"/>
          </a:lnRef>
          <a:fillRef idx="0">
            <a:schemeClr val="accent1"/>
          </a:fillRef>
          <a:effectRef idx="0">
            <a:schemeClr val="accent1"/>
          </a:effectRef>
          <a:fontRef idx="minor">
            <a:schemeClr val="tx1"/>
          </a:fontRef>
        </p:style>
      </p:cxnSp>
      <p:cxnSp>
        <p:nvCxnSpPr>
          <p:cNvPr id="157" name="Conector Reto 72">
            <a:extLst>
              <a:ext uri="{FF2B5EF4-FFF2-40B4-BE49-F238E27FC236}">
                <a16:creationId xmlns:a16="http://schemas.microsoft.com/office/drawing/2014/main" id="{E5CA1279-0B10-76CD-CF40-539D70A6A609}"/>
              </a:ext>
            </a:extLst>
          </p:cNvPr>
          <p:cNvCxnSpPr>
            <a:cxnSpLocks/>
          </p:cNvCxnSpPr>
          <p:nvPr/>
        </p:nvCxnSpPr>
        <p:spPr>
          <a:xfrm>
            <a:off x="13628382" y="5131767"/>
            <a:ext cx="0" cy="512700"/>
          </a:xfrm>
          <a:prstGeom prst="line">
            <a:avLst/>
          </a:prstGeom>
          <a:noFill/>
          <a:ln w="28575" cap="flat" cmpd="sng" algn="ctr">
            <a:solidFill>
              <a:srgbClr val="6800FF"/>
            </a:solidFill>
            <a:prstDash val="dash"/>
            <a:miter lim="800000"/>
          </a:ln>
          <a:effectLst/>
        </p:spPr>
        <p:style>
          <a:lnRef idx="1">
            <a:schemeClr val="accent1"/>
          </a:lnRef>
          <a:fillRef idx="0">
            <a:schemeClr val="accent1"/>
          </a:fillRef>
          <a:effectRef idx="0">
            <a:schemeClr val="accent1"/>
          </a:effectRef>
          <a:fontRef idx="minor">
            <a:schemeClr val="tx1"/>
          </a:fontRef>
        </p:style>
      </p:cxnSp>
      <p:cxnSp>
        <p:nvCxnSpPr>
          <p:cNvPr id="158" name="Conector Reto 75">
            <a:extLst>
              <a:ext uri="{FF2B5EF4-FFF2-40B4-BE49-F238E27FC236}">
                <a16:creationId xmlns:a16="http://schemas.microsoft.com/office/drawing/2014/main" id="{67299274-AE7A-C5E7-354A-F3F5E72BD5C6}"/>
              </a:ext>
            </a:extLst>
          </p:cNvPr>
          <p:cNvCxnSpPr>
            <a:cxnSpLocks/>
          </p:cNvCxnSpPr>
          <p:nvPr/>
        </p:nvCxnSpPr>
        <p:spPr>
          <a:xfrm flipH="1" flipV="1">
            <a:off x="7311708" y="5626590"/>
            <a:ext cx="1708196" cy="17875"/>
          </a:xfrm>
          <a:prstGeom prst="line">
            <a:avLst/>
          </a:prstGeom>
          <a:noFill/>
          <a:ln w="28575" cap="flat" cmpd="sng" algn="ctr">
            <a:solidFill>
              <a:srgbClr val="6800FF"/>
            </a:solidFill>
            <a:prstDash val="dash"/>
            <a:miter lim="800000"/>
          </a:ln>
          <a:effectLst/>
        </p:spPr>
        <p:style>
          <a:lnRef idx="1">
            <a:schemeClr val="accent1"/>
          </a:lnRef>
          <a:fillRef idx="0">
            <a:schemeClr val="accent1"/>
          </a:fillRef>
          <a:effectRef idx="0">
            <a:schemeClr val="accent1"/>
          </a:effectRef>
          <a:fontRef idx="minor">
            <a:schemeClr val="tx1"/>
          </a:fontRef>
        </p:style>
      </p:cxnSp>
      <p:cxnSp>
        <p:nvCxnSpPr>
          <p:cNvPr id="159" name="Conector Reto 77">
            <a:extLst>
              <a:ext uri="{FF2B5EF4-FFF2-40B4-BE49-F238E27FC236}">
                <a16:creationId xmlns:a16="http://schemas.microsoft.com/office/drawing/2014/main" id="{16003DD8-A36E-8FF2-4B4C-5D96AA28122B}"/>
              </a:ext>
            </a:extLst>
          </p:cNvPr>
          <p:cNvCxnSpPr>
            <a:cxnSpLocks/>
          </p:cNvCxnSpPr>
          <p:nvPr/>
        </p:nvCxnSpPr>
        <p:spPr>
          <a:xfrm>
            <a:off x="9015851" y="4328917"/>
            <a:ext cx="4052" cy="1315548"/>
          </a:xfrm>
          <a:prstGeom prst="line">
            <a:avLst/>
          </a:prstGeom>
          <a:noFill/>
          <a:ln w="28575" cap="flat" cmpd="sng" algn="ctr">
            <a:solidFill>
              <a:srgbClr val="6800FF"/>
            </a:solidFill>
            <a:prstDash val="dash"/>
            <a:miter lim="800000"/>
          </a:ln>
          <a:effectLst/>
        </p:spPr>
        <p:style>
          <a:lnRef idx="1">
            <a:schemeClr val="accent1"/>
          </a:lnRef>
          <a:fillRef idx="0">
            <a:schemeClr val="accent1"/>
          </a:fillRef>
          <a:effectRef idx="0">
            <a:schemeClr val="accent1"/>
          </a:effectRef>
          <a:fontRef idx="minor">
            <a:schemeClr val="tx1"/>
          </a:fontRef>
        </p:style>
      </p:cxnSp>
      <p:cxnSp>
        <p:nvCxnSpPr>
          <p:cNvPr id="160" name="Conector Reto 59">
            <a:extLst>
              <a:ext uri="{FF2B5EF4-FFF2-40B4-BE49-F238E27FC236}">
                <a16:creationId xmlns:a16="http://schemas.microsoft.com/office/drawing/2014/main" id="{CB2DA033-6F1F-CFC9-1790-02BC6C35B3ED}"/>
              </a:ext>
            </a:extLst>
          </p:cNvPr>
          <p:cNvCxnSpPr>
            <a:cxnSpLocks/>
          </p:cNvCxnSpPr>
          <p:nvPr/>
        </p:nvCxnSpPr>
        <p:spPr>
          <a:xfrm flipH="1">
            <a:off x="9044879" y="3691846"/>
            <a:ext cx="3765006" cy="0"/>
          </a:xfrm>
          <a:prstGeom prst="line">
            <a:avLst/>
          </a:prstGeom>
          <a:noFill/>
          <a:ln w="28575" cap="flat" cmpd="sng" algn="ctr">
            <a:solidFill>
              <a:srgbClr val="6800FF"/>
            </a:solidFill>
            <a:prstDash val="dash"/>
            <a:miter lim="800000"/>
          </a:ln>
          <a:effectLst/>
        </p:spPr>
        <p:style>
          <a:lnRef idx="1">
            <a:schemeClr val="accent1"/>
          </a:lnRef>
          <a:fillRef idx="0">
            <a:schemeClr val="accent1"/>
          </a:fillRef>
          <a:effectRef idx="0">
            <a:schemeClr val="accent1"/>
          </a:effectRef>
          <a:fontRef idx="minor">
            <a:schemeClr val="tx1"/>
          </a:fontRef>
        </p:style>
      </p:cxnSp>
      <p:cxnSp>
        <p:nvCxnSpPr>
          <p:cNvPr id="161" name="Conector Reto 67">
            <a:extLst>
              <a:ext uri="{FF2B5EF4-FFF2-40B4-BE49-F238E27FC236}">
                <a16:creationId xmlns:a16="http://schemas.microsoft.com/office/drawing/2014/main" id="{7A4D82D3-BCFD-B8E7-80AD-B719C47BC1AC}"/>
              </a:ext>
            </a:extLst>
          </p:cNvPr>
          <p:cNvCxnSpPr>
            <a:cxnSpLocks/>
          </p:cNvCxnSpPr>
          <p:nvPr/>
        </p:nvCxnSpPr>
        <p:spPr>
          <a:xfrm>
            <a:off x="12800477" y="3684879"/>
            <a:ext cx="0" cy="1086625"/>
          </a:xfrm>
          <a:prstGeom prst="line">
            <a:avLst/>
          </a:prstGeom>
          <a:noFill/>
          <a:ln w="28575" cap="flat" cmpd="sng" algn="ctr">
            <a:solidFill>
              <a:srgbClr val="6800FF"/>
            </a:solidFill>
            <a:prstDash val="dash"/>
            <a:miter lim="800000"/>
          </a:ln>
          <a:effectLst/>
        </p:spPr>
        <p:style>
          <a:lnRef idx="1">
            <a:schemeClr val="accent1"/>
          </a:lnRef>
          <a:fillRef idx="0">
            <a:schemeClr val="accent1"/>
          </a:fillRef>
          <a:effectRef idx="0">
            <a:schemeClr val="accent1"/>
          </a:effectRef>
          <a:fontRef idx="minor">
            <a:schemeClr val="tx1"/>
          </a:fontRef>
        </p:style>
      </p:cxnSp>
      <p:cxnSp>
        <p:nvCxnSpPr>
          <p:cNvPr id="162" name="Conector Reto 71">
            <a:extLst>
              <a:ext uri="{FF2B5EF4-FFF2-40B4-BE49-F238E27FC236}">
                <a16:creationId xmlns:a16="http://schemas.microsoft.com/office/drawing/2014/main" id="{D0EBE8B0-7E88-A7EA-65EE-9C8A733A61DC}"/>
              </a:ext>
            </a:extLst>
          </p:cNvPr>
          <p:cNvCxnSpPr>
            <a:cxnSpLocks/>
          </p:cNvCxnSpPr>
          <p:nvPr/>
        </p:nvCxnSpPr>
        <p:spPr>
          <a:xfrm>
            <a:off x="9769121" y="3748519"/>
            <a:ext cx="0" cy="773415"/>
          </a:xfrm>
          <a:prstGeom prst="line">
            <a:avLst/>
          </a:prstGeom>
          <a:noFill/>
          <a:ln w="28575" cap="flat" cmpd="sng" algn="ctr">
            <a:solidFill>
              <a:srgbClr val="6800FF"/>
            </a:solidFill>
            <a:prstDash val="dash"/>
            <a:miter lim="800000"/>
          </a:ln>
          <a:effectLst/>
        </p:spPr>
        <p:style>
          <a:lnRef idx="1">
            <a:schemeClr val="accent1"/>
          </a:lnRef>
          <a:fillRef idx="0">
            <a:schemeClr val="accent1"/>
          </a:fillRef>
          <a:effectRef idx="0">
            <a:schemeClr val="accent1"/>
          </a:effectRef>
          <a:fontRef idx="minor">
            <a:schemeClr val="tx1"/>
          </a:fontRef>
        </p:style>
      </p:cxnSp>
      <p:cxnSp>
        <p:nvCxnSpPr>
          <p:cNvPr id="163" name="Conector Reto 73">
            <a:extLst>
              <a:ext uri="{FF2B5EF4-FFF2-40B4-BE49-F238E27FC236}">
                <a16:creationId xmlns:a16="http://schemas.microsoft.com/office/drawing/2014/main" id="{7B39B047-8125-7553-3B6E-2BAA31280B15}"/>
              </a:ext>
            </a:extLst>
          </p:cNvPr>
          <p:cNvCxnSpPr>
            <a:cxnSpLocks/>
          </p:cNvCxnSpPr>
          <p:nvPr/>
        </p:nvCxnSpPr>
        <p:spPr>
          <a:xfrm>
            <a:off x="10634620" y="3650979"/>
            <a:ext cx="0" cy="1118818"/>
          </a:xfrm>
          <a:prstGeom prst="line">
            <a:avLst/>
          </a:prstGeom>
          <a:noFill/>
          <a:ln w="28575" cap="flat" cmpd="sng" algn="ctr">
            <a:solidFill>
              <a:srgbClr val="6800FF"/>
            </a:solidFill>
            <a:prstDash val="dash"/>
            <a:miter lim="800000"/>
          </a:ln>
          <a:effectLst/>
        </p:spPr>
        <p:style>
          <a:lnRef idx="1">
            <a:schemeClr val="accent1"/>
          </a:lnRef>
          <a:fillRef idx="0">
            <a:schemeClr val="accent1"/>
          </a:fillRef>
          <a:effectRef idx="0">
            <a:schemeClr val="accent1"/>
          </a:effectRef>
          <a:fontRef idx="minor">
            <a:schemeClr val="tx1"/>
          </a:fontRef>
        </p:style>
      </p:cxnSp>
      <p:pic>
        <p:nvPicPr>
          <p:cNvPr id="164" name="Gráfico 88" descr="Aviso com preenchimento sólido">
            <a:extLst>
              <a:ext uri="{FF2B5EF4-FFF2-40B4-BE49-F238E27FC236}">
                <a16:creationId xmlns:a16="http://schemas.microsoft.com/office/drawing/2014/main" id="{AF2FEF90-A9C7-85C4-AA02-211065E3639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469315" y="3470462"/>
            <a:ext cx="330611" cy="388853"/>
          </a:xfrm>
          <a:prstGeom prst="rect">
            <a:avLst/>
          </a:prstGeom>
        </p:spPr>
      </p:pic>
      <p:pic>
        <p:nvPicPr>
          <p:cNvPr id="165" name="Gráfico 61" descr="Aviso com preenchimento sólido">
            <a:extLst>
              <a:ext uri="{FF2B5EF4-FFF2-40B4-BE49-F238E27FC236}">
                <a16:creationId xmlns:a16="http://schemas.microsoft.com/office/drawing/2014/main" id="{96A34293-1DE8-BA0B-63F0-29A5338A9D3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5822983" y="2595522"/>
            <a:ext cx="330611" cy="388853"/>
          </a:xfrm>
          <a:prstGeom prst="rect">
            <a:avLst/>
          </a:prstGeom>
        </p:spPr>
      </p:pic>
      <p:cxnSp>
        <p:nvCxnSpPr>
          <p:cNvPr id="166" name="Conector Reto 68">
            <a:extLst>
              <a:ext uri="{FF2B5EF4-FFF2-40B4-BE49-F238E27FC236}">
                <a16:creationId xmlns:a16="http://schemas.microsoft.com/office/drawing/2014/main" id="{F1411ED8-1BD4-EBFE-AC80-250D3228C9BE}"/>
              </a:ext>
            </a:extLst>
          </p:cNvPr>
          <p:cNvCxnSpPr>
            <a:cxnSpLocks/>
          </p:cNvCxnSpPr>
          <p:nvPr/>
        </p:nvCxnSpPr>
        <p:spPr>
          <a:xfrm>
            <a:off x="15636547" y="5380827"/>
            <a:ext cx="703482" cy="0"/>
          </a:xfrm>
          <a:prstGeom prst="line">
            <a:avLst/>
          </a:prstGeom>
          <a:noFill/>
          <a:ln w="28575" cap="flat" cmpd="sng" algn="ctr">
            <a:solidFill>
              <a:srgbClr val="EF2974"/>
            </a:solidFill>
            <a:prstDash val="dash"/>
            <a:miter lim="800000"/>
          </a:ln>
          <a:effectLst/>
        </p:spPr>
        <p:style>
          <a:lnRef idx="1">
            <a:schemeClr val="accent1"/>
          </a:lnRef>
          <a:fillRef idx="0">
            <a:schemeClr val="accent1"/>
          </a:fillRef>
          <a:effectRef idx="0">
            <a:schemeClr val="accent1"/>
          </a:effectRef>
          <a:fontRef idx="minor">
            <a:schemeClr val="tx1"/>
          </a:fontRef>
        </p:style>
      </p:cxnSp>
      <p:cxnSp>
        <p:nvCxnSpPr>
          <p:cNvPr id="167" name="Conector Reto 74">
            <a:extLst>
              <a:ext uri="{FF2B5EF4-FFF2-40B4-BE49-F238E27FC236}">
                <a16:creationId xmlns:a16="http://schemas.microsoft.com/office/drawing/2014/main" id="{6232C0F4-B591-19C7-BA65-0CE2E87A540D}"/>
              </a:ext>
            </a:extLst>
          </p:cNvPr>
          <p:cNvCxnSpPr>
            <a:cxnSpLocks/>
          </p:cNvCxnSpPr>
          <p:nvPr/>
        </p:nvCxnSpPr>
        <p:spPr>
          <a:xfrm flipH="1">
            <a:off x="15659201" y="4477943"/>
            <a:ext cx="658174" cy="0"/>
          </a:xfrm>
          <a:prstGeom prst="line">
            <a:avLst/>
          </a:prstGeom>
          <a:noFill/>
          <a:ln w="28575" cap="flat" cmpd="sng" algn="ctr">
            <a:solidFill>
              <a:srgbClr val="6800FF"/>
            </a:solidFill>
            <a:prstDash val="dash"/>
            <a:miter lim="800000"/>
          </a:ln>
          <a:effectLst/>
        </p:spPr>
        <p:style>
          <a:lnRef idx="1">
            <a:schemeClr val="accent1"/>
          </a:lnRef>
          <a:fillRef idx="0">
            <a:schemeClr val="accent1"/>
          </a:fillRef>
          <a:effectRef idx="0">
            <a:schemeClr val="accent1"/>
          </a:effectRef>
          <a:fontRef idx="minor">
            <a:schemeClr val="tx1"/>
          </a:fontRef>
        </p:style>
      </p:cxnSp>
      <p:cxnSp>
        <p:nvCxnSpPr>
          <p:cNvPr id="168" name="Conector Reto 79">
            <a:extLst>
              <a:ext uri="{FF2B5EF4-FFF2-40B4-BE49-F238E27FC236}">
                <a16:creationId xmlns:a16="http://schemas.microsoft.com/office/drawing/2014/main" id="{6C6B4B35-9BCD-C7C0-C977-83002C6F47A5}"/>
              </a:ext>
            </a:extLst>
          </p:cNvPr>
          <p:cNvCxnSpPr>
            <a:cxnSpLocks/>
          </p:cNvCxnSpPr>
          <p:nvPr/>
        </p:nvCxnSpPr>
        <p:spPr>
          <a:xfrm flipH="1">
            <a:off x="15659201" y="6130764"/>
            <a:ext cx="658174" cy="0"/>
          </a:xfrm>
          <a:prstGeom prst="line">
            <a:avLst/>
          </a:prstGeom>
          <a:noFill/>
          <a:ln w="28575" cap="flat" cmpd="sng" algn="ctr">
            <a:solidFill>
              <a:srgbClr val="6800FF"/>
            </a:solidFill>
            <a:prstDash val="solid"/>
            <a:miter lim="800000"/>
          </a:ln>
          <a:effectLst/>
        </p:spPr>
        <p:style>
          <a:lnRef idx="1">
            <a:schemeClr val="accent1"/>
          </a:lnRef>
          <a:fillRef idx="0">
            <a:schemeClr val="accent1"/>
          </a:fillRef>
          <a:effectRef idx="0">
            <a:schemeClr val="accent1"/>
          </a:effectRef>
          <a:fontRef idx="minor">
            <a:schemeClr val="tx1"/>
          </a:fontRef>
        </p:style>
      </p:cxnSp>
      <p:sp>
        <p:nvSpPr>
          <p:cNvPr id="169" name="Freeform 41">
            <a:extLst>
              <a:ext uri="{FF2B5EF4-FFF2-40B4-BE49-F238E27FC236}">
                <a16:creationId xmlns:a16="http://schemas.microsoft.com/office/drawing/2014/main" id="{FBC58E8B-55B5-A494-293C-EDE86B67C6B9}"/>
              </a:ext>
            </a:extLst>
          </p:cNvPr>
          <p:cNvSpPr/>
          <p:nvPr/>
        </p:nvSpPr>
        <p:spPr>
          <a:xfrm>
            <a:off x="15772288" y="3366012"/>
            <a:ext cx="432000" cy="4320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BD8FFF"/>
          </a:solidFill>
        </p:spPr>
        <p:txBody>
          <a:bodyP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pPr algn="ctr"/>
            <a:endParaRPr lang="en-US" noProof="0"/>
          </a:p>
        </p:txBody>
      </p:sp>
      <p:sp>
        <p:nvSpPr>
          <p:cNvPr id="170" name="TextBox 46">
            <a:extLst>
              <a:ext uri="{FF2B5EF4-FFF2-40B4-BE49-F238E27FC236}">
                <a16:creationId xmlns:a16="http://schemas.microsoft.com/office/drawing/2014/main" id="{809B0A94-4EE0-F8AA-E3FE-2AA5C932DB26}"/>
              </a:ext>
            </a:extLst>
          </p:cNvPr>
          <p:cNvSpPr txBox="1"/>
          <p:nvPr/>
        </p:nvSpPr>
        <p:spPr>
          <a:xfrm>
            <a:off x="15616573" y="2976212"/>
            <a:ext cx="743431" cy="246221"/>
          </a:xfrm>
          <a:prstGeom prst="rect">
            <a:avLst/>
          </a:prstGeom>
          <a:noFill/>
        </p:spPr>
        <p:txBody>
          <a:bodyPr wrap="square">
            <a:spAutoFit/>
          </a:bodyP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pPr algn="ctr"/>
            <a:r>
              <a:rPr lang="en-US" sz="1000" noProof="0">
                <a:solidFill>
                  <a:srgbClr val="0D0D0D"/>
                </a:solidFill>
                <a:latin typeface="Montserrat" panose="00000500000000000000" pitchFamily="2" charset="0"/>
              </a:rPr>
              <a:t>Alerts</a:t>
            </a:r>
          </a:p>
        </p:txBody>
      </p:sp>
      <p:sp>
        <p:nvSpPr>
          <p:cNvPr id="171" name="TextBox 46">
            <a:extLst>
              <a:ext uri="{FF2B5EF4-FFF2-40B4-BE49-F238E27FC236}">
                <a16:creationId xmlns:a16="http://schemas.microsoft.com/office/drawing/2014/main" id="{BBC49715-71D4-9942-64A3-D370704D232A}"/>
              </a:ext>
            </a:extLst>
          </p:cNvPr>
          <p:cNvSpPr txBox="1"/>
          <p:nvPr/>
        </p:nvSpPr>
        <p:spPr>
          <a:xfrm>
            <a:off x="15115500" y="5432114"/>
            <a:ext cx="1745576" cy="246221"/>
          </a:xfrm>
          <a:prstGeom prst="rect">
            <a:avLst/>
          </a:prstGeom>
          <a:noFill/>
        </p:spPr>
        <p:txBody>
          <a:bodyPr wrap="square">
            <a:spAutoFit/>
          </a:bodyP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pPr algn="ctr"/>
            <a:r>
              <a:rPr lang="en-US" sz="1000" noProof="0">
                <a:solidFill>
                  <a:srgbClr val="0D0D0D"/>
                </a:solidFill>
                <a:latin typeface="Montserrat" panose="00000500000000000000" pitchFamily="2" charset="0"/>
              </a:rPr>
              <a:t>Shortest path</a:t>
            </a:r>
          </a:p>
        </p:txBody>
      </p:sp>
      <p:sp>
        <p:nvSpPr>
          <p:cNvPr id="172" name="TextBox 46">
            <a:extLst>
              <a:ext uri="{FF2B5EF4-FFF2-40B4-BE49-F238E27FC236}">
                <a16:creationId xmlns:a16="http://schemas.microsoft.com/office/drawing/2014/main" id="{9019DBFC-DD00-3E4C-E1ED-4E34F7557F83}"/>
              </a:ext>
            </a:extLst>
          </p:cNvPr>
          <p:cNvSpPr txBox="1"/>
          <p:nvPr/>
        </p:nvSpPr>
        <p:spPr>
          <a:xfrm>
            <a:off x="15115500" y="4605013"/>
            <a:ext cx="1745576" cy="246221"/>
          </a:xfrm>
          <a:prstGeom prst="rect">
            <a:avLst/>
          </a:prstGeom>
          <a:noFill/>
        </p:spPr>
        <p:txBody>
          <a:bodyPr wrap="square">
            <a:spAutoFit/>
          </a:bodyP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pPr algn="ctr"/>
            <a:r>
              <a:rPr lang="en-US" sz="1000" noProof="0">
                <a:solidFill>
                  <a:srgbClr val="0D0D0D"/>
                </a:solidFill>
                <a:latin typeface="Montserrat" panose="00000500000000000000" pitchFamily="2" charset="0"/>
              </a:rPr>
              <a:t>Alternative paths</a:t>
            </a:r>
          </a:p>
        </p:txBody>
      </p:sp>
      <p:sp>
        <p:nvSpPr>
          <p:cNvPr id="173" name="TextBox 46">
            <a:extLst>
              <a:ext uri="{FF2B5EF4-FFF2-40B4-BE49-F238E27FC236}">
                <a16:creationId xmlns:a16="http://schemas.microsoft.com/office/drawing/2014/main" id="{E84D6E8D-7052-AF04-35DA-AF0E784E3B2A}"/>
              </a:ext>
            </a:extLst>
          </p:cNvPr>
          <p:cNvSpPr txBox="1"/>
          <p:nvPr/>
        </p:nvSpPr>
        <p:spPr>
          <a:xfrm>
            <a:off x="15115500" y="6233814"/>
            <a:ext cx="1745576" cy="246221"/>
          </a:xfrm>
          <a:prstGeom prst="rect">
            <a:avLst/>
          </a:prstGeom>
          <a:noFill/>
        </p:spPr>
        <p:txBody>
          <a:bodyPr wrap="square">
            <a:spAutoFit/>
          </a:bodyP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pPr algn="ctr"/>
            <a:r>
              <a:rPr lang="en-US" sz="1000" noProof="0">
                <a:solidFill>
                  <a:srgbClr val="0D0D0D"/>
                </a:solidFill>
                <a:latin typeface="Montserrat" panose="00000500000000000000" pitchFamily="2" charset="0"/>
              </a:rPr>
              <a:t>The best path</a:t>
            </a:r>
          </a:p>
        </p:txBody>
      </p:sp>
      <p:sp>
        <p:nvSpPr>
          <p:cNvPr id="174" name="TextBox 46">
            <a:extLst>
              <a:ext uri="{FF2B5EF4-FFF2-40B4-BE49-F238E27FC236}">
                <a16:creationId xmlns:a16="http://schemas.microsoft.com/office/drawing/2014/main" id="{DBBBF56F-195A-172A-0E09-20A4155AB540}"/>
              </a:ext>
            </a:extLst>
          </p:cNvPr>
          <p:cNvSpPr txBox="1"/>
          <p:nvPr/>
        </p:nvSpPr>
        <p:spPr>
          <a:xfrm>
            <a:off x="15414177" y="3790612"/>
            <a:ext cx="1148223" cy="246221"/>
          </a:xfrm>
          <a:prstGeom prst="rect">
            <a:avLst/>
          </a:prstGeom>
          <a:noFill/>
        </p:spPr>
        <p:txBody>
          <a:bodyPr wrap="square">
            <a:spAutoFit/>
          </a:bodyP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pPr algn="ctr"/>
            <a:r>
              <a:rPr lang="en-US" sz="1000" noProof="0">
                <a:solidFill>
                  <a:srgbClr val="0D0D0D"/>
                </a:solidFill>
                <a:latin typeface="Montserrat" panose="00000500000000000000" pitchFamily="2" charset="0"/>
              </a:rPr>
              <a:t>Achievements</a:t>
            </a:r>
          </a:p>
        </p:txBody>
      </p:sp>
      <p:cxnSp>
        <p:nvCxnSpPr>
          <p:cNvPr id="175" name="Conector Reto 93">
            <a:extLst>
              <a:ext uri="{FF2B5EF4-FFF2-40B4-BE49-F238E27FC236}">
                <a16:creationId xmlns:a16="http://schemas.microsoft.com/office/drawing/2014/main" id="{25594579-5F36-8517-FE60-BFE9FE1D1D1F}"/>
              </a:ext>
            </a:extLst>
          </p:cNvPr>
          <p:cNvCxnSpPr>
            <a:cxnSpLocks/>
          </p:cNvCxnSpPr>
          <p:nvPr/>
        </p:nvCxnSpPr>
        <p:spPr>
          <a:xfrm flipV="1">
            <a:off x="15394288" y="3295596"/>
            <a:ext cx="1188000" cy="391"/>
          </a:xfrm>
          <a:prstGeom prst="line">
            <a:avLst/>
          </a:prstGeom>
          <a:noFill/>
          <a:ln w="6350" cap="flat" cmpd="sng" algn="ctr">
            <a:solidFill>
              <a:sysClr val="window" lastClr="FFFFFF">
                <a:lumMod val="65000"/>
              </a:sysClr>
            </a:solidFill>
            <a:prstDash val="solid"/>
            <a:miter lim="800000"/>
          </a:ln>
          <a:effectLst/>
        </p:spPr>
        <p:style>
          <a:lnRef idx="1">
            <a:schemeClr val="accent1"/>
          </a:lnRef>
          <a:fillRef idx="0">
            <a:schemeClr val="accent1"/>
          </a:fillRef>
          <a:effectRef idx="0">
            <a:schemeClr val="accent1"/>
          </a:effectRef>
          <a:fontRef idx="minor">
            <a:schemeClr val="tx1"/>
          </a:fontRef>
        </p:style>
      </p:cxnSp>
      <p:cxnSp>
        <p:nvCxnSpPr>
          <p:cNvPr id="176" name="Conector Reto 95">
            <a:extLst>
              <a:ext uri="{FF2B5EF4-FFF2-40B4-BE49-F238E27FC236}">
                <a16:creationId xmlns:a16="http://schemas.microsoft.com/office/drawing/2014/main" id="{FE889C55-1C58-5218-315E-D5180885EEE8}"/>
              </a:ext>
            </a:extLst>
          </p:cNvPr>
          <p:cNvCxnSpPr>
            <a:cxnSpLocks/>
          </p:cNvCxnSpPr>
          <p:nvPr/>
        </p:nvCxnSpPr>
        <p:spPr>
          <a:xfrm flipV="1">
            <a:off x="15394288" y="4149864"/>
            <a:ext cx="1188000" cy="391"/>
          </a:xfrm>
          <a:prstGeom prst="line">
            <a:avLst/>
          </a:prstGeom>
          <a:noFill/>
          <a:ln w="6350" cap="flat" cmpd="sng" algn="ctr">
            <a:solidFill>
              <a:sysClr val="window" lastClr="FFFFFF">
                <a:lumMod val="65000"/>
              </a:sysClr>
            </a:solidFill>
            <a:prstDash val="solid"/>
            <a:miter lim="800000"/>
          </a:ln>
          <a:effectLst/>
        </p:spPr>
        <p:style>
          <a:lnRef idx="1">
            <a:schemeClr val="accent1"/>
          </a:lnRef>
          <a:fillRef idx="0">
            <a:schemeClr val="accent1"/>
          </a:fillRef>
          <a:effectRef idx="0">
            <a:schemeClr val="accent1"/>
          </a:effectRef>
          <a:fontRef idx="minor">
            <a:schemeClr val="tx1"/>
          </a:fontRef>
        </p:style>
      </p:cxnSp>
      <p:cxnSp>
        <p:nvCxnSpPr>
          <p:cNvPr id="177" name="Conector Reto 96">
            <a:extLst>
              <a:ext uri="{FF2B5EF4-FFF2-40B4-BE49-F238E27FC236}">
                <a16:creationId xmlns:a16="http://schemas.microsoft.com/office/drawing/2014/main" id="{8DB47814-47C1-5A96-6D1B-E92DD3AA85A0}"/>
              </a:ext>
            </a:extLst>
          </p:cNvPr>
          <p:cNvCxnSpPr>
            <a:cxnSpLocks/>
          </p:cNvCxnSpPr>
          <p:nvPr/>
        </p:nvCxnSpPr>
        <p:spPr>
          <a:xfrm flipV="1">
            <a:off x="15394288" y="5004132"/>
            <a:ext cx="1188000" cy="391"/>
          </a:xfrm>
          <a:prstGeom prst="line">
            <a:avLst/>
          </a:prstGeom>
          <a:noFill/>
          <a:ln w="6350" cap="flat" cmpd="sng" algn="ctr">
            <a:solidFill>
              <a:sysClr val="window" lastClr="FFFFFF">
                <a:lumMod val="65000"/>
              </a:sysClr>
            </a:solidFill>
            <a:prstDash val="solid"/>
            <a:miter lim="800000"/>
          </a:ln>
          <a:effectLst/>
        </p:spPr>
        <p:style>
          <a:lnRef idx="1">
            <a:schemeClr val="accent1"/>
          </a:lnRef>
          <a:fillRef idx="0">
            <a:schemeClr val="accent1"/>
          </a:fillRef>
          <a:effectRef idx="0">
            <a:schemeClr val="accent1"/>
          </a:effectRef>
          <a:fontRef idx="minor">
            <a:schemeClr val="tx1"/>
          </a:fontRef>
        </p:style>
      </p:cxnSp>
      <p:cxnSp>
        <p:nvCxnSpPr>
          <p:cNvPr id="178" name="Conector Reto 97">
            <a:extLst>
              <a:ext uri="{FF2B5EF4-FFF2-40B4-BE49-F238E27FC236}">
                <a16:creationId xmlns:a16="http://schemas.microsoft.com/office/drawing/2014/main" id="{9E9CFD5C-83E2-CFB9-52E8-A5FE851685B2}"/>
              </a:ext>
            </a:extLst>
          </p:cNvPr>
          <p:cNvCxnSpPr>
            <a:cxnSpLocks/>
          </p:cNvCxnSpPr>
          <p:nvPr/>
        </p:nvCxnSpPr>
        <p:spPr>
          <a:xfrm flipV="1">
            <a:off x="15394288" y="5858399"/>
            <a:ext cx="1188000" cy="391"/>
          </a:xfrm>
          <a:prstGeom prst="line">
            <a:avLst/>
          </a:prstGeom>
          <a:noFill/>
          <a:ln w="6350" cap="flat" cmpd="sng" algn="ctr">
            <a:solidFill>
              <a:sysClr val="window" lastClr="FFFFFF">
                <a:lumMod val="65000"/>
              </a:sysClr>
            </a:solidFill>
            <a:prstDash val="solid"/>
            <a:miter lim="800000"/>
          </a:ln>
          <a:effectLst/>
        </p:spPr>
        <p:style>
          <a:lnRef idx="1">
            <a:schemeClr val="accent1"/>
          </a:lnRef>
          <a:fillRef idx="0">
            <a:schemeClr val="accent1"/>
          </a:fillRef>
          <a:effectRef idx="0">
            <a:schemeClr val="accent1"/>
          </a:effectRef>
          <a:fontRef idx="minor">
            <a:schemeClr val="tx1"/>
          </a:fontRef>
        </p:style>
      </p:cxnSp>
      <p:sp>
        <p:nvSpPr>
          <p:cNvPr id="179" name="TextBox 38">
            <a:extLst>
              <a:ext uri="{FF2B5EF4-FFF2-40B4-BE49-F238E27FC236}">
                <a16:creationId xmlns:a16="http://schemas.microsoft.com/office/drawing/2014/main" id="{014BE578-4359-F054-764B-8007AAC2DD4C}"/>
              </a:ext>
            </a:extLst>
          </p:cNvPr>
          <p:cNvSpPr txBox="1"/>
          <p:nvPr/>
        </p:nvSpPr>
        <p:spPr>
          <a:xfrm>
            <a:off x="15532943" y="2303870"/>
            <a:ext cx="910690" cy="153888"/>
          </a:xfrm>
          <a:prstGeom prst="rect">
            <a:avLst/>
          </a:prstGeom>
        </p:spPr>
        <p:txBody>
          <a:bodyPr wrap="square" lIns="0" tIns="0" rIns="0" bIns="0" rtlCol="0" anchor="t">
            <a:spAutoFit/>
          </a:bodyPr>
          <a:lstStyle>
            <a:defPPr>
              <a:defRPr lang="es-CO"/>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pPr algn="ctr">
              <a:lnSpc>
                <a:spcPts val="1199"/>
              </a:lnSpc>
            </a:pPr>
            <a:r>
              <a:rPr lang="en-US" sz="1050" b="1" noProof="0">
                <a:latin typeface="Montserrat" pitchFamily="2" charset="77"/>
              </a:rPr>
              <a:t>Subtitle</a:t>
            </a:r>
          </a:p>
        </p:txBody>
      </p:sp>
      <p:sp>
        <p:nvSpPr>
          <p:cNvPr id="196" name="Text Placeholder 3">
            <a:extLst>
              <a:ext uri="{FF2B5EF4-FFF2-40B4-BE49-F238E27FC236}">
                <a16:creationId xmlns:a16="http://schemas.microsoft.com/office/drawing/2014/main" id="{5F9EE86D-B76C-A246-0274-362F2942A7A6}"/>
              </a:ext>
            </a:extLst>
          </p:cNvPr>
          <p:cNvSpPr txBox="1">
            <a:spLocks/>
          </p:cNvSpPr>
          <p:nvPr/>
        </p:nvSpPr>
        <p:spPr>
          <a:xfrm>
            <a:off x="3286234" y="7749759"/>
            <a:ext cx="10876656" cy="1246496"/>
          </a:xfrm>
          <a:prstGeom prst="rect">
            <a:avLst/>
          </a:prstGeom>
          <a:solidFill>
            <a:schemeClr val="accent2"/>
          </a:solidFill>
          <a:ln w="9525">
            <a:noFill/>
            <a:miter lim="800000"/>
            <a:headEnd/>
            <a:tailEnd/>
          </a:ln>
          <a:effectLst>
            <a:outerShdw blurRad="50800" dist="38100" dir="2700000" algn="tl" rotWithShape="0">
              <a:prstClr val="black">
                <a:alpha val="40000"/>
              </a:prstClr>
            </a:outerShdw>
          </a:effectLst>
        </p:spPr>
        <p:txBody>
          <a:bodyPr vert="horz" wrap="square" lIns="180000" tIns="0" rIns="180000" bIns="36000" numCol="1" rtlCol="0" anchor="ctr" anchorCtr="0" compatLnSpc="1">
            <a:prstTxWarp prst="textNoShape">
              <a:avLst/>
            </a:prstTxWarp>
            <a:normAutofit/>
          </a:bodyPr>
          <a:lstStyle>
            <a:defPPr>
              <a:defRPr lang="es-ES"/>
            </a:defPPr>
            <a:lvl1pPr algn="ctr" defTabSz="711200">
              <a:lnSpc>
                <a:spcPct val="90000"/>
              </a:lnSpc>
              <a:spcBef>
                <a:spcPct val="0"/>
              </a:spcBef>
              <a:spcAft>
                <a:spcPct val="35000"/>
              </a:spcAft>
              <a:defRPr sz="1400" b="1" i="1">
                <a:solidFill>
                  <a:srgbClr val="171531"/>
                </a:solidFill>
                <a:latin typeface="Arial Nova" panose="020B0504020202020204" pitchFamily="34" charset="0"/>
                <a:ea typeface="Tahoma" panose="020B0604030504040204" pitchFamily="34" charset="0"/>
                <a:cs typeface="Tahom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b="0" noProof="0">
                <a:solidFill>
                  <a:srgbClr val="6800FF"/>
                </a:solidFill>
                <a:latin typeface="Montserrat" panose="00000500000000000000" pitchFamily="2" charset="0"/>
              </a:rPr>
              <a:t>“The most impactful journeys don't follow a straight line… they carve their own path, weaving through challenges to reach extraordinary destinations." </a:t>
            </a:r>
          </a:p>
          <a:p>
            <a:pPr algn="r"/>
            <a:r>
              <a:rPr lang="en-US" sz="1600" b="0" noProof="0">
                <a:solidFill>
                  <a:schemeClr val="bg1"/>
                </a:solidFill>
                <a:latin typeface="Montserrat" panose="00000500000000000000" pitchFamily="2" charset="0"/>
              </a:rPr>
              <a:t>Nuno Oliveira, Qintess VP &amp; Global CTO</a:t>
            </a:r>
            <a:r>
              <a:rPr lang="en-US" sz="2000" b="0" noProof="0">
                <a:solidFill>
                  <a:srgbClr val="6800FF"/>
                </a:solidFill>
                <a:latin typeface="Montserrat" panose="00000500000000000000" pitchFamily="2" charset="0"/>
              </a:rPr>
              <a:t>​</a:t>
            </a:r>
            <a:endParaRPr lang="en-US" sz="1800" b="0" noProof="0">
              <a:solidFill>
                <a:srgbClr val="6800FF"/>
              </a:solidFill>
              <a:latin typeface="Montserrat" panose="00000500000000000000" pitchFamily="2" charset="0"/>
            </a:endParaRPr>
          </a:p>
        </p:txBody>
      </p:sp>
      <p:grpSp>
        <p:nvGrpSpPr>
          <p:cNvPr id="6" name="Group 7">
            <a:extLst>
              <a:ext uri="{FF2B5EF4-FFF2-40B4-BE49-F238E27FC236}">
                <a16:creationId xmlns:a16="http://schemas.microsoft.com/office/drawing/2014/main" id="{11B1A86B-BF8E-8D7C-BE1C-0E739C2A76E0}"/>
              </a:ext>
            </a:extLst>
          </p:cNvPr>
          <p:cNvGrpSpPr/>
          <p:nvPr/>
        </p:nvGrpSpPr>
        <p:grpSpPr>
          <a:xfrm>
            <a:off x="15401150" y="1201360"/>
            <a:ext cx="612363" cy="56823"/>
            <a:chOff x="0" y="0"/>
            <a:chExt cx="1078484" cy="100076"/>
          </a:xfrm>
        </p:grpSpPr>
        <p:sp>
          <p:nvSpPr>
            <p:cNvPr id="5" name="Freeform 8">
              <a:extLst>
                <a:ext uri="{FF2B5EF4-FFF2-40B4-BE49-F238E27FC236}">
                  <a16:creationId xmlns:a16="http://schemas.microsoft.com/office/drawing/2014/main" id="{8C58FFD6-A8DF-78D4-8C18-E123E6A7EEAF}"/>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spTree>
    <p:extLst>
      <p:ext uri="{BB962C8B-B14F-4D97-AF65-F5344CB8AC3E}">
        <p14:creationId xmlns:p14="http://schemas.microsoft.com/office/powerpoint/2010/main" val="8124740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AF7C07-CC9F-B445-6A82-D1B3E0BC07E7}"/>
              </a:ext>
            </a:extLst>
          </p:cNvPr>
          <p:cNvSpPr>
            <a:spLocks noGrp="1"/>
          </p:cNvSpPr>
          <p:nvPr>
            <p:ph type="title" idx="4294967295"/>
          </p:nvPr>
        </p:nvSpPr>
        <p:spPr>
          <a:xfrm>
            <a:off x="720477" y="666669"/>
            <a:ext cx="13568850" cy="1145400"/>
          </a:xfrm>
        </p:spPr>
        <p:txBody>
          <a:bodyPr/>
          <a:lstStyle/>
          <a:p>
            <a:r>
              <a:rPr lang="en-US" sz="4000" noProof="0">
                <a:solidFill>
                  <a:schemeClr val="bg1"/>
                </a:solidFill>
              </a:rPr>
              <a:t>…supported by an effective </a:t>
            </a:r>
            <a:r>
              <a:rPr lang="en-US" sz="4000" noProof="0">
                <a:solidFill>
                  <a:srgbClr val="7D43FF"/>
                </a:solidFill>
              </a:rPr>
              <a:t>Architecture</a:t>
            </a:r>
            <a:r>
              <a:rPr lang="en-US" sz="4000" noProof="0">
                <a:solidFill>
                  <a:schemeClr val="bg1"/>
                </a:solidFill>
              </a:rPr>
              <a:t> function</a:t>
            </a:r>
          </a:p>
        </p:txBody>
      </p:sp>
      <p:sp>
        <p:nvSpPr>
          <p:cNvPr id="21" name="Subtitle 3">
            <a:extLst>
              <a:ext uri="{FF2B5EF4-FFF2-40B4-BE49-F238E27FC236}">
                <a16:creationId xmlns:a16="http://schemas.microsoft.com/office/drawing/2014/main" id="{77CDF17C-B27A-15E5-2122-E6D3F1FA8F9F}"/>
              </a:ext>
            </a:extLst>
          </p:cNvPr>
          <p:cNvSpPr txBox="1">
            <a:spLocks/>
          </p:cNvSpPr>
          <p:nvPr/>
        </p:nvSpPr>
        <p:spPr>
          <a:xfrm>
            <a:off x="14296378" y="9767663"/>
            <a:ext cx="3698302" cy="385987"/>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L="457200" marR="0" lvl="0" indent="-304800" algn="r" rtl="0">
              <a:lnSpc>
                <a:spcPct val="100000"/>
              </a:lnSpc>
              <a:spcBef>
                <a:spcPts val="0"/>
              </a:spcBef>
              <a:spcAft>
                <a:spcPts val="0"/>
              </a:spcAft>
              <a:buClr>
                <a:srgbClr val="222222"/>
              </a:buClr>
              <a:buSzPts val="800"/>
              <a:buFont typeface="Montserrat Light"/>
              <a:buNone/>
              <a:defRPr sz="1600" b="0" i="0" u="none" strike="noStrike" cap="none">
                <a:solidFill>
                  <a:srgbClr val="222222"/>
                </a:solidFill>
                <a:latin typeface="Montserrat Light"/>
                <a:ea typeface="Montserrat Light"/>
                <a:cs typeface="Montserrat Light"/>
                <a:sym typeface="Montserrat Light"/>
              </a:defRPr>
            </a:lvl1pPr>
            <a:lvl2pPr marL="914400" marR="0" lvl="1" indent="-304800" algn="r" rtl="0">
              <a:lnSpc>
                <a:spcPct val="100000"/>
              </a:lnSpc>
              <a:spcBef>
                <a:spcPts val="0"/>
              </a:spcBef>
              <a:spcAft>
                <a:spcPts val="0"/>
              </a:spcAft>
              <a:buClr>
                <a:srgbClr val="222222"/>
              </a:buClr>
              <a:buSzPts val="800"/>
              <a:buFont typeface="Montserrat Light"/>
              <a:buNone/>
              <a:defRPr sz="1600" b="0" i="0" u="none" strike="noStrike" cap="none">
                <a:solidFill>
                  <a:srgbClr val="222222"/>
                </a:solidFill>
                <a:latin typeface="Montserrat Light"/>
                <a:ea typeface="Montserrat Light"/>
                <a:cs typeface="Montserrat Light"/>
                <a:sym typeface="Montserrat Light"/>
              </a:defRPr>
            </a:lvl2pPr>
            <a:lvl3pPr marL="1371600" marR="0" lvl="2" indent="-304800" algn="r" rtl="0">
              <a:lnSpc>
                <a:spcPct val="100000"/>
              </a:lnSpc>
              <a:spcBef>
                <a:spcPts val="0"/>
              </a:spcBef>
              <a:spcAft>
                <a:spcPts val="0"/>
              </a:spcAft>
              <a:buClr>
                <a:srgbClr val="222222"/>
              </a:buClr>
              <a:buSzPts val="800"/>
              <a:buFont typeface="Montserrat Light"/>
              <a:buNone/>
              <a:defRPr sz="1600" b="0" i="0" u="none" strike="noStrike" cap="none">
                <a:solidFill>
                  <a:srgbClr val="222222"/>
                </a:solidFill>
                <a:latin typeface="Montserrat Light"/>
                <a:ea typeface="Montserrat Light"/>
                <a:cs typeface="Montserrat Light"/>
                <a:sym typeface="Montserrat Light"/>
              </a:defRPr>
            </a:lvl3pPr>
            <a:lvl4pPr marL="1828800" marR="0" lvl="3" indent="-304800" algn="r" rtl="0">
              <a:lnSpc>
                <a:spcPct val="100000"/>
              </a:lnSpc>
              <a:spcBef>
                <a:spcPts val="0"/>
              </a:spcBef>
              <a:spcAft>
                <a:spcPts val="0"/>
              </a:spcAft>
              <a:buClr>
                <a:srgbClr val="222222"/>
              </a:buClr>
              <a:buSzPts val="800"/>
              <a:buFont typeface="Montserrat Light"/>
              <a:buNone/>
              <a:defRPr sz="1600" b="0" i="0" u="none" strike="noStrike" cap="none">
                <a:solidFill>
                  <a:srgbClr val="222222"/>
                </a:solidFill>
                <a:latin typeface="Montserrat Light"/>
                <a:ea typeface="Montserrat Light"/>
                <a:cs typeface="Montserrat Light"/>
                <a:sym typeface="Montserrat Light"/>
              </a:defRPr>
            </a:lvl4pPr>
            <a:lvl5pPr marL="2286000" marR="0" lvl="4" indent="-304800" algn="r" rtl="0">
              <a:lnSpc>
                <a:spcPct val="100000"/>
              </a:lnSpc>
              <a:spcBef>
                <a:spcPts val="0"/>
              </a:spcBef>
              <a:spcAft>
                <a:spcPts val="0"/>
              </a:spcAft>
              <a:buClr>
                <a:srgbClr val="222222"/>
              </a:buClr>
              <a:buSzPts val="800"/>
              <a:buFont typeface="Montserrat Light"/>
              <a:buNone/>
              <a:defRPr sz="1600" b="0" i="0" u="none" strike="noStrike" cap="none">
                <a:solidFill>
                  <a:srgbClr val="222222"/>
                </a:solidFill>
                <a:latin typeface="Montserrat Light"/>
                <a:ea typeface="Montserrat Light"/>
                <a:cs typeface="Montserrat Light"/>
                <a:sym typeface="Montserrat Light"/>
              </a:defRPr>
            </a:lvl5pPr>
            <a:lvl6pPr marL="2743200" marR="0" lvl="5" indent="-304800" algn="r" rtl="0">
              <a:lnSpc>
                <a:spcPct val="100000"/>
              </a:lnSpc>
              <a:spcBef>
                <a:spcPts val="0"/>
              </a:spcBef>
              <a:spcAft>
                <a:spcPts val="0"/>
              </a:spcAft>
              <a:buClr>
                <a:srgbClr val="222222"/>
              </a:buClr>
              <a:buSzPts val="800"/>
              <a:buFont typeface="Montserrat Light"/>
              <a:buNone/>
              <a:defRPr sz="1600" b="0" i="0" u="none" strike="noStrike" cap="none">
                <a:solidFill>
                  <a:srgbClr val="222222"/>
                </a:solidFill>
                <a:latin typeface="Montserrat Light"/>
                <a:ea typeface="Montserrat Light"/>
                <a:cs typeface="Montserrat Light"/>
                <a:sym typeface="Montserrat Light"/>
              </a:defRPr>
            </a:lvl6pPr>
            <a:lvl7pPr marL="3200400" marR="0" lvl="6" indent="-304800" algn="r" rtl="0">
              <a:lnSpc>
                <a:spcPct val="100000"/>
              </a:lnSpc>
              <a:spcBef>
                <a:spcPts val="0"/>
              </a:spcBef>
              <a:spcAft>
                <a:spcPts val="0"/>
              </a:spcAft>
              <a:buClr>
                <a:srgbClr val="222222"/>
              </a:buClr>
              <a:buSzPts val="800"/>
              <a:buFont typeface="Montserrat Light"/>
              <a:buNone/>
              <a:defRPr sz="1600" b="0" i="0" u="none" strike="noStrike" cap="none">
                <a:solidFill>
                  <a:srgbClr val="222222"/>
                </a:solidFill>
                <a:latin typeface="Montserrat Light"/>
                <a:ea typeface="Montserrat Light"/>
                <a:cs typeface="Montserrat Light"/>
                <a:sym typeface="Montserrat Light"/>
              </a:defRPr>
            </a:lvl7pPr>
            <a:lvl8pPr marL="3657600" marR="0" lvl="7" indent="-304800" algn="r" rtl="0">
              <a:lnSpc>
                <a:spcPct val="100000"/>
              </a:lnSpc>
              <a:spcBef>
                <a:spcPts val="0"/>
              </a:spcBef>
              <a:spcAft>
                <a:spcPts val="0"/>
              </a:spcAft>
              <a:buClr>
                <a:srgbClr val="222222"/>
              </a:buClr>
              <a:buSzPts val="800"/>
              <a:buFont typeface="Montserrat Light"/>
              <a:buNone/>
              <a:defRPr sz="1600" b="0" i="0" u="none" strike="noStrike" cap="none">
                <a:solidFill>
                  <a:srgbClr val="222222"/>
                </a:solidFill>
                <a:latin typeface="Montserrat Light"/>
                <a:ea typeface="Montserrat Light"/>
                <a:cs typeface="Montserrat Light"/>
                <a:sym typeface="Montserrat Light"/>
              </a:defRPr>
            </a:lvl8pPr>
            <a:lvl9pPr marL="4114800" marR="0" lvl="8" indent="-304800" algn="r" rtl="0">
              <a:lnSpc>
                <a:spcPct val="100000"/>
              </a:lnSpc>
              <a:spcBef>
                <a:spcPts val="0"/>
              </a:spcBef>
              <a:spcAft>
                <a:spcPts val="0"/>
              </a:spcAft>
              <a:buClr>
                <a:srgbClr val="222222"/>
              </a:buClr>
              <a:buSzPts val="800"/>
              <a:buFont typeface="Montserrat Light"/>
              <a:buNone/>
              <a:defRPr sz="1600" b="0" i="0" u="none" strike="noStrike" cap="none">
                <a:solidFill>
                  <a:srgbClr val="222222"/>
                </a:solidFill>
                <a:latin typeface="Montserrat Light"/>
                <a:ea typeface="Montserrat Light"/>
                <a:cs typeface="Montserrat Light"/>
                <a:sym typeface="Montserrat Light"/>
              </a:defRPr>
            </a:lvl9pPr>
          </a:lstStyle>
          <a:p>
            <a:r>
              <a:rPr lang="en-US" sz="1000" b="1" noProof="0">
                <a:latin typeface="Montserrat Bold"/>
              </a:rPr>
              <a:t>ARCHITECTURE FUNCTION</a:t>
            </a:r>
            <a:endParaRPr lang="en-US" noProof="0"/>
          </a:p>
        </p:txBody>
      </p:sp>
      <p:grpSp>
        <p:nvGrpSpPr>
          <p:cNvPr id="51" name="Group 50">
            <a:extLst>
              <a:ext uri="{FF2B5EF4-FFF2-40B4-BE49-F238E27FC236}">
                <a16:creationId xmlns:a16="http://schemas.microsoft.com/office/drawing/2014/main" id="{C40FE9BB-717A-9832-7B6D-7EC3D7F91314}"/>
              </a:ext>
            </a:extLst>
          </p:cNvPr>
          <p:cNvGrpSpPr/>
          <p:nvPr/>
        </p:nvGrpSpPr>
        <p:grpSpPr>
          <a:xfrm>
            <a:off x="484298" y="3150335"/>
            <a:ext cx="4166046" cy="2227805"/>
            <a:chOff x="-3820372" y="2337955"/>
            <a:chExt cx="4166046" cy="2227805"/>
          </a:xfrm>
        </p:grpSpPr>
        <p:sp>
          <p:nvSpPr>
            <p:cNvPr id="4" name="Google Shape;861;p27">
              <a:extLst>
                <a:ext uri="{FF2B5EF4-FFF2-40B4-BE49-F238E27FC236}">
                  <a16:creationId xmlns:a16="http://schemas.microsoft.com/office/drawing/2014/main" id="{F264616C-6A31-7562-8925-7570F5250007}"/>
                </a:ext>
              </a:extLst>
            </p:cNvPr>
            <p:cNvSpPr/>
            <p:nvPr/>
          </p:nvSpPr>
          <p:spPr>
            <a:xfrm>
              <a:off x="-3818027" y="2504854"/>
              <a:ext cx="4163701" cy="2054375"/>
            </a:xfrm>
            <a:prstGeom prst="roundRect">
              <a:avLst>
                <a:gd name="adj" fmla="val 3070"/>
              </a:avLst>
            </a:prstGeom>
            <a:noFill/>
            <a:ln w="9525" cap="flat" cmpd="sng">
              <a:solidFill>
                <a:srgbClr val="6501FE"/>
              </a:solidFill>
              <a:prstDash val="solid"/>
              <a:round/>
              <a:headEnd type="none" w="sm" len="sm"/>
              <a:tailEnd type="none" w="sm" len="sm"/>
            </a:ln>
          </p:spPr>
          <p:txBody>
            <a:bodyPr spcFirstLastPara="1" wrap="square" lIns="182850" tIns="182850" rIns="182850" bIns="18285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lang="en-US" sz="5600" noProof="0"/>
            </a:p>
          </p:txBody>
        </p:sp>
        <p:sp>
          <p:nvSpPr>
            <p:cNvPr id="20" name="Google Shape;875;p27">
              <a:extLst>
                <a:ext uri="{FF2B5EF4-FFF2-40B4-BE49-F238E27FC236}">
                  <a16:creationId xmlns:a16="http://schemas.microsoft.com/office/drawing/2014/main" id="{F2A7C481-B18E-E5C3-F585-B1CB56C2A8CC}"/>
                </a:ext>
              </a:extLst>
            </p:cNvPr>
            <p:cNvSpPr txBox="1"/>
            <p:nvPr/>
          </p:nvSpPr>
          <p:spPr>
            <a:xfrm>
              <a:off x="-3820372" y="2680647"/>
              <a:ext cx="4158000" cy="1885113"/>
            </a:xfrm>
            <a:prstGeom prst="rect">
              <a:avLst/>
            </a:prstGeom>
            <a:noFill/>
            <a:ln>
              <a:noFill/>
            </a:ln>
          </p:spPr>
          <p:txBody>
            <a:bodyPr spcFirstLastPara="1" wrap="square" lIns="182850" tIns="182850" rIns="182850" bIns="18285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nSpc>
                  <a:spcPct val="115000"/>
                </a:lnSpc>
              </a:pPr>
              <a:r>
                <a:rPr lang="en-US" noProof="0">
                  <a:solidFill>
                    <a:srgbClr val="222222"/>
                  </a:solidFill>
                  <a:latin typeface="Montserrat Light"/>
                </a:rPr>
                <a:t>Establish and implement a strategy for communicating the value of Architecture to all stakeholders and gaining their sponsorship and involvement in Architecture activities within business and IT initiatives.</a:t>
              </a:r>
            </a:p>
            <a:p>
              <a:pPr>
                <a:lnSpc>
                  <a:spcPct val="114999"/>
                </a:lnSpc>
              </a:pPr>
              <a:endParaRPr lang="en-US" sz="1600" noProof="0">
                <a:solidFill>
                  <a:srgbClr val="222222"/>
                </a:solidFill>
                <a:latin typeface="Montserrat Light"/>
              </a:endParaRPr>
            </a:p>
          </p:txBody>
        </p:sp>
        <p:sp>
          <p:nvSpPr>
            <p:cNvPr id="22" name="TextBox 21">
              <a:extLst>
                <a:ext uri="{FF2B5EF4-FFF2-40B4-BE49-F238E27FC236}">
                  <a16:creationId xmlns:a16="http://schemas.microsoft.com/office/drawing/2014/main" id="{B6D08512-FC3D-9374-92F4-E5D809B46C47}"/>
                </a:ext>
              </a:extLst>
            </p:cNvPr>
            <p:cNvSpPr txBox="1"/>
            <p:nvPr/>
          </p:nvSpPr>
          <p:spPr>
            <a:xfrm>
              <a:off x="-3709555" y="2337955"/>
              <a:ext cx="2743200"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b="1" noProof="0">
                  <a:solidFill>
                    <a:srgbClr val="FFFFFF"/>
                  </a:solidFill>
                  <a:highlight>
                    <a:srgbClr val="6800FF"/>
                  </a:highlight>
                  <a:latin typeface="Montserrat Bold"/>
                </a:rPr>
                <a:t> </a:t>
              </a:r>
              <a:r>
                <a:rPr lang="en-US" b="1" noProof="0">
                  <a:solidFill>
                    <a:srgbClr val="FFFFFF"/>
                  </a:solidFill>
                  <a:highlight>
                    <a:srgbClr val="6800FF"/>
                  </a:highlight>
                  <a:latin typeface="Montserrat Bold"/>
                </a:rPr>
                <a:t>Communications  </a:t>
              </a:r>
              <a:endParaRPr lang="en-US" noProof="0">
                <a:solidFill>
                  <a:srgbClr val="FFFFFF"/>
                </a:solidFill>
                <a:highlight>
                  <a:srgbClr val="6800FF"/>
                </a:highlight>
              </a:endParaRPr>
            </a:p>
          </p:txBody>
        </p:sp>
      </p:grpSp>
      <p:grpSp>
        <p:nvGrpSpPr>
          <p:cNvPr id="49" name="Group 48">
            <a:extLst>
              <a:ext uri="{FF2B5EF4-FFF2-40B4-BE49-F238E27FC236}">
                <a16:creationId xmlns:a16="http://schemas.microsoft.com/office/drawing/2014/main" id="{DF219CD2-2F9A-AB2F-C815-43968E229B05}"/>
              </a:ext>
            </a:extLst>
          </p:cNvPr>
          <p:cNvGrpSpPr/>
          <p:nvPr/>
        </p:nvGrpSpPr>
        <p:grpSpPr>
          <a:xfrm>
            <a:off x="2419841" y="5732004"/>
            <a:ext cx="4166046" cy="2165460"/>
            <a:chOff x="616545" y="4852554"/>
            <a:chExt cx="4166046" cy="2165460"/>
          </a:xfrm>
        </p:grpSpPr>
        <p:sp>
          <p:nvSpPr>
            <p:cNvPr id="35" name="Google Shape;861;p27">
              <a:extLst>
                <a:ext uri="{FF2B5EF4-FFF2-40B4-BE49-F238E27FC236}">
                  <a16:creationId xmlns:a16="http://schemas.microsoft.com/office/drawing/2014/main" id="{A05C95CA-D43C-703B-2166-81ADC3F8061A}"/>
                </a:ext>
              </a:extLst>
            </p:cNvPr>
            <p:cNvSpPr/>
            <p:nvPr/>
          </p:nvSpPr>
          <p:spPr>
            <a:xfrm>
              <a:off x="618890" y="4957107"/>
              <a:ext cx="4163701" cy="2054375"/>
            </a:xfrm>
            <a:prstGeom prst="roundRect">
              <a:avLst>
                <a:gd name="adj" fmla="val 3070"/>
              </a:avLst>
            </a:prstGeom>
            <a:noFill/>
            <a:ln w="9525" cap="flat" cmpd="sng">
              <a:solidFill>
                <a:srgbClr val="6501FE"/>
              </a:solidFill>
              <a:prstDash val="solid"/>
              <a:round/>
              <a:headEnd type="none" w="sm" len="sm"/>
              <a:tailEnd type="none" w="sm" len="sm"/>
            </a:ln>
          </p:spPr>
          <p:txBody>
            <a:bodyPr spcFirstLastPara="1" wrap="square" lIns="182850" tIns="182850" rIns="182850" bIns="18285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lang="en-US" sz="5600" noProof="0"/>
            </a:p>
          </p:txBody>
        </p:sp>
        <p:sp>
          <p:nvSpPr>
            <p:cNvPr id="36" name="Google Shape;875;p27">
              <a:extLst>
                <a:ext uri="{FF2B5EF4-FFF2-40B4-BE49-F238E27FC236}">
                  <a16:creationId xmlns:a16="http://schemas.microsoft.com/office/drawing/2014/main" id="{2800577A-5143-0E2B-1864-CF308EF37019}"/>
                </a:ext>
              </a:extLst>
            </p:cNvPr>
            <p:cNvSpPr txBox="1"/>
            <p:nvPr/>
          </p:nvSpPr>
          <p:spPr>
            <a:xfrm>
              <a:off x="616545" y="5132901"/>
              <a:ext cx="4158000" cy="1885113"/>
            </a:xfrm>
            <a:prstGeom prst="rect">
              <a:avLst/>
            </a:prstGeom>
            <a:noFill/>
            <a:ln>
              <a:noFill/>
            </a:ln>
          </p:spPr>
          <p:txBody>
            <a:bodyPr spcFirstLastPara="1" wrap="square" lIns="182850" tIns="182850" rIns="182850" bIns="18285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noProof="0">
                  <a:solidFill>
                    <a:schemeClr val="bg1"/>
                  </a:solidFill>
                  <a:latin typeface="Montserrat"/>
                </a:rPr>
                <a:t>Contribute to successive releases of the Architecture based on </a:t>
              </a:r>
              <a:r>
                <a:rPr lang="en-US" b="1" noProof="0">
                  <a:solidFill>
                    <a:schemeClr val="bg1"/>
                  </a:solidFill>
                  <a:latin typeface="Montserrat"/>
                </a:rPr>
                <a:t>documentation or working sessions of the current state</a:t>
              </a:r>
              <a:r>
                <a:rPr lang="en-US" noProof="0">
                  <a:solidFill>
                    <a:schemeClr val="bg1"/>
                  </a:solidFill>
                  <a:latin typeface="Montserrat"/>
                </a:rPr>
                <a:t> (as-is) landscape. Content will evolve towards a complete Enterprise Architecture through aggregation of knowledge and information.</a:t>
              </a:r>
            </a:p>
            <a:p>
              <a:endParaRPr lang="en-US" noProof="0">
                <a:solidFill>
                  <a:schemeClr val="bg1"/>
                </a:solidFill>
                <a:latin typeface="Montserrat"/>
              </a:endParaRPr>
            </a:p>
            <a:p>
              <a:pPr>
                <a:lnSpc>
                  <a:spcPct val="114999"/>
                </a:lnSpc>
              </a:pPr>
              <a:endParaRPr lang="en-US" noProof="0">
                <a:solidFill>
                  <a:srgbClr val="222222"/>
                </a:solidFill>
                <a:latin typeface="Montserrat Light"/>
              </a:endParaRPr>
            </a:p>
            <a:p>
              <a:pPr>
                <a:lnSpc>
                  <a:spcPct val="114999"/>
                </a:lnSpc>
              </a:pPr>
              <a:endParaRPr lang="en-US" sz="1600" noProof="0">
                <a:solidFill>
                  <a:srgbClr val="222222"/>
                </a:solidFill>
                <a:latin typeface="Montserrat Light"/>
              </a:endParaRPr>
            </a:p>
          </p:txBody>
        </p:sp>
        <p:sp>
          <p:nvSpPr>
            <p:cNvPr id="37" name="TextBox 36">
              <a:extLst>
                <a:ext uri="{FF2B5EF4-FFF2-40B4-BE49-F238E27FC236}">
                  <a16:creationId xmlns:a16="http://schemas.microsoft.com/office/drawing/2014/main" id="{258E213A-E473-E380-3082-35550FAF1827}"/>
                </a:ext>
              </a:extLst>
            </p:cNvPr>
            <p:cNvSpPr txBox="1"/>
            <p:nvPr/>
          </p:nvSpPr>
          <p:spPr>
            <a:xfrm>
              <a:off x="727362" y="4852554"/>
              <a:ext cx="3377045"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noProof="0">
                  <a:solidFill>
                    <a:srgbClr val="FFFFFF"/>
                  </a:solidFill>
                  <a:highlight>
                    <a:srgbClr val="6800FF"/>
                  </a:highlight>
                  <a:latin typeface="Montserrat Bold"/>
                </a:rPr>
                <a:t>Architecture Content (As-Is)</a:t>
              </a:r>
              <a:endParaRPr lang="en-US" noProof="0"/>
            </a:p>
          </p:txBody>
        </p:sp>
      </p:grpSp>
      <p:grpSp>
        <p:nvGrpSpPr>
          <p:cNvPr id="52" name="Group 51">
            <a:extLst>
              <a:ext uri="{FF2B5EF4-FFF2-40B4-BE49-F238E27FC236}">
                <a16:creationId xmlns:a16="http://schemas.microsoft.com/office/drawing/2014/main" id="{3F5002DF-F91E-6849-149F-4C04CFA01EC8}"/>
              </a:ext>
            </a:extLst>
          </p:cNvPr>
          <p:cNvGrpSpPr/>
          <p:nvPr/>
        </p:nvGrpSpPr>
        <p:grpSpPr>
          <a:xfrm>
            <a:off x="4874930" y="3206068"/>
            <a:ext cx="4256789" cy="2175851"/>
            <a:chOff x="-3872326" y="4862945"/>
            <a:chExt cx="4256789" cy="2175851"/>
          </a:xfrm>
        </p:grpSpPr>
        <p:sp>
          <p:nvSpPr>
            <p:cNvPr id="23" name="Google Shape;861;p27">
              <a:extLst>
                <a:ext uri="{FF2B5EF4-FFF2-40B4-BE49-F238E27FC236}">
                  <a16:creationId xmlns:a16="http://schemas.microsoft.com/office/drawing/2014/main" id="{558E4494-A36F-CB84-4146-535F31121D8F}"/>
                </a:ext>
              </a:extLst>
            </p:cNvPr>
            <p:cNvSpPr/>
            <p:nvPr/>
          </p:nvSpPr>
          <p:spPr>
            <a:xfrm>
              <a:off x="-3869981" y="4977890"/>
              <a:ext cx="4163701" cy="2054375"/>
            </a:xfrm>
            <a:prstGeom prst="roundRect">
              <a:avLst>
                <a:gd name="adj" fmla="val 3070"/>
              </a:avLst>
            </a:prstGeom>
            <a:noFill/>
            <a:ln w="9525" cap="flat" cmpd="sng">
              <a:solidFill>
                <a:srgbClr val="6501FE"/>
              </a:solidFill>
              <a:prstDash val="solid"/>
              <a:round/>
              <a:headEnd type="none" w="sm" len="sm"/>
              <a:tailEnd type="none" w="sm" len="sm"/>
            </a:ln>
          </p:spPr>
          <p:txBody>
            <a:bodyPr spcFirstLastPara="1" wrap="square" lIns="182850" tIns="182850" rIns="182850" bIns="18285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lang="en-US" sz="5600" noProof="0"/>
            </a:p>
          </p:txBody>
        </p:sp>
        <p:sp>
          <p:nvSpPr>
            <p:cNvPr id="24" name="Google Shape;875;p27">
              <a:extLst>
                <a:ext uri="{FF2B5EF4-FFF2-40B4-BE49-F238E27FC236}">
                  <a16:creationId xmlns:a16="http://schemas.microsoft.com/office/drawing/2014/main" id="{32BA9226-BD51-9C3C-8D63-51129498DF31}"/>
                </a:ext>
              </a:extLst>
            </p:cNvPr>
            <p:cNvSpPr txBox="1"/>
            <p:nvPr/>
          </p:nvSpPr>
          <p:spPr>
            <a:xfrm>
              <a:off x="-3872326" y="5153683"/>
              <a:ext cx="4158000" cy="1885113"/>
            </a:xfrm>
            <a:prstGeom prst="rect">
              <a:avLst/>
            </a:prstGeom>
            <a:noFill/>
            <a:ln>
              <a:noFill/>
            </a:ln>
          </p:spPr>
          <p:txBody>
            <a:bodyPr spcFirstLastPara="1" wrap="square" lIns="182850" tIns="182850" rIns="182850" bIns="18285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noProof="0">
                  <a:solidFill>
                    <a:srgbClr val="222222"/>
                  </a:solidFill>
                  <a:latin typeface="Montserrat Light"/>
                </a:rPr>
                <a:t>Define and implement a</a:t>
              </a:r>
              <a:r>
                <a:rPr lang="en-US" b="1" noProof="0">
                  <a:solidFill>
                    <a:srgbClr val="222222"/>
                  </a:solidFill>
                  <a:latin typeface="Montserrat Light"/>
                </a:rPr>
                <a:t> governance model and change processes</a:t>
              </a:r>
              <a:r>
                <a:rPr lang="en-US" noProof="0">
                  <a:solidFill>
                    <a:srgbClr val="222222"/>
                  </a:solidFill>
                  <a:latin typeface="Montserrat Light"/>
                </a:rPr>
                <a:t> to ensure the validity and completeness of the architecture at all levels, including the set up and operation of a “Architecture Board” to drive convergence towards the Architecture.</a:t>
              </a:r>
            </a:p>
            <a:p>
              <a:pPr>
                <a:lnSpc>
                  <a:spcPct val="114999"/>
                </a:lnSpc>
              </a:pPr>
              <a:endParaRPr lang="en-US" noProof="0">
                <a:solidFill>
                  <a:srgbClr val="222222"/>
                </a:solidFill>
                <a:latin typeface="Montserrat Light"/>
              </a:endParaRPr>
            </a:p>
            <a:p>
              <a:pPr>
                <a:lnSpc>
                  <a:spcPct val="114999"/>
                </a:lnSpc>
              </a:pPr>
              <a:endParaRPr lang="en-US" noProof="0">
                <a:solidFill>
                  <a:srgbClr val="222222"/>
                </a:solidFill>
                <a:latin typeface="Montserrat Light"/>
              </a:endParaRPr>
            </a:p>
          </p:txBody>
        </p:sp>
        <p:sp>
          <p:nvSpPr>
            <p:cNvPr id="25" name="TextBox 24">
              <a:extLst>
                <a:ext uri="{FF2B5EF4-FFF2-40B4-BE49-F238E27FC236}">
                  <a16:creationId xmlns:a16="http://schemas.microsoft.com/office/drawing/2014/main" id="{2B75191F-D6DC-04E7-A294-CCD21F9BB0F7}"/>
                </a:ext>
              </a:extLst>
            </p:cNvPr>
            <p:cNvSpPr txBox="1"/>
            <p:nvPr/>
          </p:nvSpPr>
          <p:spPr>
            <a:xfrm>
              <a:off x="-3771900" y="4862945"/>
              <a:ext cx="4156363"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noProof="0">
                  <a:solidFill>
                    <a:srgbClr val="FFFFFF"/>
                  </a:solidFill>
                  <a:highlight>
                    <a:srgbClr val="6800FF"/>
                  </a:highlight>
                  <a:latin typeface="Montserrat Bold"/>
                </a:rPr>
                <a:t>Governance &amp; Change Management</a:t>
              </a:r>
            </a:p>
          </p:txBody>
        </p:sp>
      </p:grpSp>
      <p:grpSp>
        <p:nvGrpSpPr>
          <p:cNvPr id="50" name="Group 49">
            <a:extLst>
              <a:ext uri="{FF2B5EF4-FFF2-40B4-BE49-F238E27FC236}">
                <a16:creationId xmlns:a16="http://schemas.microsoft.com/office/drawing/2014/main" id="{B88F0311-B622-61E4-CBA5-D23DC496C085}"/>
              </a:ext>
            </a:extLst>
          </p:cNvPr>
          <p:cNvGrpSpPr/>
          <p:nvPr/>
        </p:nvGrpSpPr>
        <p:grpSpPr>
          <a:xfrm>
            <a:off x="13611795" y="3210791"/>
            <a:ext cx="4166046" cy="2165460"/>
            <a:chOff x="606155" y="2337955"/>
            <a:chExt cx="4166046" cy="2165460"/>
          </a:xfrm>
        </p:grpSpPr>
        <p:sp>
          <p:nvSpPr>
            <p:cNvPr id="32" name="Google Shape;861;p27">
              <a:extLst>
                <a:ext uri="{FF2B5EF4-FFF2-40B4-BE49-F238E27FC236}">
                  <a16:creationId xmlns:a16="http://schemas.microsoft.com/office/drawing/2014/main" id="{3D0EE438-0048-95C0-6F39-ACEB3E950E14}"/>
                </a:ext>
              </a:extLst>
            </p:cNvPr>
            <p:cNvSpPr/>
            <p:nvPr/>
          </p:nvSpPr>
          <p:spPr>
            <a:xfrm>
              <a:off x="608500" y="2442508"/>
              <a:ext cx="4163701" cy="2054375"/>
            </a:xfrm>
            <a:prstGeom prst="roundRect">
              <a:avLst>
                <a:gd name="adj" fmla="val 3070"/>
              </a:avLst>
            </a:prstGeom>
            <a:noFill/>
            <a:ln w="9525" cap="flat" cmpd="sng">
              <a:solidFill>
                <a:srgbClr val="6501FE"/>
              </a:solidFill>
              <a:prstDash val="solid"/>
              <a:round/>
              <a:headEnd type="none" w="sm" len="sm"/>
              <a:tailEnd type="none" w="sm" len="sm"/>
            </a:ln>
          </p:spPr>
          <p:txBody>
            <a:bodyPr spcFirstLastPara="1" wrap="square" lIns="182850" tIns="182850" rIns="182850" bIns="18285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lang="en-US" sz="5600" noProof="0"/>
            </a:p>
          </p:txBody>
        </p:sp>
        <p:sp>
          <p:nvSpPr>
            <p:cNvPr id="33" name="Google Shape;875;p27">
              <a:extLst>
                <a:ext uri="{FF2B5EF4-FFF2-40B4-BE49-F238E27FC236}">
                  <a16:creationId xmlns:a16="http://schemas.microsoft.com/office/drawing/2014/main" id="{99393579-CBAE-9D06-7AC9-47CF0E882A27}"/>
                </a:ext>
              </a:extLst>
            </p:cNvPr>
            <p:cNvSpPr txBox="1"/>
            <p:nvPr/>
          </p:nvSpPr>
          <p:spPr>
            <a:xfrm>
              <a:off x="606155" y="2618302"/>
              <a:ext cx="4158000" cy="1885113"/>
            </a:xfrm>
            <a:prstGeom prst="rect">
              <a:avLst/>
            </a:prstGeom>
            <a:noFill/>
            <a:ln>
              <a:noFill/>
            </a:ln>
          </p:spPr>
          <p:txBody>
            <a:bodyPr spcFirstLastPara="1" wrap="square" lIns="182850" tIns="182850" rIns="182850" bIns="18285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noProof="0">
                  <a:solidFill>
                    <a:schemeClr val="bg1"/>
                  </a:solidFill>
                  <a:latin typeface="Montserrat"/>
                </a:rPr>
                <a:t>Contribute to successive releases of the Architecture based on development of </a:t>
              </a:r>
              <a:r>
                <a:rPr lang="en-US" b="1" noProof="0">
                  <a:solidFill>
                    <a:schemeClr val="bg1"/>
                  </a:solidFill>
                  <a:latin typeface="Montserrat"/>
                </a:rPr>
                <a:t>architecture content in functional domains</a:t>
              </a:r>
              <a:r>
                <a:rPr lang="en-US" noProof="0">
                  <a:solidFill>
                    <a:schemeClr val="bg1"/>
                  </a:solidFill>
                  <a:latin typeface="Montserrat"/>
                </a:rPr>
                <a:t>. Content will evolve towards a complete Enterprise Architecture through engagements.</a:t>
              </a:r>
            </a:p>
            <a:p>
              <a:pPr>
                <a:lnSpc>
                  <a:spcPct val="114999"/>
                </a:lnSpc>
              </a:pPr>
              <a:endParaRPr lang="en-US" noProof="0">
                <a:solidFill>
                  <a:srgbClr val="222222"/>
                </a:solidFill>
                <a:latin typeface="Montserrat Light"/>
              </a:endParaRPr>
            </a:p>
            <a:p>
              <a:pPr>
                <a:lnSpc>
                  <a:spcPct val="114999"/>
                </a:lnSpc>
              </a:pPr>
              <a:endParaRPr lang="en-US" sz="1600" noProof="0">
                <a:solidFill>
                  <a:srgbClr val="222222"/>
                </a:solidFill>
                <a:latin typeface="Montserrat Light"/>
              </a:endParaRPr>
            </a:p>
          </p:txBody>
        </p:sp>
        <p:sp>
          <p:nvSpPr>
            <p:cNvPr id="34" name="TextBox 33">
              <a:extLst>
                <a:ext uri="{FF2B5EF4-FFF2-40B4-BE49-F238E27FC236}">
                  <a16:creationId xmlns:a16="http://schemas.microsoft.com/office/drawing/2014/main" id="{029DB2F4-ABE3-7203-F0FA-9568EBE043F2}"/>
                </a:ext>
              </a:extLst>
            </p:cNvPr>
            <p:cNvSpPr txBox="1"/>
            <p:nvPr/>
          </p:nvSpPr>
          <p:spPr>
            <a:xfrm>
              <a:off x="716972" y="2337955"/>
              <a:ext cx="3377045"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noProof="0">
                  <a:solidFill>
                    <a:srgbClr val="FFFFFF"/>
                  </a:solidFill>
                  <a:highlight>
                    <a:srgbClr val="6800FF"/>
                  </a:highlight>
                  <a:latin typeface="Montserrat Bold"/>
                </a:rPr>
                <a:t>Architecture Content (To-Be)</a:t>
              </a:r>
              <a:endParaRPr lang="en-US" noProof="0"/>
            </a:p>
          </p:txBody>
        </p:sp>
      </p:grpSp>
      <p:grpSp>
        <p:nvGrpSpPr>
          <p:cNvPr id="48" name="Group 47">
            <a:extLst>
              <a:ext uri="{FF2B5EF4-FFF2-40B4-BE49-F238E27FC236}">
                <a16:creationId xmlns:a16="http://schemas.microsoft.com/office/drawing/2014/main" id="{A52FFA03-1636-760E-40CE-DEBC2A28B7B3}"/>
              </a:ext>
            </a:extLst>
          </p:cNvPr>
          <p:cNvGrpSpPr/>
          <p:nvPr/>
        </p:nvGrpSpPr>
        <p:grpSpPr>
          <a:xfrm>
            <a:off x="6794413" y="5734837"/>
            <a:ext cx="4166046" cy="2165460"/>
            <a:chOff x="689281" y="7294417"/>
            <a:chExt cx="4166046" cy="2165460"/>
          </a:xfrm>
        </p:grpSpPr>
        <p:sp>
          <p:nvSpPr>
            <p:cNvPr id="41" name="Google Shape;861;p27">
              <a:extLst>
                <a:ext uri="{FF2B5EF4-FFF2-40B4-BE49-F238E27FC236}">
                  <a16:creationId xmlns:a16="http://schemas.microsoft.com/office/drawing/2014/main" id="{A147777C-0939-9B8F-62A9-0A1F87299923}"/>
                </a:ext>
              </a:extLst>
            </p:cNvPr>
            <p:cNvSpPr/>
            <p:nvPr/>
          </p:nvSpPr>
          <p:spPr>
            <a:xfrm>
              <a:off x="691626" y="7398970"/>
              <a:ext cx="4163701" cy="2054375"/>
            </a:xfrm>
            <a:prstGeom prst="roundRect">
              <a:avLst>
                <a:gd name="adj" fmla="val 3070"/>
              </a:avLst>
            </a:prstGeom>
            <a:noFill/>
            <a:ln w="9525" cap="flat" cmpd="sng">
              <a:solidFill>
                <a:srgbClr val="6501FE"/>
              </a:solidFill>
              <a:prstDash val="solid"/>
              <a:round/>
              <a:headEnd type="none" w="sm" len="sm"/>
              <a:tailEnd type="none" w="sm" len="sm"/>
            </a:ln>
          </p:spPr>
          <p:txBody>
            <a:bodyPr spcFirstLastPara="1" wrap="square" lIns="182850" tIns="182850" rIns="182850" bIns="18285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lang="en-US" sz="5600" noProof="0"/>
            </a:p>
          </p:txBody>
        </p:sp>
        <p:sp>
          <p:nvSpPr>
            <p:cNvPr id="42" name="Google Shape;875;p27">
              <a:extLst>
                <a:ext uri="{FF2B5EF4-FFF2-40B4-BE49-F238E27FC236}">
                  <a16:creationId xmlns:a16="http://schemas.microsoft.com/office/drawing/2014/main" id="{575C3131-25DE-224A-4D46-CB29F1E97292}"/>
                </a:ext>
              </a:extLst>
            </p:cNvPr>
            <p:cNvSpPr txBox="1"/>
            <p:nvPr/>
          </p:nvSpPr>
          <p:spPr>
            <a:xfrm>
              <a:off x="689281" y="7574764"/>
              <a:ext cx="4158000" cy="1885113"/>
            </a:xfrm>
            <a:prstGeom prst="rect">
              <a:avLst/>
            </a:prstGeom>
            <a:noFill/>
            <a:ln>
              <a:noFill/>
            </a:ln>
          </p:spPr>
          <p:txBody>
            <a:bodyPr spcFirstLastPara="1" wrap="square" lIns="182850" tIns="182850" rIns="182850" bIns="18285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noProof="0">
                  <a:solidFill>
                    <a:schemeClr val="bg1"/>
                  </a:solidFill>
                  <a:latin typeface="Montserrat"/>
                </a:rPr>
                <a:t>Define the </a:t>
              </a:r>
              <a:r>
                <a:rPr lang="en-US" b="1" noProof="0">
                  <a:solidFill>
                    <a:schemeClr val="bg1"/>
                  </a:solidFill>
                  <a:latin typeface="Montserrat"/>
                </a:rPr>
                <a:t>skills and competencies</a:t>
              </a:r>
              <a:r>
                <a:rPr lang="en-US" noProof="0">
                  <a:solidFill>
                    <a:schemeClr val="bg1"/>
                  </a:solidFill>
                  <a:latin typeface="Montserrat"/>
                </a:rPr>
                <a:t> required by the Architecture function and establish </a:t>
              </a:r>
              <a:r>
                <a:rPr lang="en-US" b="1" noProof="0">
                  <a:solidFill>
                    <a:schemeClr val="bg1"/>
                  </a:solidFill>
                  <a:latin typeface="Montserrat"/>
                </a:rPr>
                <a:t>learning and development activities</a:t>
              </a:r>
              <a:r>
                <a:rPr lang="en-US" noProof="0">
                  <a:solidFill>
                    <a:schemeClr val="bg1"/>
                  </a:solidFill>
                  <a:latin typeface="Montserrat"/>
                </a:rPr>
                <a:t> to help develop and sustain these within the organization. </a:t>
              </a:r>
            </a:p>
            <a:p>
              <a:endParaRPr lang="en-US" noProof="0">
                <a:solidFill>
                  <a:schemeClr val="bg1"/>
                </a:solidFill>
                <a:latin typeface="Montserrat"/>
              </a:endParaRPr>
            </a:p>
            <a:p>
              <a:endParaRPr lang="en-US" noProof="0">
                <a:solidFill>
                  <a:schemeClr val="bg1"/>
                </a:solidFill>
                <a:latin typeface="Montserrat"/>
              </a:endParaRPr>
            </a:p>
            <a:p>
              <a:pPr>
                <a:lnSpc>
                  <a:spcPct val="114999"/>
                </a:lnSpc>
              </a:pPr>
              <a:endParaRPr lang="en-US" noProof="0">
                <a:solidFill>
                  <a:srgbClr val="222222"/>
                </a:solidFill>
                <a:latin typeface="Montserrat Light"/>
              </a:endParaRPr>
            </a:p>
            <a:p>
              <a:pPr>
                <a:lnSpc>
                  <a:spcPct val="114999"/>
                </a:lnSpc>
              </a:pPr>
              <a:endParaRPr lang="en-US" sz="1600" noProof="0">
                <a:solidFill>
                  <a:srgbClr val="222222"/>
                </a:solidFill>
                <a:latin typeface="Montserrat Light"/>
              </a:endParaRPr>
            </a:p>
          </p:txBody>
        </p:sp>
        <p:sp>
          <p:nvSpPr>
            <p:cNvPr id="43" name="TextBox 42">
              <a:extLst>
                <a:ext uri="{FF2B5EF4-FFF2-40B4-BE49-F238E27FC236}">
                  <a16:creationId xmlns:a16="http://schemas.microsoft.com/office/drawing/2014/main" id="{DA406D34-FA03-0C9C-5FB9-2FC5CC7B60CC}"/>
                </a:ext>
              </a:extLst>
            </p:cNvPr>
            <p:cNvSpPr txBox="1"/>
            <p:nvPr/>
          </p:nvSpPr>
          <p:spPr>
            <a:xfrm>
              <a:off x="800098" y="7294417"/>
              <a:ext cx="3377045"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noProof="0">
                  <a:solidFill>
                    <a:srgbClr val="FFFFFF"/>
                  </a:solidFill>
                  <a:highlight>
                    <a:srgbClr val="6800FF"/>
                  </a:highlight>
                  <a:latin typeface="Montserrat Bold"/>
                </a:rPr>
                <a:t>Architecture Capability</a:t>
              </a:r>
              <a:endParaRPr lang="en-US" noProof="0"/>
            </a:p>
          </p:txBody>
        </p:sp>
      </p:grpSp>
      <p:grpSp>
        <p:nvGrpSpPr>
          <p:cNvPr id="53" name="Group 52">
            <a:extLst>
              <a:ext uri="{FF2B5EF4-FFF2-40B4-BE49-F238E27FC236}">
                <a16:creationId xmlns:a16="http://schemas.microsoft.com/office/drawing/2014/main" id="{AB382342-197D-EE05-D32E-1B8B35847E83}"/>
              </a:ext>
            </a:extLst>
          </p:cNvPr>
          <p:cNvGrpSpPr/>
          <p:nvPr/>
        </p:nvGrpSpPr>
        <p:grpSpPr>
          <a:xfrm>
            <a:off x="9247614" y="3193787"/>
            <a:ext cx="4256789" cy="2175851"/>
            <a:chOff x="-3882717" y="7315200"/>
            <a:chExt cx="4256789" cy="2175851"/>
          </a:xfrm>
        </p:grpSpPr>
        <p:sp>
          <p:nvSpPr>
            <p:cNvPr id="26" name="Google Shape;861;p27">
              <a:extLst>
                <a:ext uri="{FF2B5EF4-FFF2-40B4-BE49-F238E27FC236}">
                  <a16:creationId xmlns:a16="http://schemas.microsoft.com/office/drawing/2014/main" id="{32FC7060-AD76-2EA0-2BD4-D1B078522054}"/>
                </a:ext>
              </a:extLst>
            </p:cNvPr>
            <p:cNvSpPr/>
            <p:nvPr/>
          </p:nvSpPr>
          <p:spPr>
            <a:xfrm>
              <a:off x="-3880372" y="7430145"/>
              <a:ext cx="4163701" cy="2054375"/>
            </a:xfrm>
            <a:prstGeom prst="roundRect">
              <a:avLst>
                <a:gd name="adj" fmla="val 3070"/>
              </a:avLst>
            </a:prstGeom>
            <a:noFill/>
            <a:ln w="9525" cap="flat" cmpd="sng">
              <a:solidFill>
                <a:srgbClr val="6501FE"/>
              </a:solidFill>
              <a:prstDash val="solid"/>
              <a:round/>
              <a:headEnd type="none" w="sm" len="sm"/>
              <a:tailEnd type="none" w="sm" len="sm"/>
            </a:ln>
          </p:spPr>
          <p:txBody>
            <a:bodyPr spcFirstLastPara="1" wrap="square" lIns="182850" tIns="182850" rIns="182850" bIns="18285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lang="en-US" sz="5600" noProof="0"/>
            </a:p>
          </p:txBody>
        </p:sp>
        <p:sp>
          <p:nvSpPr>
            <p:cNvPr id="27" name="Google Shape;875;p27">
              <a:extLst>
                <a:ext uri="{FF2B5EF4-FFF2-40B4-BE49-F238E27FC236}">
                  <a16:creationId xmlns:a16="http://schemas.microsoft.com/office/drawing/2014/main" id="{B2BF1DFB-62F4-715E-9370-BD64E56E7877}"/>
                </a:ext>
              </a:extLst>
            </p:cNvPr>
            <p:cNvSpPr txBox="1"/>
            <p:nvPr/>
          </p:nvSpPr>
          <p:spPr>
            <a:xfrm>
              <a:off x="-3882717" y="7605938"/>
              <a:ext cx="4158000" cy="1885113"/>
            </a:xfrm>
            <a:prstGeom prst="rect">
              <a:avLst/>
            </a:prstGeom>
            <a:noFill/>
            <a:ln>
              <a:noFill/>
            </a:ln>
          </p:spPr>
          <p:txBody>
            <a:bodyPr spcFirstLastPara="1" wrap="square" lIns="182850" tIns="182850" rIns="182850" bIns="18285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noProof="0">
                  <a:solidFill>
                    <a:schemeClr val="bg1"/>
                  </a:solidFill>
                  <a:latin typeface="Montserrat"/>
                </a:rPr>
                <a:t>Define a </a:t>
              </a:r>
              <a:r>
                <a:rPr lang="en-US" b="1" noProof="0">
                  <a:solidFill>
                    <a:schemeClr val="bg1"/>
                  </a:solidFill>
                  <a:latin typeface="Montserrat"/>
                </a:rPr>
                <a:t>framework and methodology for architecture development</a:t>
              </a:r>
              <a:r>
                <a:rPr lang="en-US" noProof="0">
                  <a:solidFill>
                    <a:schemeClr val="bg1"/>
                  </a:solidFill>
                  <a:latin typeface="Montserrat"/>
                </a:rPr>
                <a:t>, setting out the approach, techniques and content requirements for all aspects of the Architecture - business, information, information systems and infrastructure, including security alignment.</a:t>
              </a:r>
            </a:p>
            <a:p>
              <a:endParaRPr lang="en-US" noProof="0">
                <a:solidFill>
                  <a:srgbClr val="222222"/>
                </a:solidFill>
                <a:latin typeface="Montserrat Light"/>
              </a:endParaRPr>
            </a:p>
            <a:p>
              <a:pPr>
                <a:lnSpc>
                  <a:spcPct val="114999"/>
                </a:lnSpc>
              </a:pPr>
              <a:endParaRPr lang="en-US" noProof="0">
                <a:solidFill>
                  <a:srgbClr val="222222"/>
                </a:solidFill>
                <a:latin typeface="Montserrat Light"/>
              </a:endParaRPr>
            </a:p>
            <a:p>
              <a:pPr>
                <a:lnSpc>
                  <a:spcPct val="114999"/>
                </a:lnSpc>
              </a:pPr>
              <a:endParaRPr lang="en-US" noProof="0">
                <a:solidFill>
                  <a:srgbClr val="222222"/>
                </a:solidFill>
                <a:latin typeface="Montserrat Light"/>
              </a:endParaRPr>
            </a:p>
          </p:txBody>
        </p:sp>
        <p:sp>
          <p:nvSpPr>
            <p:cNvPr id="28" name="TextBox 27">
              <a:extLst>
                <a:ext uri="{FF2B5EF4-FFF2-40B4-BE49-F238E27FC236}">
                  <a16:creationId xmlns:a16="http://schemas.microsoft.com/office/drawing/2014/main" id="{7318D33F-BE3E-212C-FC10-5532695BEEBE}"/>
                </a:ext>
              </a:extLst>
            </p:cNvPr>
            <p:cNvSpPr txBox="1"/>
            <p:nvPr/>
          </p:nvSpPr>
          <p:spPr>
            <a:xfrm>
              <a:off x="-3782291" y="7315200"/>
              <a:ext cx="4156363"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noProof="0">
                  <a:solidFill>
                    <a:srgbClr val="FFFFFF"/>
                  </a:solidFill>
                  <a:highlight>
                    <a:srgbClr val="6800FF"/>
                  </a:highlight>
                  <a:latin typeface="Montserrat Bold"/>
                </a:rPr>
                <a:t>Architecture Methodology</a:t>
              </a:r>
              <a:endParaRPr lang="en-US" noProof="0"/>
            </a:p>
          </p:txBody>
        </p:sp>
      </p:grpSp>
      <p:grpSp>
        <p:nvGrpSpPr>
          <p:cNvPr id="47" name="Group 46">
            <a:extLst>
              <a:ext uri="{FF2B5EF4-FFF2-40B4-BE49-F238E27FC236}">
                <a16:creationId xmlns:a16="http://schemas.microsoft.com/office/drawing/2014/main" id="{E546A05A-7F7F-59CA-0778-3419A5FB4B62}"/>
              </a:ext>
            </a:extLst>
          </p:cNvPr>
          <p:cNvGrpSpPr/>
          <p:nvPr/>
        </p:nvGrpSpPr>
        <p:grpSpPr>
          <a:xfrm>
            <a:off x="11168985" y="5732004"/>
            <a:ext cx="4166046" cy="2165460"/>
            <a:chOff x="5209327" y="2265218"/>
            <a:chExt cx="4166046" cy="2165460"/>
          </a:xfrm>
        </p:grpSpPr>
        <p:sp>
          <p:nvSpPr>
            <p:cNvPr id="44" name="Google Shape;861;p27">
              <a:extLst>
                <a:ext uri="{FF2B5EF4-FFF2-40B4-BE49-F238E27FC236}">
                  <a16:creationId xmlns:a16="http://schemas.microsoft.com/office/drawing/2014/main" id="{59BBB6C9-4295-E032-FC80-07F5733764AA}"/>
                </a:ext>
              </a:extLst>
            </p:cNvPr>
            <p:cNvSpPr/>
            <p:nvPr/>
          </p:nvSpPr>
          <p:spPr>
            <a:xfrm>
              <a:off x="5211672" y="2369771"/>
              <a:ext cx="4163701" cy="2054375"/>
            </a:xfrm>
            <a:prstGeom prst="roundRect">
              <a:avLst>
                <a:gd name="adj" fmla="val 3070"/>
              </a:avLst>
            </a:prstGeom>
            <a:noFill/>
            <a:ln w="9525" cap="flat" cmpd="sng">
              <a:solidFill>
                <a:srgbClr val="6501FE"/>
              </a:solidFill>
              <a:prstDash val="solid"/>
              <a:round/>
              <a:headEnd type="none" w="sm" len="sm"/>
              <a:tailEnd type="none" w="sm" len="sm"/>
            </a:ln>
          </p:spPr>
          <p:txBody>
            <a:bodyPr spcFirstLastPara="1" wrap="square" lIns="182850" tIns="182850" rIns="182850" bIns="18285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lang="en-US" sz="5600" noProof="0"/>
            </a:p>
          </p:txBody>
        </p:sp>
        <p:sp>
          <p:nvSpPr>
            <p:cNvPr id="45" name="Google Shape;875;p27">
              <a:extLst>
                <a:ext uri="{FF2B5EF4-FFF2-40B4-BE49-F238E27FC236}">
                  <a16:creationId xmlns:a16="http://schemas.microsoft.com/office/drawing/2014/main" id="{269DCF5C-A951-6CAB-D348-4269282F9F2A}"/>
                </a:ext>
              </a:extLst>
            </p:cNvPr>
            <p:cNvSpPr txBox="1"/>
            <p:nvPr/>
          </p:nvSpPr>
          <p:spPr>
            <a:xfrm>
              <a:off x="5209327" y="2545565"/>
              <a:ext cx="4158000" cy="1885113"/>
            </a:xfrm>
            <a:prstGeom prst="rect">
              <a:avLst/>
            </a:prstGeom>
            <a:noFill/>
            <a:ln>
              <a:noFill/>
            </a:ln>
          </p:spPr>
          <p:txBody>
            <a:bodyPr spcFirstLastPara="1" wrap="square" lIns="182850" tIns="182850" rIns="182850" bIns="18285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noProof="0">
                  <a:solidFill>
                    <a:schemeClr val="bg1"/>
                  </a:solidFill>
                  <a:latin typeface="Montserrat"/>
                </a:rPr>
                <a:t>Define requirements for </a:t>
              </a:r>
              <a:r>
                <a:rPr lang="en-US" b="1" noProof="0">
                  <a:solidFill>
                    <a:schemeClr val="bg1"/>
                  </a:solidFill>
                  <a:latin typeface="Montserrat"/>
                </a:rPr>
                <a:t>supporting tools, establish a process for evaluation and selection, and implement chosen tools</a:t>
              </a:r>
              <a:r>
                <a:rPr lang="en-US" noProof="0">
                  <a:solidFill>
                    <a:schemeClr val="bg1"/>
                  </a:solidFill>
                  <a:latin typeface="Montserrat"/>
                </a:rPr>
                <a:t> to support all architecture activities. All Architecture content will be migrated into the Architecture toolkit over time.</a:t>
              </a:r>
            </a:p>
            <a:p>
              <a:endParaRPr lang="en-US" sz="1200" noProof="0">
                <a:solidFill>
                  <a:schemeClr val="bg1"/>
                </a:solidFill>
                <a:latin typeface="Montserrat"/>
              </a:endParaRPr>
            </a:p>
            <a:p>
              <a:pPr>
                <a:lnSpc>
                  <a:spcPct val="114999"/>
                </a:lnSpc>
              </a:pPr>
              <a:endParaRPr lang="en-US" sz="1200" noProof="0">
                <a:solidFill>
                  <a:srgbClr val="222222"/>
                </a:solidFill>
                <a:latin typeface="Montserrat Light"/>
              </a:endParaRPr>
            </a:p>
            <a:p>
              <a:pPr>
                <a:lnSpc>
                  <a:spcPct val="114999"/>
                </a:lnSpc>
              </a:pPr>
              <a:endParaRPr lang="en-US" noProof="0">
                <a:solidFill>
                  <a:srgbClr val="222222"/>
                </a:solidFill>
                <a:latin typeface="Montserrat Light"/>
              </a:endParaRPr>
            </a:p>
          </p:txBody>
        </p:sp>
        <p:sp>
          <p:nvSpPr>
            <p:cNvPr id="46" name="TextBox 45">
              <a:extLst>
                <a:ext uri="{FF2B5EF4-FFF2-40B4-BE49-F238E27FC236}">
                  <a16:creationId xmlns:a16="http://schemas.microsoft.com/office/drawing/2014/main" id="{51C99794-1107-5802-4007-853D476E34C5}"/>
                </a:ext>
              </a:extLst>
            </p:cNvPr>
            <p:cNvSpPr txBox="1"/>
            <p:nvPr/>
          </p:nvSpPr>
          <p:spPr>
            <a:xfrm>
              <a:off x="5320144" y="2265218"/>
              <a:ext cx="3377045"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noProof="0">
                  <a:solidFill>
                    <a:srgbClr val="FFFFFF"/>
                  </a:solidFill>
                  <a:highlight>
                    <a:srgbClr val="6800FF"/>
                  </a:highlight>
                  <a:latin typeface="Montserrat Bold"/>
                </a:rPr>
                <a:t>Architecture Tools </a:t>
              </a:r>
              <a:endParaRPr lang="en-US" noProof="0"/>
            </a:p>
          </p:txBody>
        </p:sp>
      </p:grpSp>
      <p:grpSp>
        <p:nvGrpSpPr>
          <p:cNvPr id="6" name="Group 7">
            <a:extLst>
              <a:ext uri="{FF2B5EF4-FFF2-40B4-BE49-F238E27FC236}">
                <a16:creationId xmlns:a16="http://schemas.microsoft.com/office/drawing/2014/main" id="{81E1CB58-79A4-3632-57EE-3D99213461C3}"/>
              </a:ext>
            </a:extLst>
          </p:cNvPr>
          <p:cNvGrpSpPr/>
          <p:nvPr/>
        </p:nvGrpSpPr>
        <p:grpSpPr>
          <a:xfrm>
            <a:off x="13991971" y="1185702"/>
            <a:ext cx="612363" cy="56823"/>
            <a:chOff x="0" y="0"/>
            <a:chExt cx="1078484" cy="100076"/>
          </a:xfrm>
        </p:grpSpPr>
        <p:sp>
          <p:nvSpPr>
            <p:cNvPr id="5" name="Freeform 8">
              <a:extLst>
                <a:ext uri="{FF2B5EF4-FFF2-40B4-BE49-F238E27FC236}">
                  <a16:creationId xmlns:a16="http://schemas.microsoft.com/office/drawing/2014/main" id="{32638319-1C51-874C-DBD7-B1806A65D5E8}"/>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spTree>
    <p:extLst>
      <p:ext uri="{BB962C8B-B14F-4D97-AF65-F5344CB8AC3E}">
        <p14:creationId xmlns:p14="http://schemas.microsoft.com/office/powerpoint/2010/main" val="302878559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6BFECFA-85C1-0B91-9C10-9E2383E6FEDF}"/>
              </a:ext>
            </a:extLst>
          </p:cNvPr>
          <p:cNvSpPr/>
          <p:nvPr/>
        </p:nvSpPr>
        <p:spPr>
          <a:xfrm>
            <a:off x="14039862" y="5339104"/>
            <a:ext cx="3257076" cy="1471729"/>
          </a:xfrm>
          <a:prstGeom prst="rect">
            <a:avLst/>
          </a:prstGeom>
          <a:solidFill>
            <a:srgbClr val="7E33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 name="Oval 3">
            <a:extLst>
              <a:ext uri="{FF2B5EF4-FFF2-40B4-BE49-F238E27FC236}">
                <a16:creationId xmlns:a16="http://schemas.microsoft.com/office/drawing/2014/main" id="{E2E57743-E78B-EF0B-5E59-360893761D0F}"/>
              </a:ext>
            </a:extLst>
          </p:cNvPr>
          <p:cNvSpPr/>
          <p:nvPr/>
        </p:nvSpPr>
        <p:spPr>
          <a:xfrm>
            <a:off x="5572483" y="3032816"/>
            <a:ext cx="5923721" cy="5764695"/>
          </a:xfrm>
          <a:prstGeom prst="ellipse">
            <a:avLst/>
          </a:prstGeom>
          <a:solidFill>
            <a:schemeClr val="tx1"/>
          </a:solidFill>
          <a:ln>
            <a:solidFill>
              <a:srgbClr val="7E33EF"/>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6" name="Rectangle 15">
            <a:extLst>
              <a:ext uri="{FF2B5EF4-FFF2-40B4-BE49-F238E27FC236}">
                <a16:creationId xmlns:a16="http://schemas.microsoft.com/office/drawing/2014/main" id="{BBDF8606-68C5-DE1B-0779-65827314CE12}"/>
              </a:ext>
            </a:extLst>
          </p:cNvPr>
          <p:cNvSpPr/>
          <p:nvPr/>
        </p:nvSpPr>
        <p:spPr>
          <a:xfrm>
            <a:off x="1183473" y="6472659"/>
            <a:ext cx="2775316" cy="1046646"/>
          </a:xfrm>
          <a:prstGeom prst="rect">
            <a:avLst/>
          </a:prstGeom>
          <a:solidFill>
            <a:srgbClr val="7E33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 name="Title 1">
            <a:extLst>
              <a:ext uri="{FF2B5EF4-FFF2-40B4-BE49-F238E27FC236}">
                <a16:creationId xmlns:a16="http://schemas.microsoft.com/office/drawing/2014/main" id="{F93994FB-6C55-9ABF-073F-6526D0DDD684}"/>
              </a:ext>
            </a:extLst>
          </p:cNvPr>
          <p:cNvSpPr>
            <a:spLocks noGrp="1"/>
          </p:cNvSpPr>
          <p:nvPr>
            <p:ph type="title" idx="4294967295"/>
          </p:nvPr>
        </p:nvSpPr>
        <p:spPr>
          <a:xfrm>
            <a:off x="798764" y="572724"/>
            <a:ext cx="15446056" cy="1145400"/>
          </a:xfrm>
        </p:spPr>
        <p:txBody>
          <a:bodyPr/>
          <a:lstStyle/>
          <a:p>
            <a:r>
              <a:rPr lang="en-US" sz="4000" noProof="0">
                <a:solidFill>
                  <a:schemeClr val="bg1"/>
                </a:solidFill>
              </a:rPr>
              <a:t>Managing the Architecture is an ongoing Process </a:t>
            </a:r>
            <a:br>
              <a:rPr lang="en-US" sz="3600" noProof="0"/>
            </a:br>
            <a:r>
              <a:rPr lang="en-US" sz="4000" b="0" noProof="0">
                <a:solidFill>
                  <a:srgbClr val="7D43FF"/>
                </a:solidFill>
              </a:rPr>
              <a:t>based on a dialogue with the business</a:t>
            </a:r>
          </a:p>
        </p:txBody>
      </p:sp>
      <p:sp>
        <p:nvSpPr>
          <p:cNvPr id="21" name="Rectangle 52">
            <a:extLst>
              <a:ext uri="{FF2B5EF4-FFF2-40B4-BE49-F238E27FC236}">
                <a16:creationId xmlns:a16="http://schemas.microsoft.com/office/drawing/2014/main" id="{89B869F0-8CA7-7A31-D2A3-B51F3F118C9C}"/>
              </a:ext>
            </a:extLst>
          </p:cNvPr>
          <p:cNvSpPr>
            <a:spLocks noChangeArrowheads="1"/>
          </p:cNvSpPr>
          <p:nvPr/>
        </p:nvSpPr>
        <p:spPr bwMode="auto">
          <a:xfrm>
            <a:off x="11495955" y="4208644"/>
            <a:ext cx="3444620" cy="732004"/>
          </a:xfrm>
          <a:prstGeom prst="rect">
            <a:avLst/>
          </a:prstGeom>
          <a:noFill/>
        </p:spPr>
        <p:txBody>
          <a:bodyPr wrap="square">
            <a:noAutofit/>
          </a:bodyPr>
          <a:lstStyle/>
          <a:p>
            <a:pPr fontAlgn="base">
              <a:spcBef>
                <a:spcPct val="0"/>
              </a:spcBef>
              <a:spcAft>
                <a:spcPct val="0"/>
              </a:spcAft>
            </a:pPr>
            <a:r>
              <a:rPr lang="en-US" sz="1100" i="1" noProof="0">
                <a:solidFill>
                  <a:srgbClr val="003366"/>
                </a:solidFill>
                <a:latin typeface="Montserrat" panose="00000500000000000000" pitchFamily="2" charset="0"/>
              </a:rPr>
              <a:t>During the process, the architecture footprint is updated based on results of the projects. </a:t>
            </a:r>
          </a:p>
        </p:txBody>
      </p:sp>
      <p:sp>
        <p:nvSpPr>
          <p:cNvPr id="22" name="TextBox 21">
            <a:extLst>
              <a:ext uri="{FF2B5EF4-FFF2-40B4-BE49-F238E27FC236}">
                <a16:creationId xmlns:a16="http://schemas.microsoft.com/office/drawing/2014/main" id="{C6804782-F883-5719-C268-BD104A169F4F}"/>
              </a:ext>
            </a:extLst>
          </p:cNvPr>
          <p:cNvSpPr txBox="1"/>
          <p:nvPr/>
        </p:nvSpPr>
        <p:spPr>
          <a:xfrm>
            <a:off x="6770767" y="4561834"/>
            <a:ext cx="3710371" cy="2462213"/>
          </a:xfrm>
          <a:prstGeom prst="rect">
            <a:avLst/>
          </a:prstGeom>
          <a:noFill/>
        </p:spPr>
        <p:txBody>
          <a:bodyPr wrap="square" lIns="91440" tIns="45720" rIns="91440" bIns="45720" anchor="t">
            <a:spAutoFit/>
          </a:bodyPr>
          <a:lstStyle/>
          <a:p>
            <a:pPr algn="just" fontAlgn="base">
              <a:lnSpc>
                <a:spcPct val="100000"/>
              </a:lnSpc>
              <a:spcAft>
                <a:spcPts val="1200"/>
              </a:spcAft>
            </a:pPr>
            <a:r>
              <a:rPr lang="en-US" sz="1600" noProof="0">
                <a:solidFill>
                  <a:srgbClr val="003366"/>
                </a:solidFill>
                <a:latin typeface="Montserrat"/>
              </a:rPr>
              <a:t>The architecture lifecycle in an </a:t>
            </a:r>
            <a:r>
              <a:rPr lang="en-US" sz="1600" b="1" noProof="0">
                <a:solidFill>
                  <a:srgbClr val="7E33EF"/>
                </a:solidFill>
                <a:latin typeface="Montserrat"/>
              </a:rPr>
              <a:t>ongoing process</a:t>
            </a:r>
            <a:r>
              <a:rPr lang="en-US" sz="1600" noProof="0">
                <a:solidFill>
                  <a:srgbClr val="003366"/>
                </a:solidFill>
                <a:latin typeface="Montserrat"/>
              </a:rPr>
              <a:t> that forms the core of architecture work, to </a:t>
            </a:r>
            <a:r>
              <a:rPr lang="en-US" sz="1600" b="1" noProof="0">
                <a:solidFill>
                  <a:srgbClr val="7E33EF"/>
                </a:solidFill>
                <a:latin typeface="Montserrat"/>
              </a:rPr>
              <a:t>meet the business and information technology needs</a:t>
            </a:r>
            <a:r>
              <a:rPr lang="en-US" sz="1600" noProof="0">
                <a:solidFill>
                  <a:srgbClr val="7E33EF"/>
                </a:solidFill>
                <a:latin typeface="Montserrat"/>
              </a:rPr>
              <a:t>. </a:t>
            </a:r>
            <a:endParaRPr lang="en-US" sz="1200" noProof="0">
              <a:latin typeface="Montserrat"/>
            </a:endParaRPr>
          </a:p>
          <a:p>
            <a:pPr algn="just" fontAlgn="base">
              <a:lnSpc>
                <a:spcPct val="100000"/>
              </a:lnSpc>
              <a:spcAft>
                <a:spcPts val="1200"/>
              </a:spcAft>
            </a:pPr>
            <a:r>
              <a:rPr lang="en-US" sz="1600" noProof="0">
                <a:solidFill>
                  <a:srgbClr val="003366"/>
                </a:solidFill>
                <a:latin typeface="Montserrat"/>
              </a:rPr>
              <a:t>The process is based on a dialogue and interaction with the business users to ensure business alignment. </a:t>
            </a:r>
          </a:p>
        </p:txBody>
      </p:sp>
      <p:sp>
        <p:nvSpPr>
          <p:cNvPr id="23" name="Rectangle 52">
            <a:extLst>
              <a:ext uri="{FF2B5EF4-FFF2-40B4-BE49-F238E27FC236}">
                <a16:creationId xmlns:a16="http://schemas.microsoft.com/office/drawing/2014/main" id="{C9D8794E-B811-EEF3-D1E1-BC663BFF9D34}"/>
              </a:ext>
            </a:extLst>
          </p:cNvPr>
          <p:cNvSpPr>
            <a:spLocks noChangeArrowheads="1"/>
          </p:cNvSpPr>
          <p:nvPr/>
        </p:nvSpPr>
        <p:spPr bwMode="auto">
          <a:xfrm>
            <a:off x="11832836" y="7263305"/>
            <a:ext cx="4171984" cy="920449"/>
          </a:xfrm>
          <a:prstGeom prst="rect">
            <a:avLst/>
          </a:prstGeom>
          <a:noFill/>
        </p:spPr>
        <p:txBody>
          <a:bodyPr wrap="square">
            <a:noAutofit/>
          </a:bodyPr>
          <a:lstStyle/>
          <a:p>
            <a:pPr fontAlgn="base">
              <a:spcBef>
                <a:spcPct val="0"/>
              </a:spcBef>
              <a:spcAft>
                <a:spcPct val="0"/>
              </a:spcAft>
            </a:pPr>
            <a:r>
              <a:rPr lang="en-US" sz="1100" i="1" noProof="0">
                <a:solidFill>
                  <a:srgbClr val="003366"/>
                </a:solidFill>
                <a:latin typeface="Montserrat" panose="00000500000000000000" pitchFamily="2" charset="0"/>
              </a:rPr>
              <a:t>Requires Business Architecture domain mapping based on business capabilities and Application catalogue</a:t>
            </a:r>
          </a:p>
        </p:txBody>
      </p:sp>
      <p:sp>
        <p:nvSpPr>
          <p:cNvPr id="3" name="Rectangle: Rounded Corners 2">
            <a:extLst>
              <a:ext uri="{FF2B5EF4-FFF2-40B4-BE49-F238E27FC236}">
                <a16:creationId xmlns:a16="http://schemas.microsoft.com/office/drawing/2014/main" id="{D9BA8038-0E10-6228-11A5-E0C084F8FE24}"/>
              </a:ext>
            </a:extLst>
          </p:cNvPr>
          <p:cNvSpPr/>
          <p:nvPr/>
        </p:nvSpPr>
        <p:spPr>
          <a:xfrm>
            <a:off x="4450377" y="5456488"/>
            <a:ext cx="1612396" cy="914400"/>
          </a:xfrm>
          <a:prstGeom prst="roundRect">
            <a:avLst/>
          </a:prstGeom>
          <a:solidFill>
            <a:schemeClr val="tx1"/>
          </a:solidFill>
          <a:ln>
            <a:solidFill>
              <a:srgbClr val="7E33EF"/>
            </a:solidFill>
          </a:ln>
          <a:effectLst>
            <a:outerShdw blurRad="152400" dist="317500" dir="5400000" sx="90000" sy="-19000" rotWithShape="0">
              <a:prstClr val="black">
                <a:alpha val="15000"/>
              </a:prstClr>
            </a:outerShdw>
            <a:softEdge rad="0"/>
          </a:effectLst>
        </p:spPr>
        <p:style>
          <a:lnRef idx="2">
            <a:schemeClr val="accent2">
              <a:shade val="50000"/>
            </a:schemeClr>
          </a:lnRef>
          <a:fillRef idx="1">
            <a:schemeClr val="accent2"/>
          </a:fillRef>
          <a:effectRef idx="0">
            <a:schemeClr val="accent2"/>
          </a:effectRef>
          <a:fontRef idx="minor">
            <a:schemeClr val="lt1"/>
          </a:fontRef>
        </p:style>
        <p:txBody>
          <a:bodyPr wrap="square" lIns="36000" tIns="36000" rIns="36000" bIns="36000" rtlCol="0" anchor="ctr"/>
          <a:lstStyle/>
          <a:p>
            <a:pPr algn="ctr"/>
            <a:r>
              <a:rPr lang="en-US" b="1" noProof="0">
                <a:solidFill>
                  <a:srgbClr val="7E33EF"/>
                </a:solidFill>
                <a:latin typeface="Montserrat"/>
              </a:rPr>
              <a:t>Future Architecture</a:t>
            </a:r>
          </a:p>
        </p:txBody>
      </p:sp>
      <p:sp>
        <p:nvSpPr>
          <p:cNvPr id="24" name="Rectangle: Rounded Corners 23">
            <a:extLst>
              <a:ext uri="{FF2B5EF4-FFF2-40B4-BE49-F238E27FC236}">
                <a16:creationId xmlns:a16="http://schemas.microsoft.com/office/drawing/2014/main" id="{622B38B7-5B4B-F269-F483-F52B76224BF3}"/>
              </a:ext>
            </a:extLst>
          </p:cNvPr>
          <p:cNvSpPr/>
          <p:nvPr/>
        </p:nvSpPr>
        <p:spPr>
          <a:xfrm>
            <a:off x="6994817" y="7685471"/>
            <a:ext cx="3253768" cy="1205823"/>
          </a:xfrm>
          <a:prstGeom prst="roundRect">
            <a:avLst/>
          </a:prstGeom>
          <a:solidFill>
            <a:schemeClr val="tx1"/>
          </a:solidFill>
          <a:ln>
            <a:solidFill>
              <a:srgbClr val="7E33EF"/>
            </a:solidFill>
          </a:ln>
          <a:effectLst>
            <a:outerShdw blurRad="152400" dist="317500" dir="5400000" sx="90000" sy="-19000" rotWithShape="0">
              <a:prstClr val="black">
                <a:alpha val="15000"/>
              </a:prstClr>
            </a:outerShdw>
            <a:softEdge rad="0"/>
          </a:effectLst>
        </p:spPr>
        <p:style>
          <a:lnRef idx="2">
            <a:schemeClr val="accent2">
              <a:shade val="50000"/>
            </a:schemeClr>
          </a:lnRef>
          <a:fillRef idx="1">
            <a:schemeClr val="accent2"/>
          </a:fillRef>
          <a:effectRef idx="0">
            <a:schemeClr val="accent2"/>
          </a:effectRef>
          <a:fontRef idx="minor">
            <a:schemeClr val="lt1"/>
          </a:fontRef>
        </p:style>
        <p:txBody>
          <a:bodyPr wrap="square" lIns="36000" tIns="36000" rIns="36000" bIns="36000" rtlCol="0" anchor="ctr"/>
          <a:lstStyle/>
          <a:p>
            <a:pPr algn="ctr"/>
            <a:r>
              <a:rPr lang="en-US" b="1" noProof="0">
                <a:solidFill>
                  <a:srgbClr val="7E33EF"/>
                </a:solidFill>
                <a:latin typeface="Montserrat"/>
              </a:rPr>
              <a:t>Business and IT</a:t>
            </a:r>
          </a:p>
          <a:p>
            <a:pPr algn="ctr"/>
            <a:r>
              <a:rPr lang="en-US" b="1" noProof="0">
                <a:solidFill>
                  <a:srgbClr val="7E33EF"/>
                </a:solidFill>
                <a:latin typeface="Montserrat"/>
              </a:rPr>
              <a:t>Business &amp; IT Strategy</a:t>
            </a:r>
          </a:p>
          <a:p>
            <a:pPr algn="ctr"/>
            <a:r>
              <a:rPr lang="en-US" b="1" noProof="0">
                <a:solidFill>
                  <a:srgbClr val="7E33EF"/>
                </a:solidFill>
                <a:latin typeface="Montserrat"/>
              </a:rPr>
              <a:t>Technology &amp; Business Trends</a:t>
            </a:r>
          </a:p>
          <a:p>
            <a:pPr algn="ctr"/>
            <a:r>
              <a:rPr lang="en-US" b="1" noProof="0">
                <a:solidFill>
                  <a:srgbClr val="7E33EF"/>
                </a:solidFill>
                <a:latin typeface="Montserrat"/>
              </a:rPr>
              <a:t>Business / Technology Scenarios</a:t>
            </a:r>
          </a:p>
        </p:txBody>
      </p:sp>
      <p:sp>
        <p:nvSpPr>
          <p:cNvPr id="31" name="Rectangle: Rounded Corners 30">
            <a:extLst>
              <a:ext uri="{FF2B5EF4-FFF2-40B4-BE49-F238E27FC236}">
                <a16:creationId xmlns:a16="http://schemas.microsoft.com/office/drawing/2014/main" id="{0E39635A-7C2F-286E-33E8-EAD8591C8130}"/>
              </a:ext>
            </a:extLst>
          </p:cNvPr>
          <p:cNvSpPr/>
          <p:nvPr/>
        </p:nvSpPr>
        <p:spPr>
          <a:xfrm>
            <a:off x="11009224" y="5419333"/>
            <a:ext cx="2323647" cy="988710"/>
          </a:xfrm>
          <a:prstGeom prst="roundRect">
            <a:avLst/>
          </a:prstGeom>
          <a:solidFill>
            <a:schemeClr val="tx1"/>
          </a:solidFill>
          <a:ln>
            <a:solidFill>
              <a:srgbClr val="7E33EF"/>
            </a:solidFill>
          </a:ln>
          <a:effectLst>
            <a:outerShdw blurRad="152400" dist="317500" dir="5400000" sx="90000" sy="-19000" rotWithShape="0">
              <a:prstClr val="black">
                <a:alpha val="15000"/>
              </a:prstClr>
            </a:outerShdw>
            <a:softEdge rad="0"/>
          </a:effectLst>
        </p:spPr>
        <p:style>
          <a:lnRef idx="2">
            <a:schemeClr val="accent2">
              <a:shade val="50000"/>
            </a:schemeClr>
          </a:lnRef>
          <a:fillRef idx="1">
            <a:schemeClr val="accent2"/>
          </a:fillRef>
          <a:effectRef idx="0">
            <a:schemeClr val="accent2"/>
          </a:effectRef>
          <a:fontRef idx="minor">
            <a:schemeClr val="lt1"/>
          </a:fontRef>
        </p:style>
        <p:txBody>
          <a:bodyPr wrap="square" lIns="36000" tIns="36000" rIns="36000" bIns="36000" rtlCol="0" anchor="ctr"/>
          <a:lstStyle/>
          <a:p>
            <a:pPr algn="ctr"/>
            <a:r>
              <a:rPr lang="en-US" b="1" noProof="0">
                <a:solidFill>
                  <a:srgbClr val="7E33EF"/>
                </a:solidFill>
                <a:latin typeface="Montserrat"/>
              </a:rPr>
              <a:t>Current Architecture</a:t>
            </a:r>
          </a:p>
          <a:p>
            <a:pPr algn="ctr"/>
            <a:r>
              <a:rPr lang="en-US" b="1" noProof="0">
                <a:solidFill>
                  <a:srgbClr val="7E33EF"/>
                </a:solidFill>
                <a:latin typeface="Montserrat"/>
              </a:rPr>
              <a:t>Current Business &amp;</a:t>
            </a:r>
          </a:p>
          <a:p>
            <a:pPr algn="ctr"/>
            <a:r>
              <a:rPr lang="en-US" b="1" noProof="0">
                <a:solidFill>
                  <a:srgbClr val="7E33EF"/>
                </a:solidFill>
                <a:latin typeface="Montserrat"/>
              </a:rPr>
              <a:t>IT Environment</a:t>
            </a:r>
          </a:p>
        </p:txBody>
      </p:sp>
      <p:sp>
        <p:nvSpPr>
          <p:cNvPr id="34" name="Rectangle: Rounded Corners 33">
            <a:extLst>
              <a:ext uri="{FF2B5EF4-FFF2-40B4-BE49-F238E27FC236}">
                <a16:creationId xmlns:a16="http://schemas.microsoft.com/office/drawing/2014/main" id="{B75CF1C6-EDD7-C41E-B946-843A1B7E62DF}"/>
              </a:ext>
            </a:extLst>
          </p:cNvPr>
          <p:cNvSpPr/>
          <p:nvPr/>
        </p:nvSpPr>
        <p:spPr>
          <a:xfrm>
            <a:off x="5149402" y="7031744"/>
            <a:ext cx="1539872" cy="526163"/>
          </a:xfrm>
          <a:prstGeom prst="roundRect">
            <a:avLst/>
          </a:prstGeom>
          <a:solidFill>
            <a:srgbClr val="DD2F8F"/>
          </a:solidFill>
          <a:ln w="9525">
            <a:solidFill>
              <a:schemeClr val="tx1"/>
            </a:solidFill>
            <a:miter lim="800000"/>
            <a:headEnd/>
            <a:tailEnd/>
          </a:ln>
          <a:effectLst/>
        </p:spPr>
        <p:txBody>
          <a:bodyPr wrap="square" lIns="91440" tIns="45720" rIns="91440" bIns="45720" anchor="ctr">
            <a:noAutofit/>
          </a:bodyPr>
          <a:lstStyle/>
          <a:p>
            <a:pPr algn="ctr" eaLnBrk="0" fontAlgn="ctr" hangingPunct="0">
              <a:lnSpc>
                <a:spcPct val="100000"/>
              </a:lnSpc>
              <a:spcBef>
                <a:spcPct val="0"/>
              </a:spcBef>
              <a:spcAft>
                <a:spcPct val="0"/>
              </a:spcAft>
            </a:pPr>
            <a:r>
              <a:rPr lang="en-US" sz="1200" noProof="0">
                <a:solidFill>
                  <a:schemeClr val="tx1"/>
                </a:solidFill>
                <a:latin typeface="Montserrat" panose="00000500000000000000" pitchFamily="2" charset="0"/>
              </a:rPr>
              <a:t>Adapt &amp; Prepare the Future</a:t>
            </a:r>
          </a:p>
        </p:txBody>
      </p:sp>
      <p:sp>
        <p:nvSpPr>
          <p:cNvPr id="35" name="Rectangle: Rounded Corners 34">
            <a:extLst>
              <a:ext uri="{FF2B5EF4-FFF2-40B4-BE49-F238E27FC236}">
                <a16:creationId xmlns:a16="http://schemas.microsoft.com/office/drawing/2014/main" id="{0E372729-8391-EA60-8DC7-A5000074D9AB}"/>
              </a:ext>
            </a:extLst>
          </p:cNvPr>
          <p:cNvSpPr/>
          <p:nvPr/>
        </p:nvSpPr>
        <p:spPr>
          <a:xfrm>
            <a:off x="10834018" y="7188429"/>
            <a:ext cx="906971" cy="497825"/>
          </a:xfrm>
          <a:prstGeom prst="roundRect">
            <a:avLst/>
          </a:prstGeom>
          <a:solidFill>
            <a:srgbClr val="DD2F8F"/>
          </a:solidFill>
          <a:ln w="9525">
            <a:solidFill>
              <a:schemeClr val="tx1"/>
            </a:solidFill>
            <a:miter lim="800000"/>
            <a:headEnd/>
            <a:tailEnd/>
          </a:ln>
          <a:effectLst/>
        </p:spPr>
        <p:txBody>
          <a:bodyPr wrap="square" lIns="91440" tIns="45720" rIns="91440" bIns="45720" anchor="ctr">
            <a:noAutofit/>
          </a:bodyPr>
          <a:lstStyle/>
          <a:p>
            <a:pPr algn="ctr" eaLnBrk="0" fontAlgn="ctr" hangingPunct="0">
              <a:lnSpc>
                <a:spcPct val="100000"/>
              </a:lnSpc>
              <a:spcBef>
                <a:spcPct val="0"/>
              </a:spcBef>
              <a:spcAft>
                <a:spcPct val="0"/>
              </a:spcAft>
            </a:pPr>
            <a:r>
              <a:rPr lang="en-US" sz="1200" noProof="0">
                <a:solidFill>
                  <a:schemeClr val="tx1"/>
                </a:solidFill>
                <a:latin typeface="Montserrat Bold"/>
              </a:rPr>
              <a:t>Learn</a:t>
            </a:r>
          </a:p>
        </p:txBody>
      </p:sp>
      <p:sp>
        <p:nvSpPr>
          <p:cNvPr id="36" name="Rectangle: Rounded Corners 35">
            <a:extLst>
              <a:ext uri="{FF2B5EF4-FFF2-40B4-BE49-F238E27FC236}">
                <a16:creationId xmlns:a16="http://schemas.microsoft.com/office/drawing/2014/main" id="{BE2818C1-53DF-3992-C4E3-2D9DC7529170}"/>
              </a:ext>
            </a:extLst>
          </p:cNvPr>
          <p:cNvSpPr/>
          <p:nvPr/>
        </p:nvSpPr>
        <p:spPr>
          <a:xfrm>
            <a:off x="10636216" y="3876047"/>
            <a:ext cx="982541" cy="507271"/>
          </a:xfrm>
          <a:prstGeom prst="roundRect">
            <a:avLst/>
          </a:prstGeom>
          <a:solidFill>
            <a:srgbClr val="DD2F8F"/>
          </a:solidFill>
          <a:ln w="9525">
            <a:solidFill>
              <a:schemeClr val="tx1"/>
            </a:solidFill>
            <a:miter lim="800000"/>
            <a:headEnd/>
            <a:tailEnd/>
          </a:ln>
          <a:effectLst/>
        </p:spPr>
        <p:txBody>
          <a:bodyPr wrap="square" lIns="91440" tIns="45720" rIns="91440" bIns="45720" anchor="ctr">
            <a:noAutofit/>
          </a:bodyPr>
          <a:lstStyle/>
          <a:p>
            <a:pPr algn="ctr" eaLnBrk="0" fontAlgn="ctr" hangingPunct="0">
              <a:lnSpc>
                <a:spcPct val="100000"/>
              </a:lnSpc>
              <a:spcBef>
                <a:spcPct val="0"/>
              </a:spcBef>
              <a:spcAft>
                <a:spcPct val="0"/>
              </a:spcAft>
            </a:pPr>
            <a:r>
              <a:rPr lang="en-US" sz="1200" noProof="0">
                <a:solidFill>
                  <a:schemeClr val="tx1"/>
                </a:solidFill>
                <a:latin typeface="Montserrat Bold"/>
              </a:rPr>
              <a:t>Change</a:t>
            </a:r>
          </a:p>
        </p:txBody>
      </p:sp>
      <p:sp>
        <p:nvSpPr>
          <p:cNvPr id="37" name="Rectangle: Rounded Corners 36">
            <a:extLst>
              <a:ext uri="{FF2B5EF4-FFF2-40B4-BE49-F238E27FC236}">
                <a16:creationId xmlns:a16="http://schemas.microsoft.com/office/drawing/2014/main" id="{A66511A9-324A-87A8-E802-5FBBF1A4E3C8}"/>
              </a:ext>
            </a:extLst>
          </p:cNvPr>
          <p:cNvSpPr/>
          <p:nvPr/>
        </p:nvSpPr>
        <p:spPr>
          <a:xfrm>
            <a:off x="5662384" y="3696567"/>
            <a:ext cx="1029773" cy="450593"/>
          </a:xfrm>
          <a:prstGeom prst="roundRect">
            <a:avLst/>
          </a:prstGeom>
          <a:solidFill>
            <a:srgbClr val="DD2F8F"/>
          </a:solidFill>
          <a:ln w="9525">
            <a:solidFill>
              <a:schemeClr val="tx1"/>
            </a:solidFill>
            <a:miter lim="800000"/>
            <a:headEnd/>
            <a:tailEnd/>
          </a:ln>
          <a:effectLst/>
        </p:spPr>
        <p:txBody>
          <a:bodyPr wrap="square" anchor="ctr">
            <a:noAutofit/>
          </a:bodyPr>
          <a:lstStyle/>
          <a:p>
            <a:pPr algn="ctr" eaLnBrk="0" fontAlgn="ctr" hangingPunct="0">
              <a:spcBef>
                <a:spcPct val="0"/>
              </a:spcBef>
              <a:spcAft>
                <a:spcPct val="0"/>
              </a:spcAft>
            </a:pPr>
            <a:r>
              <a:rPr lang="en-US" sz="1200" noProof="0">
                <a:solidFill>
                  <a:schemeClr val="tx1"/>
                </a:solidFill>
                <a:latin typeface="Montserrat Bold"/>
              </a:rPr>
              <a:t>Apply to</a:t>
            </a:r>
          </a:p>
        </p:txBody>
      </p:sp>
      <p:sp>
        <p:nvSpPr>
          <p:cNvPr id="38" name="Rectangle: Rounded Corners 37">
            <a:extLst>
              <a:ext uri="{FF2B5EF4-FFF2-40B4-BE49-F238E27FC236}">
                <a16:creationId xmlns:a16="http://schemas.microsoft.com/office/drawing/2014/main" id="{B42A4F35-0BA5-088E-E357-8F9D6ED64865}"/>
              </a:ext>
            </a:extLst>
          </p:cNvPr>
          <p:cNvSpPr/>
          <p:nvPr/>
        </p:nvSpPr>
        <p:spPr>
          <a:xfrm>
            <a:off x="7815503" y="2783529"/>
            <a:ext cx="1612396" cy="914400"/>
          </a:xfrm>
          <a:prstGeom prst="roundRect">
            <a:avLst/>
          </a:prstGeom>
          <a:solidFill>
            <a:schemeClr val="tx1"/>
          </a:solidFill>
          <a:ln>
            <a:solidFill>
              <a:srgbClr val="7E33EF"/>
            </a:solidFill>
          </a:ln>
          <a:effectLst>
            <a:outerShdw blurRad="152400" dist="317500" dir="5400000" sx="90000" sy="-19000" rotWithShape="0">
              <a:prstClr val="black">
                <a:alpha val="15000"/>
              </a:prstClr>
            </a:outerShdw>
            <a:softEdge rad="0"/>
          </a:effectLst>
        </p:spPr>
        <p:style>
          <a:lnRef idx="2">
            <a:schemeClr val="accent2">
              <a:shade val="50000"/>
            </a:schemeClr>
          </a:lnRef>
          <a:fillRef idx="1">
            <a:schemeClr val="accent2"/>
          </a:fillRef>
          <a:effectRef idx="0">
            <a:schemeClr val="accent2"/>
          </a:effectRef>
          <a:fontRef idx="minor">
            <a:schemeClr val="lt1"/>
          </a:fontRef>
        </p:style>
        <p:txBody>
          <a:bodyPr wrap="square" lIns="36000" tIns="36000" rIns="36000" bIns="36000" rtlCol="0" anchor="ctr"/>
          <a:lstStyle/>
          <a:p>
            <a:pPr algn="ctr"/>
            <a:r>
              <a:rPr lang="en-US" b="1" noProof="0">
                <a:solidFill>
                  <a:srgbClr val="7E33EF"/>
                </a:solidFill>
                <a:latin typeface="Montserrat"/>
              </a:rPr>
              <a:t>Projects</a:t>
            </a:r>
          </a:p>
        </p:txBody>
      </p:sp>
      <p:sp>
        <p:nvSpPr>
          <p:cNvPr id="8" name="Subtitle 3">
            <a:extLst>
              <a:ext uri="{FF2B5EF4-FFF2-40B4-BE49-F238E27FC236}">
                <a16:creationId xmlns:a16="http://schemas.microsoft.com/office/drawing/2014/main" id="{239AC395-140E-A055-8EF6-50918FD3DFFE}"/>
              </a:ext>
            </a:extLst>
          </p:cNvPr>
          <p:cNvSpPr txBox="1">
            <a:spLocks/>
          </p:cNvSpPr>
          <p:nvPr/>
        </p:nvSpPr>
        <p:spPr>
          <a:xfrm>
            <a:off x="14296378" y="9767663"/>
            <a:ext cx="3698302" cy="385987"/>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L="457200" marR="0" lvl="0" indent="-304800" algn="r" rtl="0">
              <a:lnSpc>
                <a:spcPct val="100000"/>
              </a:lnSpc>
              <a:spcBef>
                <a:spcPts val="0"/>
              </a:spcBef>
              <a:spcAft>
                <a:spcPts val="0"/>
              </a:spcAft>
              <a:buClr>
                <a:srgbClr val="222222"/>
              </a:buClr>
              <a:buSzPts val="800"/>
              <a:buFont typeface="Montserrat Light"/>
              <a:buNone/>
              <a:defRPr sz="1600" b="0" i="0" u="none" strike="noStrike" cap="none">
                <a:solidFill>
                  <a:srgbClr val="222222"/>
                </a:solidFill>
                <a:latin typeface="Montserrat Light"/>
                <a:ea typeface="Montserrat Light"/>
                <a:cs typeface="Montserrat Light"/>
                <a:sym typeface="Montserrat Light"/>
              </a:defRPr>
            </a:lvl1pPr>
            <a:lvl2pPr marL="914400" marR="0" lvl="1" indent="-304800" algn="r" rtl="0">
              <a:lnSpc>
                <a:spcPct val="100000"/>
              </a:lnSpc>
              <a:spcBef>
                <a:spcPts val="0"/>
              </a:spcBef>
              <a:spcAft>
                <a:spcPts val="0"/>
              </a:spcAft>
              <a:buClr>
                <a:srgbClr val="222222"/>
              </a:buClr>
              <a:buSzPts val="800"/>
              <a:buFont typeface="Montserrat Light"/>
              <a:buNone/>
              <a:defRPr sz="1600" b="0" i="0" u="none" strike="noStrike" cap="none">
                <a:solidFill>
                  <a:srgbClr val="222222"/>
                </a:solidFill>
                <a:latin typeface="Montserrat Light"/>
                <a:ea typeface="Montserrat Light"/>
                <a:cs typeface="Montserrat Light"/>
                <a:sym typeface="Montserrat Light"/>
              </a:defRPr>
            </a:lvl2pPr>
            <a:lvl3pPr marL="1371600" marR="0" lvl="2" indent="-304800" algn="r" rtl="0">
              <a:lnSpc>
                <a:spcPct val="100000"/>
              </a:lnSpc>
              <a:spcBef>
                <a:spcPts val="0"/>
              </a:spcBef>
              <a:spcAft>
                <a:spcPts val="0"/>
              </a:spcAft>
              <a:buClr>
                <a:srgbClr val="222222"/>
              </a:buClr>
              <a:buSzPts val="800"/>
              <a:buFont typeface="Montserrat Light"/>
              <a:buNone/>
              <a:defRPr sz="1600" b="0" i="0" u="none" strike="noStrike" cap="none">
                <a:solidFill>
                  <a:srgbClr val="222222"/>
                </a:solidFill>
                <a:latin typeface="Montserrat Light"/>
                <a:ea typeface="Montserrat Light"/>
                <a:cs typeface="Montserrat Light"/>
                <a:sym typeface="Montserrat Light"/>
              </a:defRPr>
            </a:lvl3pPr>
            <a:lvl4pPr marL="1828800" marR="0" lvl="3" indent="-304800" algn="r" rtl="0">
              <a:lnSpc>
                <a:spcPct val="100000"/>
              </a:lnSpc>
              <a:spcBef>
                <a:spcPts val="0"/>
              </a:spcBef>
              <a:spcAft>
                <a:spcPts val="0"/>
              </a:spcAft>
              <a:buClr>
                <a:srgbClr val="222222"/>
              </a:buClr>
              <a:buSzPts val="800"/>
              <a:buFont typeface="Montserrat Light"/>
              <a:buNone/>
              <a:defRPr sz="1600" b="0" i="0" u="none" strike="noStrike" cap="none">
                <a:solidFill>
                  <a:srgbClr val="222222"/>
                </a:solidFill>
                <a:latin typeface="Montserrat Light"/>
                <a:ea typeface="Montserrat Light"/>
                <a:cs typeface="Montserrat Light"/>
                <a:sym typeface="Montserrat Light"/>
              </a:defRPr>
            </a:lvl4pPr>
            <a:lvl5pPr marL="2286000" marR="0" lvl="4" indent="-304800" algn="r" rtl="0">
              <a:lnSpc>
                <a:spcPct val="100000"/>
              </a:lnSpc>
              <a:spcBef>
                <a:spcPts val="0"/>
              </a:spcBef>
              <a:spcAft>
                <a:spcPts val="0"/>
              </a:spcAft>
              <a:buClr>
                <a:srgbClr val="222222"/>
              </a:buClr>
              <a:buSzPts val="800"/>
              <a:buFont typeface="Montserrat Light"/>
              <a:buNone/>
              <a:defRPr sz="1600" b="0" i="0" u="none" strike="noStrike" cap="none">
                <a:solidFill>
                  <a:srgbClr val="222222"/>
                </a:solidFill>
                <a:latin typeface="Montserrat Light"/>
                <a:ea typeface="Montserrat Light"/>
                <a:cs typeface="Montserrat Light"/>
                <a:sym typeface="Montserrat Light"/>
              </a:defRPr>
            </a:lvl5pPr>
            <a:lvl6pPr marL="2743200" marR="0" lvl="5" indent="-304800" algn="r" rtl="0">
              <a:lnSpc>
                <a:spcPct val="100000"/>
              </a:lnSpc>
              <a:spcBef>
                <a:spcPts val="0"/>
              </a:spcBef>
              <a:spcAft>
                <a:spcPts val="0"/>
              </a:spcAft>
              <a:buClr>
                <a:srgbClr val="222222"/>
              </a:buClr>
              <a:buSzPts val="800"/>
              <a:buFont typeface="Montserrat Light"/>
              <a:buNone/>
              <a:defRPr sz="1600" b="0" i="0" u="none" strike="noStrike" cap="none">
                <a:solidFill>
                  <a:srgbClr val="222222"/>
                </a:solidFill>
                <a:latin typeface="Montserrat Light"/>
                <a:ea typeface="Montserrat Light"/>
                <a:cs typeface="Montserrat Light"/>
                <a:sym typeface="Montserrat Light"/>
              </a:defRPr>
            </a:lvl6pPr>
            <a:lvl7pPr marL="3200400" marR="0" lvl="6" indent="-304800" algn="r" rtl="0">
              <a:lnSpc>
                <a:spcPct val="100000"/>
              </a:lnSpc>
              <a:spcBef>
                <a:spcPts val="0"/>
              </a:spcBef>
              <a:spcAft>
                <a:spcPts val="0"/>
              </a:spcAft>
              <a:buClr>
                <a:srgbClr val="222222"/>
              </a:buClr>
              <a:buSzPts val="800"/>
              <a:buFont typeface="Montserrat Light"/>
              <a:buNone/>
              <a:defRPr sz="1600" b="0" i="0" u="none" strike="noStrike" cap="none">
                <a:solidFill>
                  <a:srgbClr val="222222"/>
                </a:solidFill>
                <a:latin typeface="Montserrat Light"/>
                <a:ea typeface="Montserrat Light"/>
                <a:cs typeface="Montserrat Light"/>
                <a:sym typeface="Montserrat Light"/>
              </a:defRPr>
            </a:lvl7pPr>
            <a:lvl8pPr marL="3657600" marR="0" lvl="7" indent="-304800" algn="r" rtl="0">
              <a:lnSpc>
                <a:spcPct val="100000"/>
              </a:lnSpc>
              <a:spcBef>
                <a:spcPts val="0"/>
              </a:spcBef>
              <a:spcAft>
                <a:spcPts val="0"/>
              </a:spcAft>
              <a:buClr>
                <a:srgbClr val="222222"/>
              </a:buClr>
              <a:buSzPts val="800"/>
              <a:buFont typeface="Montserrat Light"/>
              <a:buNone/>
              <a:defRPr sz="1600" b="0" i="0" u="none" strike="noStrike" cap="none">
                <a:solidFill>
                  <a:srgbClr val="222222"/>
                </a:solidFill>
                <a:latin typeface="Montserrat Light"/>
                <a:ea typeface="Montserrat Light"/>
                <a:cs typeface="Montserrat Light"/>
                <a:sym typeface="Montserrat Light"/>
              </a:defRPr>
            </a:lvl8pPr>
            <a:lvl9pPr marL="4114800" marR="0" lvl="8" indent="-304800" algn="r" rtl="0">
              <a:lnSpc>
                <a:spcPct val="100000"/>
              </a:lnSpc>
              <a:spcBef>
                <a:spcPts val="0"/>
              </a:spcBef>
              <a:spcAft>
                <a:spcPts val="0"/>
              </a:spcAft>
              <a:buClr>
                <a:srgbClr val="222222"/>
              </a:buClr>
              <a:buSzPts val="800"/>
              <a:buFont typeface="Montserrat Light"/>
              <a:buNone/>
              <a:defRPr sz="1600" b="0" i="0" u="none" strike="noStrike" cap="none">
                <a:solidFill>
                  <a:srgbClr val="222222"/>
                </a:solidFill>
                <a:latin typeface="Montserrat Light"/>
                <a:ea typeface="Montserrat Light"/>
                <a:cs typeface="Montserrat Light"/>
                <a:sym typeface="Montserrat Light"/>
              </a:defRPr>
            </a:lvl9pPr>
          </a:lstStyle>
          <a:p>
            <a:r>
              <a:rPr lang="en-US" sz="1000" b="1" noProof="0">
                <a:latin typeface="Montserrat Bold"/>
              </a:rPr>
              <a:t>ARCHITECTURE FUNCTION</a:t>
            </a:r>
            <a:endParaRPr lang="en-US" noProof="0"/>
          </a:p>
        </p:txBody>
      </p:sp>
      <p:sp>
        <p:nvSpPr>
          <p:cNvPr id="13" name="TextBox 12">
            <a:extLst>
              <a:ext uri="{FF2B5EF4-FFF2-40B4-BE49-F238E27FC236}">
                <a16:creationId xmlns:a16="http://schemas.microsoft.com/office/drawing/2014/main" id="{57685C35-C576-E1D7-9EC4-8D88042F4511}"/>
              </a:ext>
            </a:extLst>
          </p:cNvPr>
          <p:cNvSpPr txBox="1"/>
          <p:nvPr/>
        </p:nvSpPr>
        <p:spPr>
          <a:xfrm>
            <a:off x="1320590" y="6632958"/>
            <a:ext cx="2525936" cy="7386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noProof="0">
                <a:solidFill>
                  <a:srgbClr val="FFFFFF"/>
                </a:solidFill>
                <a:latin typeface="Montserrat"/>
              </a:rPr>
              <a:t>The Future architecture is based on Business and IT Strategies and scenarios</a:t>
            </a:r>
            <a:r>
              <a:rPr lang="en-US" noProof="0">
                <a:latin typeface="Montserrat"/>
              </a:rPr>
              <a:t>​</a:t>
            </a:r>
          </a:p>
        </p:txBody>
      </p:sp>
      <p:sp>
        <p:nvSpPr>
          <p:cNvPr id="15" name="TextBox 14">
            <a:extLst>
              <a:ext uri="{FF2B5EF4-FFF2-40B4-BE49-F238E27FC236}">
                <a16:creationId xmlns:a16="http://schemas.microsoft.com/office/drawing/2014/main" id="{19C92EA6-62FC-F776-7C1B-89A4CB2CE2AD}"/>
              </a:ext>
            </a:extLst>
          </p:cNvPr>
          <p:cNvSpPr txBox="1"/>
          <p:nvPr/>
        </p:nvSpPr>
        <p:spPr>
          <a:xfrm>
            <a:off x="14299780" y="5489959"/>
            <a:ext cx="2743200" cy="116955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noProof="0">
                <a:solidFill>
                  <a:srgbClr val="FFFFFF"/>
                </a:solidFill>
                <a:latin typeface="Montserrat"/>
              </a:rPr>
              <a:t>The Current architecture represents the current state of the IT landscape (Application and Systems catalogue) </a:t>
            </a:r>
            <a:r>
              <a:rPr lang="en-US" noProof="0">
                <a:latin typeface="Montserrat"/>
              </a:rPr>
              <a:t>​</a:t>
            </a:r>
          </a:p>
        </p:txBody>
      </p:sp>
      <p:cxnSp>
        <p:nvCxnSpPr>
          <p:cNvPr id="27" name="Straight Arrow Connector 26">
            <a:extLst>
              <a:ext uri="{FF2B5EF4-FFF2-40B4-BE49-F238E27FC236}">
                <a16:creationId xmlns:a16="http://schemas.microsoft.com/office/drawing/2014/main" id="{0B21261E-6462-BECF-EEA1-6554F90414BB}"/>
              </a:ext>
            </a:extLst>
          </p:cNvPr>
          <p:cNvCxnSpPr/>
          <p:nvPr/>
        </p:nvCxnSpPr>
        <p:spPr>
          <a:xfrm flipV="1">
            <a:off x="3812520" y="6185207"/>
            <a:ext cx="640459" cy="370292"/>
          </a:xfrm>
          <a:prstGeom prst="straightConnector1">
            <a:avLst/>
          </a:prstGeom>
          <a:ln w="28575">
            <a:solidFill>
              <a:srgbClr val="7E33EF"/>
            </a:solidFil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4532E0D9-D2D1-0620-6E7B-9EB019A181BF}"/>
              </a:ext>
            </a:extLst>
          </p:cNvPr>
          <p:cNvSpPr/>
          <p:nvPr/>
        </p:nvSpPr>
        <p:spPr>
          <a:xfrm>
            <a:off x="12528457" y="2598257"/>
            <a:ext cx="3257076" cy="1471729"/>
          </a:xfrm>
          <a:prstGeom prst="rect">
            <a:avLst/>
          </a:prstGeom>
          <a:solidFill>
            <a:srgbClr val="7E33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0" name="TextBox 39">
            <a:extLst>
              <a:ext uri="{FF2B5EF4-FFF2-40B4-BE49-F238E27FC236}">
                <a16:creationId xmlns:a16="http://schemas.microsoft.com/office/drawing/2014/main" id="{0470AB6D-2118-960B-56AA-0A4A40F23A8D}"/>
              </a:ext>
            </a:extLst>
          </p:cNvPr>
          <p:cNvSpPr txBox="1"/>
          <p:nvPr/>
        </p:nvSpPr>
        <p:spPr>
          <a:xfrm>
            <a:off x="12665574" y="2739665"/>
            <a:ext cx="2969911" cy="138499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noProof="0">
                <a:solidFill>
                  <a:srgbClr val="FFFFFF"/>
                </a:solidFill>
                <a:latin typeface="Montserrat"/>
              </a:rPr>
              <a:t>Projects develop and deliver solutions which meet individual business and technical needs in the context of the Future architecture</a:t>
            </a:r>
            <a:endParaRPr lang="en-US" noProof="0">
              <a:latin typeface="Montserrat"/>
            </a:endParaRPr>
          </a:p>
          <a:p>
            <a:endParaRPr lang="en-US" noProof="0">
              <a:latin typeface="Montserrat"/>
            </a:endParaRPr>
          </a:p>
        </p:txBody>
      </p:sp>
      <p:cxnSp>
        <p:nvCxnSpPr>
          <p:cNvPr id="41" name="Straight Arrow Connector 40">
            <a:extLst>
              <a:ext uri="{FF2B5EF4-FFF2-40B4-BE49-F238E27FC236}">
                <a16:creationId xmlns:a16="http://schemas.microsoft.com/office/drawing/2014/main" id="{C6F2A134-19C1-5885-4A93-D57E7C7EF288}"/>
              </a:ext>
            </a:extLst>
          </p:cNvPr>
          <p:cNvCxnSpPr>
            <a:cxnSpLocks/>
          </p:cNvCxnSpPr>
          <p:nvPr/>
        </p:nvCxnSpPr>
        <p:spPr>
          <a:xfrm>
            <a:off x="9433057" y="3504089"/>
            <a:ext cx="3096491" cy="35898"/>
          </a:xfrm>
          <a:prstGeom prst="straightConnector1">
            <a:avLst/>
          </a:prstGeom>
          <a:ln w="28575">
            <a:solidFill>
              <a:srgbClr val="7E33EF"/>
            </a:solidFill>
          </a:ln>
        </p:spPr>
        <p:style>
          <a:lnRef idx="1">
            <a:schemeClr val="accent1"/>
          </a:lnRef>
          <a:fillRef idx="0">
            <a:schemeClr val="accent1"/>
          </a:fillRef>
          <a:effectRef idx="0">
            <a:schemeClr val="accent1"/>
          </a:effectRef>
          <a:fontRef idx="minor">
            <a:schemeClr val="tx1"/>
          </a:fontRef>
        </p:style>
      </p:cxnSp>
      <p:sp>
        <p:nvSpPr>
          <p:cNvPr id="6" name="Isosceles Triangle 5">
            <a:extLst>
              <a:ext uri="{FF2B5EF4-FFF2-40B4-BE49-F238E27FC236}">
                <a16:creationId xmlns:a16="http://schemas.microsoft.com/office/drawing/2014/main" id="{06242651-A462-D26A-1FCC-C3BF08DDB9FD}"/>
              </a:ext>
            </a:extLst>
          </p:cNvPr>
          <p:cNvSpPr/>
          <p:nvPr/>
        </p:nvSpPr>
        <p:spPr>
          <a:xfrm rot="1440000">
            <a:off x="5733874" y="4647456"/>
            <a:ext cx="232133" cy="172396"/>
          </a:xfrm>
          <a:prstGeom prst="triangle">
            <a:avLst/>
          </a:prstGeom>
          <a:solidFill>
            <a:srgbClr val="7E33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7" name="Isosceles Triangle 6">
            <a:extLst>
              <a:ext uri="{FF2B5EF4-FFF2-40B4-BE49-F238E27FC236}">
                <a16:creationId xmlns:a16="http://schemas.microsoft.com/office/drawing/2014/main" id="{E02EDA85-591A-BF63-8D0F-2666E6576209}"/>
              </a:ext>
            </a:extLst>
          </p:cNvPr>
          <p:cNvSpPr/>
          <p:nvPr/>
        </p:nvSpPr>
        <p:spPr>
          <a:xfrm rot="3840000">
            <a:off x="7046907" y="3277745"/>
            <a:ext cx="232133" cy="172396"/>
          </a:xfrm>
          <a:prstGeom prst="triangle">
            <a:avLst/>
          </a:prstGeom>
          <a:solidFill>
            <a:srgbClr val="7E33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Isosceles Triangle 13">
            <a:extLst>
              <a:ext uri="{FF2B5EF4-FFF2-40B4-BE49-F238E27FC236}">
                <a16:creationId xmlns:a16="http://schemas.microsoft.com/office/drawing/2014/main" id="{10413E14-85DF-CF32-533B-A7EA9314206C}"/>
              </a:ext>
            </a:extLst>
          </p:cNvPr>
          <p:cNvSpPr/>
          <p:nvPr/>
        </p:nvSpPr>
        <p:spPr>
          <a:xfrm rot="6960000">
            <a:off x="9956361" y="3381654"/>
            <a:ext cx="232133" cy="172396"/>
          </a:xfrm>
          <a:prstGeom prst="triangle">
            <a:avLst/>
          </a:prstGeom>
          <a:solidFill>
            <a:srgbClr val="7E33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7" name="Isosceles Triangle 16">
            <a:extLst>
              <a:ext uri="{FF2B5EF4-FFF2-40B4-BE49-F238E27FC236}">
                <a16:creationId xmlns:a16="http://schemas.microsoft.com/office/drawing/2014/main" id="{3FA1E8DE-23B8-2C4C-87F5-2AEB88D20053}"/>
              </a:ext>
            </a:extLst>
          </p:cNvPr>
          <p:cNvSpPr/>
          <p:nvPr/>
        </p:nvSpPr>
        <p:spPr>
          <a:xfrm rot="9720000">
            <a:off x="11174931" y="4779703"/>
            <a:ext cx="232133" cy="172396"/>
          </a:xfrm>
          <a:prstGeom prst="triangle">
            <a:avLst/>
          </a:prstGeom>
          <a:solidFill>
            <a:srgbClr val="7E33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9" name="Isosceles Triangle 18">
            <a:extLst>
              <a:ext uri="{FF2B5EF4-FFF2-40B4-BE49-F238E27FC236}">
                <a16:creationId xmlns:a16="http://schemas.microsoft.com/office/drawing/2014/main" id="{E0F2C897-AC19-FF2D-A1C8-00945BE882ED}"/>
              </a:ext>
            </a:extLst>
          </p:cNvPr>
          <p:cNvSpPr/>
          <p:nvPr/>
        </p:nvSpPr>
        <p:spPr>
          <a:xfrm rot="12000000">
            <a:off x="11222162" y="6791761"/>
            <a:ext cx="232133" cy="172396"/>
          </a:xfrm>
          <a:prstGeom prst="triangle">
            <a:avLst/>
          </a:prstGeom>
          <a:solidFill>
            <a:srgbClr val="7E33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0" name="Isosceles Triangle 19">
            <a:extLst>
              <a:ext uri="{FF2B5EF4-FFF2-40B4-BE49-F238E27FC236}">
                <a16:creationId xmlns:a16="http://schemas.microsoft.com/office/drawing/2014/main" id="{947197F1-EA1B-328D-492B-BE4E1CFF6006}"/>
              </a:ext>
            </a:extLst>
          </p:cNvPr>
          <p:cNvSpPr/>
          <p:nvPr/>
        </p:nvSpPr>
        <p:spPr>
          <a:xfrm rot="13440000">
            <a:off x="10570369" y="7802512"/>
            <a:ext cx="232133" cy="172396"/>
          </a:xfrm>
          <a:prstGeom prst="triangle">
            <a:avLst/>
          </a:prstGeom>
          <a:solidFill>
            <a:srgbClr val="7E33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5" name="Isosceles Triangle 24">
            <a:extLst>
              <a:ext uri="{FF2B5EF4-FFF2-40B4-BE49-F238E27FC236}">
                <a16:creationId xmlns:a16="http://schemas.microsoft.com/office/drawing/2014/main" id="{F2B11D30-71A4-0A46-73D5-3F19CC65EDEE}"/>
              </a:ext>
            </a:extLst>
          </p:cNvPr>
          <p:cNvSpPr/>
          <p:nvPr/>
        </p:nvSpPr>
        <p:spPr>
          <a:xfrm rot="18840000">
            <a:off x="6310096" y="7840297"/>
            <a:ext cx="232133" cy="172396"/>
          </a:xfrm>
          <a:prstGeom prst="triangle">
            <a:avLst/>
          </a:prstGeom>
          <a:solidFill>
            <a:srgbClr val="7E33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6" name="Isosceles Triangle 25">
            <a:extLst>
              <a:ext uri="{FF2B5EF4-FFF2-40B4-BE49-F238E27FC236}">
                <a16:creationId xmlns:a16="http://schemas.microsoft.com/office/drawing/2014/main" id="{F58D1170-8F26-9AFC-5C37-CB19DA339742}"/>
              </a:ext>
            </a:extLst>
          </p:cNvPr>
          <p:cNvSpPr/>
          <p:nvPr/>
        </p:nvSpPr>
        <p:spPr>
          <a:xfrm rot="20280000">
            <a:off x="5582732" y="6650066"/>
            <a:ext cx="232133" cy="172396"/>
          </a:xfrm>
          <a:prstGeom prst="triangle">
            <a:avLst/>
          </a:prstGeom>
          <a:solidFill>
            <a:srgbClr val="7E33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10" name="Straight Arrow Connector 9">
            <a:extLst>
              <a:ext uri="{FF2B5EF4-FFF2-40B4-BE49-F238E27FC236}">
                <a16:creationId xmlns:a16="http://schemas.microsoft.com/office/drawing/2014/main" id="{F262DD15-E17A-8DF2-204C-EEB90D15B448}"/>
              </a:ext>
            </a:extLst>
          </p:cNvPr>
          <p:cNvCxnSpPr>
            <a:cxnSpLocks/>
          </p:cNvCxnSpPr>
          <p:nvPr/>
        </p:nvCxnSpPr>
        <p:spPr>
          <a:xfrm>
            <a:off x="13337268" y="6171124"/>
            <a:ext cx="753814" cy="7559"/>
          </a:xfrm>
          <a:prstGeom prst="straightConnector1">
            <a:avLst/>
          </a:prstGeom>
          <a:ln w="28575">
            <a:solidFill>
              <a:srgbClr val="7E33EF"/>
            </a:solidFill>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A13BEDD7-FA77-A6C3-773E-0D452C2FD3EF}"/>
              </a:ext>
            </a:extLst>
          </p:cNvPr>
          <p:cNvCxnSpPr>
            <a:cxnSpLocks/>
          </p:cNvCxnSpPr>
          <p:nvPr/>
        </p:nvCxnSpPr>
        <p:spPr>
          <a:xfrm>
            <a:off x="3935321" y="7489255"/>
            <a:ext cx="3068154" cy="1273360"/>
          </a:xfrm>
          <a:prstGeom prst="straightConnector1">
            <a:avLst/>
          </a:prstGeom>
          <a:ln w="28575">
            <a:solidFill>
              <a:srgbClr val="7E33EF"/>
            </a:solidFill>
          </a:ln>
        </p:spPr>
        <p:style>
          <a:lnRef idx="1">
            <a:schemeClr val="accent1"/>
          </a:lnRef>
          <a:fillRef idx="0">
            <a:schemeClr val="accent1"/>
          </a:fillRef>
          <a:effectRef idx="0">
            <a:schemeClr val="accent1"/>
          </a:effectRef>
          <a:fontRef idx="minor">
            <a:schemeClr val="tx1"/>
          </a:fontRef>
        </p:style>
      </p:cxnSp>
      <p:grpSp>
        <p:nvGrpSpPr>
          <p:cNvPr id="18" name="Group 7">
            <a:extLst>
              <a:ext uri="{FF2B5EF4-FFF2-40B4-BE49-F238E27FC236}">
                <a16:creationId xmlns:a16="http://schemas.microsoft.com/office/drawing/2014/main" id="{165BA2E2-F31B-421C-1C45-6CE278864CF0}"/>
              </a:ext>
            </a:extLst>
          </p:cNvPr>
          <p:cNvGrpSpPr/>
          <p:nvPr/>
        </p:nvGrpSpPr>
        <p:grpSpPr>
          <a:xfrm>
            <a:off x="10594286" y="1827661"/>
            <a:ext cx="612363" cy="56823"/>
            <a:chOff x="0" y="0"/>
            <a:chExt cx="1078484" cy="100076"/>
          </a:xfrm>
        </p:grpSpPr>
        <p:sp>
          <p:nvSpPr>
            <p:cNvPr id="11" name="Freeform 8">
              <a:extLst>
                <a:ext uri="{FF2B5EF4-FFF2-40B4-BE49-F238E27FC236}">
                  <a16:creationId xmlns:a16="http://schemas.microsoft.com/office/drawing/2014/main" id="{6B589D39-5D34-ED41-8BEA-C5FCF48C9CFF}"/>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spTree>
    <p:extLst>
      <p:ext uri="{BB962C8B-B14F-4D97-AF65-F5344CB8AC3E}">
        <p14:creationId xmlns:p14="http://schemas.microsoft.com/office/powerpoint/2010/main" val="27666977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07F44A-7367-2306-0EDF-A93FA970FCD9}"/>
            </a:ext>
          </a:extLst>
        </p:cNvPr>
        <p:cNvGrpSpPr/>
        <p:nvPr/>
      </p:nvGrpSpPr>
      <p:grpSpPr>
        <a:xfrm>
          <a:off x="0" y="0"/>
          <a:ext cx="0" cy="0"/>
          <a:chOff x="0" y="0"/>
          <a:chExt cx="0" cy="0"/>
        </a:xfrm>
      </p:grpSpPr>
      <p:sp>
        <p:nvSpPr>
          <p:cNvPr id="4" name="Title 4">
            <a:extLst>
              <a:ext uri="{FF2B5EF4-FFF2-40B4-BE49-F238E27FC236}">
                <a16:creationId xmlns:a16="http://schemas.microsoft.com/office/drawing/2014/main" id="{08FF8183-2B32-4351-7615-DFE59E288422}"/>
              </a:ext>
            </a:extLst>
          </p:cNvPr>
          <p:cNvSpPr>
            <a:spLocks noGrp="1"/>
          </p:cNvSpPr>
          <p:nvPr>
            <p:ph type="title"/>
          </p:nvPr>
        </p:nvSpPr>
        <p:spPr>
          <a:xfrm>
            <a:off x="1230100" y="3009200"/>
            <a:ext cx="6692400" cy="2964600"/>
          </a:xfrm>
        </p:spPr>
        <p:txBody>
          <a:bodyPr/>
          <a:lstStyle/>
          <a:p>
            <a:r>
              <a:rPr lang="en-US" sz="4400" noProof="0">
                <a:latin typeface="Montserrat Bold"/>
              </a:rPr>
              <a:t>ADVISORY SERVICES</a:t>
            </a:r>
            <a:br>
              <a:rPr lang="en-US" sz="4400" noProof="0">
                <a:latin typeface="Montserrat Bold"/>
              </a:rPr>
            </a:br>
            <a:br>
              <a:rPr lang="en-US" sz="4400" noProof="0">
                <a:latin typeface="Montserrat Bold"/>
              </a:rPr>
            </a:br>
            <a:r>
              <a:rPr lang="en-US" sz="4400" noProof="0">
                <a:latin typeface="Montserrat Bold"/>
              </a:rPr>
              <a:t>Digital Office &amp; </a:t>
            </a:r>
            <a:br>
              <a:rPr lang="en-US" sz="4400" noProof="0">
                <a:latin typeface="Montserrat Bold"/>
              </a:rPr>
            </a:br>
            <a:r>
              <a:rPr lang="en-US" sz="4400" i="1" noProof="0">
                <a:latin typeface="Montserrat Bold"/>
              </a:rPr>
              <a:t>NextGen</a:t>
            </a:r>
            <a:r>
              <a:rPr lang="en-US" sz="4400" noProof="0">
                <a:latin typeface="Montserrat Bold"/>
              </a:rPr>
              <a:t> PMO</a:t>
            </a:r>
          </a:p>
        </p:txBody>
      </p:sp>
    </p:spTree>
    <p:extLst>
      <p:ext uri="{BB962C8B-B14F-4D97-AF65-F5344CB8AC3E}">
        <p14:creationId xmlns:p14="http://schemas.microsoft.com/office/powerpoint/2010/main" val="417008815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E26430-722E-CE9C-2EC1-A8A8CA1F8F8F}"/>
              </a:ext>
            </a:extLst>
          </p:cNvPr>
          <p:cNvSpPr>
            <a:spLocks noGrp="1"/>
          </p:cNvSpPr>
          <p:nvPr>
            <p:ph type="title" idx="4294967295"/>
          </p:nvPr>
        </p:nvSpPr>
        <p:spPr>
          <a:xfrm>
            <a:off x="1080600" y="791929"/>
            <a:ext cx="10216200" cy="1145400"/>
          </a:xfrm>
        </p:spPr>
        <p:txBody>
          <a:bodyPr/>
          <a:lstStyle/>
          <a:p>
            <a:r>
              <a:rPr lang="en-US" sz="4000">
                <a:solidFill>
                  <a:schemeClr val="bg1"/>
                </a:solidFill>
              </a:rPr>
              <a:t>Digital Office</a:t>
            </a:r>
            <a:br>
              <a:rPr lang="en-US" sz="4000">
                <a:solidFill>
                  <a:schemeClr val="bg1"/>
                </a:solidFill>
              </a:rPr>
            </a:br>
            <a:r>
              <a:rPr lang="en-US" sz="2800">
                <a:solidFill>
                  <a:srgbClr val="6800FF"/>
                </a:solidFill>
                <a:latin typeface="Montserrat Light"/>
              </a:rPr>
              <a:t>Major</a:t>
            </a:r>
            <a:r>
              <a:rPr lang="en-US" sz="2800" noProof="0">
                <a:solidFill>
                  <a:srgbClr val="6800FF"/>
                </a:solidFill>
                <a:latin typeface="Montserrat Light"/>
              </a:rPr>
              <a:t> challenges and objective</a:t>
            </a:r>
          </a:p>
        </p:txBody>
      </p:sp>
      <p:sp>
        <p:nvSpPr>
          <p:cNvPr id="3" name="Text Placeholder 2">
            <a:extLst>
              <a:ext uri="{FF2B5EF4-FFF2-40B4-BE49-F238E27FC236}">
                <a16:creationId xmlns:a16="http://schemas.microsoft.com/office/drawing/2014/main" id="{F0BC83AC-8613-9A81-B433-6F4D04041CEA}"/>
              </a:ext>
            </a:extLst>
          </p:cNvPr>
          <p:cNvSpPr>
            <a:spLocks noGrp="1"/>
          </p:cNvSpPr>
          <p:nvPr>
            <p:ph type="body" idx="4294967295"/>
          </p:nvPr>
        </p:nvSpPr>
        <p:spPr>
          <a:xfrm>
            <a:off x="1080600" y="3130350"/>
            <a:ext cx="9428561" cy="5891400"/>
          </a:xfrm>
        </p:spPr>
        <p:txBody>
          <a:bodyPr/>
          <a:lstStyle/>
          <a:p>
            <a:pPr marL="304800" indent="0">
              <a:buNone/>
            </a:pPr>
            <a:r>
              <a:rPr lang="en-US" sz="2000" noProof="0">
                <a:solidFill>
                  <a:schemeClr val="bg1"/>
                </a:solidFill>
              </a:rPr>
              <a:t>Organizations are investing in a </a:t>
            </a:r>
            <a:r>
              <a:rPr lang="en-US" sz="2000" b="1" noProof="0">
                <a:solidFill>
                  <a:schemeClr val="bg1"/>
                </a:solidFill>
              </a:rPr>
              <a:t>business-driven transformation</a:t>
            </a:r>
            <a:r>
              <a:rPr lang="en-US" sz="2000" noProof="0">
                <a:solidFill>
                  <a:schemeClr val="bg1"/>
                </a:solidFill>
              </a:rPr>
              <a:t> plan which covers </a:t>
            </a:r>
            <a:r>
              <a:rPr lang="en-US" sz="2000" b="1" noProof="0">
                <a:solidFill>
                  <a:schemeClr val="bg1"/>
                </a:solidFill>
              </a:rPr>
              <a:t>Operational Processes, Data and Technology</a:t>
            </a:r>
            <a:r>
              <a:rPr lang="en-US" sz="2000" noProof="0">
                <a:solidFill>
                  <a:schemeClr val="bg1"/>
                </a:solidFill>
              </a:rPr>
              <a:t>, always considering </a:t>
            </a:r>
            <a:r>
              <a:rPr lang="en-US" sz="2000" b="1" noProof="0">
                <a:solidFill>
                  <a:schemeClr val="bg1"/>
                </a:solidFill>
              </a:rPr>
              <a:t>Cybersecurity</a:t>
            </a:r>
            <a:r>
              <a:rPr lang="en-US" sz="2000" noProof="0">
                <a:solidFill>
                  <a:schemeClr val="bg1"/>
                </a:solidFill>
              </a:rPr>
              <a:t>.​</a:t>
            </a:r>
          </a:p>
          <a:p>
            <a:pPr marL="304800" indent="0">
              <a:buNone/>
            </a:pPr>
            <a:endParaRPr lang="en-US" sz="2000" noProof="0">
              <a:solidFill>
                <a:schemeClr val="bg1"/>
              </a:solidFill>
            </a:endParaRPr>
          </a:p>
          <a:p>
            <a:pPr marL="304800" indent="0">
              <a:buNone/>
            </a:pPr>
            <a:r>
              <a:rPr lang="en-US" sz="2000" noProof="0">
                <a:solidFill>
                  <a:schemeClr val="bg1"/>
                </a:solidFill>
              </a:rPr>
              <a:t>The </a:t>
            </a:r>
            <a:r>
              <a:rPr lang="en-US" sz="2000" b="1" noProof="0">
                <a:solidFill>
                  <a:schemeClr val="bg1"/>
                </a:solidFill>
              </a:rPr>
              <a:t>success of the transformation</a:t>
            </a:r>
            <a:r>
              <a:rPr lang="en-US" sz="2000" noProof="0">
                <a:solidFill>
                  <a:schemeClr val="bg1"/>
                </a:solidFill>
              </a:rPr>
              <a:t> is based on Client’s ability to: 1) find </a:t>
            </a:r>
            <a:r>
              <a:rPr lang="en-US" sz="2000" b="1" noProof="0">
                <a:solidFill>
                  <a:schemeClr val="bg1"/>
                </a:solidFill>
              </a:rPr>
              <a:t>synergies between teams </a:t>
            </a:r>
            <a:r>
              <a:rPr lang="en-US" sz="2000" noProof="0">
                <a:solidFill>
                  <a:schemeClr val="bg1"/>
                </a:solidFill>
              </a:rPr>
              <a:t>and areas; 2) ensure a </a:t>
            </a:r>
            <a:r>
              <a:rPr lang="en-US" sz="2000" b="1" noProof="0">
                <a:solidFill>
                  <a:schemeClr val="bg1"/>
                </a:solidFill>
              </a:rPr>
              <a:t>Solution Architecture</a:t>
            </a:r>
            <a:r>
              <a:rPr lang="en-US" sz="2000" noProof="0">
                <a:solidFill>
                  <a:schemeClr val="bg1"/>
                </a:solidFill>
              </a:rPr>
              <a:t> mid-term strategic mindset; 3) manage a </a:t>
            </a:r>
            <a:r>
              <a:rPr lang="en-US" sz="2000" b="1" noProof="0">
                <a:solidFill>
                  <a:schemeClr val="bg1"/>
                </a:solidFill>
              </a:rPr>
              <a:t>challenging delivery plan</a:t>
            </a:r>
            <a:r>
              <a:rPr lang="en-US" sz="2000" noProof="0">
                <a:solidFill>
                  <a:schemeClr val="bg1"/>
                </a:solidFill>
              </a:rPr>
              <a:t>, providing </a:t>
            </a:r>
            <a:r>
              <a:rPr lang="en-US" sz="2000" b="1" noProof="0">
                <a:solidFill>
                  <a:schemeClr val="bg1"/>
                </a:solidFill>
              </a:rPr>
              <a:t>expert support as well as compliance to plan &amp; budget</a:t>
            </a:r>
            <a:r>
              <a:rPr lang="en-US" sz="2000" noProof="0">
                <a:solidFill>
                  <a:schemeClr val="bg1"/>
                </a:solidFill>
              </a:rPr>
              <a:t>.​</a:t>
            </a:r>
          </a:p>
          <a:p>
            <a:pPr marL="304800" indent="0">
              <a:buNone/>
            </a:pPr>
            <a:endParaRPr lang="en-US" sz="2000" noProof="0">
              <a:solidFill>
                <a:schemeClr val="bg1"/>
              </a:solidFill>
            </a:endParaRPr>
          </a:p>
          <a:p>
            <a:pPr marL="304800" indent="0">
              <a:buNone/>
            </a:pPr>
            <a:r>
              <a:rPr lang="en-US" sz="2000" noProof="0">
                <a:solidFill>
                  <a:schemeClr val="bg1"/>
                </a:solidFill>
              </a:rPr>
              <a:t>Qintess has extensive experience in </a:t>
            </a:r>
            <a:r>
              <a:rPr lang="en-US" sz="2000" b="1" noProof="0">
                <a:solidFill>
                  <a:schemeClr val="bg1"/>
                </a:solidFill>
              </a:rPr>
              <a:t>leading the definition and implementation of strategic programs</a:t>
            </a:r>
            <a:r>
              <a:rPr lang="en-US" sz="2000" noProof="0">
                <a:solidFill>
                  <a:schemeClr val="bg1"/>
                </a:solidFill>
              </a:rPr>
              <a:t>,  that will mainly support operational efficiencies aligned with expected business growth.​</a:t>
            </a:r>
          </a:p>
          <a:p>
            <a:pPr marL="304800" indent="0">
              <a:buNone/>
            </a:pPr>
            <a:endParaRPr lang="en-US" sz="2000" noProof="0">
              <a:solidFill>
                <a:schemeClr val="bg1"/>
              </a:solidFill>
            </a:endParaRPr>
          </a:p>
          <a:p>
            <a:pPr marL="304800" indent="0">
              <a:buNone/>
            </a:pPr>
            <a:endParaRPr lang="en-US" noProof="0">
              <a:solidFill>
                <a:schemeClr val="bg1"/>
              </a:solidFill>
            </a:endParaRPr>
          </a:p>
        </p:txBody>
      </p:sp>
      <p:grpSp>
        <p:nvGrpSpPr>
          <p:cNvPr id="5" name="Group 11">
            <a:extLst>
              <a:ext uri="{FF2B5EF4-FFF2-40B4-BE49-F238E27FC236}">
                <a16:creationId xmlns:a16="http://schemas.microsoft.com/office/drawing/2014/main" id="{87DED1B5-D591-92EA-A0D7-CF7818290190}"/>
              </a:ext>
            </a:extLst>
          </p:cNvPr>
          <p:cNvGrpSpPr/>
          <p:nvPr/>
        </p:nvGrpSpPr>
        <p:grpSpPr>
          <a:xfrm>
            <a:off x="11206375" y="2161989"/>
            <a:ext cx="6604228" cy="5584938"/>
            <a:chOff x="0" y="-28575"/>
            <a:chExt cx="2027627" cy="1847921"/>
          </a:xfrm>
        </p:grpSpPr>
        <p:sp>
          <p:nvSpPr>
            <p:cNvPr id="6" name="Freeform 12">
              <a:extLst>
                <a:ext uri="{FF2B5EF4-FFF2-40B4-BE49-F238E27FC236}">
                  <a16:creationId xmlns:a16="http://schemas.microsoft.com/office/drawing/2014/main" id="{53A7343E-8DAC-EA20-8516-012A3C79BBD5}"/>
                </a:ext>
              </a:extLst>
            </p:cNvPr>
            <p:cNvSpPr/>
            <p:nvPr/>
          </p:nvSpPr>
          <p:spPr>
            <a:xfrm>
              <a:off x="0" y="0"/>
              <a:ext cx="2027627" cy="1819346"/>
            </a:xfrm>
            <a:custGeom>
              <a:avLst/>
              <a:gdLst/>
              <a:ahLst/>
              <a:cxnLst/>
              <a:rect l="l" t="t" r="r" b="b"/>
              <a:pathLst>
                <a:path w="2027627" h="1819346">
                  <a:moveTo>
                    <a:pt x="32180" y="0"/>
                  </a:moveTo>
                  <a:lnTo>
                    <a:pt x="1995447" y="0"/>
                  </a:lnTo>
                  <a:cubicBezTo>
                    <a:pt x="2013219" y="0"/>
                    <a:pt x="2027627" y="14407"/>
                    <a:pt x="2027627" y="32180"/>
                  </a:cubicBezTo>
                  <a:lnTo>
                    <a:pt x="2027627" y="1787166"/>
                  </a:lnTo>
                  <a:cubicBezTo>
                    <a:pt x="2027627" y="1804938"/>
                    <a:pt x="2013219" y="1819346"/>
                    <a:pt x="1995447" y="1819346"/>
                  </a:cubicBezTo>
                  <a:lnTo>
                    <a:pt x="32180" y="1819346"/>
                  </a:lnTo>
                  <a:cubicBezTo>
                    <a:pt x="14407" y="1819346"/>
                    <a:pt x="0" y="1804938"/>
                    <a:pt x="0" y="1787166"/>
                  </a:cubicBezTo>
                  <a:lnTo>
                    <a:pt x="0" y="32180"/>
                  </a:lnTo>
                  <a:cubicBezTo>
                    <a:pt x="0" y="14407"/>
                    <a:pt x="14407" y="0"/>
                    <a:pt x="32180" y="0"/>
                  </a:cubicBezTo>
                  <a:close/>
                </a:path>
              </a:pathLst>
            </a:custGeom>
            <a:solidFill>
              <a:srgbClr val="6800FF"/>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 name="TextBox 13">
              <a:extLst>
                <a:ext uri="{FF2B5EF4-FFF2-40B4-BE49-F238E27FC236}">
                  <a16:creationId xmlns:a16="http://schemas.microsoft.com/office/drawing/2014/main" id="{F4759D0D-4F18-8DC0-E208-42210C57EBB7}"/>
                </a:ext>
              </a:extLst>
            </p:cNvPr>
            <p:cNvSpPr txBox="1"/>
            <p:nvPr/>
          </p:nvSpPr>
          <p:spPr>
            <a:xfrm>
              <a:off x="0" y="-28575"/>
              <a:ext cx="2027627" cy="1847921"/>
            </a:xfrm>
            <a:prstGeom prst="rect">
              <a:avLst/>
            </a:prstGeom>
          </p:spPr>
          <p:txBody>
            <a:bodyPr lIns="50800" tIns="50800" rIns="50800" bIns="50800" rtlCol="0" anchor="ctr"/>
            <a:lstStyle/>
            <a:p>
              <a:pPr marL="0" marR="0" lvl="0" indent="0" algn="ctr" defTabSz="914400" rtl="0" eaLnBrk="1" fontAlgn="auto" latinLnBrk="0" hangingPunct="1">
                <a:lnSpc>
                  <a:spcPts val="196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8" name="Freeform 14">
            <a:extLst>
              <a:ext uri="{FF2B5EF4-FFF2-40B4-BE49-F238E27FC236}">
                <a16:creationId xmlns:a16="http://schemas.microsoft.com/office/drawing/2014/main" id="{E6DFAC49-10FD-23A6-406E-55648353167B}"/>
              </a:ext>
            </a:extLst>
          </p:cNvPr>
          <p:cNvSpPr/>
          <p:nvPr/>
        </p:nvSpPr>
        <p:spPr>
          <a:xfrm>
            <a:off x="11541896" y="2882208"/>
            <a:ext cx="1721001" cy="1699098"/>
          </a:xfrm>
          <a:custGeom>
            <a:avLst/>
            <a:gdLst/>
            <a:ahLst/>
            <a:cxnLst/>
            <a:rect l="l" t="t" r="r" b="b"/>
            <a:pathLst>
              <a:path w="1721001" h="1699098">
                <a:moveTo>
                  <a:pt x="0" y="0"/>
                </a:moveTo>
                <a:lnTo>
                  <a:pt x="1721001" y="0"/>
                </a:lnTo>
                <a:lnTo>
                  <a:pt x="1721001" y="1699098"/>
                </a:lnTo>
                <a:lnTo>
                  <a:pt x="0" y="1699098"/>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9" name="TextBox 21">
            <a:extLst>
              <a:ext uri="{FF2B5EF4-FFF2-40B4-BE49-F238E27FC236}">
                <a16:creationId xmlns:a16="http://schemas.microsoft.com/office/drawing/2014/main" id="{FAB3D2C8-D6A8-F993-3A38-2E926D868123}"/>
              </a:ext>
            </a:extLst>
          </p:cNvPr>
          <p:cNvSpPr txBox="1"/>
          <p:nvPr/>
        </p:nvSpPr>
        <p:spPr>
          <a:xfrm>
            <a:off x="13640869" y="3315216"/>
            <a:ext cx="3877757" cy="853943"/>
          </a:xfrm>
          <a:prstGeom prst="rect">
            <a:avLst/>
          </a:prstGeom>
        </p:spPr>
        <p:txBody>
          <a:bodyPr lIns="0" tIns="0" rIns="0" bIns="0" rtlCol="0" anchor="t">
            <a:spAutoFit/>
          </a:bodyPr>
          <a:lstStyle/>
          <a:p>
            <a:pPr marL="0" marR="0" lvl="0" indent="0" algn="l" defTabSz="914400" rtl="0" eaLnBrk="1" fontAlgn="auto" latinLnBrk="0" hangingPunct="1">
              <a:lnSpc>
                <a:spcPts val="7000"/>
              </a:lnSpc>
              <a:spcBef>
                <a:spcPts val="0"/>
              </a:spcBef>
              <a:spcAft>
                <a:spcPts val="0"/>
              </a:spcAft>
              <a:buClrTx/>
              <a:buSzTx/>
              <a:buFontTx/>
              <a:buNone/>
              <a:tabLst/>
              <a:defRPr/>
            </a:pPr>
            <a:r>
              <a:rPr kumimoji="0" lang="en-US" sz="5000" b="0" i="0" u="none" strike="noStrike" kern="1200" cap="none" spc="0" normalizeH="0" baseline="0" noProof="0">
                <a:ln>
                  <a:noFill/>
                </a:ln>
                <a:solidFill>
                  <a:srgbClr val="FFFFFF"/>
                </a:solidFill>
                <a:effectLst/>
                <a:uLnTx/>
                <a:uFillTx/>
                <a:latin typeface="Montserrat Bold"/>
                <a:ea typeface="+mn-ea"/>
                <a:cs typeface="+mn-cs"/>
              </a:rPr>
              <a:t>Objective</a:t>
            </a:r>
          </a:p>
        </p:txBody>
      </p:sp>
      <p:sp>
        <p:nvSpPr>
          <p:cNvPr id="10" name="TextBox 22">
            <a:extLst>
              <a:ext uri="{FF2B5EF4-FFF2-40B4-BE49-F238E27FC236}">
                <a16:creationId xmlns:a16="http://schemas.microsoft.com/office/drawing/2014/main" id="{660AC94B-1EB9-50B6-E3F6-3FC0CFEC44BA}"/>
              </a:ext>
            </a:extLst>
          </p:cNvPr>
          <p:cNvSpPr txBox="1"/>
          <p:nvPr/>
        </p:nvSpPr>
        <p:spPr>
          <a:xfrm>
            <a:off x="11793034" y="4968828"/>
            <a:ext cx="5581487" cy="2128018"/>
          </a:xfrm>
          <a:prstGeom prst="rect">
            <a:avLst/>
          </a:prstGeom>
        </p:spPr>
        <p:txBody>
          <a:bodyPr lIns="0" tIns="0" rIns="0" bIns="0" rtlCol="0" anchor="t">
            <a:spAutoFit/>
          </a:bodyPr>
          <a:lstStyle/>
          <a:p>
            <a:pPr marL="0" marR="0" lvl="0" indent="0" algn="l" defTabSz="914400" rtl="0" eaLnBrk="1" fontAlgn="auto" latinLnBrk="0" hangingPunct="1">
              <a:lnSpc>
                <a:spcPts val="28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Montserrat Light"/>
                <a:ea typeface="+mn-ea"/>
                <a:cs typeface="+mn-cs"/>
              </a:rPr>
              <a:t>Partner to create a Digital Office and setup a Program to deliver the identified initiatives, providing both expert project advisory, solution governance support and project management capabilities that secure a successful business-driven delivery.</a:t>
            </a:r>
          </a:p>
        </p:txBody>
      </p:sp>
      <p:grpSp>
        <p:nvGrpSpPr>
          <p:cNvPr id="12" name="Group 7">
            <a:extLst>
              <a:ext uri="{FF2B5EF4-FFF2-40B4-BE49-F238E27FC236}">
                <a16:creationId xmlns:a16="http://schemas.microsoft.com/office/drawing/2014/main" id="{991C7489-A315-9FA9-18A8-55BC20FBAA9E}"/>
              </a:ext>
            </a:extLst>
          </p:cNvPr>
          <p:cNvGrpSpPr/>
          <p:nvPr/>
        </p:nvGrpSpPr>
        <p:grpSpPr>
          <a:xfrm>
            <a:off x="4707053" y="1310962"/>
            <a:ext cx="612363" cy="56823"/>
            <a:chOff x="0" y="0"/>
            <a:chExt cx="1078484" cy="100076"/>
          </a:xfrm>
        </p:grpSpPr>
        <p:sp>
          <p:nvSpPr>
            <p:cNvPr id="11" name="Freeform 8">
              <a:extLst>
                <a:ext uri="{FF2B5EF4-FFF2-40B4-BE49-F238E27FC236}">
                  <a16:creationId xmlns:a16="http://schemas.microsoft.com/office/drawing/2014/main" id="{74192B94-A0F8-9C28-A0FC-1FEF9F0A6554}"/>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spTree>
    <p:extLst>
      <p:ext uri="{BB962C8B-B14F-4D97-AF65-F5344CB8AC3E}">
        <p14:creationId xmlns:p14="http://schemas.microsoft.com/office/powerpoint/2010/main" val="18926077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1028700" y="3737509"/>
            <a:ext cx="199755" cy="199755"/>
            <a:chOff x="0" y="0"/>
            <a:chExt cx="812800" cy="812800"/>
          </a:xfrm>
        </p:grpSpPr>
        <p:sp>
          <p:nvSpPr>
            <p:cNvPr id="3" name="Freeform 3"/>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6800FF"/>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TextBox 4"/>
            <p:cNvSpPr txBox="1"/>
            <p:nvPr/>
          </p:nvSpPr>
          <p:spPr>
            <a:xfrm>
              <a:off x="76200" y="38100"/>
              <a:ext cx="660400" cy="698500"/>
            </a:xfrm>
            <a:prstGeom prst="rect">
              <a:avLst/>
            </a:prstGeom>
          </p:spPr>
          <p:txBody>
            <a:bodyPr lIns="50800" tIns="50800" rIns="50800" bIns="50800" rtlCol="0" anchor="ctr"/>
            <a:lstStyle/>
            <a:p>
              <a:pPr marL="0" marR="0" lvl="0" indent="0" algn="ctr" defTabSz="914400" rtl="0" eaLnBrk="1" fontAlgn="auto" latinLnBrk="0" hangingPunct="1">
                <a:lnSpc>
                  <a:spcPts val="2659"/>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5" name="Group 5"/>
          <p:cNvGrpSpPr/>
          <p:nvPr/>
        </p:nvGrpSpPr>
        <p:grpSpPr>
          <a:xfrm>
            <a:off x="1028700" y="2553330"/>
            <a:ext cx="199755" cy="199755"/>
            <a:chOff x="0" y="0"/>
            <a:chExt cx="812800" cy="812800"/>
          </a:xfrm>
        </p:grpSpPr>
        <p:sp>
          <p:nvSpPr>
            <p:cNvPr id="6" name="Freeform 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6800FF"/>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 name="TextBox 7"/>
            <p:cNvSpPr txBox="1"/>
            <p:nvPr/>
          </p:nvSpPr>
          <p:spPr>
            <a:xfrm>
              <a:off x="76200" y="38100"/>
              <a:ext cx="660400" cy="698500"/>
            </a:xfrm>
            <a:prstGeom prst="rect">
              <a:avLst/>
            </a:prstGeom>
          </p:spPr>
          <p:txBody>
            <a:bodyPr lIns="50800" tIns="50800" rIns="50800" bIns="50800" rtlCol="0" anchor="ctr"/>
            <a:lstStyle/>
            <a:p>
              <a:pPr marL="0" marR="0" lvl="0" indent="0" algn="ctr" defTabSz="914400" rtl="0" eaLnBrk="1" fontAlgn="auto" latinLnBrk="0" hangingPunct="1">
                <a:lnSpc>
                  <a:spcPts val="2659"/>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8" name="Group 8"/>
          <p:cNvGrpSpPr/>
          <p:nvPr/>
        </p:nvGrpSpPr>
        <p:grpSpPr>
          <a:xfrm>
            <a:off x="1028700" y="4688995"/>
            <a:ext cx="199755" cy="199755"/>
            <a:chOff x="0" y="0"/>
            <a:chExt cx="812800" cy="812800"/>
          </a:xfrm>
        </p:grpSpPr>
        <p:sp>
          <p:nvSpPr>
            <p:cNvPr id="9" name="Freeform 9"/>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6800FF"/>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0" name="TextBox 10"/>
            <p:cNvSpPr txBox="1"/>
            <p:nvPr/>
          </p:nvSpPr>
          <p:spPr>
            <a:xfrm>
              <a:off x="76200" y="38100"/>
              <a:ext cx="660400" cy="698500"/>
            </a:xfrm>
            <a:prstGeom prst="rect">
              <a:avLst/>
            </a:prstGeom>
          </p:spPr>
          <p:txBody>
            <a:bodyPr lIns="50800" tIns="50800" rIns="50800" bIns="50800" rtlCol="0" anchor="ctr"/>
            <a:lstStyle/>
            <a:p>
              <a:pPr marL="0" marR="0" lvl="0" indent="0" algn="ctr" defTabSz="914400" rtl="0" eaLnBrk="1" fontAlgn="auto" latinLnBrk="0" hangingPunct="1">
                <a:lnSpc>
                  <a:spcPts val="2659"/>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1" name="TextBox 11"/>
          <p:cNvSpPr txBox="1"/>
          <p:nvPr/>
        </p:nvSpPr>
        <p:spPr>
          <a:xfrm>
            <a:off x="1516296" y="2429506"/>
            <a:ext cx="6408000" cy="832920"/>
          </a:xfrm>
          <a:prstGeom prst="rect">
            <a:avLst/>
          </a:prstGeom>
        </p:spPr>
        <p:txBody>
          <a:bodyPr lIns="0" tIns="0" rIns="0" bIns="0" rtlCol="0" anchor="t">
            <a:spAutoFit/>
          </a:bodyPr>
          <a:lstStyle/>
          <a:p>
            <a:pPr marL="0" marR="0" lvl="0" indent="0" algn="l" defTabSz="914400" rtl="0" eaLnBrk="1" fontAlgn="auto" latinLnBrk="0" hangingPunct="1">
              <a:lnSpc>
                <a:spcPts val="224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Montserrat Light"/>
                <a:ea typeface="+mn-ea"/>
                <a:cs typeface="+mn-cs"/>
              </a:rPr>
              <a:t>Acts as the </a:t>
            </a:r>
            <a:r>
              <a:rPr kumimoji="0" lang="en-US" sz="1800" b="0" i="0" u="none" strike="noStrike" kern="1200" cap="none" spc="0" normalizeH="0" baseline="0" noProof="0">
                <a:ln>
                  <a:noFill/>
                </a:ln>
                <a:solidFill>
                  <a:srgbClr val="6800FF"/>
                </a:solidFill>
                <a:effectLst/>
                <a:uLnTx/>
                <a:uFillTx/>
                <a:latin typeface="Montserrat Bold"/>
                <a:ea typeface="+mn-ea"/>
                <a:cs typeface="+mn-cs"/>
              </a:rPr>
              <a:t>bridge between business and technology</a:t>
            </a:r>
            <a:r>
              <a:rPr kumimoji="0" lang="en-US" sz="1800" b="0" i="0" u="none" strike="noStrike" kern="1200" cap="none" spc="0" normalizeH="0" baseline="0" noProof="0">
                <a:ln>
                  <a:noFill/>
                </a:ln>
                <a:solidFill>
                  <a:srgbClr val="000000"/>
                </a:solidFill>
                <a:effectLst/>
                <a:uLnTx/>
                <a:uFillTx/>
                <a:latin typeface="Montserrat Light"/>
                <a:ea typeface="+mn-ea"/>
                <a:cs typeface="+mn-cs"/>
              </a:rPr>
              <a:t> expressing technology in business terms and business in technology terms</a:t>
            </a:r>
          </a:p>
        </p:txBody>
      </p:sp>
      <p:sp>
        <p:nvSpPr>
          <p:cNvPr id="12" name="TextBox 12"/>
          <p:cNvSpPr txBox="1"/>
          <p:nvPr/>
        </p:nvSpPr>
        <p:spPr>
          <a:xfrm>
            <a:off x="1516297" y="3636224"/>
            <a:ext cx="6408000" cy="550792"/>
          </a:xfrm>
          <a:prstGeom prst="rect">
            <a:avLst/>
          </a:prstGeom>
        </p:spPr>
        <p:txBody>
          <a:bodyPr lIns="0" tIns="0" rIns="0" bIns="0" rtlCol="0" anchor="t">
            <a:spAutoFit/>
          </a:bodyPr>
          <a:lstStyle/>
          <a:p>
            <a:pPr marL="0" marR="0" lvl="0" indent="0" algn="l" defTabSz="914400" rtl="0" eaLnBrk="1" fontAlgn="auto" latinLnBrk="0" hangingPunct="1">
              <a:lnSpc>
                <a:spcPts val="224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Montserrat Light"/>
                <a:ea typeface="+mn-ea"/>
                <a:cs typeface="+mn-cs"/>
              </a:rPr>
              <a:t>Articulates</a:t>
            </a:r>
            <a:r>
              <a:rPr kumimoji="0" lang="en-US" sz="1800" b="0" i="0" u="none" strike="noStrike" kern="1200" cap="none" spc="0" normalizeH="0" baseline="0" noProof="0">
                <a:ln>
                  <a:noFill/>
                </a:ln>
                <a:solidFill>
                  <a:srgbClr val="6800FF"/>
                </a:solidFill>
                <a:effectLst/>
                <a:uLnTx/>
                <a:uFillTx/>
                <a:latin typeface="Montserrat Bold"/>
                <a:ea typeface="+mn-ea"/>
                <a:cs typeface="+mn-cs"/>
              </a:rPr>
              <a:t> business direction and priorities</a:t>
            </a:r>
            <a:r>
              <a:rPr kumimoji="0" lang="en-US" sz="1800" b="0" i="0" u="none" strike="noStrike" kern="1200" cap="none" spc="0" normalizeH="0" baseline="0" noProof="0">
                <a:ln>
                  <a:noFill/>
                </a:ln>
                <a:solidFill>
                  <a:srgbClr val="000000"/>
                </a:solidFill>
                <a:effectLst/>
                <a:uLnTx/>
                <a:uFillTx/>
                <a:latin typeface="Montserrat Light"/>
                <a:ea typeface="+mn-ea"/>
                <a:cs typeface="+mn-cs"/>
              </a:rPr>
              <a:t> and focuses technology to support them​</a:t>
            </a:r>
          </a:p>
        </p:txBody>
      </p:sp>
      <p:sp>
        <p:nvSpPr>
          <p:cNvPr id="15" name="TextBox 15"/>
          <p:cNvSpPr txBox="1"/>
          <p:nvPr/>
        </p:nvSpPr>
        <p:spPr>
          <a:xfrm>
            <a:off x="1516297" y="4566782"/>
            <a:ext cx="6408000" cy="550792"/>
          </a:xfrm>
          <a:prstGeom prst="rect">
            <a:avLst/>
          </a:prstGeom>
        </p:spPr>
        <p:txBody>
          <a:bodyPr lIns="0" tIns="0" rIns="0" bIns="0" rtlCol="0" anchor="t">
            <a:spAutoFit/>
          </a:bodyPr>
          <a:lstStyle/>
          <a:p>
            <a:pPr marL="0" marR="0" lvl="0" indent="0" algn="l" defTabSz="914400" rtl="0" eaLnBrk="1" fontAlgn="auto" latinLnBrk="0" hangingPunct="1">
              <a:lnSpc>
                <a:spcPts val="2240"/>
              </a:lnSpc>
              <a:spcBef>
                <a:spcPts val="0"/>
              </a:spcBef>
              <a:spcAft>
                <a:spcPts val="0"/>
              </a:spcAft>
              <a:buClrTx/>
              <a:buSzTx/>
              <a:buFontTx/>
              <a:buNone/>
              <a:tabLst/>
              <a:defRPr/>
            </a:pPr>
            <a:r>
              <a:rPr kumimoji="0" lang="en-US" sz="1800" b="0" i="0" u="none" strike="noStrike" kern="1200" cap="none" spc="0" normalizeH="0" baseline="0" noProof="0">
                <a:ln>
                  <a:noFill/>
                </a:ln>
                <a:solidFill>
                  <a:srgbClr val="6800FF"/>
                </a:solidFill>
                <a:effectLst/>
                <a:uLnTx/>
                <a:uFillTx/>
                <a:latin typeface="Montserrat Bold"/>
                <a:ea typeface="+mn-ea"/>
                <a:cs typeface="+mn-cs"/>
              </a:rPr>
              <a:t>Support business change</a:t>
            </a:r>
            <a:r>
              <a:rPr kumimoji="0" lang="en-US" sz="1800" b="0" i="0" u="none" strike="noStrike" kern="1200" cap="none" spc="0" normalizeH="0" baseline="0" noProof="0">
                <a:ln>
                  <a:noFill/>
                </a:ln>
                <a:solidFill>
                  <a:srgbClr val="000000"/>
                </a:solidFill>
                <a:effectLst/>
                <a:uLnTx/>
                <a:uFillTx/>
                <a:latin typeface="Montserrat Light"/>
                <a:ea typeface="+mn-ea"/>
                <a:cs typeface="+mn-cs"/>
              </a:rPr>
              <a:t> and absorb and exploit technology change​</a:t>
            </a:r>
          </a:p>
        </p:txBody>
      </p:sp>
      <p:sp>
        <p:nvSpPr>
          <p:cNvPr id="17" name="TextBox 17"/>
          <p:cNvSpPr txBox="1"/>
          <p:nvPr/>
        </p:nvSpPr>
        <p:spPr>
          <a:xfrm>
            <a:off x="1516297" y="5497341"/>
            <a:ext cx="6408000" cy="832920"/>
          </a:xfrm>
          <a:prstGeom prst="rect">
            <a:avLst/>
          </a:prstGeom>
        </p:spPr>
        <p:txBody>
          <a:bodyPr lIns="0" tIns="0" rIns="0" bIns="0" rtlCol="0" anchor="t">
            <a:spAutoFit/>
          </a:bodyPr>
          <a:lstStyle/>
          <a:p>
            <a:pPr marL="0" marR="0" lvl="0" indent="0" algn="l" defTabSz="914400" rtl="0" eaLnBrk="1" fontAlgn="auto" latinLnBrk="0" hangingPunct="1">
              <a:lnSpc>
                <a:spcPts val="224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Montserrat Light"/>
                <a:ea typeface="+mn-ea"/>
                <a:cs typeface="+mn-cs"/>
              </a:rPr>
              <a:t>Refine, monitor and implement a governance process to support the delivery the defined roadmaps, ensuring an adaptive and </a:t>
            </a:r>
            <a:r>
              <a:rPr kumimoji="0" lang="en-US" sz="1800" b="0" i="0" u="none" strike="noStrike" kern="1200" cap="none" spc="0" normalizeH="0" baseline="0" noProof="0">
                <a:ln>
                  <a:noFill/>
                </a:ln>
                <a:solidFill>
                  <a:srgbClr val="6800FF"/>
                </a:solidFill>
                <a:effectLst/>
                <a:uLnTx/>
                <a:uFillTx/>
                <a:latin typeface="Montserrat Bold"/>
                <a:ea typeface="+mn-ea"/>
                <a:cs typeface="+mn-cs"/>
              </a:rPr>
              <a:t>business aligned Technology footprint​</a:t>
            </a:r>
          </a:p>
        </p:txBody>
      </p:sp>
      <p:sp>
        <p:nvSpPr>
          <p:cNvPr id="18" name="TextBox 18"/>
          <p:cNvSpPr txBox="1"/>
          <p:nvPr/>
        </p:nvSpPr>
        <p:spPr>
          <a:xfrm>
            <a:off x="1516296" y="6704060"/>
            <a:ext cx="6408000" cy="832920"/>
          </a:xfrm>
          <a:prstGeom prst="rect">
            <a:avLst/>
          </a:prstGeom>
        </p:spPr>
        <p:txBody>
          <a:bodyPr lIns="0" tIns="0" rIns="0" bIns="0" rtlCol="0" anchor="t">
            <a:spAutoFit/>
          </a:bodyPr>
          <a:lstStyle/>
          <a:p>
            <a:pPr marL="0" marR="0" lvl="0" indent="0" algn="l" defTabSz="914400" rtl="0" eaLnBrk="1" fontAlgn="auto" latinLnBrk="0" hangingPunct="1">
              <a:lnSpc>
                <a:spcPts val="224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Montserrat Light"/>
                <a:ea typeface="+mn-ea"/>
                <a:cs typeface="+mn-cs"/>
              </a:rPr>
              <a:t>Provides a</a:t>
            </a:r>
            <a:r>
              <a:rPr kumimoji="0" lang="en-US" sz="1800" b="0" i="0" u="none" strike="noStrike" kern="1200" cap="none" spc="0" normalizeH="0" baseline="0" noProof="0">
                <a:ln>
                  <a:noFill/>
                </a:ln>
                <a:solidFill>
                  <a:srgbClr val="6800FF"/>
                </a:solidFill>
                <a:effectLst/>
                <a:uLnTx/>
                <a:uFillTx/>
                <a:latin typeface="Montserrat Bold"/>
                <a:ea typeface="+mn-ea"/>
                <a:cs typeface="+mn-cs"/>
              </a:rPr>
              <a:t> consensus way that technology will be used</a:t>
            </a:r>
            <a:r>
              <a:rPr kumimoji="0" lang="en-US" sz="1800" b="0" i="0" u="none" strike="noStrike" kern="1200" cap="none" spc="0" normalizeH="0" baseline="0" noProof="0">
                <a:ln>
                  <a:noFill/>
                </a:ln>
                <a:solidFill>
                  <a:srgbClr val="000000"/>
                </a:solidFill>
                <a:effectLst/>
                <a:uLnTx/>
                <a:uFillTx/>
                <a:latin typeface="Montserrat Light"/>
                <a:ea typeface="+mn-ea"/>
                <a:cs typeface="+mn-cs"/>
              </a:rPr>
              <a:t> to support the current and future business requirements​</a:t>
            </a:r>
          </a:p>
        </p:txBody>
      </p:sp>
      <p:sp>
        <p:nvSpPr>
          <p:cNvPr id="19" name="TextBox 19"/>
          <p:cNvSpPr txBox="1"/>
          <p:nvPr/>
        </p:nvSpPr>
        <p:spPr>
          <a:xfrm>
            <a:off x="10408033" y="2429506"/>
            <a:ext cx="6408000" cy="832920"/>
          </a:xfrm>
          <a:prstGeom prst="rect">
            <a:avLst/>
          </a:prstGeom>
        </p:spPr>
        <p:txBody>
          <a:bodyPr lIns="0" tIns="0" rIns="0" bIns="0" rtlCol="0" anchor="t">
            <a:spAutoFit/>
          </a:bodyPr>
          <a:lstStyle/>
          <a:p>
            <a:pPr marL="0" marR="0" lvl="0" indent="0" algn="l" defTabSz="914400" rtl="0" eaLnBrk="1" fontAlgn="auto" latinLnBrk="0" hangingPunct="1">
              <a:lnSpc>
                <a:spcPts val="224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Montserrat Light"/>
                <a:ea typeface="+mn-ea"/>
                <a:cs typeface="+mn-cs"/>
              </a:rPr>
              <a:t>Defines and maintains an </a:t>
            </a:r>
            <a:r>
              <a:rPr kumimoji="0" lang="en-US" sz="1800" b="0" i="0" u="none" strike="noStrike" kern="1200" cap="none" spc="0" normalizeH="0" baseline="0" noProof="0">
                <a:ln>
                  <a:noFill/>
                </a:ln>
                <a:solidFill>
                  <a:srgbClr val="6800FF"/>
                </a:solidFill>
                <a:effectLst/>
                <a:uLnTx/>
                <a:uFillTx/>
                <a:latin typeface="Montserrat Bold"/>
                <a:ea typeface="+mn-ea"/>
                <a:cs typeface="+mn-cs"/>
              </a:rPr>
              <a:t>investment framework within which business benefit return can be maximized </a:t>
            </a:r>
            <a:r>
              <a:rPr kumimoji="0" lang="en-US" sz="1800" b="0" i="0" u="none" strike="noStrike" kern="1200" cap="none" spc="0" normalizeH="0" baseline="0" noProof="0">
                <a:ln>
                  <a:noFill/>
                </a:ln>
                <a:solidFill>
                  <a:srgbClr val="000000"/>
                </a:solidFill>
                <a:effectLst/>
                <a:uLnTx/>
                <a:uFillTx/>
                <a:latin typeface="Montserrat Light"/>
                <a:ea typeface="+mn-ea"/>
                <a:cs typeface="+mn-cs"/>
              </a:rPr>
              <a:t>on future technology investment​</a:t>
            </a:r>
          </a:p>
        </p:txBody>
      </p:sp>
      <p:sp>
        <p:nvSpPr>
          <p:cNvPr id="20" name="TextBox 20"/>
          <p:cNvSpPr txBox="1"/>
          <p:nvPr/>
        </p:nvSpPr>
        <p:spPr>
          <a:xfrm>
            <a:off x="1516296" y="7825122"/>
            <a:ext cx="6408000" cy="832920"/>
          </a:xfrm>
          <a:prstGeom prst="rect">
            <a:avLst/>
          </a:prstGeom>
        </p:spPr>
        <p:txBody>
          <a:bodyPr lIns="0" tIns="0" rIns="0" bIns="0" rtlCol="0" anchor="t">
            <a:spAutoFit/>
          </a:bodyPr>
          <a:lstStyle/>
          <a:p>
            <a:pPr marL="0" marR="0" lvl="0" indent="0" algn="l" defTabSz="914400" rtl="0" eaLnBrk="1" fontAlgn="auto" latinLnBrk="0" hangingPunct="1">
              <a:lnSpc>
                <a:spcPts val="224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Montserrat Light"/>
                <a:ea typeface="+mn-ea"/>
                <a:cs typeface="+mn-cs"/>
              </a:rPr>
              <a:t>Define and conduct processes to </a:t>
            </a:r>
            <a:r>
              <a:rPr kumimoji="0" lang="en-US" sz="1800" b="0" i="0" u="none" strike="noStrike" kern="1200" cap="none" spc="0" normalizeH="0" baseline="0" noProof="0">
                <a:ln>
                  <a:noFill/>
                </a:ln>
                <a:solidFill>
                  <a:srgbClr val="6800FF"/>
                </a:solidFill>
                <a:effectLst/>
                <a:uLnTx/>
                <a:uFillTx/>
                <a:latin typeface="Montserrat Bold"/>
                <a:ea typeface="+mn-ea"/>
                <a:cs typeface="+mn-cs"/>
              </a:rPr>
              <a:t>perform review, communication, compliance and enhancement to Architecture (Business and Technology)​</a:t>
            </a:r>
          </a:p>
        </p:txBody>
      </p:sp>
      <p:sp>
        <p:nvSpPr>
          <p:cNvPr id="21" name="TextBox 21"/>
          <p:cNvSpPr txBox="1"/>
          <p:nvPr/>
        </p:nvSpPr>
        <p:spPr>
          <a:xfrm>
            <a:off x="10408033" y="3696302"/>
            <a:ext cx="6408000" cy="1115049"/>
          </a:xfrm>
          <a:prstGeom prst="rect">
            <a:avLst/>
          </a:prstGeom>
        </p:spPr>
        <p:txBody>
          <a:bodyPr lIns="0" tIns="0" rIns="0" bIns="0" rtlCol="0" anchor="t">
            <a:spAutoFit/>
          </a:bodyPr>
          <a:lstStyle/>
          <a:p>
            <a:pPr marL="0" marR="0" lvl="0" indent="0" algn="l" defTabSz="914400" rtl="0" eaLnBrk="1" fontAlgn="auto" latinLnBrk="0" hangingPunct="1">
              <a:lnSpc>
                <a:spcPts val="224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Montserrat Light"/>
                <a:ea typeface="+mn-ea"/>
                <a:cs typeface="+mn-cs"/>
              </a:rPr>
              <a:t>Ensures a set of inter-working technologies that provides the platform for the business systems (applications) in the </a:t>
            </a:r>
            <a:r>
              <a:rPr kumimoji="0" lang="en-US" sz="1800" b="0" i="0" u="none" strike="noStrike" kern="1200" cap="none" spc="0" normalizeH="0" baseline="0" noProof="0">
                <a:ln>
                  <a:noFill/>
                </a:ln>
                <a:solidFill>
                  <a:srgbClr val="6800FF"/>
                </a:solidFill>
                <a:effectLst/>
                <a:uLnTx/>
                <a:uFillTx/>
                <a:latin typeface="Montserrat Bold"/>
                <a:ea typeface="+mn-ea"/>
                <a:cs typeface="+mn-cs"/>
              </a:rPr>
              <a:t>most efficient and effective manner in the delivery of the business goals​</a:t>
            </a:r>
          </a:p>
        </p:txBody>
      </p:sp>
      <p:grpSp>
        <p:nvGrpSpPr>
          <p:cNvPr id="22" name="Group 22"/>
          <p:cNvGrpSpPr/>
          <p:nvPr/>
        </p:nvGrpSpPr>
        <p:grpSpPr>
          <a:xfrm>
            <a:off x="1028700" y="7894011"/>
            <a:ext cx="199755" cy="199755"/>
            <a:chOff x="0" y="0"/>
            <a:chExt cx="812800" cy="812800"/>
          </a:xfrm>
        </p:grpSpPr>
        <p:sp>
          <p:nvSpPr>
            <p:cNvPr id="23" name="Freeform 23"/>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6800FF"/>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4" name="TextBox 24"/>
            <p:cNvSpPr txBox="1"/>
            <p:nvPr/>
          </p:nvSpPr>
          <p:spPr>
            <a:xfrm>
              <a:off x="76200" y="38100"/>
              <a:ext cx="660400" cy="698500"/>
            </a:xfrm>
            <a:prstGeom prst="rect">
              <a:avLst/>
            </a:prstGeom>
          </p:spPr>
          <p:txBody>
            <a:bodyPr lIns="50800" tIns="50800" rIns="50800" bIns="50800" rtlCol="0" anchor="ctr"/>
            <a:lstStyle/>
            <a:p>
              <a:pPr marL="0" marR="0" lvl="0" indent="0" algn="ctr" defTabSz="914400" rtl="0" eaLnBrk="1" fontAlgn="auto" latinLnBrk="0" hangingPunct="1">
                <a:lnSpc>
                  <a:spcPts val="2659"/>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25" name="Group 25"/>
          <p:cNvGrpSpPr/>
          <p:nvPr/>
        </p:nvGrpSpPr>
        <p:grpSpPr>
          <a:xfrm>
            <a:off x="1028700" y="6802564"/>
            <a:ext cx="199755" cy="199755"/>
            <a:chOff x="0" y="0"/>
            <a:chExt cx="812800" cy="812800"/>
          </a:xfrm>
        </p:grpSpPr>
        <p:sp>
          <p:nvSpPr>
            <p:cNvPr id="26" name="Freeform 2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6800FF"/>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7" name="TextBox 27"/>
            <p:cNvSpPr txBox="1"/>
            <p:nvPr/>
          </p:nvSpPr>
          <p:spPr>
            <a:xfrm>
              <a:off x="76200" y="38100"/>
              <a:ext cx="660400" cy="698500"/>
            </a:xfrm>
            <a:prstGeom prst="rect">
              <a:avLst/>
            </a:prstGeom>
          </p:spPr>
          <p:txBody>
            <a:bodyPr lIns="50800" tIns="50800" rIns="50800" bIns="50800" rtlCol="0" anchor="ctr"/>
            <a:lstStyle/>
            <a:p>
              <a:pPr marL="0" marR="0" lvl="0" indent="0" algn="ctr" defTabSz="914400" rtl="0" eaLnBrk="1" fontAlgn="auto" latinLnBrk="0" hangingPunct="1">
                <a:lnSpc>
                  <a:spcPts val="2659"/>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28" name="Group 28"/>
          <p:cNvGrpSpPr/>
          <p:nvPr/>
        </p:nvGrpSpPr>
        <p:grpSpPr>
          <a:xfrm>
            <a:off x="9854850" y="2553330"/>
            <a:ext cx="199755" cy="199755"/>
            <a:chOff x="0" y="0"/>
            <a:chExt cx="812800" cy="812800"/>
          </a:xfrm>
        </p:grpSpPr>
        <p:sp>
          <p:nvSpPr>
            <p:cNvPr id="29" name="Freeform 29"/>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6800FF"/>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0" name="TextBox 30"/>
            <p:cNvSpPr txBox="1"/>
            <p:nvPr/>
          </p:nvSpPr>
          <p:spPr>
            <a:xfrm>
              <a:off x="76200" y="38100"/>
              <a:ext cx="660400" cy="698500"/>
            </a:xfrm>
            <a:prstGeom prst="rect">
              <a:avLst/>
            </a:prstGeom>
          </p:spPr>
          <p:txBody>
            <a:bodyPr lIns="50800" tIns="50800" rIns="50800" bIns="50800" rtlCol="0" anchor="ctr"/>
            <a:lstStyle/>
            <a:p>
              <a:pPr marL="0" marR="0" lvl="0" indent="0" algn="ctr" defTabSz="914400" rtl="0" eaLnBrk="1" fontAlgn="auto" latinLnBrk="0" hangingPunct="1">
                <a:lnSpc>
                  <a:spcPts val="2659"/>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31" name="Group 31"/>
          <p:cNvGrpSpPr/>
          <p:nvPr/>
        </p:nvGrpSpPr>
        <p:grpSpPr>
          <a:xfrm>
            <a:off x="9854850" y="3829410"/>
            <a:ext cx="199755" cy="199755"/>
            <a:chOff x="0" y="0"/>
            <a:chExt cx="812800" cy="812800"/>
          </a:xfrm>
        </p:grpSpPr>
        <p:sp>
          <p:nvSpPr>
            <p:cNvPr id="32" name="Freeform 32"/>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6800FF"/>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3" name="TextBox 33"/>
            <p:cNvSpPr txBox="1"/>
            <p:nvPr/>
          </p:nvSpPr>
          <p:spPr>
            <a:xfrm>
              <a:off x="76200" y="38100"/>
              <a:ext cx="660400" cy="698500"/>
            </a:xfrm>
            <a:prstGeom prst="rect">
              <a:avLst/>
            </a:prstGeom>
          </p:spPr>
          <p:txBody>
            <a:bodyPr lIns="50800" tIns="50800" rIns="50800" bIns="50800" rtlCol="0" anchor="ctr"/>
            <a:lstStyle/>
            <a:p>
              <a:pPr marL="0" marR="0" lvl="0" indent="0" algn="ctr" defTabSz="914400" rtl="0" eaLnBrk="1" fontAlgn="auto" latinLnBrk="0" hangingPunct="1">
                <a:lnSpc>
                  <a:spcPts val="2659"/>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34" name="Group 34"/>
          <p:cNvGrpSpPr/>
          <p:nvPr/>
        </p:nvGrpSpPr>
        <p:grpSpPr>
          <a:xfrm>
            <a:off x="1028700" y="5640785"/>
            <a:ext cx="199755" cy="199755"/>
            <a:chOff x="0" y="0"/>
            <a:chExt cx="812800" cy="812800"/>
          </a:xfrm>
        </p:grpSpPr>
        <p:sp>
          <p:nvSpPr>
            <p:cNvPr id="35" name="Freeform 35"/>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6800FF"/>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6" name="TextBox 36"/>
            <p:cNvSpPr txBox="1"/>
            <p:nvPr/>
          </p:nvSpPr>
          <p:spPr>
            <a:xfrm>
              <a:off x="76200" y="38100"/>
              <a:ext cx="660400" cy="698500"/>
            </a:xfrm>
            <a:prstGeom prst="rect">
              <a:avLst/>
            </a:prstGeom>
          </p:spPr>
          <p:txBody>
            <a:bodyPr lIns="50800" tIns="50800" rIns="50800" bIns="50800" rtlCol="0" anchor="ctr"/>
            <a:lstStyle/>
            <a:p>
              <a:pPr marL="0" marR="0" lvl="0" indent="0" algn="ctr" defTabSz="914400" rtl="0" eaLnBrk="1" fontAlgn="auto" latinLnBrk="0" hangingPunct="1">
                <a:lnSpc>
                  <a:spcPts val="2659"/>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37" name="Group 37"/>
          <p:cNvGrpSpPr/>
          <p:nvPr/>
        </p:nvGrpSpPr>
        <p:grpSpPr>
          <a:xfrm>
            <a:off x="9845403" y="5071002"/>
            <a:ext cx="7157362" cy="3491801"/>
            <a:chOff x="0" y="-28575"/>
            <a:chExt cx="2298059" cy="879845"/>
          </a:xfrm>
        </p:grpSpPr>
        <p:sp>
          <p:nvSpPr>
            <p:cNvPr id="38" name="Freeform 38"/>
            <p:cNvSpPr/>
            <p:nvPr/>
          </p:nvSpPr>
          <p:spPr>
            <a:xfrm>
              <a:off x="0" y="0"/>
              <a:ext cx="2298059" cy="851270"/>
            </a:xfrm>
            <a:custGeom>
              <a:avLst/>
              <a:gdLst/>
              <a:ahLst/>
              <a:cxnLst/>
              <a:rect l="l" t="t" r="r" b="b"/>
              <a:pathLst>
                <a:path w="2298059" h="851270">
                  <a:moveTo>
                    <a:pt x="28393" y="0"/>
                  </a:moveTo>
                  <a:lnTo>
                    <a:pt x="2269666" y="0"/>
                  </a:lnTo>
                  <a:cubicBezTo>
                    <a:pt x="2285347" y="0"/>
                    <a:pt x="2298059" y="12712"/>
                    <a:pt x="2298059" y="28393"/>
                  </a:cubicBezTo>
                  <a:lnTo>
                    <a:pt x="2298059" y="822877"/>
                  </a:lnTo>
                  <a:cubicBezTo>
                    <a:pt x="2298059" y="830407"/>
                    <a:pt x="2295068" y="837629"/>
                    <a:pt x="2289743" y="842954"/>
                  </a:cubicBezTo>
                  <a:cubicBezTo>
                    <a:pt x="2284419" y="848279"/>
                    <a:pt x="2277197" y="851270"/>
                    <a:pt x="2269666" y="851270"/>
                  </a:cubicBezTo>
                  <a:lnTo>
                    <a:pt x="28393" y="851270"/>
                  </a:lnTo>
                  <a:cubicBezTo>
                    <a:pt x="12712" y="851270"/>
                    <a:pt x="0" y="838558"/>
                    <a:pt x="0" y="822877"/>
                  </a:cubicBezTo>
                  <a:lnTo>
                    <a:pt x="0" y="28393"/>
                  </a:lnTo>
                  <a:cubicBezTo>
                    <a:pt x="0" y="20863"/>
                    <a:pt x="2991" y="13641"/>
                    <a:pt x="8316" y="8316"/>
                  </a:cubicBezTo>
                  <a:cubicBezTo>
                    <a:pt x="13641" y="2991"/>
                    <a:pt x="20863" y="0"/>
                    <a:pt x="28393" y="0"/>
                  </a:cubicBezTo>
                  <a:close/>
                </a:path>
              </a:pathLst>
            </a:custGeom>
            <a:solidFill>
              <a:srgbClr val="6800FF"/>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9" name="TextBox 39"/>
            <p:cNvSpPr txBox="1"/>
            <p:nvPr/>
          </p:nvSpPr>
          <p:spPr>
            <a:xfrm>
              <a:off x="0" y="-28575"/>
              <a:ext cx="2298059" cy="879845"/>
            </a:xfrm>
            <a:prstGeom prst="rect">
              <a:avLst/>
            </a:prstGeom>
          </p:spPr>
          <p:txBody>
            <a:bodyPr lIns="50800" tIns="50800" rIns="50800" bIns="50800" rtlCol="0" anchor="ctr"/>
            <a:lstStyle/>
            <a:p>
              <a:pPr marL="0" marR="0" lvl="0" indent="0" algn="ctr" defTabSz="914400" rtl="0" eaLnBrk="1" fontAlgn="auto" latinLnBrk="0" hangingPunct="1">
                <a:lnSpc>
                  <a:spcPts val="196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40" name="TextBox 40"/>
          <p:cNvSpPr txBox="1"/>
          <p:nvPr/>
        </p:nvSpPr>
        <p:spPr>
          <a:xfrm>
            <a:off x="10385487" y="5525016"/>
            <a:ext cx="6156061" cy="2769989"/>
          </a:xfrm>
          <a:prstGeom prst="rect">
            <a:avLst/>
          </a:prstGeom>
        </p:spPr>
        <p:txBody>
          <a:bodyPr wrap="square" lIns="0" tIns="0" rIns="0" bIns="0" rtlCol="0" anchor="t">
            <a:spAutoFit/>
          </a:bodyPr>
          <a:lstStyle/>
          <a:p>
            <a:pPr marL="0" marR="0" lvl="0" indent="0" defTabSz="914400" rtl="0" eaLnBrk="1" fontAlgn="auto" latinLnBrk="0" hangingPunct="1">
              <a:lnSpc>
                <a:spcPts val="2660"/>
              </a:lnSpc>
              <a:spcBef>
                <a:spcPct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Montserrat"/>
                <a:ea typeface="+mn-ea"/>
                <a:cs typeface="+mn-cs"/>
              </a:rPr>
              <a:t>The </a:t>
            </a:r>
            <a:r>
              <a:rPr kumimoji="0" lang="en-US" sz="2400" b="0" i="0" u="none" strike="noStrike" kern="1200" cap="none" spc="0" normalizeH="0" baseline="0" noProof="0">
                <a:ln>
                  <a:noFill/>
                </a:ln>
                <a:solidFill>
                  <a:srgbClr val="FFFFFF"/>
                </a:solidFill>
                <a:effectLst/>
                <a:uLnTx/>
                <a:uFillTx/>
                <a:latin typeface="Montserrat Bold"/>
                <a:ea typeface="+mn-ea"/>
                <a:cs typeface="+mn-cs"/>
              </a:rPr>
              <a:t>Digital Office </a:t>
            </a:r>
            <a:r>
              <a:rPr kumimoji="0" lang="en-US" sz="2400" b="0" i="0" u="none" strike="noStrike" kern="1200" cap="none" spc="0" normalizeH="0" baseline="0" noProof="0">
                <a:ln>
                  <a:noFill/>
                </a:ln>
                <a:solidFill>
                  <a:srgbClr val="FFFFFF"/>
                </a:solidFill>
                <a:effectLst/>
                <a:uLnTx/>
                <a:uFillTx/>
                <a:latin typeface="Montserrat"/>
                <a:ea typeface="+mn-ea"/>
                <a:cs typeface="+mn-cs"/>
              </a:rPr>
              <a:t>is a central Governance Office that defines a</a:t>
            </a:r>
            <a:r>
              <a:rPr kumimoji="0" lang="en-US" sz="2400" b="0" i="0" u="none" strike="noStrike" kern="1200" cap="none" spc="0" normalizeH="0" baseline="0" noProof="0">
                <a:ln>
                  <a:noFill/>
                </a:ln>
                <a:solidFill>
                  <a:srgbClr val="FFFFFF"/>
                </a:solidFill>
                <a:effectLst/>
                <a:uLnTx/>
                <a:uFillTx/>
                <a:latin typeface="Montserrat Italics"/>
                <a:ea typeface="+mn-ea"/>
                <a:cs typeface="+mn-cs"/>
              </a:rPr>
              <a:t> </a:t>
            </a:r>
            <a:r>
              <a:rPr kumimoji="0" lang="en-US" sz="2400" b="0" i="0" u="none" strike="noStrike" kern="1200" cap="none" spc="0" normalizeH="0" baseline="0" noProof="0">
                <a:ln>
                  <a:noFill/>
                </a:ln>
                <a:solidFill>
                  <a:srgbClr val="FFFFFF"/>
                </a:solidFill>
                <a:effectLst/>
                <a:uLnTx/>
                <a:uFillTx/>
                <a:latin typeface="Montserrat Bold Italics"/>
                <a:ea typeface="+mn-ea"/>
                <a:cs typeface="+mn-cs"/>
              </a:rPr>
              <a:t>framework to align and integrate</a:t>
            </a:r>
            <a:r>
              <a:rPr kumimoji="0" lang="en-US" sz="2400" b="0" i="0" u="none" strike="noStrike" kern="1200" cap="none" spc="0" normalizeH="0" baseline="0" noProof="0">
                <a:ln>
                  <a:noFill/>
                </a:ln>
                <a:solidFill>
                  <a:srgbClr val="FFFFFF"/>
                </a:solidFill>
                <a:effectLst/>
                <a:uLnTx/>
                <a:uFillTx/>
                <a:latin typeface="Montserrat"/>
                <a:ea typeface="+mn-ea"/>
                <a:cs typeface="+mn-cs"/>
              </a:rPr>
              <a:t> business processes, information flows, applications, infrastructure and security, between areas and departments supporting organization goals and vision.​​​</a:t>
            </a:r>
            <a:endParaRPr lang="en-US" noProof="0">
              <a:ea typeface="+mn-ea"/>
              <a:cs typeface="+mn-cs"/>
            </a:endParaRPr>
          </a:p>
        </p:txBody>
      </p:sp>
      <p:sp>
        <p:nvSpPr>
          <p:cNvPr id="41" name="Title 40">
            <a:extLst>
              <a:ext uri="{FF2B5EF4-FFF2-40B4-BE49-F238E27FC236}">
                <a16:creationId xmlns:a16="http://schemas.microsoft.com/office/drawing/2014/main" id="{31A80AE6-331F-7620-AA21-DE70581857CD}"/>
              </a:ext>
            </a:extLst>
          </p:cNvPr>
          <p:cNvSpPr>
            <a:spLocks noGrp="1"/>
          </p:cNvSpPr>
          <p:nvPr>
            <p:ph type="title" idx="4294967295"/>
          </p:nvPr>
        </p:nvSpPr>
        <p:spPr>
          <a:xfrm>
            <a:off x="1033626" y="619697"/>
            <a:ext cx="16924066" cy="1145400"/>
          </a:xfrm>
        </p:spPr>
        <p:txBody>
          <a:bodyPr/>
          <a:lstStyle/>
          <a:p>
            <a:r>
              <a:rPr lang="en-US" sz="4000">
                <a:solidFill>
                  <a:schemeClr val="bg1"/>
                </a:solidFill>
                <a:latin typeface="Montserrat Bold"/>
              </a:rPr>
              <a:t>Digital Office guiding principles</a:t>
            </a:r>
            <a:br>
              <a:rPr lang="en-US" noProof="0"/>
            </a:br>
            <a:r>
              <a:rPr kumimoji="0" lang="en-US" sz="2800" i="0" u="none" strike="noStrike" kern="1200" cap="none" spc="0" normalizeH="0" baseline="0" noProof="0">
                <a:ln>
                  <a:noFill/>
                </a:ln>
                <a:solidFill>
                  <a:srgbClr val="6800FF"/>
                </a:solidFill>
                <a:effectLst/>
                <a:uLnTx/>
                <a:uFillTx/>
                <a:latin typeface="Montserrat Light"/>
                <a:ea typeface="+mn-ea"/>
                <a:cs typeface="+mn-cs"/>
              </a:rPr>
              <a:t>A business-driven technology team to support the transformation journey​</a:t>
            </a:r>
            <a:br>
              <a:rPr lang="en-US" sz="3200" b="0" i="0" u="none" strike="noStrike" kern="1200" cap="none" spc="0" normalizeH="0" baseline="0" noProof="0">
                <a:ln>
                  <a:noFill/>
                </a:ln>
                <a:effectLst/>
                <a:uLnTx/>
                <a:uFillTx/>
                <a:latin typeface="Calibri"/>
                <a:ea typeface="+mn-ea"/>
                <a:cs typeface="+mn-cs"/>
              </a:rPr>
            </a:br>
            <a:r>
              <a:rPr lang="en-US" noProof="0"/>
              <a:t>​</a:t>
            </a:r>
            <a:br>
              <a:rPr lang="en-US" noProof="0"/>
            </a:br>
            <a:endParaRPr lang="en-US" noProof="0"/>
          </a:p>
        </p:txBody>
      </p:sp>
      <p:grpSp>
        <p:nvGrpSpPr>
          <p:cNvPr id="16" name="Group 7">
            <a:extLst>
              <a:ext uri="{FF2B5EF4-FFF2-40B4-BE49-F238E27FC236}">
                <a16:creationId xmlns:a16="http://schemas.microsoft.com/office/drawing/2014/main" id="{0085C5DB-E329-A4E3-D134-855D3F449811}"/>
              </a:ext>
            </a:extLst>
          </p:cNvPr>
          <p:cNvGrpSpPr/>
          <p:nvPr/>
        </p:nvGrpSpPr>
        <p:grpSpPr>
          <a:xfrm>
            <a:off x="9654835" y="1138730"/>
            <a:ext cx="612363" cy="56823"/>
            <a:chOff x="0" y="0"/>
            <a:chExt cx="1078484" cy="100076"/>
          </a:xfrm>
        </p:grpSpPr>
        <p:sp>
          <p:nvSpPr>
            <p:cNvPr id="14" name="Freeform 8">
              <a:extLst>
                <a:ext uri="{FF2B5EF4-FFF2-40B4-BE49-F238E27FC236}">
                  <a16:creationId xmlns:a16="http://schemas.microsoft.com/office/drawing/2014/main" id="{376F2BED-EAF2-80CB-A1A3-3CB0C89127CB}"/>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spTree>
    <p:extLst>
      <p:ext uri="{BB962C8B-B14F-4D97-AF65-F5344CB8AC3E}">
        <p14:creationId xmlns:p14="http://schemas.microsoft.com/office/powerpoint/2010/main" val="409555003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1028700" y="5005880"/>
            <a:ext cx="16230600" cy="3229675"/>
            <a:chOff x="0" y="-28575"/>
            <a:chExt cx="4608623" cy="917055"/>
          </a:xfrm>
        </p:grpSpPr>
        <p:sp>
          <p:nvSpPr>
            <p:cNvPr id="3" name="Freeform 3"/>
            <p:cNvSpPr/>
            <p:nvPr/>
          </p:nvSpPr>
          <p:spPr>
            <a:xfrm>
              <a:off x="0" y="0"/>
              <a:ext cx="4608623" cy="888480"/>
            </a:xfrm>
            <a:custGeom>
              <a:avLst/>
              <a:gdLst/>
              <a:ahLst/>
              <a:cxnLst/>
              <a:rect l="l" t="t" r="r" b="b"/>
              <a:pathLst>
                <a:path w="4608623" h="888480">
                  <a:moveTo>
                    <a:pt x="13833" y="0"/>
                  </a:moveTo>
                  <a:lnTo>
                    <a:pt x="4594790" y="0"/>
                  </a:lnTo>
                  <a:cubicBezTo>
                    <a:pt x="4602430" y="0"/>
                    <a:pt x="4608623" y="6193"/>
                    <a:pt x="4608623" y="13833"/>
                  </a:cubicBezTo>
                  <a:lnTo>
                    <a:pt x="4608623" y="874647"/>
                  </a:lnTo>
                  <a:cubicBezTo>
                    <a:pt x="4608623" y="882287"/>
                    <a:pt x="4602430" y="888480"/>
                    <a:pt x="4594790" y="888480"/>
                  </a:cubicBezTo>
                  <a:lnTo>
                    <a:pt x="13833" y="888480"/>
                  </a:lnTo>
                  <a:cubicBezTo>
                    <a:pt x="6193" y="888480"/>
                    <a:pt x="0" y="882287"/>
                    <a:pt x="0" y="874647"/>
                  </a:cubicBezTo>
                  <a:lnTo>
                    <a:pt x="0" y="13833"/>
                  </a:lnTo>
                  <a:cubicBezTo>
                    <a:pt x="0" y="6193"/>
                    <a:pt x="6193" y="0"/>
                    <a:pt x="13833" y="0"/>
                  </a:cubicBezTo>
                  <a:close/>
                </a:path>
              </a:pathLst>
            </a:custGeom>
            <a:solidFill>
              <a:srgbClr val="CFCFCF">
                <a:alpha val="15686"/>
              </a:srgb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TextBox 4"/>
            <p:cNvSpPr txBox="1"/>
            <p:nvPr/>
          </p:nvSpPr>
          <p:spPr>
            <a:xfrm>
              <a:off x="0" y="-28575"/>
              <a:ext cx="4608623" cy="917055"/>
            </a:xfrm>
            <a:prstGeom prst="rect">
              <a:avLst/>
            </a:prstGeom>
          </p:spPr>
          <p:txBody>
            <a:bodyPr lIns="50800" tIns="50800" rIns="50800" bIns="50800" rtlCol="0" anchor="ctr"/>
            <a:lstStyle/>
            <a:p>
              <a:pPr marL="0" marR="0" lvl="0" indent="0" algn="ctr" defTabSz="914400" rtl="0" eaLnBrk="1" fontAlgn="auto" latinLnBrk="0" hangingPunct="1">
                <a:lnSpc>
                  <a:spcPts val="196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5" name="Group 5"/>
          <p:cNvGrpSpPr/>
          <p:nvPr/>
        </p:nvGrpSpPr>
        <p:grpSpPr>
          <a:xfrm>
            <a:off x="1028700" y="2593993"/>
            <a:ext cx="16230600" cy="2656637"/>
            <a:chOff x="0" y="-28575"/>
            <a:chExt cx="4608623" cy="754343"/>
          </a:xfrm>
        </p:grpSpPr>
        <p:sp>
          <p:nvSpPr>
            <p:cNvPr id="6" name="Freeform 6"/>
            <p:cNvSpPr/>
            <p:nvPr/>
          </p:nvSpPr>
          <p:spPr>
            <a:xfrm>
              <a:off x="0" y="0"/>
              <a:ext cx="4608623" cy="725768"/>
            </a:xfrm>
            <a:custGeom>
              <a:avLst/>
              <a:gdLst/>
              <a:ahLst/>
              <a:cxnLst/>
              <a:rect l="l" t="t" r="r" b="b"/>
              <a:pathLst>
                <a:path w="4608623" h="725768">
                  <a:moveTo>
                    <a:pt x="13833" y="0"/>
                  </a:moveTo>
                  <a:lnTo>
                    <a:pt x="4594790" y="0"/>
                  </a:lnTo>
                  <a:cubicBezTo>
                    <a:pt x="4602430" y="0"/>
                    <a:pt x="4608623" y="6193"/>
                    <a:pt x="4608623" y="13833"/>
                  </a:cubicBezTo>
                  <a:lnTo>
                    <a:pt x="4608623" y="711935"/>
                  </a:lnTo>
                  <a:cubicBezTo>
                    <a:pt x="4608623" y="719575"/>
                    <a:pt x="4602430" y="725768"/>
                    <a:pt x="4594790" y="725768"/>
                  </a:cubicBezTo>
                  <a:lnTo>
                    <a:pt x="13833" y="725768"/>
                  </a:lnTo>
                  <a:cubicBezTo>
                    <a:pt x="6193" y="725768"/>
                    <a:pt x="0" y="719575"/>
                    <a:pt x="0" y="711935"/>
                  </a:cubicBezTo>
                  <a:lnTo>
                    <a:pt x="0" y="13833"/>
                  </a:lnTo>
                  <a:cubicBezTo>
                    <a:pt x="0" y="6193"/>
                    <a:pt x="6193" y="0"/>
                    <a:pt x="13833" y="0"/>
                  </a:cubicBezTo>
                  <a:close/>
                </a:path>
              </a:pathLst>
            </a:custGeom>
            <a:solidFill>
              <a:srgbClr val="CFCFCF">
                <a:alpha val="15686"/>
              </a:srgb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 name="TextBox 7"/>
            <p:cNvSpPr txBox="1"/>
            <p:nvPr/>
          </p:nvSpPr>
          <p:spPr>
            <a:xfrm>
              <a:off x="0" y="-28575"/>
              <a:ext cx="4608623" cy="754343"/>
            </a:xfrm>
            <a:prstGeom prst="rect">
              <a:avLst/>
            </a:prstGeom>
          </p:spPr>
          <p:txBody>
            <a:bodyPr lIns="50800" tIns="50800" rIns="50800" bIns="50800" rtlCol="0" anchor="ctr"/>
            <a:lstStyle/>
            <a:p>
              <a:pPr marL="0" marR="0" lvl="0" indent="0" algn="ctr" defTabSz="914400" rtl="0" eaLnBrk="1" fontAlgn="auto" latinLnBrk="0" hangingPunct="1">
                <a:lnSpc>
                  <a:spcPts val="196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8" name="AutoShape 8"/>
          <p:cNvSpPr/>
          <p:nvPr/>
        </p:nvSpPr>
        <p:spPr>
          <a:xfrm flipV="1">
            <a:off x="5779102" y="2646476"/>
            <a:ext cx="0" cy="1839199"/>
          </a:xfrm>
          <a:prstGeom prst="line">
            <a:avLst/>
          </a:prstGeom>
          <a:ln w="28575" cap="flat">
            <a:solidFill>
              <a:srgbClr val="000000"/>
            </a:solidFill>
            <a:prstDash val="solid"/>
            <a:headEnd type="arrow" w="med" len="sm"/>
            <a:tailEnd type="arrow" w="med" len="sm"/>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9" name="Group 9"/>
          <p:cNvGrpSpPr/>
          <p:nvPr/>
        </p:nvGrpSpPr>
        <p:grpSpPr>
          <a:xfrm>
            <a:off x="5197087" y="2501284"/>
            <a:ext cx="7545341" cy="5550614"/>
            <a:chOff x="0" y="-38100"/>
            <a:chExt cx="10060455" cy="7400818"/>
          </a:xfrm>
          <a:effectLst>
            <a:outerShdw blurRad="50800" dist="38100" dir="2700000" algn="tl" rotWithShape="0">
              <a:srgbClr val="7030A0">
                <a:alpha val="40000"/>
              </a:srgbClr>
            </a:outerShdw>
          </a:effectLst>
        </p:grpSpPr>
        <p:sp>
          <p:nvSpPr>
            <p:cNvPr id="10" name="Freeform 10"/>
            <p:cNvSpPr/>
            <p:nvPr/>
          </p:nvSpPr>
          <p:spPr>
            <a:xfrm>
              <a:off x="1154102" y="5056921"/>
              <a:ext cx="7795580" cy="2305797"/>
            </a:xfrm>
            <a:custGeom>
              <a:avLst/>
              <a:gdLst/>
              <a:ahLst/>
              <a:cxnLst/>
              <a:rect l="l" t="t" r="r" b="b"/>
              <a:pathLst>
                <a:path w="7795580" h="2305797">
                  <a:moveTo>
                    <a:pt x="0" y="0"/>
                  </a:moveTo>
                  <a:lnTo>
                    <a:pt x="7795580" y="0"/>
                  </a:lnTo>
                  <a:lnTo>
                    <a:pt x="7795580" y="2305797"/>
                  </a:lnTo>
                  <a:lnTo>
                    <a:pt x="0" y="2305797"/>
                  </a:lnTo>
                  <a:lnTo>
                    <a:pt x="0" y="0"/>
                  </a:lnTo>
                  <a:close/>
                </a:path>
              </a:pathLst>
            </a:custGeom>
            <a:blipFill>
              <a:blip r:embed="rId2">
                <a:extLst>
                  <a:ext uri="{96DAC541-7B7A-43D3-8B79-37D633B846F1}">
                    <asvg:svgBlip xmlns:asvg="http://schemas.microsoft.com/office/drawing/2016/SVG/main" r:embed="rId3"/>
                  </a:ext>
                </a:extLst>
              </a:blip>
              <a:stretch>
                <a:fillRect t="-214727"/>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Freeform 11"/>
            <p:cNvSpPr/>
            <p:nvPr/>
          </p:nvSpPr>
          <p:spPr>
            <a:xfrm>
              <a:off x="0" y="127180"/>
              <a:ext cx="10060455" cy="2604038"/>
            </a:xfrm>
            <a:custGeom>
              <a:avLst/>
              <a:gdLst/>
              <a:ahLst/>
              <a:cxnLst/>
              <a:rect l="l" t="t" r="r" b="b"/>
              <a:pathLst>
                <a:path w="10060455" h="2604038">
                  <a:moveTo>
                    <a:pt x="0" y="0"/>
                  </a:moveTo>
                  <a:lnTo>
                    <a:pt x="10060455" y="0"/>
                  </a:lnTo>
                  <a:lnTo>
                    <a:pt x="10060455" y="2604039"/>
                  </a:lnTo>
                  <a:lnTo>
                    <a:pt x="0" y="2604039"/>
                  </a:lnTo>
                  <a:lnTo>
                    <a:pt x="0" y="0"/>
                  </a:lnTo>
                  <a:close/>
                </a:path>
              </a:pathLst>
            </a:custGeom>
            <a:blipFill>
              <a:blip r:embed="rId4">
                <a:extLst>
                  <a:ext uri="{96DAC541-7B7A-43D3-8B79-37D633B846F1}">
                    <asvg:svgBlip xmlns:asvg="http://schemas.microsoft.com/office/drawing/2016/SVG/main" r:embed="rId5"/>
                  </a:ext>
                </a:extLst>
              </a:blip>
              <a:stretch>
                <a:fillRect b="-259647"/>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2" name="Freeform 12"/>
            <p:cNvSpPr/>
            <p:nvPr/>
          </p:nvSpPr>
          <p:spPr>
            <a:xfrm>
              <a:off x="841136" y="2662488"/>
              <a:ext cx="8378183" cy="2614441"/>
            </a:xfrm>
            <a:custGeom>
              <a:avLst/>
              <a:gdLst/>
              <a:ahLst/>
              <a:cxnLst/>
              <a:rect l="l" t="t" r="r" b="b"/>
              <a:pathLst>
                <a:path w="8378183" h="2614441">
                  <a:moveTo>
                    <a:pt x="0" y="0"/>
                  </a:moveTo>
                  <a:lnTo>
                    <a:pt x="8378183" y="0"/>
                  </a:lnTo>
                  <a:lnTo>
                    <a:pt x="8378183" y="2614441"/>
                  </a:lnTo>
                  <a:lnTo>
                    <a:pt x="0" y="2614441"/>
                  </a:lnTo>
                  <a:lnTo>
                    <a:pt x="0" y="0"/>
                  </a:lnTo>
                  <a:close/>
                </a:path>
              </a:pathLst>
            </a:custGeom>
            <a:blipFill>
              <a:blip r:embed="rId6">
                <a:extLst>
                  <a:ext uri="{96DAC541-7B7A-43D3-8B79-37D633B846F1}">
                    <asvg:svgBlip xmlns:asvg="http://schemas.microsoft.com/office/drawing/2016/SVG/main" r:embed="rId7"/>
                  </a:ext>
                </a:extLst>
              </a:blip>
              <a:stretch>
                <a:fillRect t="-96214" b="-102102"/>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 name="TextBox 13"/>
            <p:cNvSpPr txBox="1"/>
            <p:nvPr/>
          </p:nvSpPr>
          <p:spPr>
            <a:xfrm>
              <a:off x="3604679" y="-38100"/>
              <a:ext cx="3176327" cy="381472"/>
            </a:xfrm>
            <a:prstGeom prst="rect">
              <a:avLst/>
            </a:prstGeom>
          </p:spPr>
          <p:txBody>
            <a:bodyPr wrap="square" lIns="0" tIns="0" rIns="0" bIns="0" rtlCol="0" anchor="t">
              <a:spAutoFit/>
            </a:bodyPr>
            <a:lstStyle/>
            <a:p>
              <a:pPr marL="0" marR="0" lvl="0" indent="0" algn="ctr" defTabSz="914400" rtl="0" eaLnBrk="1" fontAlgn="auto" latinLnBrk="0" hangingPunct="1">
                <a:lnSpc>
                  <a:spcPts val="2443"/>
                </a:lnSpc>
                <a:spcBef>
                  <a:spcPct val="0"/>
                </a:spcBef>
                <a:spcAft>
                  <a:spcPts val="0"/>
                </a:spcAft>
                <a:buClrTx/>
                <a:buSzTx/>
                <a:buFontTx/>
                <a:buNone/>
                <a:tabLst/>
                <a:defRPr/>
              </a:pPr>
              <a:r>
                <a:rPr kumimoji="0" lang="en-US" sz="1745" b="0" i="0" u="none" strike="noStrike" kern="1200" cap="none" spc="0" normalizeH="0" baseline="0" noProof="0">
                  <a:ln>
                    <a:noFill/>
                  </a:ln>
                  <a:solidFill>
                    <a:srgbClr val="6800FF"/>
                  </a:solidFill>
                  <a:effectLst/>
                  <a:uLnTx/>
                  <a:uFillTx/>
                  <a:latin typeface="Montserrat Bold"/>
                  <a:ea typeface="+mn-ea"/>
                  <a:cs typeface="+mn-cs"/>
                </a:rPr>
                <a:t>Steering committee</a:t>
              </a:r>
            </a:p>
          </p:txBody>
        </p:sp>
        <p:sp>
          <p:nvSpPr>
            <p:cNvPr id="14" name="TextBox 14"/>
            <p:cNvSpPr txBox="1"/>
            <p:nvPr/>
          </p:nvSpPr>
          <p:spPr>
            <a:xfrm>
              <a:off x="3767443" y="1384289"/>
              <a:ext cx="2568898" cy="791355"/>
            </a:xfrm>
            <a:prstGeom prst="rect">
              <a:avLst/>
            </a:prstGeom>
          </p:spPr>
          <p:txBody>
            <a:bodyPr lIns="0" tIns="0" rIns="0" bIns="0" rtlCol="0" anchor="t">
              <a:spAutoFit/>
            </a:bodyPr>
            <a:lstStyle/>
            <a:p>
              <a:pPr marL="0" marR="0" lvl="0" indent="0" algn="ctr" defTabSz="914400" rtl="0" eaLnBrk="1" fontAlgn="auto" latinLnBrk="0" hangingPunct="1">
                <a:lnSpc>
                  <a:spcPts val="2443"/>
                </a:lnSpc>
                <a:spcBef>
                  <a:spcPct val="0"/>
                </a:spcBef>
                <a:spcAft>
                  <a:spcPts val="0"/>
                </a:spcAft>
                <a:buClrTx/>
                <a:buSzTx/>
                <a:buFontTx/>
                <a:buNone/>
                <a:tabLst/>
                <a:defRPr/>
              </a:pPr>
              <a:r>
                <a:rPr kumimoji="0" lang="en-US" sz="1745" b="0" i="0" u="none" strike="noStrike" kern="1200" cap="none" spc="0" normalizeH="0" baseline="0" noProof="0">
                  <a:ln>
                    <a:noFill/>
                  </a:ln>
                  <a:solidFill>
                    <a:srgbClr val="6800FF"/>
                  </a:solidFill>
                  <a:effectLst/>
                  <a:uLnTx/>
                  <a:uFillTx/>
                  <a:latin typeface="Montserrat Bold"/>
                  <a:ea typeface="+mn-ea"/>
                  <a:cs typeface="+mn-cs"/>
                </a:rPr>
                <a:t>Governance office</a:t>
              </a:r>
            </a:p>
          </p:txBody>
        </p:sp>
        <p:sp>
          <p:nvSpPr>
            <p:cNvPr id="15" name="TextBox 15"/>
            <p:cNvSpPr txBox="1"/>
            <p:nvPr/>
          </p:nvSpPr>
          <p:spPr>
            <a:xfrm>
              <a:off x="3520521" y="3409263"/>
              <a:ext cx="3062743" cy="791355"/>
            </a:xfrm>
            <a:prstGeom prst="rect">
              <a:avLst/>
            </a:prstGeom>
          </p:spPr>
          <p:txBody>
            <a:bodyPr lIns="0" tIns="0" rIns="0" bIns="0" rtlCol="0" anchor="t">
              <a:spAutoFit/>
            </a:bodyPr>
            <a:lstStyle/>
            <a:p>
              <a:pPr marL="0" marR="0" lvl="0" indent="0" algn="ctr" defTabSz="914400" rtl="0" eaLnBrk="1" fontAlgn="auto" latinLnBrk="0" hangingPunct="1">
                <a:lnSpc>
                  <a:spcPts val="2443"/>
                </a:lnSpc>
                <a:spcBef>
                  <a:spcPct val="0"/>
                </a:spcBef>
                <a:spcAft>
                  <a:spcPts val="0"/>
                </a:spcAft>
                <a:buClrTx/>
                <a:buSzTx/>
                <a:buFontTx/>
                <a:buNone/>
                <a:tabLst/>
                <a:defRPr/>
              </a:pPr>
              <a:r>
                <a:rPr kumimoji="0" lang="en-US" sz="1745" b="0" i="0" u="none" strike="noStrike" kern="1200" cap="none" spc="0" normalizeH="0" baseline="0" noProof="0">
                  <a:ln>
                    <a:noFill/>
                  </a:ln>
                  <a:solidFill>
                    <a:srgbClr val="FFFFFF"/>
                  </a:solidFill>
                  <a:effectLst/>
                  <a:uLnTx/>
                  <a:uFillTx/>
                  <a:latin typeface="Montserrat Bold"/>
                  <a:ea typeface="+mn-ea"/>
                  <a:cs typeface="+mn-cs"/>
                </a:rPr>
                <a:t>Advisory &amp; Management</a:t>
              </a:r>
            </a:p>
          </p:txBody>
        </p:sp>
        <p:sp>
          <p:nvSpPr>
            <p:cNvPr id="16" name="TextBox 16"/>
            <p:cNvSpPr txBox="1"/>
            <p:nvPr/>
          </p:nvSpPr>
          <p:spPr>
            <a:xfrm>
              <a:off x="2313289" y="5973850"/>
              <a:ext cx="2022610" cy="791355"/>
            </a:xfrm>
            <a:prstGeom prst="rect">
              <a:avLst/>
            </a:prstGeom>
          </p:spPr>
          <p:txBody>
            <a:bodyPr lIns="0" tIns="0" rIns="0" bIns="0" rtlCol="0" anchor="t">
              <a:spAutoFit/>
            </a:bodyPr>
            <a:lstStyle/>
            <a:p>
              <a:pPr marL="0" marR="0" lvl="0" indent="0" algn="ctr" defTabSz="914400" rtl="0" eaLnBrk="1" fontAlgn="auto" latinLnBrk="0" hangingPunct="1">
                <a:lnSpc>
                  <a:spcPts val="2443"/>
                </a:lnSpc>
                <a:spcBef>
                  <a:spcPct val="0"/>
                </a:spcBef>
                <a:spcAft>
                  <a:spcPts val="0"/>
                </a:spcAft>
                <a:buClrTx/>
                <a:buSzTx/>
                <a:buFontTx/>
                <a:buNone/>
                <a:tabLst/>
                <a:defRPr/>
              </a:pPr>
              <a:r>
                <a:rPr kumimoji="0" lang="en-US" sz="1745" b="0" i="0" u="none" strike="noStrike" kern="1200" cap="none" spc="0" normalizeH="0" baseline="0" noProof="0">
                  <a:ln>
                    <a:noFill/>
                  </a:ln>
                  <a:solidFill>
                    <a:srgbClr val="FFFFFF"/>
                  </a:solidFill>
                  <a:effectLst/>
                  <a:uLnTx/>
                  <a:uFillTx/>
                  <a:latin typeface="Montserrat Bold"/>
                  <a:ea typeface="+mn-ea"/>
                  <a:cs typeface="+mn-cs"/>
                </a:rPr>
                <a:t>Business areas</a:t>
              </a:r>
            </a:p>
          </p:txBody>
        </p:sp>
        <p:sp>
          <p:nvSpPr>
            <p:cNvPr id="17" name="TextBox 17"/>
            <p:cNvSpPr txBox="1"/>
            <p:nvPr/>
          </p:nvSpPr>
          <p:spPr>
            <a:xfrm>
              <a:off x="4457935" y="5973850"/>
              <a:ext cx="1465396" cy="791355"/>
            </a:xfrm>
            <a:prstGeom prst="rect">
              <a:avLst/>
            </a:prstGeom>
          </p:spPr>
          <p:txBody>
            <a:bodyPr lIns="0" tIns="0" rIns="0" bIns="0" rtlCol="0" anchor="t">
              <a:spAutoFit/>
            </a:bodyPr>
            <a:lstStyle/>
            <a:p>
              <a:pPr marL="0" marR="0" lvl="0" indent="0" algn="ctr" defTabSz="914400" rtl="0" eaLnBrk="1" fontAlgn="auto" latinLnBrk="0" hangingPunct="1">
                <a:lnSpc>
                  <a:spcPts val="2443"/>
                </a:lnSpc>
                <a:spcBef>
                  <a:spcPct val="0"/>
                </a:spcBef>
                <a:spcAft>
                  <a:spcPts val="0"/>
                </a:spcAft>
                <a:buClrTx/>
                <a:buSzTx/>
                <a:buFontTx/>
                <a:buNone/>
                <a:tabLst/>
                <a:defRPr/>
              </a:pPr>
              <a:r>
                <a:rPr kumimoji="0" lang="en-US" sz="1745" b="0" i="0" u="none" strike="noStrike" kern="1200" cap="none" spc="0" normalizeH="0" baseline="0" noProof="0">
                  <a:ln>
                    <a:noFill/>
                  </a:ln>
                  <a:solidFill>
                    <a:srgbClr val="FFFFFF"/>
                  </a:solidFill>
                  <a:effectLst/>
                  <a:uLnTx/>
                  <a:uFillTx/>
                  <a:latin typeface="Montserrat Bold"/>
                  <a:ea typeface="+mn-ea"/>
                  <a:cs typeface="+mn-cs"/>
                </a:rPr>
                <a:t>Tech team</a:t>
              </a:r>
            </a:p>
          </p:txBody>
        </p:sp>
        <p:sp>
          <p:nvSpPr>
            <p:cNvPr id="18" name="TextBox 18"/>
            <p:cNvSpPr txBox="1"/>
            <p:nvPr/>
          </p:nvSpPr>
          <p:spPr>
            <a:xfrm>
              <a:off x="6281769" y="6151307"/>
              <a:ext cx="1465396" cy="385175"/>
            </a:xfrm>
            <a:prstGeom prst="rect">
              <a:avLst/>
            </a:prstGeom>
          </p:spPr>
          <p:txBody>
            <a:bodyPr lIns="0" tIns="0" rIns="0" bIns="0" rtlCol="0" anchor="t">
              <a:spAutoFit/>
            </a:bodyPr>
            <a:lstStyle/>
            <a:p>
              <a:pPr marL="0" marR="0" lvl="0" indent="0" algn="ctr" defTabSz="914400" rtl="0" eaLnBrk="1" fontAlgn="auto" latinLnBrk="0" hangingPunct="1">
                <a:lnSpc>
                  <a:spcPts val="2443"/>
                </a:lnSpc>
                <a:spcBef>
                  <a:spcPct val="0"/>
                </a:spcBef>
                <a:spcAft>
                  <a:spcPts val="0"/>
                </a:spcAft>
                <a:buClrTx/>
                <a:buSzTx/>
                <a:buFontTx/>
                <a:buNone/>
                <a:tabLst/>
                <a:defRPr/>
              </a:pPr>
              <a:r>
                <a:rPr kumimoji="0" lang="en-US" sz="1745" b="0" i="0" u="none" strike="noStrike" kern="1200" cap="none" spc="0" normalizeH="0" baseline="0" noProof="0">
                  <a:ln>
                    <a:noFill/>
                  </a:ln>
                  <a:solidFill>
                    <a:srgbClr val="FFFFFF"/>
                  </a:solidFill>
                  <a:effectLst/>
                  <a:uLnTx/>
                  <a:uFillTx/>
                  <a:latin typeface="Montserrat Bold"/>
                  <a:ea typeface="+mn-ea"/>
                  <a:cs typeface="+mn-cs"/>
                </a:rPr>
                <a:t>Partners</a:t>
              </a:r>
            </a:p>
          </p:txBody>
        </p:sp>
      </p:grpSp>
      <p:sp>
        <p:nvSpPr>
          <p:cNvPr id="19" name="AutoShape 19"/>
          <p:cNvSpPr/>
          <p:nvPr/>
        </p:nvSpPr>
        <p:spPr>
          <a:xfrm flipH="1" flipV="1">
            <a:off x="5764814" y="5058255"/>
            <a:ext cx="0" cy="2844223"/>
          </a:xfrm>
          <a:prstGeom prst="line">
            <a:avLst/>
          </a:prstGeom>
          <a:ln w="28575" cap="flat">
            <a:solidFill>
              <a:srgbClr val="000000"/>
            </a:solidFill>
            <a:prstDash val="solid"/>
            <a:headEnd type="arrow" w="med" len="sm"/>
            <a:tailEnd type="arrow" w="med" len="sm"/>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4" name="TextBox 24"/>
          <p:cNvSpPr txBox="1"/>
          <p:nvPr/>
        </p:nvSpPr>
        <p:spPr>
          <a:xfrm>
            <a:off x="1202557" y="1292249"/>
            <a:ext cx="15244176" cy="718145"/>
          </a:xfrm>
          <a:prstGeom prst="rect">
            <a:avLst/>
          </a:prstGeom>
        </p:spPr>
        <p:txBody>
          <a:bodyPr wrap="square" lIns="0" tIns="0" rIns="0" bIns="0" rtlCol="0" anchor="t">
            <a:spAutoFit/>
          </a:bodyPr>
          <a:lstStyle/>
          <a:p>
            <a:pPr marL="0" marR="0" lvl="0" indent="0" algn="l" defTabSz="914400" rtl="0" eaLnBrk="1" fontAlgn="auto" latinLnBrk="0" hangingPunct="1">
              <a:lnSpc>
                <a:spcPts val="2800"/>
              </a:lnSpc>
              <a:spcBef>
                <a:spcPct val="0"/>
              </a:spcBef>
              <a:spcAft>
                <a:spcPts val="0"/>
              </a:spcAft>
              <a:buClrTx/>
              <a:buSzTx/>
              <a:buFontTx/>
              <a:buNone/>
              <a:tabLst/>
              <a:defRPr/>
            </a:pPr>
            <a:r>
              <a:rPr kumimoji="0" lang="en-US" sz="2800" b="1" i="0" u="none" strike="noStrike" kern="1200" cap="none" spc="0" normalizeH="0" baseline="0" noProof="0">
                <a:ln>
                  <a:noFill/>
                </a:ln>
                <a:solidFill>
                  <a:srgbClr val="6800FF"/>
                </a:solidFill>
                <a:effectLst/>
                <a:uLnTx/>
                <a:uFillTx/>
                <a:latin typeface="Montserrat Light" panose="00000400000000000000" pitchFamily="2" charset="0"/>
                <a:ea typeface="+mn-ea"/>
                <a:cs typeface="+mn-cs"/>
              </a:rPr>
              <a:t>Led by experts with business and technology mindset to ensure complete understanding of business needs as well as their feasible solutioning ​</a:t>
            </a:r>
          </a:p>
        </p:txBody>
      </p:sp>
      <p:sp>
        <p:nvSpPr>
          <p:cNvPr id="25" name="TextBox 25"/>
          <p:cNvSpPr txBox="1"/>
          <p:nvPr/>
        </p:nvSpPr>
        <p:spPr>
          <a:xfrm>
            <a:off x="1499085" y="2731747"/>
            <a:ext cx="3910656" cy="1672894"/>
          </a:xfrm>
          <a:prstGeom prst="rect">
            <a:avLst/>
          </a:prstGeom>
        </p:spPr>
        <p:txBody>
          <a:bodyPr wrap="square" lIns="0" tIns="0" rIns="0" bIns="0" rtlCol="0" anchor="t">
            <a:spAutoFit/>
          </a:bodyPr>
          <a:lstStyle/>
          <a:p>
            <a:pPr marL="285750" marR="0" lvl="0" indent="-285750" algn="l" defTabSz="914400" rtl="0" eaLnBrk="1" fontAlgn="auto" latinLnBrk="0" hangingPunct="1">
              <a:lnSpc>
                <a:spcPts val="224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Montserrat"/>
                <a:ea typeface="+mn-ea"/>
                <a:cs typeface="+mn-cs"/>
              </a:rPr>
              <a:t>Thought leadership​</a:t>
            </a:r>
          </a:p>
          <a:p>
            <a:pPr marL="285750" marR="0" lvl="0" indent="-285750" algn="l" defTabSz="914400" rtl="0" eaLnBrk="1" fontAlgn="auto" latinLnBrk="0" hangingPunct="1">
              <a:lnSpc>
                <a:spcPts val="224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Montserrat"/>
                <a:ea typeface="+mn-ea"/>
                <a:cs typeface="+mn-cs"/>
              </a:rPr>
              <a:t>Create governance structure ​</a:t>
            </a:r>
          </a:p>
          <a:p>
            <a:pPr marL="285750" marR="0" lvl="0" indent="-285750" algn="l" defTabSz="914400" rtl="0" eaLnBrk="1" fontAlgn="auto" latinLnBrk="0" hangingPunct="1">
              <a:lnSpc>
                <a:spcPts val="224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Montserrat"/>
                <a:ea typeface="+mn-ea"/>
                <a:cs typeface="+mn-cs"/>
              </a:rPr>
              <a:t>Secure strategic support​ </a:t>
            </a:r>
          </a:p>
          <a:p>
            <a:pPr marL="285750" marR="0" lvl="0" indent="-285750" algn="l" defTabSz="914400" rtl="0" eaLnBrk="1" fontAlgn="auto" latinLnBrk="0" hangingPunct="1">
              <a:lnSpc>
                <a:spcPts val="224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Montserrat"/>
                <a:ea typeface="+mn-ea"/>
                <a:cs typeface="+mn-cs"/>
              </a:rPr>
              <a:t>Controlling &amp; proposing countermeasures​</a:t>
            </a:r>
          </a:p>
          <a:p>
            <a:pPr marL="285750" marR="0" lvl="0" indent="-285750" algn="l" defTabSz="914400" rtl="0" eaLnBrk="1" fontAlgn="auto" latinLnBrk="0" hangingPunct="1">
              <a:lnSpc>
                <a:spcPts val="2240"/>
              </a:lnSpc>
              <a:spcBef>
                <a:spcPct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Montserrat"/>
                <a:ea typeface="+mn-ea"/>
                <a:cs typeface="+mn-cs"/>
              </a:rPr>
              <a:t>Cross Areas support and guidance</a:t>
            </a:r>
          </a:p>
        </p:txBody>
      </p:sp>
      <p:sp>
        <p:nvSpPr>
          <p:cNvPr id="26" name="TextBox 26"/>
          <p:cNvSpPr txBox="1"/>
          <p:nvPr/>
        </p:nvSpPr>
        <p:spPr>
          <a:xfrm rot="16200000">
            <a:off x="4708581" y="3497492"/>
            <a:ext cx="1650809" cy="271839"/>
          </a:xfrm>
          <a:prstGeom prst="rect">
            <a:avLst/>
          </a:prstGeom>
        </p:spPr>
        <p:txBody>
          <a:bodyPr lIns="0" tIns="0" rIns="0" bIns="0" rtlCol="0" anchor="t">
            <a:spAutoFit/>
          </a:bodyPr>
          <a:lstStyle/>
          <a:p>
            <a:pPr marL="0" marR="0" lvl="0" indent="0" algn="ctr" defTabSz="914400" rtl="0" eaLnBrk="1" fontAlgn="auto" latinLnBrk="0" hangingPunct="1">
              <a:lnSpc>
                <a:spcPts val="2207"/>
              </a:lnSpc>
              <a:spcBef>
                <a:spcPct val="0"/>
              </a:spcBef>
              <a:spcAft>
                <a:spcPts val="0"/>
              </a:spcAft>
              <a:buClrTx/>
              <a:buSzTx/>
              <a:buFontTx/>
              <a:buNone/>
              <a:tabLst/>
              <a:defRPr/>
            </a:pPr>
            <a:r>
              <a:rPr kumimoji="0" lang="en-US" sz="1576" b="0" i="0" u="none" strike="noStrike" kern="1200" cap="none" spc="0" normalizeH="0" baseline="0" noProof="0">
                <a:ln>
                  <a:noFill/>
                </a:ln>
                <a:solidFill>
                  <a:srgbClr val="6800FF"/>
                </a:solidFill>
                <a:effectLst/>
                <a:uLnTx/>
                <a:uFillTx/>
                <a:latin typeface="Montserrat Italics"/>
                <a:ea typeface="+mn-ea"/>
                <a:cs typeface="+mn-cs"/>
              </a:rPr>
              <a:t>Program level</a:t>
            </a:r>
          </a:p>
        </p:txBody>
      </p:sp>
      <p:sp>
        <p:nvSpPr>
          <p:cNvPr id="27" name="TextBox 27"/>
          <p:cNvSpPr txBox="1"/>
          <p:nvPr/>
        </p:nvSpPr>
        <p:spPr>
          <a:xfrm rot="16200000">
            <a:off x="4328776" y="6441660"/>
            <a:ext cx="2410418" cy="271839"/>
          </a:xfrm>
          <a:prstGeom prst="rect">
            <a:avLst/>
          </a:prstGeom>
        </p:spPr>
        <p:txBody>
          <a:bodyPr lIns="0" tIns="0" rIns="0" bIns="0" rtlCol="0" anchor="t">
            <a:spAutoFit/>
          </a:bodyPr>
          <a:lstStyle/>
          <a:p>
            <a:pPr marL="0" marR="0" lvl="0" indent="0" algn="ctr" defTabSz="914400" rtl="0" eaLnBrk="1" fontAlgn="auto" latinLnBrk="0" hangingPunct="1">
              <a:lnSpc>
                <a:spcPts val="2207"/>
              </a:lnSpc>
              <a:spcBef>
                <a:spcPct val="0"/>
              </a:spcBef>
              <a:spcAft>
                <a:spcPts val="0"/>
              </a:spcAft>
              <a:buClrTx/>
              <a:buSzTx/>
              <a:buFontTx/>
              <a:buNone/>
              <a:tabLst/>
              <a:defRPr/>
            </a:pPr>
            <a:r>
              <a:rPr kumimoji="0" lang="en-US" sz="1576" b="0" i="0" u="none" strike="noStrike" kern="1200" cap="none" spc="0" normalizeH="0" baseline="0" noProof="0">
                <a:ln>
                  <a:noFill/>
                </a:ln>
                <a:solidFill>
                  <a:srgbClr val="6800FF"/>
                </a:solidFill>
                <a:effectLst/>
                <a:uLnTx/>
                <a:uFillTx/>
                <a:latin typeface="Montserrat Italics"/>
                <a:ea typeface="+mn-ea"/>
                <a:cs typeface="+mn-cs"/>
              </a:rPr>
              <a:t>Workstream level</a:t>
            </a:r>
          </a:p>
        </p:txBody>
      </p:sp>
      <p:sp>
        <p:nvSpPr>
          <p:cNvPr id="28" name="TextBox 28"/>
          <p:cNvSpPr txBox="1"/>
          <p:nvPr/>
        </p:nvSpPr>
        <p:spPr>
          <a:xfrm>
            <a:off x="1471697" y="5587062"/>
            <a:ext cx="3829248" cy="2115323"/>
          </a:xfrm>
          <a:prstGeom prst="rect">
            <a:avLst/>
          </a:prstGeom>
        </p:spPr>
        <p:txBody>
          <a:bodyPr lIns="0" tIns="0" rIns="0" bIns="0" rtlCol="0" anchor="t">
            <a:spAutoFit/>
          </a:bodyPr>
          <a:lstStyle/>
          <a:p>
            <a:pPr marL="285750" marR="0" lvl="0" indent="-285750" algn="l" defTabSz="914400" rtl="0" eaLnBrk="1" fontAlgn="auto" latinLnBrk="0" hangingPunct="1">
              <a:lnSpc>
                <a:spcPts val="2847"/>
              </a:lnSpc>
              <a:spcBef>
                <a:spcPts val="0"/>
              </a:spcBef>
              <a:spcAft>
                <a:spcPts val="0"/>
              </a:spcAft>
              <a:buClrTx/>
              <a:buSzTx/>
              <a:buFont typeface="Arial" panose="020B0604020202020204" pitchFamily="34" charset="0"/>
              <a:buChar char="•"/>
              <a:tabLst/>
              <a:defRPr/>
            </a:pPr>
            <a:r>
              <a:rPr kumimoji="0" lang="en-US" sz="1599" b="0" i="0" u="none" strike="noStrike" kern="1200" cap="none" spc="0" normalizeH="0" baseline="0" noProof="0">
                <a:ln>
                  <a:noFill/>
                </a:ln>
                <a:solidFill>
                  <a:srgbClr val="000000"/>
                </a:solidFill>
                <a:effectLst/>
                <a:uLnTx/>
                <a:uFillTx/>
                <a:latin typeface="Montserrat" panose="00000500000000000000" pitchFamily="2" charset="0"/>
                <a:ea typeface="+mn-ea"/>
                <a:cs typeface="+mn-cs"/>
              </a:rPr>
              <a:t>Manage, challenge and facilitate</a:t>
            </a:r>
            <a:r>
              <a:rPr kumimoji="0" lang="en-US" sz="1599" b="0" i="0" u="none" strike="noStrike" kern="1200" cap="none" spc="0" normalizeH="0" baseline="0" noProof="0">
                <a:ln>
                  <a:noFill/>
                </a:ln>
                <a:solidFill>
                  <a:srgbClr val="000000"/>
                </a:solidFill>
                <a:effectLst/>
                <a:uLnTx/>
                <a:uFillTx/>
                <a:latin typeface="Montserrat Bold"/>
                <a:ea typeface="+mn-ea"/>
                <a:cs typeface="+mn-cs"/>
              </a:rPr>
              <a:t>​</a:t>
            </a:r>
          </a:p>
          <a:p>
            <a:pPr marL="285750" marR="0" lvl="0" indent="-285750" algn="l" defTabSz="914400" rtl="0" eaLnBrk="1" fontAlgn="auto" latinLnBrk="0" hangingPunct="1">
              <a:lnSpc>
                <a:spcPts val="2847"/>
              </a:lnSpc>
              <a:spcBef>
                <a:spcPts val="0"/>
              </a:spcBef>
              <a:spcAft>
                <a:spcPts val="0"/>
              </a:spcAft>
              <a:buClrTx/>
              <a:buSzTx/>
              <a:buFont typeface="Arial" panose="020B0604020202020204" pitchFamily="34" charset="0"/>
              <a:buChar char="•"/>
              <a:tabLst/>
              <a:defRPr/>
            </a:pPr>
            <a:r>
              <a:rPr kumimoji="0" lang="en-US" sz="1599" b="0" i="0" u="none" strike="noStrike" kern="1200" cap="none" spc="0" normalizeH="0" baseline="0" noProof="0">
                <a:ln>
                  <a:noFill/>
                </a:ln>
                <a:solidFill>
                  <a:srgbClr val="000000"/>
                </a:solidFill>
                <a:effectLst/>
                <a:uLnTx/>
                <a:uFillTx/>
                <a:latin typeface="Montserrat"/>
                <a:ea typeface="+mn-ea"/>
                <a:cs typeface="+mn-cs"/>
              </a:rPr>
              <a:t>Project Management x Roadmap​</a:t>
            </a:r>
          </a:p>
          <a:p>
            <a:pPr marL="285750" marR="0" lvl="0" indent="-285750" algn="l" defTabSz="914400" rtl="0" eaLnBrk="1" fontAlgn="auto" latinLnBrk="0" hangingPunct="1">
              <a:lnSpc>
                <a:spcPts val="2847"/>
              </a:lnSpc>
              <a:spcBef>
                <a:spcPts val="0"/>
              </a:spcBef>
              <a:spcAft>
                <a:spcPts val="0"/>
              </a:spcAft>
              <a:buClrTx/>
              <a:buSzTx/>
              <a:buFont typeface="Arial" panose="020B0604020202020204" pitchFamily="34" charset="0"/>
              <a:buChar char="•"/>
              <a:tabLst/>
              <a:defRPr/>
            </a:pPr>
            <a:r>
              <a:rPr kumimoji="0" lang="en-US" sz="1599" b="0" i="0" u="none" strike="noStrike" kern="1200" cap="none" spc="0" normalizeH="0" baseline="0" noProof="0">
                <a:ln>
                  <a:noFill/>
                </a:ln>
                <a:solidFill>
                  <a:srgbClr val="000000"/>
                </a:solidFill>
                <a:effectLst/>
                <a:uLnTx/>
                <a:uFillTx/>
                <a:latin typeface="Montserrat"/>
                <a:ea typeface="+mn-ea"/>
                <a:cs typeface="+mn-cs"/>
              </a:rPr>
              <a:t>Business and functional expertise to facilitate, support, challenge and proactively drive results​</a:t>
            </a:r>
          </a:p>
          <a:p>
            <a:pPr marL="285750" marR="0" lvl="0" indent="-285750" algn="l" defTabSz="914400" rtl="0" eaLnBrk="1" fontAlgn="auto" latinLnBrk="0" hangingPunct="1">
              <a:lnSpc>
                <a:spcPts val="2847"/>
              </a:lnSpc>
              <a:spcBef>
                <a:spcPts val="0"/>
              </a:spcBef>
              <a:spcAft>
                <a:spcPts val="0"/>
              </a:spcAft>
              <a:buClrTx/>
              <a:buSzTx/>
              <a:buFont typeface="Arial" panose="020B0604020202020204" pitchFamily="34" charset="0"/>
              <a:buChar char="•"/>
              <a:tabLst/>
              <a:defRPr/>
            </a:pPr>
            <a:r>
              <a:rPr kumimoji="0" lang="en-US" sz="1599" b="0" i="0" u="none" strike="noStrike" kern="1200" cap="none" spc="0" normalizeH="0" baseline="0" noProof="0">
                <a:ln>
                  <a:noFill/>
                </a:ln>
                <a:solidFill>
                  <a:srgbClr val="000000"/>
                </a:solidFill>
                <a:effectLst/>
                <a:uLnTx/>
                <a:uFillTx/>
                <a:latin typeface="Montserrat"/>
                <a:ea typeface="+mn-ea"/>
                <a:cs typeface="+mn-cs"/>
              </a:rPr>
              <a:t>Solution/Architecture mindset </a:t>
            </a:r>
          </a:p>
        </p:txBody>
      </p:sp>
      <p:sp>
        <p:nvSpPr>
          <p:cNvPr id="29" name="TextBox 29"/>
          <p:cNvSpPr txBox="1"/>
          <p:nvPr/>
        </p:nvSpPr>
        <p:spPr>
          <a:xfrm>
            <a:off x="12026165" y="5598051"/>
            <a:ext cx="2260038" cy="231360"/>
          </a:xfrm>
          <a:prstGeom prst="rect">
            <a:avLst/>
          </a:prstGeom>
        </p:spPr>
        <p:txBody>
          <a:bodyPr lIns="0" tIns="0" rIns="0" bIns="0" rtlCol="0" anchor="t">
            <a:spAutoFit/>
          </a:bodyPr>
          <a:lstStyle/>
          <a:p>
            <a:pPr marL="0" marR="0" lvl="0" indent="0" algn="l" defTabSz="914400" rtl="0" eaLnBrk="1" fontAlgn="auto" latinLnBrk="0" hangingPunct="1">
              <a:lnSpc>
                <a:spcPts val="1947"/>
              </a:lnSpc>
              <a:spcBef>
                <a:spcPct val="0"/>
              </a:spcBef>
              <a:spcAft>
                <a:spcPts val="0"/>
              </a:spcAft>
              <a:buClrTx/>
              <a:buSzTx/>
              <a:buFontTx/>
              <a:buNone/>
              <a:tabLst/>
              <a:defRPr/>
            </a:pPr>
            <a:r>
              <a:rPr kumimoji="0" lang="en-US" sz="1391" b="0" i="0" u="none" strike="noStrike" kern="1200" cap="none" spc="0" normalizeH="0" baseline="0" noProof="0">
                <a:ln>
                  <a:noFill/>
                </a:ln>
                <a:solidFill>
                  <a:srgbClr val="000000"/>
                </a:solidFill>
                <a:effectLst/>
                <a:uLnTx/>
                <a:uFillTx/>
                <a:latin typeface="Montserrat Bold"/>
                <a:ea typeface="+mn-ea"/>
                <a:cs typeface="+mn-cs"/>
              </a:rPr>
              <a:t>Deliverables (examples):</a:t>
            </a:r>
          </a:p>
        </p:txBody>
      </p:sp>
      <p:sp>
        <p:nvSpPr>
          <p:cNvPr id="30" name="TextBox 30"/>
          <p:cNvSpPr txBox="1"/>
          <p:nvPr/>
        </p:nvSpPr>
        <p:spPr>
          <a:xfrm>
            <a:off x="12026164" y="5905611"/>
            <a:ext cx="4835649" cy="1368452"/>
          </a:xfrm>
          <a:prstGeom prst="rect">
            <a:avLst/>
          </a:prstGeom>
        </p:spPr>
        <p:txBody>
          <a:bodyPr wrap="square" lIns="0" tIns="0" rIns="0" bIns="0" rtlCol="0" anchor="t">
            <a:spAutoFit/>
          </a:bodyPr>
          <a:lstStyle/>
          <a:p>
            <a:pPr marL="280669" marR="0" lvl="1" indent="-140335" algn="l" defTabSz="914400" rtl="0" eaLnBrk="1" fontAlgn="auto" latinLnBrk="0" hangingPunct="1">
              <a:lnSpc>
                <a:spcPts val="1819"/>
              </a:lnSpc>
              <a:spcBef>
                <a:spcPts val="0"/>
              </a:spcBef>
              <a:spcAft>
                <a:spcPts val="0"/>
              </a:spcAft>
              <a:buClrTx/>
              <a:buSzTx/>
              <a:buFont typeface="Arial"/>
              <a:buChar char="•"/>
              <a:tabLst/>
              <a:defRPr/>
            </a:pPr>
            <a:r>
              <a:rPr kumimoji="0" lang="en-US" sz="1299" b="0" i="0" u="none" strike="noStrike" kern="1200" cap="none" spc="0" normalizeH="0" baseline="0" noProof="0">
                <a:ln>
                  <a:noFill/>
                </a:ln>
                <a:solidFill>
                  <a:srgbClr val="000000"/>
                </a:solidFill>
                <a:effectLst/>
                <a:uLnTx/>
                <a:uFillTx/>
                <a:latin typeface="Montserrat"/>
                <a:ea typeface="+mn-ea"/>
                <a:cs typeface="+mn-cs"/>
              </a:rPr>
              <a:t>Business &amp; technology roadmaps </a:t>
            </a:r>
          </a:p>
          <a:p>
            <a:pPr marL="280669" marR="0" lvl="1" indent="-140335" algn="l" defTabSz="914400" rtl="0" eaLnBrk="1" fontAlgn="auto" latinLnBrk="0" hangingPunct="1">
              <a:lnSpc>
                <a:spcPts val="1819"/>
              </a:lnSpc>
              <a:spcBef>
                <a:spcPts val="0"/>
              </a:spcBef>
              <a:spcAft>
                <a:spcPts val="0"/>
              </a:spcAft>
              <a:buClrTx/>
              <a:buSzTx/>
              <a:buFont typeface="Arial"/>
              <a:buChar char="•"/>
              <a:tabLst/>
              <a:defRPr/>
            </a:pPr>
            <a:r>
              <a:rPr kumimoji="0" lang="en-US" sz="1299" b="0" i="0" u="none" strike="noStrike" kern="1200" cap="none" spc="0" normalizeH="0" baseline="0" noProof="0">
                <a:ln>
                  <a:noFill/>
                </a:ln>
                <a:solidFill>
                  <a:srgbClr val="000000"/>
                </a:solidFill>
                <a:effectLst/>
                <a:uLnTx/>
                <a:uFillTx/>
                <a:latin typeface="Montserrat"/>
                <a:ea typeface="+mn-ea"/>
                <a:cs typeface="+mn-cs"/>
              </a:rPr>
              <a:t>Reference Business and Technical Architectures​</a:t>
            </a:r>
          </a:p>
          <a:p>
            <a:pPr marL="280669" marR="0" lvl="1" indent="-140335" algn="l" defTabSz="914400" rtl="0" eaLnBrk="1" fontAlgn="auto" latinLnBrk="0" hangingPunct="1">
              <a:lnSpc>
                <a:spcPts val="1819"/>
              </a:lnSpc>
              <a:spcBef>
                <a:spcPts val="0"/>
              </a:spcBef>
              <a:spcAft>
                <a:spcPts val="0"/>
              </a:spcAft>
              <a:buClrTx/>
              <a:buSzTx/>
              <a:buFont typeface="Arial"/>
              <a:buChar char="•"/>
              <a:tabLst/>
              <a:defRPr/>
            </a:pPr>
            <a:r>
              <a:rPr kumimoji="0" lang="en-US" sz="1299" b="0" i="0" u="none" strike="noStrike" kern="1200" cap="none" spc="0" normalizeH="0" baseline="0" noProof="0">
                <a:ln>
                  <a:noFill/>
                </a:ln>
                <a:solidFill>
                  <a:srgbClr val="000000"/>
                </a:solidFill>
                <a:effectLst/>
                <a:uLnTx/>
                <a:uFillTx/>
                <a:latin typeface="Montserrat"/>
                <a:ea typeface="+mn-ea"/>
                <a:cs typeface="+mn-cs"/>
              </a:rPr>
              <a:t> Project Governance (Project / program management) ​</a:t>
            </a:r>
          </a:p>
          <a:p>
            <a:pPr marL="280669" marR="0" lvl="1" indent="-140335" algn="l" defTabSz="914400" rtl="0" eaLnBrk="1" fontAlgn="auto" latinLnBrk="0" hangingPunct="1">
              <a:lnSpc>
                <a:spcPts val="1819"/>
              </a:lnSpc>
              <a:spcBef>
                <a:spcPts val="0"/>
              </a:spcBef>
              <a:spcAft>
                <a:spcPts val="0"/>
              </a:spcAft>
              <a:buClrTx/>
              <a:buSzTx/>
              <a:buFont typeface="Arial"/>
              <a:buChar char="•"/>
              <a:tabLst/>
              <a:defRPr/>
            </a:pPr>
            <a:r>
              <a:rPr kumimoji="0" lang="en-US" sz="1299" b="0" i="0" u="none" strike="noStrike" kern="1200" cap="none" spc="0" normalizeH="0" baseline="0" noProof="0">
                <a:ln>
                  <a:noFill/>
                </a:ln>
                <a:solidFill>
                  <a:srgbClr val="000000"/>
                </a:solidFill>
                <a:effectLst/>
                <a:uLnTx/>
                <a:uFillTx/>
                <a:latin typeface="Montserrat"/>
                <a:ea typeface="+mn-ea"/>
                <a:cs typeface="+mn-cs"/>
              </a:rPr>
              <a:t> RFI / RFP​</a:t>
            </a:r>
          </a:p>
          <a:p>
            <a:pPr marL="280669" marR="0" lvl="1" indent="-140335" algn="l" defTabSz="914400" rtl="0" eaLnBrk="1" fontAlgn="auto" latinLnBrk="0" hangingPunct="1">
              <a:lnSpc>
                <a:spcPts val="1819"/>
              </a:lnSpc>
              <a:spcBef>
                <a:spcPts val="0"/>
              </a:spcBef>
              <a:spcAft>
                <a:spcPts val="0"/>
              </a:spcAft>
              <a:buClrTx/>
              <a:buSzTx/>
              <a:buFont typeface="Arial"/>
              <a:buChar char="•"/>
              <a:tabLst/>
              <a:defRPr/>
            </a:pPr>
            <a:r>
              <a:rPr kumimoji="0" lang="en-US" sz="1299" b="0" i="0" u="none" strike="noStrike" kern="1200" cap="none" spc="0" normalizeH="0" baseline="0" noProof="0">
                <a:ln>
                  <a:noFill/>
                </a:ln>
                <a:solidFill>
                  <a:srgbClr val="000000"/>
                </a:solidFill>
                <a:effectLst/>
                <a:uLnTx/>
                <a:uFillTx/>
                <a:latin typeface="Montserrat"/>
                <a:ea typeface="+mn-ea"/>
                <a:cs typeface="+mn-cs"/>
              </a:rPr>
              <a:t> Solution Design (Options, Recommendations, E2E HL Solution Architecture, etc.)</a:t>
            </a:r>
          </a:p>
        </p:txBody>
      </p:sp>
      <p:sp>
        <p:nvSpPr>
          <p:cNvPr id="31" name="TextBox 31"/>
          <p:cNvSpPr txBox="1"/>
          <p:nvPr/>
        </p:nvSpPr>
        <p:spPr>
          <a:xfrm>
            <a:off x="12026165" y="2511944"/>
            <a:ext cx="2260724" cy="240490"/>
          </a:xfrm>
          <a:prstGeom prst="rect">
            <a:avLst/>
          </a:prstGeom>
        </p:spPr>
        <p:txBody>
          <a:bodyPr lIns="0" tIns="0" rIns="0" bIns="0" rtlCol="0" anchor="t">
            <a:spAutoFit/>
          </a:bodyPr>
          <a:lstStyle/>
          <a:p>
            <a:pPr marL="0" marR="0" lvl="0" indent="0" algn="just" defTabSz="914400" rtl="0" eaLnBrk="1" fontAlgn="auto" latinLnBrk="0" hangingPunct="1">
              <a:lnSpc>
                <a:spcPts val="1947"/>
              </a:lnSpc>
              <a:spcBef>
                <a:spcPct val="0"/>
              </a:spcBef>
              <a:spcAft>
                <a:spcPts val="0"/>
              </a:spcAft>
              <a:buClrTx/>
              <a:buSzTx/>
              <a:buFontTx/>
              <a:buNone/>
              <a:tabLst/>
              <a:defRPr/>
            </a:pPr>
            <a:r>
              <a:rPr kumimoji="0" lang="en-US" sz="1391" b="0" i="0" u="none" strike="noStrike" kern="1200" cap="none" spc="0" normalizeH="0" baseline="0" noProof="0">
                <a:ln>
                  <a:noFill/>
                </a:ln>
                <a:solidFill>
                  <a:srgbClr val="000000"/>
                </a:solidFill>
                <a:effectLst/>
                <a:uLnTx/>
                <a:uFillTx/>
                <a:latin typeface="Montserrat Bold"/>
                <a:ea typeface="+mn-ea"/>
                <a:cs typeface="+mn-cs"/>
              </a:rPr>
              <a:t>Deliverables (examples):</a:t>
            </a:r>
          </a:p>
        </p:txBody>
      </p:sp>
      <p:sp>
        <p:nvSpPr>
          <p:cNvPr id="32" name="TextBox 32"/>
          <p:cNvSpPr txBox="1"/>
          <p:nvPr/>
        </p:nvSpPr>
        <p:spPr>
          <a:xfrm>
            <a:off x="12026165" y="2832302"/>
            <a:ext cx="4835649" cy="1874222"/>
          </a:xfrm>
          <a:prstGeom prst="rect">
            <a:avLst/>
          </a:prstGeom>
        </p:spPr>
        <p:txBody>
          <a:bodyPr lIns="0" tIns="0" rIns="0" bIns="0" rtlCol="0" anchor="t">
            <a:spAutoFit/>
          </a:bodyPr>
          <a:lstStyle/>
          <a:p>
            <a:pPr marL="259080" marR="0" lvl="1" indent="-129540" algn="l" defTabSz="914400" rtl="0" eaLnBrk="1" fontAlgn="auto" latinLnBrk="0" hangingPunct="1">
              <a:lnSpc>
                <a:spcPts val="1679"/>
              </a:lnSpc>
              <a:spcBef>
                <a:spcPts val="0"/>
              </a:spcBef>
              <a:spcAft>
                <a:spcPts val="0"/>
              </a:spcAft>
              <a:buClrTx/>
              <a:buSzTx/>
              <a:buFont typeface="Arial"/>
              <a:buChar char="•"/>
              <a:tabLst/>
              <a:defRPr/>
            </a:pPr>
            <a:r>
              <a:rPr kumimoji="0" lang="en-US" sz="1200" b="0" i="0" u="none" strike="noStrike" kern="1200" cap="none" spc="0" normalizeH="0" baseline="0" noProof="0">
                <a:ln>
                  <a:noFill/>
                </a:ln>
                <a:solidFill>
                  <a:srgbClr val="000000"/>
                </a:solidFill>
                <a:effectLst/>
                <a:uLnTx/>
                <a:uFillTx/>
                <a:latin typeface="Montserrat"/>
                <a:ea typeface="+mn-ea"/>
                <a:cs typeface="+mn-cs"/>
              </a:rPr>
              <a:t> Alignment between different members in the same area​</a:t>
            </a:r>
          </a:p>
          <a:p>
            <a:pPr marL="259080" marR="0" lvl="1" indent="-129540" algn="l" defTabSz="914400" rtl="0" eaLnBrk="1" fontAlgn="auto" latinLnBrk="0" hangingPunct="1">
              <a:lnSpc>
                <a:spcPts val="1679"/>
              </a:lnSpc>
              <a:spcBef>
                <a:spcPts val="0"/>
              </a:spcBef>
              <a:spcAft>
                <a:spcPts val="0"/>
              </a:spcAft>
              <a:buClrTx/>
              <a:buSzTx/>
              <a:buFont typeface="Arial"/>
              <a:buChar char="•"/>
              <a:tabLst/>
              <a:defRPr/>
            </a:pPr>
            <a:r>
              <a:rPr kumimoji="0" lang="en-US" sz="1200" b="0" i="0" u="none" strike="noStrike" kern="1200" cap="none" spc="0" normalizeH="0" baseline="0" noProof="0">
                <a:ln>
                  <a:noFill/>
                </a:ln>
                <a:solidFill>
                  <a:srgbClr val="000000"/>
                </a:solidFill>
                <a:effectLst/>
                <a:uLnTx/>
                <a:uFillTx/>
                <a:latin typeface="Montserrat"/>
                <a:ea typeface="+mn-ea"/>
                <a:cs typeface="+mn-cs"/>
              </a:rPr>
              <a:t> Point of Views ​</a:t>
            </a:r>
          </a:p>
          <a:p>
            <a:pPr marL="259080" marR="0" lvl="1" indent="-129540" algn="l" defTabSz="914400" rtl="0" eaLnBrk="1" fontAlgn="auto" latinLnBrk="0" hangingPunct="1">
              <a:lnSpc>
                <a:spcPts val="1679"/>
              </a:lnSpc>
              <a:spcBef>
                <a:spcPts val="0"/>
              </a:spcBef>
              <a:spcAft>
                <a:spcPts val="0"/>
              </a:spcAft>
              <a:buClrTx/>
              <a:buSzTx/>
              <a:buFont typeface="Arial"/>
              <a:buChar char="•"/>
              <a:tabLst/>
              <a:defRPr/>
            </a:pPr>
            <a:r>
              <a:rPr kumimoji="0" lang="en-US" sz="1200" b="0" i="0" u="none" strike="noStrike" kern="1200" cap="none" spc="0" normalizeH="0" baseline="0" noProof="0">
                <a:ln>
                  <a:noFill/>
                </a:ln>
                <a:solidFill>
                  <a:srgbClr val="000000"/>
                </a:solidFill>
                <a:effectLst/>
                <a:uLnTx/>
                <a:uFillTx/>
                <a:latin typeface="Montserrat"/>
                <a:ea typeface="+mn-ea"/>
                <a:cs typeface="+mn-cs"/>
              </a:rPr>
              <a:t> Innovation applied Use Cases​</a:t>
            </a:r>
          </a:p>
          <a:p>
            <a:pPr marL="259080" marR="0" lvl="1" indent="-129540" algn="l" defTabSz="914400" rtl="0" eaLnBrk="1" fontAlgn="auto" latinLnBrk="0" hangingPunct="1">
              <a:lnSpc>
                <a:spcPts val="1679"/>
              </a:lnSpc>
              <a:spcBef>
                <a:spcPts val="0"/>
              </a:spcBef>
              <a:spcAft>
                <a:spcPts val="0"/>
              </a:spcAft>
              <a:buClrTx/>
              <a:buSzTx/>
              <a:buFont typeface="Arial"/>
              <a:buChar char="•"/>
              <a:tabLst/>
              <a:defRPr/>
            </a:pPr>
            <a:r>
              <a:rPr kumimoji="0" lang="en-US" sz="1200" b="0" i="0" u="none" strike="noStrike" kern="1200" cap="none" spc="0" normalizeH="0" baseline="0" noProof="0">
                <a:ln>
                  <a:noFill/>
                </a:ln>
                <a:solidFill>
                  <a:srgbClr val="000000"/>
                </a:solidFill>
                <a:effectLst/>
                <a:uLnTx/>
                <a:uFillTx/>
                <a:latin typeface="Montserrat"/>
                <a:ea typeface="+mn-ea"/>
                <a:cs typeface="+mn-cs"/>
              </a:rPr>
              <a:t> Cross functional areas alignment ​</a:t>
            </a:r>
          </a:p>
          <a:p>
            <a:pPr marL="259080" marR="0" lvl="1" indent="-129540" algn="l" defTabSz="914400" rtl="0" eaLnBrk="1" fontAlgn="auto" latinLnBrk="0" hangingPunct="1">
              <a:lnSpc>
                <a:spcPts val="1679"/>
              </a:lnSpc>
              <a:spcBef>
                <a:spcPts val="0"/>
              </a:spcBef>
              <a:spcAft>
                <a:spcPts val="0"/>
              </a:spcAft>
              <a:buClrTx/>
              <a:buSzTx/>
              <a:buFont typeface="Arial"/>
              <a:buChar char="•"/>
              <a:tabLst/>
              <a:defRPr/>
            </a:pPr>
            <a:r>
              <a:rPr kumimoji="0" lang="en-US" sz="1200" b="0" i="0" u="none" strike="noStrike" kern="1200" cap="none" spc="0" normalizeH="0" baseline="0" noProof="0">
                <a:ln>
                  <a:noFill/>
                </a:ln>
                <a:solidFill>
                  <a:srgbClr val="000000"/>
                </a:solidFill>
                <a:effectLst/>
                <a:uLnTx/>
                <a:uFillTx/>
                <a:latin typeface="Montserrat"/>
                <a:ea typeface="+mn-ea"/>
                <a:cs typeface="+mn-cs"/>
              </a:rPr>
              <a:t> Community Sharing - share and listen other customers with same challenges​</a:t>
            </a:r>
          </a:p>
          <a:p>
            <a:pPr marL="259080" marR="0" lvl="1" indent="-129540" algn="l" defTabSz="914400" rtl="0" eaLnBrk="1" fontAlgn="auto" latinLnBrk="0" hangingPunct="1">
              <a:lnSpc>
                <a:spcPts val="1679"/>
              </a:lnSpc>
              <a:spcBef>
                <a:spcPts val="0"/>
              </a:spcBef>
              <a:spcAft>
                <a:spcPts val="0"/>
              </a:spcAft>
              <a:buClrTx/>
              <a:buSzTx/>
              <a:buFont typeface="Arial"/>
              <a:buChar char="•"/>
              <a:tabLst/>
              <a:defRPr/>
            </a:pPr>
            <a:r>
              <a:rPr kumimoji="0" lang="en-US" sz="1200" b="0" i="0" u="none" strike="noStrike" kern="1200" cap="none" spc="0" normalizeH="0" baseline="0" noProof="0">
                <a:ln>
                  <a:noFill/>
                </a:ln>
                <a:solidFill>
                  <a:srgbClr val="000000"/>
                </a:solidFill>
                <a:effectLst/>
                <a:uLnTx/>
                <a:uFillTx/>
                <a:latin typeface="Montserrat"/>
                <a:ea typeface="+mn-ea"/>
                <a:cs typeface="+mn-cs"/>
              </a:rPr>
              <a:t> Market Trends​</a:t>
            </a:r>
          </a:p>
          <a:p>
            <a:pPr marL="259080" marR="0" lvl="1" indent="-129540" algn="l" defTabSz="914400" rtl="0" eaLnBrk="1" fontAlgn="auto" latinLnBrk="0" hangingPunct="1">
              <a:lnSpc>
                <a:spcPts val="1679"/>
              </a:lnSpc>
              <a:spcBef>
                <a:spcPts val="0"/>
              </a:spcBef>
              <a:spcAft>
                <a:spcPts val="0"/>
              </a:spcAft>
              <a:buClrTx/>
              <a:buSzTx/>
              <a:buFont typeface="Arial"/>
              <a:buChar char="•"/>
              <a:tabLst/>
              <a:defRPr/>
            </a:pPr>
            <a:r>
              <a:rPr kumimoji="0" lang="en-US" sz="1200" b="0" i="0" u="none" strike="noStrike" kern="1200" cap="none" spc="0" normalizeH="0" baseline="0" noProof="0">
                <a:ln>
                  <a:noFill/>
                </a:ln>
                <a:solidFill>
                  <a:srgbClr val="000000"/>
                </a:solidFill>
                <a:effectLst/>
                <a:uLnTx/>
                <a:uFillTx/>
                <a:latin typeface="Montserrat"/>
                <a:ea typeface="+mn-ea"/>
                <a:cs typeface="+mn-cs"/>
              </a:rPr>
              <a:t> Implementation Approach​</a:t>
            </a:r>
          </a:p>
          <a:p>
            <a:pPr marL="259080" marR="0" lvl="1" indent="-129540" algn="l" defTabSz="914400" rtl="0" eaLnBrk="1" fontAlgn="auto" latinLnBrk="0" hangingPunct="1">
              <a:lnSpc>
                <a:spcPts val="1679"/>
              </a:lnSpc>
              <a:spcBef>
                <a:spcPts val="0"/>
              </a:spcBef>
              <a:spcAft>
                <a:spcPts val="0"/>
              </a:spcAft>
              <a:buClrTx/>
              <a:buSzTx/>
              <a:buFont typeface="Arial"/>
              <a:buChar char="•"/>
              <a:tabLst/>
              <a:defRPr/>
            </a:pPr>
            <a:r>
              <a:rPr kumimoji="0" lang="en-US" sz="1200" b="0" i="0" u="none" strike="noStrike" kern="1200" cap="none" spc="0" normalizeH="0" baseline="0" noProof="0">
                <a:ln>
                  <a:noFill/>
                </a:ln>
                <a:solidFill>
                  <a:srgbClr val="000000"/>
                </a:solidFill>
                <a:effectLst/>
                <a:uLnTx/>
                <a:uFillTx/>
                <a:latin typeface="Montserrat"/>
                <a:ea typeface="+mn-ea"/>
                <a:cs typeface="+mn-cs"/>
              </a:rPr>
              <a:t> Organizational structure alignment​</a:t>
            </a:r>
          </a:p>
        </p:txBody>
      </p:sp>
      <p:grpSp>
        <p:nvGrpSpPr>
          <p:cNvPr id="37" name="Agrupar 36">
            <a:extLst>
              <a:ext uri="{FF2B5EF4-FFF2-40B4-BE49-F238E27FC236}">
                <a16:creationId xmlns:a16="http://schemas.microsoft.com/office/drawing/2014/main" id="{EECC612F-042A-79A6-B3BB-69185ACC0CB9}"/>
              </a:ext>
            </a:extLst>
          </p:cNvPr>
          <p:cNvGrpSpPr/>
          <p:nvPr/>
        </p:nvGrpSpPr>
        <p:grpSpPr>
          <a:xfrm>
            <a:off x="3774303" y="8325176"/>
            <a:ext cx="11337555" cy="1040794"/>
            <a:chOff x="3116687" y="8309518"/>
            <a:chExt cx="13028568" cy="1260000"/>
          </a:xfrm>
        </p:grpSpPr>
        <p:grpSp>
          <p:nvGrpSpPr>
            <p:cNvPr id="20" name="Group 20"/>
            <p:cNvGrpSpPr/>
            <p:nvPr/>
          </p:nvGrpSpPr>
          <p:grpSpPr>
            <a:xfrm>
              <a:off x="3116687" y="8309518"/>
              <a:ext cx="13028568" cy="1260000"/>
              <a:chOff x="0" y="-28575"/>
              <a:chExt cx="4274726" cy="508836"/>
            </a:xfrm>
          </p:grpSpPr>
          <p:sp>
            <p:nvSpPr>
              <p:cNvPr id="21" name="Freeform 21"/>
              <p:cNvSpPr/>
              <p:nvPr/>
            </p:nvSpPr>
            <p:spPr>
              <a:xfrm>
                <a:off x="0" y="0"/>
                <a:ext cx="4274726" cy="480261"/>
              </a:xfrm>
              <a:custGeom>
                <a:avLst/>
                <a:gdLst/>
                <a:ahLst/>
                <a:cxnLst/>
                <a:rect l="l" t="t" r="r" b="b"/>
                <a:pathLst>
                  <a:path w="4274726" h="480261">
                    <a:moveTo>
                      <a:pt x="23850" y="0"/>
                    </a:moveTo>
                    <a:lnTo>
                      <a:pt x="4250876" y="0"/>
                    </a:lnTo>
                    <a:cubicBezTo>
                      <a:pt x="4257201" y="0"/>
                      <a:pt x="4263268" y="2513"/>
                      <a:pt x="4267741" y="6985"/>
                    </a:cubicBezTo>
                    <a:cubicBezTo>
                      <a:pt x="4272213" y="11458"/>
                      <a:pt x="4274726" y="17524"/>
                      <a:pt x="4274726" y="23850"/>
                    </a:cubicBezTo>
                    <a:lnTo>
                      <a:pt x="4274726" y="456411"/>
                    </a:lnTo>
                    <a:cubicBezTo>
                      <a:pt x="4274726" y="462736"/>
                      <a:pt x="4272213" y="468803"/>
                      <a:pt x="4267741" y="473275"/>
                    </a:cubicBezTo>
                    <a:cubicBezTo>
                      <a:pt x="4263268" y="477748"/>
                      <a:pt x="4257201" y="480261"/>
                      <a:pt x="4250876" y="480261"/>
                    </a:cubicBezTo>
                    <a:lnTo>
                      <a:pt x="23850" y="480261"/>
                    </a:lnTo>
                    <a:cubicBezTo>
                      <a:pt x="17524" y="480261"/>
                      <a:pt x="11458" y="477748"/>
                      <a:pt x="6985" y="473275"/>
                    </a:cubicBezTo>
                    <a:cubicBezTo>
                      <a:pt x="2513" y="468803"/>
                      <a:pt x="0" y="462736"/>
                      <a:pt x="0" y="456411"/>
                    </a:cubicBezTo>
                    <a:lnTo>
                      <a:pt x="0" y="23850"/>
                    </a:lnTo>
                    <a:cubicBezTo>
                      <a:pt x="0" y="17524"/>
                      <a:pt x="2513" y="11458"/>
                      <a:pt x="6985" y="6985"/>
                    </a:cubicBezTo>
                    <a:cubicBezTo>
                      <a:pt x="11458" y="2513"/>
                      <a:pt x="17524" y="0"/>
                      <a:pt x="23850" y="0"/>
                    </a:cubicBezTo>
                    <a:close/>
                  </a:path>
                </a:pathLst>
              </a:custGeom>
              <a:solidFill>
                <a:srgbClr val="222222"/>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2" name="TextBox 22"/>
              <p:cNvSpPr txBox="1"/>
              <p:nvPr/>
            </p:nvSpPr>
            <p:spPr>
              <a:xfrm>
                <a:off x="0" y="-28575"/>
                <a:ext cx="4274726" cy="508836"/>
              </a:xfrm>
              <a:prstGeom prst="rect">
                <a:avLst/>
              </a:prstGeom>
            </p:spPr>
            <p:txBody>
              <a:bodyPr lIns="50800" tIns="50800" rIns="50800" bIns="50800" rtlCol="0" anchor="ctr"/>
              <a:lstStyle/>
              <a:p>
                <a:pPr marL="0" marR="0" lvl="0" indent="0" algn="ctr" defTabSz="914400" rtl="0" eaLnBrk="1" fontAlgn="auto" latinLnBrk="0" hangingPunct="1">
                  <a:lnSpc>
                    <a:spcPts val="196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33" name="TextBox 33"/>
            <p:cNvSpPr txBox="1"/>
            <p:nvPr/>
          </p:nvSpPr>
          <p:spPr>
            <a:xfrm>
              <a:off x="3116687" y="8377489"/>
              <a:ext cx="13028568" cy="1054765"/>
            </a:xfrm>
            <a:prstGeom prst="rect">
              <a:avLst/>
            </a:prstGeom>
          </p:spPr>
          <p:txBody>
            <a:bodyPr wrap="square" lIns="0" tIns="0" rIns="0" bIns="0" rtlCol="0" anchor="t">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2000" b="1" i="0" u="none" strike="noStrike" kern="1200" cap="none" spc="0" normalizeH="0" baseline="0" noProof="0" err="1">
                  <a:ln>
                    <a:noFill/>
                  </a:ln>
                  <a:solidFill>
                    <a:srgbClr val="FFFFFF"/>
                  </a:solidFill>
                  <a:effectLst/>
                  <a:uLnTx/>
                  <a:uFillTx/>
                  <a:latin typeface="Montserrat"/>
                  <a:ea typeface="+mn-ea"/>
                  <a:cs typeface="+mn-cs"/>
                </a:rPr>
                <a:t>Qintess</a:t>
              </a:r>
              <a:r>
                <a:rPr kumimoji="0" lang="en-US" sz="2000" b="1" i="0" u="none" strike="noStrike" kern="1200" cap="none" spc="0" normalizeH="0" baseline="0" noProof="0">
                  <a:ln>
                    <a:noFill/>
                  </a:ln>
                  <a:solidFill>
                    <a:srgbClr val="FFFFFF"/>
                  </a:solidFill>
                  <a:effectLst/>
                  <a:uLnTx/>
                  <a:uFillTx/>
                  <a:latin typeface="Montserrat"/>
                  <a:ea typeface="+mn-ea"/>
                  <a:cs typeface="+mn-cs"/>
                </a:rPr>
                <a:t> services foster a business-decision-driven delivery, acting as SME and facilitators to meet the plan aligned with business expectations​</a:t>
              </a:r>
              <a:endParaRPr lang="en-US" sz="2000" b="1" i="0" u="none" strike="noStrike" kern="1200" cap="none" spc="0" normalizeH="0" baseline="0" noProof="0">
                <a:ln>
                  <a:noFill/>
                </a:ln>
                <a:solidFill>
                  <a:srgbClr val="FFFFFF"/>
                </a:solidFill>
                <a:effectLst/>
                <a:uLnTx/>
                <a:uFillTx/>
                <a:latin typeface="Montserrat"/>
                <a:ea typeface="+mn-ea"/>
                <a:cs typeface="+mn-cs"/>
              </a:endParaRPr>
            </a:p>
          </p:txBody>
        </p:sp>
      </p:grpSp>
      <p:sp>
        <p:nvSpPr>
          <p:cNvPr id="34" name="Title 33">
            <a:extLst>
              <a:ext uri="{FF2B5EF4-FFF2-40B4-BE49-F238E27FC236}">
                <a16:creationId xmlns:a16="http://schemas.microsoft.com/office/drawing/2014/main" id="{D5189F9A-03F4-FCDC-5413-93FB49FB1743}"/>
              </a:ext>
            </a:extLst>
          </p:cNvPr>
          <p:cNvSpPr>
            <a:spLocks noGrp="1"/>
          </p:cNvSpPr>
          <p:nvPr>
            <p:ph type="title" idx="4294967295"/>
          </p:nvPr>
        </p:nvSpPr>
        <p:spPr>
          <a:xfrm>
            <a:off x="1080600" y="555685"/>
            <a:ext cx="16230600" cy="727933"/>
          </a:xfrm>
        </p:spPr>
        <p:txBody>
          <a:bodyPr/>
          <a:lstStyle/>
          <a:p>
            <a:r>
              <a:rPr lang="en-US" sz="4000" noProof="0" dirty="0">
                <a:solidFill>
                  <a:schemeClr val="bg1"/>
                </a:solidFill>
              </a:rPr>
              <a:t>A </a:t>
            </a:r>
            <a:r>
              <a:rPr lang="en-US" sz="4000" dirty="0">
                <a:solidFill>
                  <a:schemeClr val="bg1"/>
                </a:solidFill>
              </a:rPr>
              <a:t>layered approach to cover all workstreams</a:t>
            </a:r>
            <a:r>
              <a:rPr lang="en-US" sz="4000" noProof="0" dirty="0">
                <a:solidFill>
                  <a:schemeClr val="bg1"/>
                </a:solidFill>
              </a:rPr>
              <a:t>​</a:t>
            </a:r>
          </a:p>
        </p:txBody>
      </p:sp>
      <p:grpSp>
        <p:nvGrpSpPr>
          <p:cNvPr id="36" name="Group 7">
            <a:extLst>
              <a:ext uri="{FF2B5EF4-FFF2-40B4-BE49-F238E27FC236}">
                <a16:creationId xmlns:a16="http://schemas.microsoft.com/office/drawing/2014/main" id="{E4079013-AC6A-427F-86F1-152AB3912F87}"/>
              </a:ext>
            </a:extLst>
          </p:cNvPr>
          <p:cNvGrpSpPr/>
          <p:nvPr/>
        </p:nvGrpSpPr>
        <p:grpSpPr>
          <a:xfrm>
            <a:off x="12540052" y="1070316"/>
            <a:ext cx="612363" cy="56823"/>
            <a:chOff x="0" y="0"/>
            <a:chExt cx="1078484" cy="100076"/>
          </a:xfrm>
        </p:grpSpPr>
        <p:sp>
          <p:nvSpPr>
            <p:cNvPr id="35" name="Freeform 8">
              <a:extLst>
                <a:ext uri="{FF2B5EF4-FFF2-40B4-BE49-F238E27FC236}">
                  <a16:creationId xmlns:a16="http://schemas.microsoft.com/office/drawing/2014/main" id="{96AA63D5-EBBF-C081-F227-10C16A0760AF}"/>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spTree>
    <p:extLst>
      <p:ext uri="{BB962C8B-B14F-4D97-AF65-F5344CB8AC3E}">
        <p14:creationId xmlns:p14="http://schemas.microsoft.com/office/powerpoint/2010/main" val="46876213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1028700" y="1990016"/>
            <a:ext cx="565848" cy="1974577"/>
            <a:chOff x="0" y="-28575"/>
            <a:chExt cx="161951" cy="565143"/>
          </a:xfrm>
        </p:grpSpPr>
        <p:sp>
          <p:nvSpPr>
            <p:cNvPr id="3" name="Freeform 3"/>
            <p:cNvSpPr/>
            <p:nvPr/>
          </p:nvSpPr>
          <p:spPr>
            <a:xfrm>
              <a:off x="0" y="0"/>
              <a:ext cx="161951" cy="536568"/>
            </a:xfrm>
            <a:custGeom>
              <a:avLst/>
              <a:gdLst/>
              <a:ahLst/>
              <a:cxnLst/>
              <a:rect l="l" t="t" r="r" b="b"/>
              <a:pathLst>
                <a:path w="161951" h="536568">
                  <a:moveTo>
                    <a:pt x="80976" y="0"/>
                  </a:moveTo>
                  <a:lnTo>
                    <a:pt x="80976" y="0"/>
                  </a:lnTo>
                  <a:cubicBezTo>
                    <a:pt x="125697" y="0"/>
                    <a:pt x="161951" y="36254"/>
                    <a:pt x="161951" y="80976"/>
                  </a:cubicBezTo>
                  <a:lnTo>
                    <a:pt x="161951" y="455592"/>
                  </a:lnTo>
                  <a:cubicBezTo>
                    <a:pt x="161951" y="500314"/>
                    <a:pt x="125697" y="536568"/>
                    <a:pt x="80976" y="536568"/>
                  </a:cubicBezTo>
                  <a:lnTo>
                    <a:pt x="80976" y="536568"/>
                  </a:lnTo>
                  <a:cubicBezTo>
                    <a:pt x="36254" y="536568"/>
                    <a:pt x="0" y="500314"/>
                    <a:pt x="0" y="455592"/>
                  </a:cubicBezTo>
                  <a:lnTo>
                    <a:pt x="0" y="80976"/>
                  </a:lnTo>
                  <a:cubicBezTo>
                    <a:pt x="0" y="36254"/>
                    <a:pt x="36254" y="0"/>
                    <a:pt x="80976" y="0"/>
                  </a:cubicBezTo>
                  <a:close/>
                </a:path>
              </a:pathLst>
            </a:custGeom>
            <a:solidFill>
              <a:srgbClr val="000000">
                <a:alpha val="0"/>
              </a:srgbClr>
            </a:solidFill>
            <a:ln w="38100" cap="rnd">
              <a:gradFill>
                <a:gsLst>
                  <a:gs pos="0">
                    <a:srgbClr val="6800FF">
                      <a:alpha val="100000"/>
                    </a:srgbClr>
                  </a:gs>
                  <a:gs pos="100000">
                    <a:srgbClr val="FA2C3A">
                      <a:alpha val="100000"/>
                    </a:srgbClr>
                  </a:gs>
                </a:gsLst>
                <a:path path="circle">
                  <a:fillToRect r="100000" b="100000"/>
                </a:path>
                <a:tileRect l="-100000" t="-100000"/>
              </a:gra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TextBox 4"/>
            <p:cNvSpPr txBox="1"/>
            <p:nvPr/>
          </p:nvSpPr>
          <p:spPr>
            <a:xfrm>
              <a:off x="0" y="-28575"/>
              <a:ext cx="161951" cy="565143"/>
            </a:xfrm>
            <a:prstGeom prst="rect">
              <a:avLst/>
            </a:prstGeom>
          </p:spPr>
          <p:txBody>
            <a:bodyPr lIns="50800" tIns="50800" rIns="50800" bIns="50800" rtlCol="0" anchor="ctr"/>
            <a:lstStyle/>
            <a:p>
              <a:pPr marL="0" marR="0" lvl="0" indent="0" algn="ctr" defTabSz="914400" rtl="0" eaLnBrk="1" fontAlgn="auto" latinLnBrk="0" hangingPunct="1">
                <a:lnSpc>
                  <a:spcPts val="196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5" name="Group 5"/>
          <p:cNvGrpSpPr/>
          <p:nvPr/>
        </p:nvGrpSpPr>
        <p:grpSpPr>
          <a:xfrm>
            <a:off x="1028700" y="4051699"/>
            <a:ext cx="565848" cy="4167730"/>
            <a:chOff x="0" y="-28575"/>
            <a:chExt cx="161951" cy="1192844"/>
          </a:xfrm>
        </p:grpSpPr>
        <p:sp>
          <p:nvSpPr>
            <p:cNvPr id="6" name="Freeform 6"/>
            <p:cNvSpPr/>
            <p:nvPr/>
          </p:nvSpPr>
          <p:spPr>
            <a:xfrm>
              <a:off x="0" y="0"/>
              <a:ext cx="161951" cy="1164269"/>
            </a:xfrm>
            <a:custGeom>
              <a:avLst/>
              <a:gdLst/>
              <a:ahLst/>
              <a:cxnLst/>
              <a:rect l="l" t="t" r="r" b="b"/>
              <a:pathLst>
                <a:path w="161951" h="1164269">
                  <a:moveTo>
                    <a:pt x="80976" y="0"/>
                  </a:moveTo>
                  <a:lnTo>
                    <a:pt x="80976" y="0"/>
                  </a:lnTo>
                  <a:cubicBezTo>
                    <a:pt x="125697" y="0"/>
                    <a:pt x="161951" y="36254"/>
                    <a:pt x="161951" y="80976"/>
                  </a:cubicBezTo>
                  <a:lnTo>
                    <a:pt x="161951" y="1083293"/>
                  </a:lnTo>
                  <a:cubicBezTo>
                    <a:pt x="161951" y="1128015"/>
                    <a:pt x="125697" y="1164269"/>
                    <a:pt x="80976" y="1164269"/>
                  </a:cubicBezTo>
                  <a:lnTo>
                    <a:pt x="80976" y="1164269"/>
                  </a:lnTo>
                  <a:cubicBezTo>
                    <a:pt x="36254" y="1164269"/>
                    <a:pt x="0" y="1128015"/>
                    <a:pt x="0" y="1083293"/>
                  </a:cubicBezTo>
                  <a:lnTo>
                    <a:pt x="0" y="80976"/>
                  </a:lnTo>
                  <a:cubicBezTo>
                    <a:pt x="0" y="36254"/>
                    <a:pt x="36254" y="0"/>
                    <a:pt x="80976" y="0"/>
                  </a:cubicBezTo>
                  <a:close/>
                </a:path>
              </a:pathLst>
            </a:custGeom>
            <a:solidFill>
              <a:srgbClr val="000000">
                <a:alpha val="0"/>
              </a:srgbClr>
            </a:solidFill>
            <a:ln w="38100" cap="rnd">
              <a:gradFill>
                <a:gsLst>
                  <a:gs pos="0">
                    <a:srgbClr val="6800FF">
                      <a:alpha val="100000"/>
                    </a:srgbClr>
                  </a:gs>
                  <a:gs pos="100000">
                    <a:srgbClr val="FA2C3A">
                      <a:alpha val="100000"/>
                    </a:srgbClr>
                  </a:gs>
                </a:gsLst>
                <a:path path="circle">
                  <a:fillToRect r="100000" b="100000"/>
                </a:path>
                <a:tileRect l="-100000" t="-100000"/>
              </a:gra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 name="TextBox 7"/>
            <p:cNvSpPr txBox="1"/>
            <p:nvPr/>
          </p:nvSpPr>
          <p:spPr>
            <a:xfrm>
              <a:off x="0" y="-28575"/>
              <a:ext cx="161951" cy="1192844"/>
            </a:xfrm>
            <a:prstGeom prst="rect">
              <a:avLst/>
            </a:prstGeom>
          </p:spPr>
          <p:txBody>
            <a:bodyPr lIns="50800" tIns="50800" rIns="50800" bIns="50800" rtlCol="0" anchor="ctr"/>
            <a:lstStyle/>
            <a:p>
              <a:pPr marL="0" marR="0" lvl="0" indent="0" algn="ctr" defTabSz="914400" rtl="0" eaLnBrk="1" fontAlgn="auto" latinLnBrk="0" hangingPunct="1">
                <a:lnSpc>
                  <a:spcPts val="196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8" name="Freeform 8"/>
          <p:cNvSpPr/>
          <p:nvPr/>
        </p:nvSpPr>
        <p:spPr>
          <a:xfrm>
            <a:off x="5534769" y="2235531"/>
            <a:ext cx="503480" cy="503480"/>
          </a:xfrm>
          <a:custGeom>
            <a:avLst/>
            <a:gdLst/>
            <a:ahLst/>
            <a:cxnLst/>
            <a:rect l="l" t="t" r="r" b="b"/>
            <a:pathLst>
              <a:path w="503480" h="503480">
                <a:moveTo>
                  <a:pt x="0" y="0"/>
                </a:moveTo>
                <a:lnTo>
                  <a:pt x="503479" y="0"/>
                </a:lnTo>
                <a:lnTo>
                  <a:pt x="503479" y="503480"/>
                </a:lnTo>
                <a:lnTo>
                  <a:pt x="0" y="503480"/>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TextBox 11"/>
          <p:cNvSpPr txBox="1"/>
          <p:nvPr/>
        </p:nvSpPr>
        <p:spPr>
          <a:xfrm rot="-5400000">
            <a:off x="715778" y="2965771"/>
            <a:ext cx="1163118" cy="238815"/>
          </a:xfrm>
          <a:prstGeom prst="rect">
            <a:avLst/>
          </a:prstGeom>
        </p:spPr>
        <p:txBody>
          <a:bodyPr lIns="0" tIns="0" rIns="0" bIns="0" rtlCol="0" anchor="t">
            <a:spAutoFit/>
          </a:bodyPr>
          <a:lstStyle/>
          <a:p>
            <a:pPr marL="0" marR="0" lvl="0" indent="0" algn="ctr" defTabSz="914400" rtl="0" eaLnBrk="1" fontAlgn="auto" latinLnBrk="0" hangingPunct="1">
              <a:lnSpc>
                <a:spcPts val="1932"/>
              </a:lnSpc>
              <a:spcBef>
                <a:spcPct val="0"/>
              </a:spcBef>
              <a:spcAft>
                <a:spcPts val="0"/>
              </a:spcAft>
              <a:buClrTx/>
              <a:buSzTx/>
              <a:buFontTx/>
              <a:buNone/>
              <a:tabLst/>
              <a:defRPr/>
            </a:pPr>
            <a:r>
              <a:rPr kumimoji="0" lang="en-US" sz="1380" b="0" i="0" u="none" strike="noStrike" kern="1200" cap="none" spc="0" normalizeH="0" baseline="0" noProof="0">
                <a:ln>
                  <a:noFill/>
                </a:ln>
                <a:solidFill>
                  <a:srgbClr val="000000"/>
                </a:solidFill>
                <a:effectLst/>
                <a:uLnTx/>
                <a:uFillTx/>
                <a:latin typeface="Montserrat Medium"/>
                <a:ea typeface="+mn-ea"/>
                <a:cs typeface="+mn-cs"/>
              </a:rPr>
              <a:t>Governance</a:t>
            </a:r>
          </a:p>
        </p:txBody>
      </p:sp>
      <p:sp>
        <p:nvSpPr>
          <p:cNvPr id="12" name="TextBox 12"/>
          <p:cNvSpPr txBox="1"/>
          <p:nvPr/>
        </p:nvSpPr>
        <p:spPr>
          <a:xfrm rot="-5400000">
            <a:off x="-35002" y="6119618"/>
            <a:ext cx="2664677" cy="226472"/>
          </a:xfrm>
          <a:prstGeom prst="rect">
            <a:avLst/>
          </a:prstGeom>
        </p:spPr>
        <p:txBody>
          <a:bodyPr lIns="0" tIns="0" rIns="0" bIns="0" rtlCol="0" anchor="t">
            <a:spAutoFit/>
          </a:bodyPr>
          <a:lstStyle/>
          <a:p>
            <a:pPr marL="0" marR="0" lvl="0" indent="0" algn="ctr" defTabSz="914400" rtl="0" eaLnBrk="1" fontAlgn="auto" latinLnBrk="0" hangingPunct="1">
              <a:lnSpc>
                <a:spcPts val="1932"/>
              </a:lnSpc>
              <a:spcBef>
                <a:spcPct val="0"/>
              </a:spcBef>
              <a:spcAft>
                <a:spcPts val="0"/>
              </a:spcAft>
              <a:buClrTx/>
              <a:buSzTx/>
              <a:buFontTx/>
              <a:buNone/>
              <a:tabLst/>
              <a:defRPr/>
            </a:pPr>
            <a:r>
              <a:rPr kumimoji="0" lang="en-US" sz="1380" b="0" i="0" u="none" strike="noStrike" kern="1200" cap="none" spc="0" normalizeH="0" baseline="0" noProof="0">
                <a:ln>
                  <a:noFill/>
                </a:ln>
                <a:solidFill>
                  <a:srgbClr val="000000"/>
                </a:solidFill>
                <a:effectLst/>
                <a:uLnTx/>
                <a:uFillTx/>
                <a:latin typeface="Montserrat Medium"/>
                <a:ea typeface="+mn-ea"/>
                <a:cs typeface="+mn-cs"/>
              </a:rPr>
              <a:t>Workstream delivery support</a:t>
            </a:r>
          </a:p>
        </p:txBody>
      </p:sp>
      <p:sp>
        <p:nvSpPr>
          <p:cNvPr id="13" name="TextBox 13"/>
          <p:cNvSpPr txBox="1"/>
          <p:nvPr/>
        </p:nvSpPr>
        <p:spPr>
          <a:xfrm>
            <a:off x="1972292" y="2206956"/>
            <a:ext cx="2326697" cy="564753"/>
          </a:xfrm>
          <a:prstGeom prst="rect">
            <a:avLst/>
          </a:prstGeom>
        </p:spPr>
        <p:txBody>
          <a:bodyPr lIns="0" tIns="0" rIns="0" bIns="0" rtlCol="0" anchor="t">
            <a:spAutoFit/>
          </a:bodyPr>
          <a:lstStyle/>
          <a:p>
            <a:pPr marL="0" marR="0" lvl="0" indent="0" algn="l" defTabSz="914400" rtl="0" eaLnBrk="1" fontAlgn="auto" latinLnBrk="0" hangingPunct="1">
              <a:lnSpc>
                <a:spcPts val="2318"/>
              </a:lnSpc>
              <a:spcBef>
                <a:spcPts val="0"/>
              </a:spcBef>
              <a:spcAft>
                <a:spcPts val="0"/>
              </a:spcAft>
              <a:buClrTx/>
              <a:buSzTx/>
              <a:buFontTx/>
              <a:buNone/>
              <a:tabLst/>
              <a:defRPr/>
            </a:pPr>
            <a:r>
              <a:rPr kumimoji="0" lang="en-US" sz="1656" b="0" i="0" u="none" strike="noStrike" kern="1200" cap="none" spc="0" normalizeH="0" baseline="0" noProof="0">
                <a:ln>
                  <a:noFill/>
                </a:ln>
                <a:solidFill>
                  <a:srgbClr val="000000"/>
                </a:solidFill>
                <a:effectLst/>
                <a:uLnTx/>
                <a:uFillTx/>
                <a:latin typeface="Montserrat"/>
                <a:ea typeface="+mn-ea"/>
                <a:cs typeface="+mn-cs"/>
              </a:rPr>
              <a:t>Thought Leadership​</a:t>
            </a:r>
          </a:p>
          <a:p>
            <a:pPr marL="0" marR="0" lvl="0" indent="0" algn="l" defTabSz="914400" rtl="0" eaLnBrk="1" fontAlgn="auto" latinLnBrk="0" hangingPunct="1">
              <a:lnSpc>
                <a:spcPts val="2318"/>
              </a:lnSpc>
              <a:spcBef>
                <a:spcPct val="0"/>
              </a:spcBef>
              <a:spcAft>
                <a:spcPts val="0"/>
              </a:spcAft>
              <a:buClrTx/>
              <a:buSzTx/>
              <a:buFontTx/>
              <a:buNone/>
              <a:tabLst/>
              <a:defRPr/>
            </a:pPr>
            <a:r>
              <a:rPr kumimoji="0" lang="en-US" sz="1656" b="0" i="0" u="none" strike="noStrike" kern="1200" cap="none" spc="0" normalizeH="0" baseline="0" noProof="0">
                <a:ln>
                  <a:noFill/>
                </a:ln>
                <a:solidFill>
                  <a:srgbClr val="000000"/>
                </a:solidFill>
                <a:effectLst/>
                <a:uLnTx/>
                <a:uFillTx/>
                <a:latin typeface="Montserrat"/>
                <a:ea typeface="+mn-ea"/>
                <a:cs typeface="+mn-cs"/>
              </a:rPr>
              <a:t>Change Management​</a:t>
            </a:r>
          </a:p>
        </p:txBody>
      </p:sp>
      <p:sp>
        <p:nvSpPr>
          <p:cNvPr id="14" name="TextBox 14"/>
          <p:cNvSpPr txBox="1"/>
          <p:nvPr/>
        </p:nvSpPr>
        <p:spPr>
          <a:xfrm>
            <a:off x="1972292" y="3370074"/>
            <a:ext cx="1862860" cy="564753"/>
          </a:xfrm>
          <a:prstGeom prst="rect">
            <a:avLst/>
          </a:prstGeom>
        </p:spPr>
        <p:txBody>
          <a:bodyPr lIns="0" tIns="0" rIns="0" bIns="0" rtlCol="0" anchor="t">
            <a:spAutoFit/>
          </a:bodyPr>
          <a:lstStyle/>
          <a:p>
            <a:pPr marL="0" marR="0" lvl="0" indent="0" algn="l" defTabSz="914400" rtl="0" eaLnBrk="1" fontAlgn="auto" latinLnBrk="0" hangingPunct="1">
              <a:lnSpc>
                <a:spcPts val="2318"/>
              </a:lnSpc>
              <a:spcBef>
                <a:spcPct val="0"/>
              </a:spcBef>
              <a:spcAft>
                <a:spcPts val="0"/>
              </a:spcAft>
              <a:buClrTx/>
              <a:buSzTx/>
              <a:buFontTx/>
              <a:buNone/>
              <a:tabLst/>
              <a:defRPr/>
            </a:pPr>
            <a:r>
              <a:rPr kumimoji="0" lang="en-US" sz="1656" b="0" i="0" u="none" strike="noStrike" kern="1200" cap="none" spc="0" normalizeH="0" baseline="0" noProof="0">
                <a:ln>
                  <a:noFill/>
                </a:ln>
                <a:solidFill>
                  <a:srgbClr val="000000"/>
                </a:solidFill>
                <a:effectLst/>
                <a:uLnTx/>
                <a:uFillTx/>
                <a:latin typeface="Montserrat"/>
                <a:ea typeface="+mn-ea"/>
                <a:cs typeface="+mn-cs"/>
              </a:rPr>
              <a:t>Program monitoring</a:t>
            </a:r>
          </a:p>
        </p:txBody>
      </p:sp>
      <p:sp>
        <p:nvSpPr>
          <p:cNvPr id="15" name="Freeform 15"/>
          <p:cNvSpPr/>
          <p:nvPr/>
        </p:nvSpPr>
        <p:spPr>
          <a:xfrm>
            <a:off x="5534769" y="3414998"/>
            <a:ext cx="503480" cy="503480"/>
          </a:xfrm>
          <a:custGeom>
            <a:avLst/>
            <a:gdLst/>
            <a:ahLst/>
            <a:cxnLst/>
            <a:rect l="l" t="t" r="r" b="b"/>
            <a:pathLst>
              <a:path w="503480" h="503480">
                <a:moveTo>
                  <a:pt x="0" y="0"/>
                </a:moveTo>
                <a:lnTo>
                  <a:pt x="503479" y="0"/>
                </a:lnTo>
                <a:lnTo>
                  <a:pt x="503479" y="503480"/>
                </a:lnTo>
                <a:lnTo>
                  <a:pt x="0" y="503480"/>
                </a:lnTo>
                <a:lnTo>
                  <a:pt x="0" y="0"/>
                </a:lnTo>
                <a:close/>
              </a:path>
            </a:pathLst>
          </a:custGeom>
          <a:blipFill>
            <a:blip r:embed="rId2">
              <a:extLst>
                <a:ext uri="{96DAC541-7B7A-43D3-8B79-37D633B846F1}">
                  <asvg:svgBlip xmlns:asvg="http://schemas.microsoft.com/office/drawing/2016/SVG/main" r:embed="rId4"/>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 name="TextBox 16"/>
          <p:cNvSpPr txBox="1"/>
          <p:nvPr/>
        </p:nvSpPr>
        <p:spPr>
          <a:xfrm>
            <a:off x="6292805" y="2351519"/>
            <a:ext cx="1862860" cy="275628"/>
          </a:xfrm>
          <a:prstGeom prst="rect">
            <a:avLst/>
          </a:prstGeom>
        </p:spPr>
        <p:txBody>
          <a:bodyPr lIns="0" tIns="0" rIns="0" bIns="0" rtlCol="0" anchor="t">
            <a:spAutoFit/>
          </a:bodyPr>
          <a:lstStyle/>
          <a:p>
            <a:pPr marL="0" marR="0" lvl="0" indent="0" algn="l" defTabSz="914400" rtl="0" eaLnBrk="1" fontAlgn="auto" latinLnBrk="0" hangingPunct="1">
              <a:lnSpc>
                <a:spcPts val="2318"/>
              </a:lnSpc>
              <a:spcBef>
                <a:spcPct val="0"/>
              </a:spcBef>
              <a:spcAft>
                <a:spcPts val="0"/>
              </a:spcAft>
              <a:buClrTx/>
              <a:buSzTx/>
              <a:buFontTx/>
              <a:buNone/>
              <a:tabLst/>
              <a:defRPr/>
            </a:pPr>
            <a:r>
              <a:rPr kumimoji="0" lang="en-US" sz="1656" b="0" i="0" u="none" strike="noStrike" kern="1200" cap="none" spc="0" normalizeH="0" baseline="0" noProof="0">
                <a:ln>
                  <a:noFill/>
                </a:ln>
                <a:solidFill>
                  <a:srgbClr val="000000"/>
                </a:solidFill>
                <a:effectLst/>
                <a:uLnTx/>
                <a:uFillTx/>
                <a:latin typeface="Montserrat"/>
                <a:ea typeface="+mn-ea"/>
                <a:cs typeface="+mn-cs"/>
              </a:rPr>
              <a:t>Senior advisors</a:t>
            </a:r>
          </a:p>
        </p:txBody>
      </p:sp>
      <p:sp>
        <p:nvSpPr>
          <p:cNvPr id="17" name="TextBox 17"/>
          <p:cNvSpPr txBox="1"/>
          <p:nvPr/>
        </p:nvSpPr>
        <p:spPr>
          <a:xfrm>
            <a:off x="6292805" y="3530986"/>
            <a:ext cx="2087619" cy="275628"/>
          </a:xfrm>
          <a:prstGeom prst="rect">
            <a:avLst/>
          </a:prstGeom>
        </p:spPr>
        <p:txBody>
          <a:bodyPr lIns="0" tIns="0" rIns="0" bIns="0" rtlCol="0" anchor="t">
            <a:spAutoFit/>
          </a:bodyPr>
          <a:lstStyle/>
          <a:p>
            <a:pPr marL="0" marR="0" lvl="0" indent="0" algn="l" defTabSz="914400" rtl="0" eaLnBrk="1" fontAlgn="auto" latinLnBrk="0" hangingPunct="1">
              <a:lnSpc>
                <a:spcPts val="2318"/>
              </a:lnSpc>
              <a:spcBef>
                <a:spcPct val="0"/>
              </a:spcBef>
              <a:spcAft>
                <a:spcPts val="0"/>
              </a:spcAft>
              <a:buClrTx/>
              <a:buSzTx/>
              <a:buFontTx/>
              <a:buNone/>
              <a:tabLst/>
              <a:defRPr/>
            </a:pPr>
            <a:r>
              <a:rPr kumimoji="0" lang="en-US" sz="1656" b="0" i="0" u="none" strike="noStrike" kern="1200" cap="none" spc="0" normalizeH="0" baseline="0" noProof="0">
                <a:ln>
                  <a:noFill/>
                </a:ln>
                <a:solidFill>
                  <a:srgbClr val="000000"/>
                </a:solidFill>
                <a:effectLst/>
                <a:uLnTx/>
                <a:uFillTx/>
                <a:latin typeface="Montserrat"/>
                <a:ea typeface="+mn-ea"/>
                <a:cs typeface="+mn-cs"/>
              </a:rPr>
              <a:t>Program manager</a:t>
            </a:r>
          </a:p>
        </p:txBody>
      </p:sp>
      <p:sp>
        <p:nvSpPr>
          <p:cNvPr id="18" name="Freeform 18"/>
          <p:cNvSpPr/>
          <p:nvPr/>
        </p:nvSpPr>
        <p:spPr>
          <a:xfrm>
            <a:off x="8634610" y="3414998"/>
            <a:ext cx="503480" cy="503480"/>
          </a:xfrm>
          <a:custGeom>
            <a:avLst/>
            <a:gdLst/>
            <a:ahLst/>
            <a:cxnLst/>
            <a:rect l="l" t="t" r="r" b="b"/>
            <a:pathLst>
              <a:path w="503480" h="503480">
                <a:moveTo>
                  <a:pt x="0" y="0"/>
                </a:moveTo>
                <a:lnTo>
                  <a:pt x="503480" y="0"/>
                </a:lnTo>
                <a:lnTo>
                  <a:pt x="503480" y="503480"/>
                </a:lnTo>
                <a:lnTo>
                  <a:pt x="0" y="503480"/>
                </a:lnTo>
                <a:lnTo>
                  <a:pt x="0" y="0"/>
                </a:lnTo>
                <a:close/>
              </a:path>
            </a:pathLst>
          </a:custGeom>
          <a:blipFill>
            <a:blip r:embed="rId2">
              <a:extLst>
                <a:ext uri="{96DAC541-7B7A-43D3-8B79-37D633B846F1}">
                  <asvg:svgBlip xmlns:asvg="http://schemas.microsoft.com/office/drawing/2016/SVG/main" r:embed="rId4"/>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9" name="TextBox 19"/>
          <p:cNvSpPr txBox="1"/>
          <p:nvPr/>
        </p:nvSpPr>
        <p:spPr>
          <a:xfrm>
            <a:off x="9357586" y="3530986"/>
            <a:ext cx="778729" cy="275628"/>
          </a:xfrm>
          <a:prstGeom prst="rect">
            <a:avLst/>
          </a:prstGeom>
        </p:spPr>
        <p:txBody>
          <a:bodyPr lIns="0" tIns="0" rIns="0" bIns="0" rtlCol="0" anchor="t">
            <a:spAutoFit/>
          </a:bodyPr>
          <a:lstStyle/>
          <a:p>
            <a:pPr marL="0" marR="0" lvl="0" indent="0" algn="l" defTabSz="914400" rtl="0" eaLnBrk="1" fontAlgn="auto" latinLnBrk="0" hangingPunct="1">
              <a:lnSpc>
                <a:spcPts val="2318"/>
              </a:lnSpc>
              <a:spcBef>
                <a:spcPct val="0"/>
              </a:spcBef>
              <a:spcAft>
                <a:spcPts val="0"/>
              </a:spcAft>
              <a:buClrTx/>
              <a:buSzTx/>
              <a:buFontTx/>
              <a:buNone/>
              <a:tabLst/>
              <a:defRPr/>
            </a:pPr>
            <a:r>
              <a:rPr kumimoji="0" lang="en-US" sz="1656" b="0" i="0" u="none" strike="noStrike" kern="1200" cap="none" spc="0" normalizeH="0" baseline="0" noProof="0">
                <a:ln>
                  <a:noFill/>
                </a:ln>
                <a:solidFill>
                  <a:srgbClr val="000000"/>
                </a:solidFill>
                <a:effectLst/>
                <a:uLnTx/>
                <a:uFillTx/>
                <a:latin typeface="Montserrat"/>
                <a:ea typeface="+mn-ea"/>
                <a:cs typeface="+mn-cs"/>
              </a:rPr>
              <a:t>PMO</a:t>
            </a:r>
          </a:p>
        </p:txBody>
      </p:sp>
      <p:sp>
        <p:nvSpPr>
          <p:cNvPr id="20" name="AutoShape 20"/>
          <p:cNvSpPr/>
          <p:nvPr/>
        </p:nvSpPr>
        <p:spPr>
          <a:xfrm>
            <a:off x="1972292" y="3067649"/>
            <a:ext cx="9579623" cy="0"/>
          </a:xfrm>
          <a:prstGeom prst="line">
            <a:avLst/>
          </a:prstGeom>
          <a:ln w="9525" cap="rnd">
            <a:solidFill>
              <a:srgbClr val="6800FF"/>
            </a:solidFill>
            <a:prstDash val="lgDash"/>
            <a:headEnd type="none" w="sm" len="sm"/>
            <a:tailEnd type="none" w="sm" len="sm"/>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21" name="Group 21"/>
          <p:cNvGrpSpPr/>
          <p:nvPr/>
        </p:nvGrpSpPr>
        <p:grpSpPr>
          <a:xfrm>
            <a:off x="12345612" y="2080168"/>
            <a:ext cx="4856827" cy="1974577"/>
            <a:chOff x="0" y="-28575"/>
            <a:chExt cx="1390069" cy="565143"/>
          </a:xfrm>
        </p:grpSpPr>
        <p:sp>
          <p:nvSpPr>
            <p:cNvPr id="22" name="Freeform 22"/>
            <p:cNvSpPr/>
            <p:nvPr/>
          </p:nvSpPr>
          <p:spPr>
            <a:xfrm>
              <a:off x="0" y="0"/>
              <a:ext cx="1390069" cy="536568"/>
            </a:xfrm>
            <a:custGeom>
              <a:avLst/>
              <a:gdLst/>
              <a:ahLst/>
              <a:cxnLst/>
              <a:rect l="l" t="t" r="r" b="b"/>
              <a:pathLst>
                <a:path w="1390069" h="536568">
                  <a:moveTo>
                    <a:pt x="47821" y="0"/>
                  </a:moveTo>
                  <a:lnTo>
                    <a:pt x="1342249" y="0"/>
                  </a:lnTo>
                  <a:cubicBezTo>
                    <a:pt x="1354931" y="0"/>
                    <a:pt x="1367095" y="5038"/>
                    <a:pt x="1376063" y="14006"/>
                  </a:cubicBezTo>
                  <a:cubicBezTo>
                    <a:pt x="1385031" y="22975"/>
                    <a:pt x="1390069" y="35138"/>
                    <a:pt x="1390069" y="47821"/>
                  </a:cubicBezTo>
                  <a:lnTo>
                    <a:pt x="1390069" y="488747"/>
                  </a:lnTo>
                  <a:cubicBezTo>
                    <a:pt x="1390069" y="501430"/>
                    <a:pt x="1385031" y="513593"/>
                    <a:pt x="1376063" y="522561"/>
                  </a:cubicBezTo>
                  <a:cubicBezTo>
                    <a:pt x="1367095" y="531529"/>
                    <a:pt x="1354931" y="536568"/>
                    <a:pt x="1342249" y="536568"/>
                  </a:cubicBezTo>
                  <a:lnTo>
                    <a:pt x="47821" y="536568"/>
                  </a:lnTo>
                  <a:cubicBezTo>
                    <a:pt x="35138" y="536568"/>
                    <a:pt x="22975" y="531529"/>
                    <a:pt x="14006" y="522561"/>
                  </a:cubicBezTo>
                  <a:cubicBezTo>
                    <a:pt x="5038" y="513593"/>
                    <a:pt x="0" y="501430"/>
                    <a:pt x="0" y="488747"/>
                  </a:cubicBezTo>
                  <a:lnTo>
                    <a:pt x="0" y="47821"/>
                  </a:lnTo>
                  <a:cubicBezTo>
                    <a:pt x="0" y="35138"/>
                    <a:pt x="5038" y="22975"/>
                    <a:pt x="14006" y="14006"/>
                  </a:cubicBezTo>
                  <a:cubicBezTo>
                    <a:pt x="22975" y="5038"/>
                    <a:pt x="35138" y="0"/>
                    <a:pt x="47821" y="0"/>
                  </a:cubicBezTo>
                  <a:close/>
                </a:path>
              </a:pathLst>
            </a:custGeom>
            <a:solidFill>
              <a:srgbClr val="000000">
                <a:alpha val="0"/>
              </a:srgbClr>
            </a:solidFill>
            <a:ln w="9525" cap="rnd">
              <a:solidFill>
                <a:srgbClr val="6800FF"/>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 name="TextBox 23"/>
            <p:cNvSpPr txBox="1"/>
            <p:nvPr/>
          </p:nvSpPr>
          <p:spPr>
            <a:xfrm>
              <a:off x="0" y="-28575"/>
              <a:ext cx="1390069" cy="565143"/>
            </a:xfrm>
            <a:prstGeom prst="rect">
              <a:avLst/>
            </a:prstGeom>
          </p:spPr>
          <p:txBody>
            <a:bodyPr lIns="50800" tIns="50800" rIns="50800" bIns="50800" rtlCol="0" anchor="ctr"/>
            <a:lstStyle/>
            <a:p>
              <a:pPr marL="0" marR="0" lvl="0" indent="0" algn="ctr" defTabSz="914400" rtl="0" eaLnBrk="1" fontAlgn="auto" latinLnBrk="0" hangingPunct="1">
                <a:lnSpc>
                  <a:spcPts val="196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24" name="TextBox 24"/>
          <p:cNvSpPr txBox="1"/>
          <p:nvPr/>
        </p:nvSpPr>
        <p:spPr>
          <a:xfrm>
            <a:off x="12661733" y="2285142"/>
            <a:ext cx="1862860" cy="275628"/>
          </a:xfrm>
          <a:prstGeom prst="rect">
            <a:avLst/>
          </a:prstGeom>
        </p:spPr>
        <p:txBody>
          <a:bodyPr lIns="0" tIns="0" rIns="0" bIns="0" rtlCol="0" anchor="t">
            <a:spAutoFit/>
          </a:bodyPr>
          <a:lstStyle/>
          <a:p>
            <a:pPr marL="0" marR="0" lvl="0" indent="0" algn="l" defTabSz="914400" rtl="0" eaLnBrk="1" fontAlgn="auto" latinLnBrk="0" hangingPunct="1">
              <a:lnSpc>
                <a:spcPts val="2318"/>
              </a:lnSpc>
              <a:spcBef>
                <a:spcPct val="0"/>
              </a:spcBef>
              <a:spcAft>
                <a:spcPts val="0"/>
              </a:spcAft>
              <a:buClrTx/>
              <a:buSzTx/>
              <a:buFontTx/>
              <a:buNone/>
              <a:tabLst/>
              <a:defRPr/>
            </a:pPr>
            <a:r>
              <a:rPr kumimoji="0" lang="en-US" sz="1656" b="0" i="0" u="none" strike="noStrike" kern="1200" cap="none" spc="0" normalizeH="0" baseline="0" noProof="0">
                <a:ln>
                  <a:noFill/>
                </a:ln>
                <a:solidFill>
                  <a:srgbClr val="6800FF"/>
                </a:solidFill>
                <a:effectLst/>
                <a:uLnTx/>
                <a:uFillTx/>
                <a:latin typeface="Montserrat"/>
                <a:ea typeface="+mn-ea"/>
                <a:cs typeface="+mn-cs"/>
              </a:rPr>
              <a:t>Stakeholders</a:t>
            </a:r>
          </a:p>
        </p:txBody>
      </p:sp>
      <p:grpSp>
        <p:nvGrpSpPr>
          <p:cNvPr id="25" name="Group 25"/>
          <p:cNvGrpSpPr/>
          <p:nvPr/>
        </p:nvGrpSpPr>
        <p:grpSpPr>
          <a:xfrm>
            <a:off x="12345612" y="4051699"/>
            <a:ext cx="4856827" cy="4167730"/>
            <a:chOff x="0" y="-28575"/>
            <a:chExt cx="1390069" cy="1192844"/>
          </a:xfrm>
        </p:grpSpPr>
        <p:sp>
          <p:nvSpPr>
            <p:cNvPr id="26" name="Freeform 26"/>
            <p:cNvSpPr/>
            <p:nvPr/>
          </p:nvSpPr>
          <p:spPr>
            <a:xfrm>
              <a:off x="0" y="0"/>
              <a:ext cx="1390069" cy="1164269"/>
            </a:xfrm>
            <a:custGeom>
              <a:avLst/>
              <a:gdLst/>
              <a:ahLst/>
              <a:cxnLst/>
              <a:rect l="l" t="t" r="r" b="b"/>
              <a:pathLst>
                <a:path w="1390069" h="1164269">
                  <a:moveTo>
                    <a:pt x="47821" y="0"/>
                  </a:moveTo>
                  <a:lnTo>
                    <a:pt x="1342249" y="0"/>
                  </a:lnTo>
                  <a:cubicBezTo>
                    <a:pt x="1354931" y="0"/>
                    <a:pt x="1367095" y="5038"/>
                    <a:pt x="1376063" y="14006"/>
                  </a:cubicBezTo>
                  <a:cubicBezTo>
                    <a:pt x="1385031" y="22975"/>
                    <a:pt x="1390069" y="35138"/>
                    <a:pt x="1390069" y="47821"/>
                  </a:cubicBezTo>
                  <a:lnTo>
                    <a:pt x="1390069" y="1116448"/>
                  </a:lnTo>
                  <a:cubicBezTo>
                    <a:pt x="1390069" y="1129131"/>
                    <a:pt x="1385031" y="1141294"/>
                    <a:pt x="1376063" y="1150262"/>
                  </a:cubicBezTo>
                  <a:cubicBezTo>
                    <a:pt x="1367095" y="1159230"/>
                    <a:pt x="1354931" y="1164269"/>
                    <a:pt x="1342249" y="1164269"/>
                  </a:cubicBezTo>
                  <a:lnTo>
                    <a:pt x="47821" y="1164269"/>
                  </a:lnTo>
                  <a:cubicBezTo>
                    <a:pt x="35138" y="1164269"/>
                    <a:pt x="22975" y="1159230"/>
                    <a:pt x="14006" y="1150262"/>
                  </a:cubicBezTo>
                  <a:cubicBezTo>
                    <a:pt x="5038" y="1141294"/>
                    <a:pt x="0" y="1129131"/>
                    <a:pt x="0" y="1116448"/>
                  </a:cubicBezTo>
                  <a:lnTo>
                    <a:pt x="0" y="47821"/>
                  </a:lnTo>
                  <a:cubicBezTo>
                    <a:pt x="0" y="35138"/>
                    <a:pt x="5038" y="22975"/>
                    <a:pt x="14006" y="14006"/>
                  </a:cubicBezTo>
                  <a:cubicBezTo>
                    <a:pt x="22975" y="5038"/>
                    <a:pt x="35138" y="0"/>
                    <a:pt x="47821" y="0"/>
                  </a:cubicBezTo>
                  <a:close/>
                </a:path>
              </a:pathLst>
            </a:custGeom>
            <a:solidFill>
              <a:srgbClr val="000000">
                <a:alpha val="0"/>
              </a:srgbClr>
            </a:solidFill>
            <a:ln w="9525" cap="rnd">
              <a:solidFill>
                <a:srgbClr val="6800FF"/>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7" name="TextBox 27"/>
            <p:cNvSpPr txBox="1"/>
            <p:nvPr/>
          </p:nvSpPr>
          <p:spPr>
            <a:xfrm>
              <a:off x="0" y="-28575"/>
              <a:ext cx="1390069" cy="1192844"/>
            </a:xfrm>
            <a:prstGeom prst="rect">
              <a:avLst/>
            </a:prstGeom>
          </p:spPr>
          <p:txBody>
            <a:bodyPr lIns="50800" tIns="50800" rIns="50800" bIns="50800" rtlCol="0" anchor="ctr"/>
            <a:lstStyle/>
            <a:p>
              <a:pPr marL="0" marR="0" lvl="0" indent="0" algn="ctr" defTabSz="914400" rtl="0" eaLnBrk="1" fontAlgn="auto" latinLnBrk="0" hangingPunct="1">
                <a:lnSpc>
                  <a:spcPts val="196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28" name="TextBox 28"/>
          <p:cNvSpPr txBox="1"/>
          <p:nvPr/>
        </p:nvSpPr>
        <p:spPr>
          <a:xfrm>
            <a:off x="12661733" y="4319523"/>
            <a:ext cx="3247480" cy="275628"/>
          </a:xfrm>
          <a:prstGeom prst="rect">
            <a:avLst/>
          </a:prstGeom>
        </p:spPr>
        <p:txBody>
          <a:bodyPr lIns="0" tIns="0" rIns="0" bIns="0" rtlCol="0" anchor="t">
            <a:spAutoFit/>
          </a:bodyPr>
          <a:lstStyle/>
          <a:p>
            <a:pPr marL="0" marR="0" lvl="0" indent="0" algn="l" defTabSz="914400" rtl="0" eaLnBrk="1" fontAlgn="auto" latinLnBrk="0" hangingPunct="1">
              <a:lnSpc>
                <a:spcPts val="2318"/>
              </a:lnSpc>
              <a:spcBef>
                <a:spcPct val="0"/>
              </a:spcBef>
              <a:spcAft>
                <a:spcPts val="0"/>
              </a:spcAft>
              <a:buClrTx/>
              <a:buSzTx/>
              <a:buFontTx/>
              <a:buNone/>
              <a:tabLst/>
              <a:defRPr/>
            </a:pPr>
            <a:r>
              <a:rPr kumimoji="0" lang="en-US" sz="1656" b="0" i="0" u="none" strike="noStrike" kern="1200" cap="none" spc="0" normalizeH="0" baseline="0" noProof="0">
                <a:ln>
                  <a:noFill/>
                </a:ln>
                <a:solidFill>
                  <a:srgbClr val="6800FF"/>
                </a:solidFill>
                <a:effectLst/>
                <a:uLnTx/>
                <a:uFillTx/>
                <a:latin typeface="Montserrat"/>
                <a:ea typeface="+mn-ea"/>
                <a:cs typeface="+mn-cs"/>
              </a:rPr>
              <a:t>Business + Tech Communities​</a:t>
            </a:r>
          </a:p>
        </p:txBody>
      </p:sp>
      <p:sp>
        <p:nvSpPr>
          <p:cNvPr id="29" name="TextBox 29"/>
          <p:cNvSpPr txBox="1"/>
          <p:nvPr/>
        </p:nvSpPr>
        <p:spPr>
          <a:xfrm>
            <a:off x="1972292" y="4271898"/>
            <a:ext cx="5850444" cy="275628"/>
          </a:xfrm>
          <a:prstGeom prst="rect">
            <a:avLst/>
          </a:prstGeom>
        </p:spPr>
        <p:txBody>
          <a:bodyPr lIns="0" tIns="0" rIns="0" bIns="0" rtlCol="0" anchor="t">
            <a:spAutoFit/>
          </a:bodyPr>
          <a:lstStyle/>
          <a:p>
            <a:pPr marL="0" marR="0" lvl="0" indent="0" algn="l" defTabSz="914400" rtl="0" eaLnBrk="1" fontAlgn="auto" latinLnBrk="0" hangingPunct="1">
              <a:lnSpc>
                <a:spcPts val="2318"/>
              </a:lnSpc>
              <a:spcBef>
                <a:spcPct val="0"/>
              </a:spcBef>
              <a:spcAft>
                <a:spcPts val="0"/>
              </a:spcAft>
              <a:buClrTx/>
              <a:buSzTx/>
              <a:buFontTx/>
              <a:buNone/>
              <a:tabLst/>
              <a:defRPr/>
            </a:pPr>
            <a:r>
              <a:rPr kumimoji="0" lang="en-US" sz="1656" b="0" i="0" u="none" strike="noStrike" kern="1200" cap="none" spc="0" normalizeH="0" baseline="0" noProof="0">
                <a:ln>
                  <a:noFill/>
                </a:ln>
                <a:solidFill>
                  <a:srgbClr val="6800FF"/>
                </a:solidFill>
                <a:effectLst/>
                <a:uLnTx/>
                <a:uFillTx/>
                <a:latin typeface="Montserrat"/>
                <a:ea typeface="+mn-ea"/>
                <a:cs typeface="+mn-cs"/>
              </a:rPr>
              <a:t>Initiatives Support (People, Processes, Solutions, etc.)​</a:t>
            </a:r>
          </a:p>
        </p:txBody>
      </p:sp>
      <p:sp>
        <p:nvSpPr>
          <p:cNvPr id="30" name="TextBox 30"/>
          <p:cNvSpPr txBox="1"/>
          <p:nvPr/>
        </p:nvSpPr>
        <p:spPr>
          <a:xfrm>
            <a:off x="3966084" y="4839552"/>
            <a:ext cx="1145824" cy="275628"/>
          </a:xfrm>
          <a:prstGeom prst="rect">
            <a:avLst/>
          </a:prstGeom>
        </p:spPr>
        <p:txBody>
          <a:bodyPr lIns="0" tIns="0" rIns="0" bIns="0" rtlCol="0" anchor="t">
            <a:spAutoFit/>
          </a:bodyPr>
          <a:lstStyle/>
          <a:p>
            <a:pPr marL="0" marR="0" lvl="0" indent="0" algn="ctr" defTabSz="914400" rtl="0" eaLnBrk="1" fontAlgn="auto" latinLnBrk="0" hangingPunct="1">
              <a:lnSpc>
                <a:spcPts val="2318"/>
              </a:lnSpc>
              <a:spcBef>
                <a:spcPct val="0"/>
              </a:spcBef>
              <a:spcAft>
                <a:spcPts val="0"/>
              </a:spcAft>
              <a:buClrTx/>
              <a:buSzTx/>
              <a:buFontTx/>
              <a:buNone/>
              <a:tabLst/>
              <a:defRPr/>
            </a:pPr>
            <a:r>
              <a:rPr kumimoji="0" lang="en-US" sz="1656" b="0" i="0" u="none" strike="noStrike" kern="1200" cap="none" spc="0" normalizeH="0" baseline="0" noProof="0">
                <a:ln>
                  <a:noFill/>
                </a:ln>
                <a:solidFill>
                  <a:srgbClr val="000000"/>
                </a:solidFill>
                <a:effectLst/>
                <a:uLnTx/>
                <a:uFillTx/>
                <a:latin typeface="Montserrat Semi-Bold"/>
                <a:ea typeface="+mn-ea"/>
                <a:cs typeface="+mn-cs"/>
              </a:rPr>
              <a:t>Processes</a:t>
            </a:r>
          </a:p>
        </p:txBody>
      </p:sp>
      <p:sp>
        <p:nvSpPr>
          <p:cNvPr id="31" name="TextBox 31"/>
          <p:cNvSpPr txBox="1"/>
          <p:nvPr/>
        </p:nvSpPr>
        <p:spPr>
          <a:xfrm>
            <a:off x="6066171" y="4762759"/>
            <a:ext cx="2077254" cy="564753"/>
          </a:xfrm>
          <a:prstGeom prst="rect">
            <a:avLst/>
          </a:prstGeom>
        </p:spPr>
        <p:txBody>
          <a:bodyPr lIns="0" tIns="0" rIns="0" bIns="0" rtlCol="0" anchor="t">
            <a:spAutoFit/>
          </a:bodyPr>
          <a:lstStyle/>
          <a:p>
            <a:pPr marL="0" marR="0" lvl="0" indent="0" algn="ctr" defTabSz="914400" rtl="0" eaLnBrk="1" fontAlgn="auto" latinLnBrk="0" hangingPunct="1">
              <a:lnSpc>
                <a:spcPts val="2318"/>
              </a:lnSpc>
              <a:spcBef>
                <a:spcPct val="0"/>
              </a:spcBef>
              <a:spcAft>
                <a:spcPts val="0"/>
              </a:spcAft>
              <a:buClrTx/>
              <a:buSzTx/>
              <a:buFontTx/>
              <a:buNone/>
              <a:tabLst/>
              <a:defRPr/>
            </a:pPr>
            <a:r>
              <a:rPr kumimoji="0" lang="en-US" sz="1656" b="0" i="0" u="none" strike="noStrike" kern="1200" cap="none" spc="0" normalizeH="0" baseline="0" noProof="0">
                <a:ln>
                  <a:noFill/>
                </a:ln>
                <a:solidFill>
                  <a:srgbClr val="000000"/>
                </a:solidFill>
                <a:effectLst/>
                <a:uLnTx/>
                <a:uFillTx/>
                <a:latin typeface="Montserrat Semi-Bold"/>
                <a:ea typeface="+mn-ea"/>
                <a:cs typeface="+mn-cs"/>
              </a:rPr>
              <a:t>BOM: Business Operational Model</a:t>
            </a:r>
          </a:p>
        </p:txBody>
      </p:sp>
      <p:sp>
        <p:nvSpPr>
          <p:cNvPr id="32" name="TextBox 32"/>
          <p:cNvSpPr txBox="1"/>
          <p:nvPr/>
        </p:nvSpPr>
        <p:spPr>
          <a:xfrm>
            <a:off x="9097688" y="4762759"/>
            <a:ext cx="2077254" cy="564753"/>
          </a:xfrm>
          <a:prstGeom prst="rect">
            <a:avLst/>
          </a:prstGeom>
        </p:spPr>
        <p:txBody>
          <a:bodyPr lIns="0" tIns="0" rIns="0" bIns="0" rtlCol="0" anchor="t">
            <a:spAutoFit/>
          </a:bodyPr>
          <a:lstStyle/>
          <a:p>
            <a:pPr marL="0" marR="0" lvl="0" indent="0" algn="ctr" defTabSz="914400" rtl="0" eaLnBrk="1" fontAlgn="auto" latinLnBrk="0" hangingPunct="1">
              <a:lnSpc>
                <a:spcPts val="2318"/>
              </a:lnSpc>
              <a:spcBef>
                <a:spcPct val="0"/>
              </a:spcBef>
              <a:spcAft>
                <a:spcPts val="0"/>
              </a:spcAft>
              <a:buClrTx/>
              <a:buSzTx/>
              <a:buFontTx/>
              <a:buNone/>
              <a:tabLst/>
              <a:defRPr/>
            </a:pPr>
            <a:r>
              <a:rPr kumimoji="0" lang="en-US" sz="1656" b="0" i="0" u="none" strike="noStrike" kern="1200" cap="none" spc="0" normalizeH="0" baseline="0" noProof="0">
                <a:ln>
                  <a:noFill/>
                </a:ln>
                <a:solidFill>
                  <a:srgbClr val="000000"/>
                </a:solidFill>
                <a:effectLst/>
                <a:uLnTx/>
                <a:uFillTx/>
                <a:latin typeface="Montserrat Semi-Bold"/>
                <a:ea typeface="+mn-ea"/>
                <a:cs typeface="+mn-cs"/>
              </a:rPr>
              <a:t>Architecture &amp; Solution Design</a:t>
            </a:r>
          </a:p>
        </p:txBody>
      </p:sp>
      <p:sp>
        <p:nvSpPr>
          <p:cNvPr id="33" name="TextBox 33"/>
          <p:cNvSpPr txBox="1"/>
          <p:nvPr/>
        </p:nvSpPr>
        <p:spPr>
          <a:xfrm>
            <a:off x="1972292" y="5769163"/>
            <a:ext cx="1652694" cy="245303"/>
          </a:xfrm>
          <a:prstGeom prst="rect">
            <a:avLst/>
          </a:prstGeom>
        </p:spPr>
        <p:txBody>
          <a:bodyPr lIns="0" tIns="0" rIns="0" bIns="0" rtlCol="0" anchor="t">
            <a:spAutoFit/>
          </a:bodyPr>
          <a:lstStyle/>
          <a:p>
            <a:pPr marL="0" marR="0" lvl="0" indent="0" algn="l" defTabSz="914400" rtl="0" eaLnBrk="1" fontAlgn="auto" latinLnBrk="0" hangingPunct="1">
              <a:lnSpc>
                <a:spcPts val="2061"/>
              </a:lnSpc>
              <a:spcBef>
                <a:spcPct val="0"/>
              </a:spcBef>
              <a:spcAft>
                <a:spcPts val="0"/>
              </a:spcAft>
              <a:buClrTx/>
              <a:buSzTx/>
              <a:buFontTx/>
              <a:buNone/>
              <a:tabLst/>
              <a:defRPr/>
            </a:pPr>
            <a:r>
              <a:rPr kumimoji="0" lang="en-US" sz="1472" b="0" i="0" u="none" strike="noStrike" kern="1200" cap="none" spc="0" normalizeH="0" baseline="0" noProof="0">
                <a:ln>
                  <a:noFill/>
                </a:ln>
                <a:solidFill>
                  <a:srgbClr val="000000"/>
                </a:solidFill>
                <a:effectLst/>
                <a:uLnTx/>
                <a:uFillTx/>
                <a:latin typeface="Montserrat"/>
                <a:ea typeface="+mn-ea"/>
                <a:cs typeface="+mn-cs"/>
              </a:rPr>
              <a:t>Workstream 1</a:t>
            </a:r>
          </a:p>
        </p:txBody>
      </p:sp>
      <p:sp>
        <p:nvSpPr>
          <p:cNvPr id="34" name="TextBox 34"/>
          <p:cNvSpPr txBox="1"/>
          <p:nvPr/>
        </p:nvSpPr>
        <p:spPr>
          <a:xfrm>
            <a:off x="1972292" y="6403112"/>
            <a:ext cx="1652694" cy="245303"/>
          </a:xfrm>
          <a:prstGeom prst="rect">
            <a:avLst/>
          </a:prstGeom>
        </p:spPr>
        <p:txBody>
          <a:bodyPr lIns="0" tIns="0" rIns="0" bIns="0" rtlCol="0" anchor="t">
            <a:spAutoFit/>
          </a:bodyPr>
          <a:lstStyle/>
          <a:p>
            <a:pPr marL="0" marR="0" lvl="0" indent="0" algn="l" defTabSz="914400" rtl="0" eaLnBrk="1" fontAlgn="auto" latinLnBrk="0" hangingPunct="1">
              <a:lnSpc>
                <a:spcPts val="2061"/>
              </a:lnSpc>
              <a:spcBef>
                <a:spcPct val="0"/>
              </a:spcBef>
              <a:spcAft>
                <a:spcPts val="0"/>
              </a:spcAft>
              <a:buClrTx/>
              <a:buSzTx/>
              <a:buFontTx/>
              <a:buNone/>
              <a:tabLst/>
              <a:defRPr/>
            </a:pPr>
            <a:r>
              <a:rPr kumimoji="0" lang="en-US" sz="1472" b="0" i="0" u="none" strike="noStrike" kern="1200" cap="none" spc="0" normalizeH="0" baseline="0" noProof="0">
                <a:ln>
                  <a:noFill/>
                </a:ln>
                <a:solidFill>
                  <a:srgbClr val="000000"/>
                </a:solidFill>
                <a:effectLst/>
                <a:uLnTx/>
                <a:uFillTx/>
                <a:latin typeface="Montserrat"/>
                <a:ea typeface="+mn-ea"/>
                <a:cs typeface="+mn-cs"/>
              </a:rPr>
              <a:t>Workstream 2</a:t>
            </a:r>
          </a:p>
        </p:txBody>
      </p:sp>
      <p:sp>
        <p:nvSpPr>
          <p:cNvPr id="35" name="TextBox 35"/>
          <p:cNvSpPr txBox="1"/>
          <p:nvPr/>
        </p:nvSpPr>
        <p:spPr>
          <a:xfrm>
            <a:off x="1972292" y="7037061"/>
            <a:ext cx="1652694" cy="245303"/>
          </a:xfrm>
          <a:prstGeom prst="rect">
            <a:avLst/>
          </a:prstGeom>
        </p:spPr>
        <p:txBody>
          <a:bodyPr lIns="0" tIns="0" rIns="0" bIns="0" rtlCol="0" anchor="t">
            <a:spAutoFit/>
          </a:bodyPr>
          <a:lstStyle/>
          <a:p>
            <a:pPr marL="0" marR="0" lvl="0" indent="0" algn="l" defTabSz="914400" rtl="0" eaLnBrk="1" fontAlgn="auto" latinLnBrk="0" hangingPunct="1">
              <a:lnSpc>
                <a:spcPts val="2061"/>
              </a:lnSpc>
              <a:spcBef>
                <a:spcPct val="0"/>
              </a:spcBef>
              <a:spcAft>
                <a:spcPts val="0"/>
              </a:spcAft>
              <a:buClrTx/>
              <a:buSzTx/>
              <a:buFontTx/>
              <a:buNone/>
              <a:tabLst/>
              <a:defRPr/>
            </a:pPr>
            <a:r>
              <a:rPr kumimoji="0" lang="en-US" sz="1472" b="0" i="0" u="none" strike="noStrike" kern="1200" cap="none" spc="0" normalizeH="0" baseline="0" noProof="0">
                <a:ln>
                  <a:noFill/>
                </a:ln>
                <a:solidFill>
                  <a:srgbClr val="000000"/>
                </a:solidFill>
                <a:effectLst/>
                <a:uLnTx/>
                <a:uFillTx/>
                <a:latin typeface="Montserrat"/>
                <a:ea typeface="+mn-ea"/>
                <a:cs typeface="+mn-cs"/>
              </a:rPr>
              <a:t>Workstream 3</a:t>
            </a:r>
          </a:p>
        </p:txBody>
      </p:sp>
      <p:sp>
        <p:nvSpPr>
          <p:cNvPr id="36" name="TextBox 36"/>
          <p:cNvSpPr txBox="1"/>
          <p:nvPr/>
        </p:nvSpPr>
        <p:spPr>
          <a:xfrm>
            <a:off x="1972292" y="7671009"/>
            <a:ext cx="1652694" cy="245303"/>
          </a:xfrm>
          <a:prstGeom prst="rect">
            <a:avLst/>
          </a:prstGeom>
        </p:spPr>
        <p:txBody>
          <a:bodyPr lIns="0" tIns="0" rIns="0" bIns="0" rtlCol="0" anchor="t">
            <a:spAutoFit/>
          </a:bodyPr>
          <a:lstStyle/>
          <a:p>
            <a:pPr marL="0" marR="0" lvl="0" indent="0" algn="l" defTabSz="914400" rtl="0" eaLnBrk="1" fontAlgn="auto" latinLnBrk="0" hangingPunct="1">
              <a:lnSpc>
                <a:spcPts val="2061"/>
              </a:lnSpc>
              <a:spcBef>
                <a:spcPct val="0"/>
              </a:spcBef>
              <a:spcAft>
                <a:spcPts val="0"/>
              </a:spcAft>
              <a:buClrTx/>
              <a:buSzTx/>
              <a:buFontTx/>
              <a:buNone/>
              <a:tabLst/>
              <a:defRPr/>
            </a:pPr>
            <a:r>
              <a:rPr kumimoji="0" lang="en-US" sz="1472" b="0" i="0" u="none" strike="noStrike" kern="1200" cap="none" spc="0" normalizeH="0" baseline="0" noProof="0">
                <a:ln>
                  <a:noFill/>
                </a:ln>
                <a:solidFill>
                  <a:srgbClr val="000000"/>
                </a:solidFill>
                <a:effectLst/>
                <a:uLnTx/>
                <a:uFillTx/>
                <a:latin typeface="Montserrat"/>
                <a:ea typeface="+mn-ea"/>
                <a:cs typeface="+mn-cs"/>
              </a:rPr>
              <a:t>Workstream 4</a:t>
            </a:r>
          </a:p>
        </p:txBody>
      </p:sp>
      <p:sp>
        <p:nvSpPr>
          <p:cNvPr id="37" name="AutoShape 37"/>
          <p:cNvSpPr/>
          <p:nvPr/>
        </p:nvSpPr>
        <p:spPr>
          <a:xfrm>
            <a:off x="1972292" y="6214311"/>
            <a:ext cx="10049866" cy="0"/>
          </a:xfrm>
          <a:prstGeom prst="line">
            <a:avLst/>
          </a:prstGeom>
          <a:ln w="9525" cap="rnd">
            <a:solidFill>
              <a:srgbClr val="6800FF"/>
            </a:solidFill>
            <a:prstDash val="lgDash"/>
            <a:headEnd type="none" w="sm" len="sm"/>
            <a:tailEnd type="none" w="sm" len="sm"/>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8" name="AutoShape 38"/>
          <p:cNvSpPr/>
          <p:nvPr/>
        </p:nvSpPr>
        <p:spPr>
          <a:xfrm>
            <a:off x="1972292" y="6861422"/>
            <a:ext cx="10049866" cy="0"/>
          </a:xfrm>
          <a:prstGeom prst="line">
            <a:avLst/>
          </a:prstGeom>
          <a:ln w="9525" cap="rnd">
            <a:solidFill>
              <a:srgbClr val="6800FF"/>
            </a:solidFill>
            <a:prstDash val="lgDash"/>
            <a:headEnd type="none" w="sm" len="sm"/>
            <a:tailEnd type="none" w="sm" len="sm"/>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9" name="AutoShape 39"/>
          <p:cNvSpPr/>
          <p:nvPr/>
        </p:nvSpPr>
        <p:spPr>
          <a:xfrm>
            <a:off x="1972292" y="7508532"/>
            <a:ext cx="10049866" cy="0"/>
          </a:xfrm>
          <a:prstGeom prst="line">
            <a:avLst/>
          </a:prstGeom>
          <a:ln w="9525" cap="rnd">
            <a:solidFill>
              <a:srgbClr val="6800FF"/>
            </a:solidFill>
            <a:prstDash val="lgDash"/>
            <a:headEnd type="none" w="sm" len="sm"/>
            <a:tailEnd type="none" w="sm" len="sm"/>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0" name="AutoShape 40"/>
          <p:cNvSpPr/>
          <p:nvPr/>
        </p:nvSpPr>
        <p:spPr>
          <a:xfrm>
            <a:off x="1972292" y="5575703"/>
            <a:ext cx="10049866" cy="0"/>
          </a:xfrm>
          <a:prstGeom prst="line">
            <a:avLst/>
          </a:prstGeom>
          <a:ln w="9525" cap="rnd">
            <a:solidFill>
              <a:srgbClr val="6800FF"/>
            </a:solidFill>
            <a:prstDash val="lgDash"/>
            <a:headEnd type="none" w="sm" len="sm"/>
            <a:tailEnd type="none" w="sm" len="sm"/>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1" name="TextBox 41"/>
          <p:cNvSpPr txBox="1"/>
          <p:nvPr/>
        </p:nvSpPr>
        <p:spPr>
          <a:xfrm>
            <a:off x="3966084" y="5769163"/>
            <a:ext cx="1145824" cy="245303"/>
          </a:xfrm>
          <a:prstGeom prst="rect">
            <a:avLst/>
          </a:prstGeom>
        </p:spPr>
        <p:txBody>
          <a:bodyPr lIns="0" tIns="0" rIns="0" bIns="0" rtlCol="0" anchor="t">
            <a:spAutoFit/>
          </a:bodyPr>
          <a:lstStyle/>
          <a:p>
            <a:pPr marL="0" marR="0" lvl="0" indent="0" algn="l" defTabSz="914400" rtl="0" eaLnBrk="1" fontAlgn="auto" latinLnBrk="0" hangingPunct="1">
              <a:lnSpc>
                <a:spcPts val="2061"/>
              </a:lnSpc>
              <a:spcBef>
                <a:spcPct val="0"/>
              </a:spcBef>
              <a:spcAft>
                <a:spcPts val="0"/>
              </a:spcAft>
              <a:buClrTx/>
              <a:buSzTx/>
              <a:buFontTx/>
              <a:buNone/>
              <a:tabLst/>
              <a:defRPr/>
            </a:pPr>
            <a:r>
              <a:rPr kumimoji="0" lang="en-US" sz="1472" b="0" i="0" u="none" strike="noStrike" kern="1200" cap="none" spc="0" normalizeH="0" baseline="0" noProof="0">
                <a:ln>
                  <a:noFill/>
                </a:ln>
                <a:solidFill>
                  <a:srgbClr val="000000"/>
                </a:solidFill>
                <a:effectLst/>
                <a:uLnTx/>
                <a:uFillTx/>
                <a:latin typeface="Montserrat"/>
                <a:ea typeface="+mn-ea"/>
                <a:cs typeface="+mn-cs"/>
              </a:rPr>
              <a:t>TBD *</a:t>
            </a:r>
          </a:p>
        </p:txBody>
      </p:sp>
      <p:sp>
        <p:nvSpPr>
          <p:cNvPr id="42" name="TextBox 42"/>
          <p:cNvSpPr txBox="1"/>
          <p:nvPr/>
        </p:nvSpPr>
        <p:spPr>
          <a:xfrm>
            <a:off x="3966084" y="6403112"/>
            <a:ext cx="1145824" cy="245303"/>
          </a:xfrm>
          <a:prstGeom prst="rect">
            <a:avLst/>
          </a:prstGeom>
        </p:spPr>
        <p:txBody>
          <a:bodyPr lIns="0" tIns="0" rIns="0" bIns="0" rtlCol="0" anchor="t">
            <a:spAutoFit/>
          </a:bodyPr>
          <a:lstStyle/>
          <a:p>
            <a:pPr marL="0" marR="0" lvl="0" indent="0" algn="l" defTabSz="914400" rtl="0" eaLnBrk="1" fontAlgn="auto" latinLnBrk="0" hangingPunct="1">
              <a:lnSpc>
                <a:spcPts val="2061"/>
              </a:lnSpc>
              <a:spcBef>
                <a:spcPct val="0"/>
              </a:spcBef>
              <a:spcAft>
                <a:spcPts val="0"/>
              </a:spcAft>
              <a:buClrTx/>
              <a:buSzTx/>
              <a:buFontTx/>
              <a:buNone/>
              <a:tabLst/>
              <a:defRPr/>
            </a:pPr>
            <a:r>
              <a:rPr kumimoji="0" lang="en-US" sz="1472" b="0" i="0" u="none" strike="noStrike" kern="1200" cap="none" spc="0" normalizeH="0" baseline="0" noProof="0">
                <a:ln>
                  <a:noFill/>
                </a:ln>
                <a:solidFill>
                  <a:srgbClr val="000000"/>
                </a:solidFill>
                <a:effectLst/>
                <a:uLnTx/>
                <a:uFillTx/>
                <a:latin typeface="Montserrat"/>
                <a:ea typeface="+mn-ea"/>
                <a:cs typeface="+mn-cs"/>
              </a:rPr>
              <a:t>TBD *</a:t>
            </a:r>
          </a:p>
        </p:txBody>
      </p:sp>
      <p:sp>
        <p:nvSpPr>
          <p:cNvPr id="43" name="TextBox 43"/>
          <p:cNvSpPr txBox="1"/>
          <p:nvPr/>
        </p:nvSpPr>
        <p:spPr>
          <a:xfrm>
            <a:off x="3966084" y="7037061"/>
            <a:ext cx="1145824" cy="245303"/>
          </a:xfrm>
          <a:prstGeom prst="rect">
            <a:avLst/>
          </a:prstGeom>
        </p:spPr>
        <p:txBody>
          <a:bodyPr lIns="0" tIns="0" rIns="0" bIns="0" rtlCol="0" anchor="t">
            <a:spAutoFit/>
          </a:bodyPr>
          <a:lstStyle/>
          <a:p>
            <a:pPr marL="0" marR="0" lvl="0" indent="0" algn="l" defTabSz="914400" rtl="0" eaLnBrk="1" fontAlgn="auto" latinLnBrk="0" hangingPunct="1">
              <a:lnSpc>
                <a:spcPts val="2061"/>
              </a:lnSpc>
              <a:spcBef>
                <a:spcPct val="0"/>
              </a:spcBef>
              <a:spcAft>
                <a:spcPts val="0"/>
              </a:spcAft>
              <a:buClrTx/>
              <a:buSzTx/>
              <a:buFontTx/>
              <a:buNone/>
              <a:tabLst/>
              <a:defRPr/>
            </a:pPr>
            <a:r>
              <a:rPr kumimoji="0" lang="en-US" sz="1472" b="0" i="0" u="none" strike="noStrike" kern="1200" cap="none" spc="0" normalizeH="0" baseline="0" noProof="0">
                <a:ln>
                  <a:noFill/>
                </a:ln>
                <a:solidFill>
                  <a:srgbClr val="000000"/>
                </a:solidFill>
                <a:effectLst/>
                <a:uLnTx/>
                <a:uFillTx/>
                <a:latin typeface="Montserrat"/>
                <a:ea typeface="+mn-ea"/>
                <a:cs typeface="+mn-cs"/>
              </a:rPr>
              <a:t>TBD *</a:t>
            </a:r>
          </a:p>
        </p:txBody>
      </p:sp>
      <p:sp>
        <p:nvSpPr>
          <p:cNvPr id="44" name="TextBox 44"/>
          <p:cNvSpPr txBox="1"/>
          <p:nvPr/>
        </p:nvSpPr>
        <p:spPr>
          <a:xfrm>
            <a:off x="3966084" y="7671009"/>
            <a:ext cx="1145824" cy="245303"/>
          </a:xfrm>
          <a:prstGeom prst="rect">
            <a:avLst/>
          </a:prstGeom>
        </p:spPr>
        <p:txBody>
          <a:bodyPr lIns="0" tIns="0" rIns="0" bIns="0" rtlCol="0" anchor="t">
            <a:spAutoFit/>
          </a:bodyPr>
          <a:lstStyle/>
          <a:p>
            <a:pPr marL="0" marR="0" lvl="0" indent="0" algn="l" defTabSz="914400" rtl="0" eaLnBrk="1" fontAlgn="auto" latinLnBrk="0" hangingPunct="1">
              <a:lnSpc>
                <a:spcPts val="2061"/>
              </a:lnSpc>
              <a:spcBef>
                <a:spcPct val="0"/>
              </a:spcBef>
              <a:spcAft>
                <a:spcPts val="0"/>
              </a:spcAft>
              <a:buClrTx/>
              <a:buSzTx/>
              <a:buFontTx/>
              <a:buNone/>
              <a:tabLst/>
              <a:defRPr/>
            </a:pPr>
            <a:r>
              <a:rPr kumimoji="0" lang="en-US" sz="1472" b="0" i="0" u="none" strike="noStrike" kern="1200" cap="none" spc="0" normalizeH="0" baseline="0" noProof="0">
                <a:ln>
                  <a:noFill/>
                </a:ln>
                <a:solidFill>
                  <a:srgbClr val="000000"/>
                </a:solidFill>
                <a:effectLst/>
                <a:uLnTx/>
                <a:uFillTx/>
                <a:latin typeface="Montserrat"/>
                <a:ea typeface="+mn-ea"/>
                <a:cs typeface="+mn-cs"/>
              </a:rPr>
              <a:t>TBD *</a:t>
            </a:r>
          </a:p>
        </p:txBody>
      </p:sp>
      <p:sp>
        <p:nvSpPr>
          <p:cNvPr id="45" name="Title 44">
            <a:extLst>
              <a:ext uri="{FF2B5EF4-FFF2-40B4-BE49-F238E27FC236}">
                <a16:creationId xmlns:a16="http://schemas.microsoft.com/office/drawing/2014/main" id="{EC570F3A-E8E3-E416-6978-FEE2A038318F}"/>
              </a:ext>
            </a:extLst>
          </p:cNvPr>
          <p:cNvSpPr>
            <a:spLocks noGrp="1"/>
          </p:cNvSpPr>
          <p:nvPr>
            <p:ph type="title" idx="4294967295"/>
          </p:nvPr>
        </p:nvSpPr>
        <p:spPr>
          <a:xfrm>
            <a:off x="1080600" y="532090"/>
            <a:ext cx="16821034" cy="1145400"/>
          </a:xfrm>
        </p:spPr>
        <p:txBody>
          <a:bodyPr/>
          <a:lstStyle/>
          <a:p>
            <a:r>
              <a:rPr lang="en-US" sz="4000" b="0" kern="1200">
                <a:solidFill>
                  <a:srgbClr val="000000"/>
                </a:solidFill>
                <a:latin typeface="Montserrat Bold"/>
                <a:ea typeface="+mn-ea"/>
                <a:cs typeface="+mn-cs"/>
              </a:rPr>
              <a:t>Digital Office structure</a:t>
            </a:r>
            <a:br>
              <a:rPr lang="en-US" sz="4000" b="0" i="0" u="none" strike="noStrike" kern="1200" cap="none" spc="0" normalizeH="0" baseline="0" noProof="0">
                <a:ln>
                  <a:noFill/>
                </a:ln>
                <a:effectLst/>
                <a:uLnTx/>
                <a:uFillTx/>
                <a:latin typeface="Montserrat Bold"/>
                <a:ea typeface="+mn-ea"/>
                <a:cs typeface="+mn-cs"/>
              </a:rPr>
            </a:br>
            <a:r>
              <a:rPr kumimoji="0" lang="en-US" sz="2800" i="0" u="none" strike="noStrike" kern="1200" cap="none" spc="0" normalizeH="0" baseline="0" noProof="0">
                <a:ln>
                  <a:noFill/>
                </a:ln>
                <a:solidFill>
                  <a:srgbClr val="6800FF"/>
                </a:solidFill>
                <a:effectLst/>
                <a:uLnTx/>
                <a:uFillTx/>
                <a:latin typeface="Montserrat Light"/>
                <a:ea typeface="+mn-ea"/>
                <a:cs typeface="+mn-cs"/>
              </a:rPr>
              <a:t>Acting as an orchestrator between areas/teams, processes and solutions</a:t>
            </a:r>
            <a:r>
              <a:rPr kumimoji="0" lang="en-US" sz="2800" b="0" i="0" u="none" strike="noStrike" kern="1200" cap="none" spc="0" normalizeH="0" baseline="0" noProof="0">
                <a:ln>
                  <a:noFill/>
                </a:ln>
                <a:solidFill>
                  <a:srgbClr val="6800FF"/>
                </a:solidFill>
                <a:effectLst/>
                <a:uLnTx/>
                <a:uFillTx/>
                <a:latin typeface="Montserrat Light"/>
                <a:ea typeface="+mn-ea"/>
                <a:cs typeface="+mn-cs"/>
              </a:rPr>
              <a:t>​</a:t>
            </a:r>
            <a:br>
              <a:rPr lang="en-US" sz="2800" b="0" i="0" u="none" strike="noStrike" kern="1200" cap="none" spc="0" normalizeH="0" baseline="0" noProof="0">
                <a:ln>
                  <a:noFill/>
                </a:ln>
                <a:effectLst/>
                <a:uLnTx/>
                <a:uFillTx/>
                <a:latin typeface="Montserrat Light" panose="00000400000000000000" pitchFamily="2" charset="0"/>
                <a:ea typeface="+mn-ea"/>
                <a:cs typeface="+mn-cs"/>
              </a:rPr>
            </a:br>
            <a:r>
              <a:rPr kumimoji="0" lang="en-US" sz="4000" b="0" i="0" u="none" strike="noStrike" kern="1200" cap="none" spc="0" normalizeH="0" baseline="0" noProof="0">
                <a:ln>
                  <a:noFill/>
                </a:ln>
                <a:solidFill>
                  <a:srgbClr val="000000"/>
                </a:solidFill>
                <a:effectLst/>
                <a:uLnTx/>
                <a:uFillTx/>
                <a:latin typeface="Montserrat Bold"/>
                <a:ea typeface="+mn-ea"/>
                <a:cs typeface="+mn-cs"/>
              </a:rPr>
              <a:t>​</a:t>
            </a:r>
            <a:br>
              <a:rPr lang="en-US" sz="4000" b="0" i="0" u="none" strike="noStrike" kern="1200" cap="none" spc="0" normalizeH="0" baseline="0" noProof="0">
                <a:ln>
                  <a:noFill/>
                </a:ln>
                <a:effectLst/>
                <a:uLnTx/>
                <a:uFillTx/>
                <a:latin typeface="Montserrat Bold"/>
                <a:ea typeface="+mn-ea"/>
                <a:cs typeface="+mn-cs"/>
              </a:rPr>
            </a:br>
            <a:endParaRPr lang="en-US" noProof="0"/>
          </a:p>
        </p:txBody>
      </p:sp>
      <p:grpSp>
        <p:nvGrpSpPr>
          <p:cNvPr id="47" name="Group 20">
            <a:extLst>
              <a:ext uri="{FF2B5EF4-FFF2-40B4-BE49-F238E27FC236}">
                <a16:creationId xmlns:a16="http://schemas.microsoft.com/office/drawing/2014/main" id="{2C18562D-B756-FC71-50FE-8577BB022CC9}"/>
              </a:ext>
            </a:extLst>
          </p:cNvPr>
          <p:cNvGrpSpPr/>
          <p:nvPr/>
        </p:nvGrpSpPr>
        <p:grpSpPr>
          <a:xfrm>
            <a:off x="4115109" y="8423922"/>
            <a:ext cx="10340325" cy="1025137"/>
            <a:chOff x="0" y="-28575"/>
            <a:chExt cx="4274726" cy="508836"/>
          </a:xfrm>
        </p:grpSpPr>
        <p:sp>
          <p:nvSpPr>
            <p:cNvPr id="48" name="Freeform 21">
              <a:extLst>
                <a:ext uri="{FF2B5EF4-FFF2-40B4-BE49-F238E27FC236}">
                  <a16:creationId xmlns:a16="http://schemas.microsoft.com/office/drawing/2014/main" id="{F7F513C5-93D9-D6CE-AEA5-01A68C45E71E}"/>
                </a:ext>
              </a:extLst>
            </p:cNvPr>
            <p:cNvSpPr/>
            <p:nvPr/>
          </p:nvSpPr>
          <p:spPr>
            <a:xfrm>
              <a:off x="0" y="0"/>
              <a:ext cx="4274726" cy="480261"/>
            </a:xfrm>
            <a:custGeom>
              <a:avLst/>
              <a:gdLst/>
              <a:ahLst/>
              <a:cxnLst/>
              <a:rect l="l" t="t" r="r" b="b"/>
              <a:pathLst>
                <a:path w="4274726" h="480261">
                  <a:moveTo>
                    <a:pt x="23850" y="0"/>
                  </a:moveTo>
                  <a:lnTo>
                    <a:pt x="4250876" y="0"/>
                  </a:lnTo>
                  <a:cubicBezTo>
                    <a:pt x="4257201" y="0"/>
                    <a:pt x="4263268" y="2513"/>
                    <a:pt x="4267741" y="6985"/>
                  </a:cubicBezTo>
                  <a:cubicBezTo>
                    <a:pt x="4272213" y="11458"/>
                    <a:pt x="4274726" y="17524"/>
                    <a:pt x="4274726" y="23850"/>
                  </a:cubicBezTo>
                  <a:lnTo>
                    <a:pt x="4274726" y="456411"/>
                  </a:lnTo>
                  <a:cubicBezTo>
                    <a:pt x="4274726" y="462736"/>
                    <a:pt x="4272213" y="468803"/>
                    <a:pt x="4267741" y="473275"/>
                  </a:cubicBezTo>
                  <a:cubicBezTo>
                    <a:pt x="4263268" y="477748"/>
                    <a:pt x="4257201" y="480261"/>
                    <a:pt x="4250876" y="480261"/>
                  </a:cubicBezTo>
                  <a:lnTo>
                    <a:pt x="23850" y="480261"/>
                  </a:lnTo>
                  <a:cubicBezTo>
                    <a:pt x="17524" y="480261"/>
                    <a:pt x="11458" y="477748"/>
                    <a:pt x="6985" y="473275"/>
                  </a:cubicBezTo>
                  <a:cubicBezTo>
                    <a:pt x="2513" y="468803"/>
                    <a:pt x="0" y="462736"/>
                    <a:pt x="0" y="456411"/>
                  </a:cubicBezTo>
                  <a:lnTo>
                    <a:pt x="0" y="23850"/>
                  </a:lnTo>
                  <a:cubicBezTo>
                    <a:pt x="0" y="17524"/>
                    <a:pt x="2513" y="11458"/>
                    <a:pt x="6985" y="6985"/>
                  </a:cubicBezTo>
                  <a:cubicBezTo>
                    <a:pt x="11458" y="2513"/>
                    <a:pt x="17524" y="0"/>
                    <a:pt x="23850" y="0"/>
                  </a:cubicBezTo>
                  <a:close/>
                </a:path>
              </a:pathLst>
            </a:custGeom>
            <a:solidFill>
              <a:srgbClr val="222222"/>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a:ea typeface="+mn-ea"/>
                <a:cs typeface="+mn-cs"/>
              </a:endParaRPr>
            </a:p>
          </p:txBody>
        </p:sp>
        <p:sp>
          <p:nvSpPr>
            <p:cNvPr id="53" name="TextBox 22">
              <a:extLst>
                <a:ext uri="{FF2B5EF4-FFF2-40B4-BE49-F238E27FC236}">
                  <a16:creationId xmlns:a16="http://schemas.microsoft.com/office/drawing/2014/main" id="{D8D8CA74-715A-7A48-3B36-10ADB0AE3CE3}"/>
                </a:ext>
              </a:extLst>
            </p:cNvPr>
            <p:cNvSpPr txBox="1"/>
            <p:nvPr/>
          </p:nvSpPr>
          <p:spPr>
            <a:xfrm>
              <a:off x="0" y="-28575"/>
              <a:ext cx="4274726" cy="508836"/>
            </a:xfrm>
            <a:prstGeom prst="rect">
              <a:avLst/>
            </a:prstGeom>
          </p:spPr>
          <p:txBody>
            <a:bodyPr lIns="50800" tIns="50800" rIns="50800" bIns="50800" rtlCol="0" anchor="ctr"/>
            <a:lstStyle/>
            <a:p>
              <a:pPr marL="0" marR="0" lvl="0" indent="0" algn="ctr" defTabSz="914400" rtl="0" eaLnBrk="1" fontAlgn="auto" latinLnBrk="0" hangingPunct="1">
                <a:lnSpc>
                  <a:spcPts val="196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a:ea typeface="+mn-ea"/>
                <a:cs typeface="+mn-cs"/>
              </a:endParaRPr>
            </a:p>
          </p:txBody>
        </p:sp>
      </p:grpSp>
      <p:sp>
        <p:nvSpPr>
          <p:cNvPr id="52" name="TextBox 52"/>
          <p:cNvSpPr txBox="1"/>
          <p:nvPr/>
        </p:nvSpPr>
        <p:spPr>
          <a:xfrm>
            <a:off x="4115108" y="8460578"/>
            <a:ext cx="10448508" cy="871264"/>
          </a:xfrm>
          <a:prstGeom prst="rect">
            <a:avLst/>
          </a:prstGeom>
        </p:spPr>
        <p:txBody>
          <a:bodyPr wrap="square" lIns="0" tIns="0" rIns="0" bIns="0" rtlCol="0" anchor="t">
            <a:spAutoFit/>
          </a:bodyPr>
          <a:lstStyle>
            <a:defPPr marR="0" lvl="0" algn="l" rtl="0">
              <a:lnSpc>
                <a:spcPct val="100000"/>
              </a:lnSpc>
              <a:spcBef>
                <a:spcPts val="0"/>
              </a:spcBef>
              <a:spcAft>
                <a:spcPts val="0"/>
              </a:spcAft>
            </a:defPPr>
            <a:lvl1pPr marL="0" indent="0" algn="ctr" defTabSz="914400" eaLnBrk="1" fontAlgn="auto" latinLnBrk="0" hangingPunct="1">
              <a:lnSpc>
                <a:spcPct val="150000"/>
              </a:lnSpc>
              <a:buClrTx/>
              <a:buSzTx/>
              <a:buFontTx/>
              <a:buNone/>
              <a:tabLst/>
              <a:defRPr kumimoji="0" sz="2800" b="1" kern="1200" spc="0" normalizeH="0" baseline="0">
                <a:ln>
                  <a:noFill/>
                </a:ln>
                <a:solidFill>
                  <a:srgbClr val="FFFFFF"/>
                </a:solidFill>
                <a:effectLst/>
                <a:uLnTx/>
                <a:uFillTx/>
                <a:latin typeface="Montserrat" panose="00000500000000000000" pitchFamily="2" charset="0"/>
                <a:ea typeface="+mn-ea"/>
                <a:cs typeface="+mn-cs"/>
              </a:defRPr>
            </a:lvl1pPr>
          </a:lstStyle>
          <a:p>
            <a:r>
              <a:rPr lang="en-US" sz="2000" noProof="0">
                <a:latin typeface="Montserrat"/>
              </a:rPr>
              <a:t>Specialized resources added to support each one of the Workstreams, keeping same senior team engaged in critical management roles</a:t>
            </a:r>
          </a:p>
        </p:txBody>
      </p:sp>
      <p:grpSp>
        <p:nvGrpSpPr>
          <p:cNvPr id="46" name="Group 7">
            <a:extLst>
              <a:ext uri="{FF2B5EF4-FFF2-40B4-BE49-F238E27FC236}">
                <a16:creationId xmlns:a16="http://schemas.microsoft.com/office/drawing/2014/main" id="{653EE149-7538-CF6C-02D8-BB2FF2076544}"/>
              </a:ext>
            </a:extLst>
          </p:cNvPr>
          <p:cNvGrpSpPr/>
          <p:nvPr/>
        </p:nvGrpSpPr>
        <p:grpSpPr>
          <a:xfrm>
            <a:off x="7337519" y="1076100"/>
            <a:ext cx="612363" cy="56823"/>
            <a:chOff x="0" y="0"/>
            <a:chExt cx="1078484" cy="100076"/>
          </a:xfrm>
        </p:grpSpPr>
        <p:sp>
          <p:nvSpPr>
            <p:cNvPr id="10" name="Freeform 8">
              <a:extLst>
                <a:ext uri="{FF2B5EF4-FFF2-40B4-BE49-F238E27FC236}">
                  <a16:creationId xmlns:a16="http://schemas.microsoft.com/office/drawing/2014/main" id="{88BA9FC4-AEE4-7412-92C2-6025B7ED96AC}"/>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spTree>
    <p:extLst>
      <p:ext uri="{BB962C8B-B14F-4D97-AF65-F5344CB8AC3E}">
        <p14:creationId xmlns:p14="http://schemas.microsoft.com/office/powerpoint/2010/main" val="869849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198D2A-489E-421E-A82A-183A81CB0034}"/>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9550F42B-5E33-B32A-CDDF-E92BE5F039A8}"/>
              </a:ext>
            </a:extLst>
          </p:cNvPr>
          <p:cNvSpPr>
            <a:spLocks noGrp="1"/>
          </p:cNvSpPr>
          <p:nvPr>
            <p:ph type="title"/>
          </p:nvPr>
        </p:nvSpPr>
        <p:spPr>
          <a:xfrm>
            <a:off x="1107298" y="3462621"/>
            <a:ext cx="7079697" cy="2964600"/>
          </a:xfrm>
        </p:spPr>
        <p:txBody>
          <a:bodyPr/>
          <a:lstStyle/>
          <a:p>
            <a:r>
              <a:rPr lang="en-US" sz="4800" b="0" dirty="0">
                <a:solidFill>
                  <a:schemeClr val="tx1"/>
                </a:solidFill>
                <a:cs typeface="Arial"/>
                <a:sym typeface="Arial"/>
              </a:rPr>
              <a:t>INDUSTRIALIZATION OF SOFTWARE DEVELOPMENT</a:t>
            </a:r>
            <a:endParaRPr lang="en-US" dirty="0">
              <a:solidFill>
                <a:schemeClr val="tx1"/>
              </a:solidFill>
            </a:endParaRPr>
          </a:p>
        </p:txBody>
      </p:sp>
    </p:spTree>
    <p:extLst>
      <p:ext uri="{BB962C8B-B14F-4D97-AF65-F5344CB8AC3E}">
        <p14:creationId xmlns:p14="http://schemas.microsoft.com/office/powerpoint/2010/main" val="17269964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m 7">
            <a:extLst>
              <a:ext uri="{FF2B5EF4-FFF2-40B4-BE49-F238E27FC236}">
                <a16:creationId xmlns:a16="http://schemas.microsoft.com/office/drawing/2014/main" id="{AA490627-156D-0E20-8532-8E8D7388C30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139692" y="1083217"/>
            <a:ext cx="8413595" cy="8613919"/>
          </a:xfrm>
          <a:prstGeom prst="rect">
            <a:avLst/>
          </a:prstGeom>
        </p:spPr>
      </p:pic>
      <p:sp>
        <p:nvSpPr>
          <p:cNvPr id="2" name="Title 1">
            <a:extLst>
              <a:ext uri="{FF2B5EF4-FFF2-40B4-BE49-F238E27FC236}">
                <a16:creationId xmlns:a16="http://schemas.microsoft.com/office/drawing/2014/main" id="{E2226685-71EA-9DBF-DFA7-D5118C98AECF}"/>
              </a:ext>
            </a:extLst>
          </p:cNvPr>
          <p:cNvSpPr>
            <a:spLocks noGrp="1"/>
          </p:cNvSpPr>
          <p:nvPr>
            <p:ph type="title" idx="4294967295"/>
          </p:nvPr>
        </p:nvSpPr>
        <p:spPr>
          <a:xfrm>
            <a:off x="776868" y="670785"/>
            <a:ext cx="10632735" cy="1145400"/>
          </a:xfrm>
        </p:spPr>
        <p:txBody>
          <a:bodyPr/>
          <a:lstStyle/>
          <a:p>
            <a:r>
              <a:rPr lang="en-US" sz="4000" b="0" i="1" kern="1200">
                <a:solidFill>
                  <a:srgbClr val="000000"/>
                </a:solidFill>
                <a:latin typeface="Montserrat Bold"/>
                <a:ea typeface="+mn-ea"/>
                <a:cs typeface="+mn-cs"/>
              </a:rPr>
              <a:t>NextGen</a:t>
            </a:r>
            <a:r>
              <a:rPr kumimoji="0" lang="en-US" sz="4000" b="0" u="none" strike="noStrike" kern="1200" cap="none" spc="0" normalizeH="0" baseline="0" noProof="0">
                <a:ln>
                  <a:noFill/>
                </a:ln>
                <a:solidFill>
                  <a:srgbClr val="000000"/>
                </a:solidFill>
                <a:effectLst/>
                <a:uLnTx/>
                <a:uFillTx/>
                <a:latin typeface="Montserrat Bold"/>
                <a:ea typeface="+mn-ea"/>
                <a:cs typeface="+mn-cs"/>
              </a:rPr>
              <a:t> PMO</a:t>
            </a:r>
            <a:br>
              <a:rPr lang="en-US" sz="4000" b="0" i="0" u="none" strike="noStrike" kern="1200" cap="none" spc="0" normalizeH="0" baseline="0" noProof="0">
                <a:ln>
                  <a:noFill/>
                </a:ln>
                <a:effectLst/>
                <a:uLnTx/>
                <a:uFillTx/>
                <a:latin typeface="Montserrat Bold"/>
                <a:ea typeface="+mn-ea"/>
                <a:cs typeface="+mn-cs"/>
              </a:rPr>
            </a:br>
            <a:r>
              <a:rPr kumimoji="0" lang="en-US" sz="2800" i="0" u="none" strike="noStrike" kern="1200" cap="none" spc="0" normalizeH="0" baseline="0" noProof="0">
                <a:ln>
                  <a:noFill/>
                </a:ln>
                <a:solidFill>
                  <a:srgbClr val="6800FF"/>
                </a:solidFill>
                <a:effectLst/>
                <a:uLnTx/>
                <a:uFillTx/>
                <a:latin typeface="Montserrat Light"/>
                <a:ea typeface="+mn-ea"/>
                <a:cs typeface="+mn-cs"/>
              </a:rPr>
              <a:t>A new approach of delivering greater results</a:t>
            </a:r>
            <a:endParaRPr lang="pt-BR"/>
          </a:p>
        </p:txBody>
      </p:sp>
      <p:sp>
        <p:nvSpPr>
          <p:cNvPr id="5" name="TextBox 7">
            <a:extLst>
              <a:ext uri="{FF2B5EF4-FFF2-40B4-BE49-F238E27FC236}">
                <a16:creationId xmlns:a16="http://schemas.microsoft.com/office/drawing/2014/main" id="{6A614922-E6D5-FEBD-2501-F5DD7BFED306}"/>
              </a:ext>
            </a:extLst>
          </p:cNvPr>
          <p:cNvSpPr txBox="1"/>
          <p:nvPr/>
        </p:nvSpPr>
        <p:spPr>
          <a:xfrm>
            <a:off x="1248977" y="2579261"/>
            <a:ext cx="6289530" cy="3447098"/>
          </a:xfrm>
          <a:prstGeom prst="rect">
            <a:avLst/>
          </a:prstGeom>
        </p:spPr>
        <p:txBody>
          <a:bodyPr wrap="square" lIns="0" tIns="0" rIns="0" bIns="0" rtlCol="0" anchor="t">
            <a:spAutoFit/>
          </a:bodyPr>
          <a:lstStyle/>
          <a:p>
            <a:pPr marL="0" marR="0" lvl="0" indent="0" algn="l" defTabSz="914400" rtl="0" eaLnBrk="1" fontAlgn="auto" latinLnBrk="0" hangingPunct="1">
              <a:spcBef>
                <a:spcPct val="0"/>
              </a:spcBef>
              <a:spcAft>
                <a:spcPts val="0"/>
              </a:spcAft>
              <a:buClrTx/>
              <a:buSzTx/>
              <a:buFontTx/>
              <a:buNone/>
              <a:tabLst/>
              <a:defRPr/>
            </a:pPr>
            <a:r>
              <a:rPr kumimoji="0" lang="en-US" sz="3200" b="0" i="0" u="none" strike="noStrike" kern="1200" cap="none" spc="0" normalizeH="0" baseline="0" noProof="0">
                <a:ln>
                  <a:noFill/>
                </a:ln>
                <a:solidFill>
                  <a:srgbClr val="000000"/>
                </a:solidFill>
                <a:effectLst/>
                <a:uLnTx/>
                <a:uFillTx/>
                <a:latin typeface="Montserrat Light"/>
                <a:ea typeface="+mn-ea"/>
                <a:cs typeface="+mn-cs"/>
              </a:rPr>
              <a:t>Beyond the Traditional PMO, we believe that </a:t>
            </a:r>
            <a:r>
              <a:rPr kumimoji="0" lang="en-US" sz="3200" b="1" i="0" u="none" strike="noStrike" kern="1200" cap="none" spc="0" normalizeH="0" baseline="0" noProof="0">
                <a:ln>
                  <a:noFill/>
                </a:ln>
                <a:solidFill>
                  <a:srgbClr val="6800FF"/>
                </a:solidFill>
                <a:effectLst/>
                <a:uLnTx/>
                <a:uFillTx/>
                <a:latin typeface="Montserrat Light"/>
                <a:ea typeface="+mn-ea"/>
                <a:cs typeface="+mn-cs"/>
              </a:rPr>
              <a:t>Solution Advisory and Governance, a clear Communication strategy</a:t>
            </a:r>
            <a:r>
              <a:rPr kumimoji="0" lang="en-US" sz="3200" b="0" i="0" u="none" strike="noStrike" kern="1200" cap="none" spc="0" normalizeH="0" baseline="0" noProof="0">
                <a:ln>
                  <a:noFill/>
                </a:ln>
                <a:solidFill>
                  <a:srgbClr val="000000"/>
                </a:solidFill>
                <a:effectLst/>
                <a:uLnTx/>
                <a:uFillTx/>
                <a:latin typeface="Montserrat Light"/>
                <a:ea typeface="+mn-ea"/>
                <a:cs typeface="+mn-cs"/>
              </a:rPr>
              <a:t> and </a:t>
            </a:r>
            <a:r>
              <a:rPr kumimoji="0" lang="en-US" sz="3200" b="1" i="0" u="none" strike="noStrike" kern="1200" cap="none" spc="0" normalizeH="0" baseline="0" noProof="0">
                <a:ln>
                  <a:noFill/>
                </a:ln>
                <a:solidFill>
                  <a:srgbClr val="6800FF"/>
                </a:solidFill>
                <a:effectLst/>
                <a:uLnTx/>
                <a:uFillTx/>
                <a:latin typeface="Montserrat Light"/>
                <a:ea typeface="+mn-ea"/>
                <a:cs typeface="+mn-cs"/>
              </a:rPr>
              <a:t>organization Enablement</a:t>
            </a:r>
            <a:r>
              <a:rPr kumimoji="0" lang="en-US" sz="3200" b="0" i="0" u="none" strike="noStrike" kern="1200" cap="none" spc="0" normalizeH="0" baseline="0" noProof="0">
                <a:ln>
                  <a:noFill/>
                </a:ln>
                <a:solidFill>
                  <a:srgbClr val="000000"/>
                </a:solidFill>
                <a:effectLst/>
                <a:uLnTx/>
                <a:uFillTx/>
                <a:latin typeface="Montserrat Light"/>
                <a:ea typeface="+mn-ea"/>
                <a:cs typeface="+mn-cs"/>
              </a:rPr>
              <a:t> is the right way to deliver the </a:t>
            </a:r>
            <a:r>
              <a:rPr kumimoji="0" lang="en-US" sz="3200" b="1" i="0" u="none" strike="noStrike" kern="1200" cap="none" spc="0" normalizeH="0" baseline="0" noProof="0">
                <a:ln>
                  <a:noFill/>
                </a:ln>
                <a:solidFill>
                  <a:srgbClr val="6800FF"/>
                </a:solidFill>
                <a:effectLst/>
                <a:uLnTx/>
                <a:uFillTx/>
                <a:latin typeface="Montserrat Light"/>
                <a:ea typeface="+mn-ea"/>
                <a:cs typeface="+mn-cs"/>
              </a:rPr>
              <a:t>expected results</a:t>
            </a:r>
            <a:r>
              <a:rPr kumimoji="0" lang="en-US" sz="3200" b="1" i="0" u="none" strike="noStrike" kern="1200" cap="none" spc="0" normalizeH="0" baseline="0" noProof="0">
                <a:ln>
                  <a:noFill/>
                </a:ln>
                <a:solidFill>
                  <a:srgbClr val="000000"/>
                </a:solidFill>
                <a:effectLst/>
                <a:uLnTx/>
                <a:uFillTx/>
                <a:latin typeface="Montserrat Light"/>
                <a:ea typeface="+mn-ea"/>
                <a:cs typeface="+mn-cs"/>
              </a:rPr>
              <a:t>.</a:t>
            </a:r>
            <a:endParaRPr lang="pt-BR">
              <a:ea typeface="+mn-ea"/>
              <a:cs typeface="+mn-cs"/>
            </a:endParaRPr>
          </a:p>
        </p:txBody>
      </p:sp>
      <p:sp>
        <p:nvSpPr>
          <p:cNvPr id="6" name="Retângulo: Cantos Arredondados 11">
            <a:extLst>
              <a:ext uri="{FF2B5EF4-FFF2-40B4-BE49-F238E27FC236}">
                <a16:creationId xmlns:a16="http://schemas.microsoft.com/office/drawing/2014/main" id="{19B85A38-A05E-6A83-7995-009431000D67}"/>
              </a:ext>
            </a:extLst>
          </p:cNvPr>
          <p:cNvSpPr/>
          <p:nvPr/>
        </p:nvSpPr>
        <p:spPr>
          <a:xfrm>
            <a:off x="-402444" y="6716278"/>
            <a:ext cx="7646810" cy="1385272"/>
          </a:xfrm>
          <a:prstGeom prst="roundRect">
            <a:avLst/>
          </a:prstGeom>
          <a:solidFill>
            <a:srgbClr val="6800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7" name="TextBox 7">
            <a:extLst>
              <a:ext uri="{FF2B5EF4-FFF2-40B4-BE49-F238E27FC236}">
                <a16:creationId xmlns:a16="http://schemas.microsoft.com/office/drawing/2014/main" id="{8162CA0D-E5A8-1840-120E-0AFB205D46B1}"/>
              </a:ext>
            </a:extLst>
          </p:cNvPr>
          <p:cNvSpPr txBox="1"/>
          <p:nvPr/>
        </p:nvSpPr>
        <p:spPr>
          <a:xfrm>
            <a:off x="776868" y="6874480"/>
            <a:ext cx="5849312" cy="1077218"/>
          </a:xfrm>
          <a:prstGeom prst="rect">
            <a:avLst/>
          </a:prstGeom>
        </p:spPr>
        <p:txBody>
          <a:bodyPr wrap="square" lIns="0" tIns="0" rIns="0" bIns="0" rtlCol="0" anchor="t">
            <a:spAutoFit/>
          </a:bodyPr>
          <a:lstStyle/>
          <a:p>
            <a:pPr marL="0" marR="0" lvl="0" indent="0" algn="l" defTabSz="914400" rtl="0" eaLnBrk="1" fontAlgn="auto" latinLnBrk="0" hangingPunct="1">
              <a:lnSpc>
                <a:spcPts val="2799"/>
              </a:lnSpc>
              <a:spcBef>
                <a:spcPct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Montserrat Light"/>
                <a:ea typeface="+mn-ea"/>
                <a:cs typeface="+mn-cs"/>
              </a:rPr>
              <a:t>We drive and support our customers on their realization journeys achieving the expected outcomes</a:t>
            </a:r>
          </a:p>
        </p:txBody>
      </p:sp>
      <p:grpSp>
        <p:nvGrpSpPr>
          <p:cNvPr id="9" name="Group 7">
            <a:extLst>
              <a:ext uri="{FF2B5EF4-FFF2-40B4-BE49-F238E27FC236}">
                <a16:creationId xmlns:a16="http://schemas.microsoft.com/office/drawing/2014/main" id="{70B3CC0D-E827-6BD5-986D-CA389DAACB80}"/>
              </a:ext>
            </a:extLst>
          </p:cNvPr>
          <p:cNvGrpSpPr/>
          <p:nvPr/>
        </p:nvGrpSpPr>
        <p:grpSpPr>
          <a:xfrm>
            <a:off x="4863629" y="1217018"/>
            <a:ext cx="612363" cy="56823"/>
            <a:chOff x="0" y="0"/>
            <a:chExt cx="1078484" cy="100076"/>
          </a:xfrm>
        </p:grpSpPr>
        <p:sp>
          <p:nvSpPr>
            <p:cNvPr id="4" name="Freeform 8">
              <a:extLst>
                <a:ext uri="{FF2B5EF4-FFF2-40B4-BE49-F238E27FC236}">
                  <a16:creationId xmlns:a16="http://schemas.microsoft.com/office/drawing/2014/main" id="{17EABC63-D5C5-36C2-B1E9-143B6AB29AE6}"/>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spTree>
    <p:extLst>
      <p:ext uri="{BB962C8B-B14F-4D97-AF65-F5344CB8AC3E}">
        <p14:creationId xmlns:p14="http://schemas.microsoft.com/office/powerpoint/2010/main" val="16750526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Box 40">
            <a:extLst>
              <a:ext uri="{FF2B5EF4-FFF2-40B4-BE49-F238E27FC236}">
                <a16:creationId xmlns:a16="http://schemas.microsoft.com/office/drawing/2014/main" id="{6330C62A-E1B0-8C64-4C93-989A8BB297EC}"/>
              </a:ext>
            </a:extLst>
          </p:cNvPr>
          <p:cNvSpPr txBox="1"/>
          <p:nvPr/>
        </p:nvSpPr>
        <p:spPr>
          <a:xfrm>
            <a:off x="6639105" y="2303149"/>
            <a:ext cx="2754599" cy="507831"/>
          </a:xfrm>
          <a:prstGeom prst="rect">
            <a:avLst/>
          </a:prstGeom>
          <a:noFill/>
        </p:spPr>
        <p:txBody>
          <a:bodyPr wrap="square" lIns="0" rIns="0" rtlCol="0" anchor="ctr">
            <a:spAutoFit/>
          </a:bodyPr>
          <a:lstStyle/>
          <a:p>
            <a:pPr>
              <a:buClrTx/>
              <a:buFontTx/>
              <a:buNone/>
            </a:pPr>
            <a:r>
              <a:rPr lang="en-US" sz="2700" b="1" kern="1200" noProof="0">
                <a:solidFill>
                  <a:srgbClr val="1F497D"/>
                </a:solidFill>
                <a:latin typeface="Segoe UI" panose="020B0502040204020203" pitchFamily="34" charset="0"/>
                <a:ea typeface="Open Sans" panose="020B0606030504020204" pitchFamily="34" charset="0"/>
                <a:cs typeface="Segoe UI" panose="020B0502040204020203" pitchFamily="34" charset="0"/>
              </a:rPr>
              <a:t>ADVISOR</a:t>
            </a:r>
          </a:p>
        </p:txBody>
      </p:sp>
      <p:sp>
        <p:nvSpPr>
          <p:cNvPr id="42" name="Rectangle 41">
            <a:extLst>
              <a:ext uri="{FF2B5EF4-FFF2-40B4-BE49-F238E27FC236}">
                <a16:creationId xmlns:a16="http://schemas.microsoft.com/office/drawing/2014/main" id="{6AE6FBE2-DD38-2F06-230D-EFD01782362C}"/>
              </a:ext>
            </a:extLst>
          </p:cNvPr>
          <p:cNvSpPr/>
          <p:nvPr/>
        </p:nvSpPr>
        <p:spPr>
          <a:xfrm>
            <a:off x="9001953" y="2026149"/>
            <a:ext cx="6899546" cy="1061829"/>
          </a:xfrm>
          <a:prstGeom prst="rect">
            <a:avLst/>
          </a:prstGeom>
        </p:spPr>
        <p:txBody>
          <a:bodyPr wrap="square" lIns="0" rIns="0" anchor="ctr">
            <a:spAutoFit/>
          </a:bodyPr>
          <a:lstStyle/>
          <a:p>
            <a:pPr>
              <a:buClrTx/>
              <a:buFontTx/>
              <a:buNone/>
            </a:pPr>
            <a:r>
              <a:rPr lang="en-US" sz="2100" kern="1200" noProof="0">
                <a:solidFill>
                  <a:prstClr val="black"/>
                </a:solidFill>
                <a:latin typeface="Segoe UI" panose="020B0502040204020203" pitchFamily="34" charset="0"/>
                <a:ea typeface="Open Sans" panose="020B0606030504020204" pitchFamily="34" charset="0"/>
                <a:cs typeface="Segoe UI" panose="020B0502040204020203" pitchFamily="34" charset="0"/>
              </a:rPr>
              <a:t>Provide </a:t>
            </a:r>
            <a:r>
              <a:rPr lang="en-US" sz="2100" b="1" kern="1200" noProof="0">
                <a:solidFill>
                  <a:prstClr val="black"/>
                </a:solidFill>
                <a:latin typeface="Segoe UI" panose="020B0502040204020203" pitchFamily="34" charset="0"/>
                <a:ea typeface="Open Sans" panose="020B0606030504020204" pitchFamily="34" charset="0"/>
                <a:cs typeface="Segoe UI" panose="020B0502040204020203" pitchFamily="34" charset="0"/>
              </a:rPr>
              <a:t>executive-level guidance and oversight</a:t>
            </a:r>
            <a:r>
              <a:rPr lang="en-US" sz="2100" kern="1200" noProof="0">
                <a:solidFill>
                  <a:prstClr val="black"/>
                </a:solidFill>
                <a:latin typeface="Segoe UI" panose="020B0502040204020203" pitchFamily="34" charset="0"/>
                <a:ea typeface="Open Sans" panose="020B0606030504020204" pitchFamily="34" charset="0"/>
                <a:cs typeface="Segoe UI" panose="020B0502040204020203" pitchFamily="34" charset="0"/>
              </a:rPr>
              <a:t> to ensure the successful alignment of digital transformation initiatives with overarching business objectives</a:t>
            </a:r>
          </a:p>
        </p:txBody>
      </p:sp>
      <p:sp>
        <p:nvSpPr>
          <p:cNvPr id="43" name="TextBox 42">
            <a:extLst>
              <a:ext uri="{FF2B5EF4-FFF2-40B4-BE49-F238E27FC236}">
                <a16:creationId xmlns:a16="http://schemas.microsoft.com/office/drawing/2014/main" id="{85F81EDF-9A74-9383-8FFB-E7AA7D1ADA55}"/>
              </a:ext>
            </a:extLst>
          </p:cNvPr>
          <p:cNvSpPr txBox="1"/>
          <p:nvPr/>
        </p:nvSpPr>
        <p:spPr>
          <a:xfrm>
            <a:off x="8288989" y="3512748"/>
            <a:ext cx="3223916" cy="923330"/>
          </a:xfrm>
          <a:prstGeom prst="rect">
            <a:avLst/>
          </a:prstGeom>
          <a:noFill/>
        </p:spPr>
        <p:txBody>
          <a:bodyPr wrap="square" lIns="0" rIns="0" rtlCol="0" anchor="ctr">
            <a:spAutoFit/>
          </a:bodyPr>
          <a:lstStyle/>
          <a:p>
            <a:pPr>
              <a:buClrTx/>
              <a:buFontTx/>
              <a:buNone/>
            </a:pPr>
            <a:r>
              <a:rPr lang="en-US" sz="2700" b="1" kern="1200" noProof="0">
                <a:solidFill>
                  <a:srgbClr val="4F81BD"/>
                </a:solidFill>
                <a:latin typeface="Segoe UI" panose="020B0502040204020203" pitchFamily="34" charset="0"/>
                <a:ea typeface="Open Sans" panose="020B0606030504020204" pitchFamily="34" charset="0"/>
                <a:cs typeface="Segoe UI" panose="020B0502040204020203" pitchFamily="34" charset="0"/>
              </a:rPr>
              <a:t>PROGRAM MANAGER </a:t>
            </a:r>
          </a:p>
        </p:txBody>
      </p:sp>
      <p:sp>
        <p:nvSpPr>
          <p:cNvPr id="44" name="Rectangle 43">
            <a:extLst>
              <a:ext uri="{FF2B5EF4-FFF2-40B4-BE49-F238E27FC236}">
                <a16:creationId xmlns:a16="http://schemas.microsoft.com/office/drawing/2014/main" id="{083639A5-260E-513B-A2BE-FE14B82CD873}"/>
              </a:ext>
            </a:extLst>
          </p:cNvPr>
          <p:cNvSpPr/>
          <p:nvPr/>
        </p:nvSpPr>
        <p:spPr>
          <a:xfrm>
            <a:off x="10625236" y="3443499"/>
            <a:ext cx="6395379" cy="1061829"/>
          </a:xfrm>
          <a:prstGeom prst="rect">
            <a:avLst/>
          </a:prstGeom>
        </p:spPr>
        <p:txBody>
          <a:bodyPr wrap="square" lIns="0" rIns="0" anchor="ctr">
            <a:spAutoFit/>
          </a:bodyPr>
          <a:lstStyle/>
          <a:p>
            <a:pPr>
              <a:buClrTx/>
              <a:buFontTx/>
              <a:buNone/>
            </a:pPr>
            <a:r>
              <a:rPr lang="en-US" sz="2100" kern="1200" noProof="0">
                <a:solidFill>
                  <a:prstClr val="black"/>
                </a:solidFill>
                <a:latin typeface="Segoe UI" panose="020B0502040204020203" pitchFamily="34" charset="0"/>
                <a:ea typeface="Open Sans" panose="020B0606030504020204" pitchFamily="34" charset="0"/>
                <a:cs typeface="Segoe UI" panose="020B0502040204020203" pitchFamily="34" charset="0"/>
              </a:rPr>
              <a:t>Responsible for </a:t>
            </a:r>
            <a:r>
              <a:rPr lang="en-US" sz="2100" b="1" kern="1200" noProof="0">
                <a:solidFill>
                  <a:prstClr val="black"/>
                </a:solidFill>
                <a:latin typeface="Segoe UI" panose="020B0502040204020203" pitchFamily="34" charset="0"/>
                <a:ea typeface="Open Sans" panose="020B0606030504020204" pitchFamily="34" charset="0"/>
                <a:cs typeface="Segoe UI" panose="020B0502040204020203" pitchFamily="34" charset="0"/>
              </a:rPr>
              <a:t>overseeing the successful execution</a:t>
            </a:r>
            <a:r>
              <a:rPr lang="en-US" sz="2100" kern="1200" noProof="0">
                <a:solidFill>
                  <a:prstClr val="black"/>
                </a:solidFill>
                <a:latin typeface="Segoe UI" panose="020B0502040204020203" pitchFamily="34" charset="0"/>
                <a:ea typeface="Open Sans" panose="020B0606030504020204" pitchFamily="34" charset="0"/>
                <a:cs typeface="Segoe UI" panose="020B0502040204020203" pitchFamily="34" charset="0"/>
              </a:rPr>
              <a:t> of organizational goals, ensuring that all initiatives are strategically aligned and well-coordinated</a:t>
            </a:r>
          </a:p>
        </p:txBody>
      </p:sp>
      <p:sp>
        <p:nvSpPr>
          <p:cNvPr id="45" name="TextBox 44">
            <a:extLst>
              <a:ext uri="{FF2B5EF4-FFF2-40B4-BE49-F238E27FC236}">
                <a16:creationId xmlns:a16="http://schemas.microsoft.com/office/drawing/2014/main" id="{550A0CBC-5E04-A141-2338-E8DB49478DC0}"/>
              </a:ext>
            </a:extLst>
          </p:cNvPr>
          <p:cNvSpPr txBox="1"/>
          <p:nvPr/>
        </p:nvSpPr>
        <p:spPr>
          <a:xfrm>
            <a:off x="9844317" y="5108151"/>
            <a:ext cx="2754599" cy="923330"/>
          </a:xfrm>
          <a:prstGeom prst="rect">
            <a:avLst/>
          </a:prstGeom>
          <a:noFill/>
        </p:spPr>
        <p:txBody>
          <a:bodyPr wrap="square" lIns="0" rIns="0" rtlCol="0" anchor="ctr">
            <a:spAutoFit/>
          </a:bodyPr>
          <a:lstStyle/>
          <a:p>
            <a:pPr>
              <a:buClrTx/>
              <a:buFontTx/>
              <a:buNone/>
            </a:pPr>
            <a:r>
              <a:rPr lang="en-US" sz="2700" b="1" kern="1200" noProof="0">
                <a:solidFill>
                  <a:srgbClr val="C0504D"/>
                </a:solidFill>
                <a:latin typeface="Segoe UI" panose="020B0502040204020203" pitchFamily="34" charset="0"/>
                <a:ea typeface="Open Sans" panose="020B0606030504020204" pitchFamily="34" charset="0"/>
                <a:cs typeface="Segoe UI" panose="020B0502040204020203" pitchFamily="34" charset="0"/>
              </a:rPr>
              <a:t>BUSINESS ARCHITECT </a:t>
            </a:r>
          </a:p>
        </p:txBody>
      </p:sp>
      <p:sp>
        <p:nvSpPr>
          <p:cNvPr id="46" name="Rectangle 45">
            <a:extLst>
              <a:ext uri="{FF2B5EF4-FFF2-40B4-BE49-F238E27FC236}">
                <a16:creationId xmlns:a16="http://schemas.microsoft.com/office/drawing/2014/main" id="{0D2A4A88-AB53-C031-D67A-082A2076AC98}"/>
              </a:ext>
            </a:extLst>
          </p:cNvPr>
          <p:cNvSpPr/>
          <p:nvPr/>
        </p:nvSpPr>
        <p:spPr>
          <a:xfrm>
            <a:off x="11998962" y="5038901"/>
            <a:ext cx="5117188" cy="1061829"/>
          </a:xfrm>
          <a:prstGeom prst="rect">
            <a:avLst/>
          </a:prstGeom>
        </p:spPr>
        <p:txBody>
          <a:bodyPr wrap="square" lIns="0" rIns="0" anchor="ctr">
            <a:spAutoFit/>
          </a:bodyPr>
          <a:lstStyle/>
          <a:p>
            <a:pPr>
              <a:buClrTx/>
              <a:buFontTx/>
              <a:buNone/>
            </a:pPr>
            <a:r>
              <a:rPr lang="en-US" sz="2100" kern="1200" noProof="0">
                <a:solidFill>
                  <a:prstClr val="black"/>
                </a:solidFill>
                <a:latin typeface="Segoe UI" panose="020B0502040204020203" pitchFamily="34" charset="0"/>
                <a:ea typeface="Open Sans" panose="020B0606030504020204" pitchFamily="34" charset="0"/>
                <a:cs typeface="Segoe UI" panose="020B0502040204020203" pitchFamily="34" charset="0"/>
              </a:rPr>
              <a:t>Acts as the </a:t>
            </a:r>
            <a:r>
              <a:rPr lang="en-US" sz="2100" b="1" kern="1200" noProof="0">
                <a:solidFill>
                  <a:prstClr val="black"/>
                </a:solidFill>
                <a:latin typeface="Segoe UI" panose="020B0502040204020203" pitchFamily="34" charset="0"/>
                <a:ea typeface="Open Sans" panose="020B0606030504020204" pitchFamily="34" charset="0"/>
                <a:cs typeface="Segoe UI" panose="020B0502040204020203" pitchFamily="34" charset="0"/>
              </a:rPr>
              <a:t>bridge between strategy and execution</a:t>
            </a:r>
            <a:r>
              <a:rPr lang="en-US" sz="2100" kern="1200" noProof="0">
                <a:solidFill>
                  <a:prstClr val="black"/>
                </a:solidFill>
                <a:latin typeface="Segoe UI" panose="020B0502040204020203" pitchFamily="34" charset="0"/>
                <a:ea typeface="Open Sans" panose="020B0606030504020204" pitchFamily="34" charset="0"/>
                <a:cs typeface="Segoe UI" panose="020B0502040204020203" pitchFamily="34" charset="0"/>
              </a:rPr>
              <a:t>, translating corporate vision into operational and technological roadmaps</a:t>
            </a:r>
          </a:p>
        </p:txBody>
      </p:sp>
      <p:sp>
        <p:nvSpPr>
          <p:cNvPr id="47" name="TextBox 46">
            <a:extLst>
              <a:ext uri="{FF2B5EF4-FFF2-40B4-BE49-F238E27FC236}">
                <a16:creationId xmlns:a16="http://schemas.microsoft.com/office/drawing/2014/main" id="{0BC217B4-1B96-48B9-89F0-7375D771035F}"/>
              </a:ext>
            </a:extLst>
          </p:cNvPr>
          <p:cNvSpPr txBox="1"/>
          <p:nvPr/>
        </p:nvSpPr>
        <p:spPr>
          <a:xfrm>
            <a:off x="8288989" y="6665352"/>
            <a:ext cx="3223916" cy="923330"/>
          </a:xfrm>
          <a:prstGeom prst="rect">
            <a:avLst/>
          </a:prstGeom>
          <a:noFill/>
        </p:spPr>
        <p:txBody>
          <a:bodyPr wrap="square" lIns="0" rIns="0" rtlCol="0" anchor="ctr">
            <a:spAutoFit/>
          </a:bodyPr>
          <a:lstStyle/>
          <a:p>
            <a:pPr>
              <a:buClrTx/>
              <a:buFontTx/>
              <a:buNone/>
            </a:pPr>
            <a:r>
              <a:rPr lang="en-US" sz="2700" b="1" kern="1200" noProof="0">
                <a:solidFill>
                  <a:srgbClr val="9BBB59"/>
                </a:solidFill>
                <a:latin typeface="Segoe UI" panose="020B0502040204020203" pitchFamily="34" charset="0"/>
                <a:ea typeface="Open Sans" panose="020B0606030504020204" pitchFamily="34" charset="0"/>
                <a:cs typeface="Segoe UI" panose="020B0502040204020203" pitchFamily="34" charset="0"/>
              </a:rPr>
              <a:t>SOLUTION ARCHITECT </a:t>
            </a:r>
          </a:p>
        </p:txBody>
      </p:sp>
      <p:sp>
        <p:nvSpPr>
          <p:cNvPr id="48" name="Rectangle 47">
            <a:extLst>
              <a:ext uri="{FF2B5EF4-FFF2-40B4-BE49-F238E27FC236}">
                <a16:creationId xmlns:a16="http://schemas.microsoft.com/office/drawing/2014/main" id="{3920743F-F874-C5CE-624D-82987C230553}"/>
              </a:ext>
            </a:extLst>
          </p:cNvPr>
          <p:cNvSpPr/>
          <p:nvPr/>
        </p:nvSpPr>
        <p:spPr>
          <a:xfrm>
            <a:off x="10625237" y="6596103"/>
            <a:ext cx="6154586" cy="1061829"/>
          </a:xfrm>
          <a:prstGeom prst="rect">
            <a:avLst/>
          </a:prstGeom>
        </p:spPr>
        <p:txBody>
          <a:bodyPr wrap="square" lIns="0" rIns="0" anchor="ctr">
            <a:spAutoFit/>
          </a:bodyPr>
          <a:lstStyle/>
          <a:p>
            <a:pPr>
              <a:buClrTx/>
              <a:buFontTx/>
              <a:buNone/>
            </a:pPr>
            <a:r>
              <a:rPr lang="en-US" sz="2100" kern="1200" noProof="0">
                <a:solidFill>
                  <a:prstClr val="black"/>
                </a:solidFill>
                <a:latin typeface="Segoe UI" panose="020B0502040204020203" pitchFamily="34" charset="0"/>
                <a:ea typeface="Open Sans" panose="020B0606030504020204" pitchFamily="34" charset="0"/>
                <a:cs typeface="Segoe UI" panose="020B0502040204020203" pitchFamily="34" charset="0"/>
              </a:rPr>
              <a:t>Focuses on </a:t>
            </a:r>
            <a:r>
              <a:rPr lang="en-US" sz="2100" b="1" kern="1200" noProof="0">
                <a:solidFill>
                  <a:prstClr val="black"/>
                </a:solidFill>
                <a:latin typeface="Segoe UI" panose="020B0502040204020203" pitchFamily="34" charset="0"/>
                <a:ea typeface="Open Sans" panose="020B0606030504020204" pitchFamily="34" charset="0"/>
                <a:cs typeface="Segoe UI" panose="020B0502040204020203" pitchFamily="34" charset="0"/>
              </a:rPr>
              <a:t>aligning IT strategy with business goals</a:t>
            </a:r>
            <a:r>
              <a:rPr lang="en-US" sz="2100" kern="1200" noProof="0">
                <a:solidFill>
                  <a:prstClr val="black"/>
                </a:solidFill>
                <a:latin typeface="Segoe UI" panose="020B0502040204020203" pitchFamily="34" charset="0"/>
                <a:ea typeface="Open Sans" panose="020B0606030504020204" pitchFamily="34" charset="0"/>
                <a:cs typeface="Segoe UI" panose="020B0502040204020203" pitchFamily="34" charset="0"/>
              </a:rPr>
              <a:t> by assessing organizational requirements and identifying the most effective technology solutions</a:t>
            </a:r>
          </a:p>
        </p:txBody>
      </p:sp>
      <p:sp>
        <p:nvSpPr>
          <p:cNvPr id="49" name="TextBox 48">
            <a:extLst>
              <a:ext uri="{FF2B5EF4-FFF2-40B4-BE49-F238E27FC236}">
                <a16:creationId xmlns:a16="http://schemas.microsoft.com/office/drawing/2014/main" id="{7E2D0E1F-A7EC-82D0-C46D-6695DA281C28}"/>
              </a:ext>
            </a:extLst>
          </p:cNvPr>
          <p:cNvSpPr txBox="1"/>
          <p:nvPr/>
        </p:nvSpPr>
        <p:spPr>
          <a:xfrm>
            <a:off x="6639105" y="7936990"/>
            <a:ext cx="2754599" cy="923330"/>
          </a:xfrm>
          <a:prstGeom prst="rect">
            <a:avLst/>
          </a:prstGeom>
          <a:noFill/>
        </p:spPr>
        <p:txBody>
          <a:bodyPr wrap="square" lIns="0" rIns="0" rtlCol="0" anchor="ctr">
            <a:spAutoFit/>
          </a:bodyPr>
          <a:lstStyle/>
          <a:p>
            <a:pPr>
              <a:buClrTx/>
              <a:buFontTx/>
              <a:buNone/>
            </a:pPr>
            <a:r>
              <a:rPr lang="en-US" sz="2700" b="1" kern="1200" noProof="0">
                <a:solidFill>
                  <a:srgbClr val="8064A2"/>
                </a:solidFill>
                <a:latin typeface="Segoe UI" panose="020B0502040204020203" pitchFamily="34" charset="0"/>
                <a:ea typeface="Open Sans" panose="020B0606030504020204" pitchFamily="34" charset="0"/>
                <a:cs typeface="Segoe UI" panose="020B0502040204020203" pitchFamily="34" charset="0"/>
              </a:rPr>
              <a:t>TECH SPECIALIST </a:t>
            </a:r>
          </a:p>
        </p:txBody>
      </p:sp>
      <p:sp>
        <p:nvSpPr>
          <p:cNvPr id="50" name="Rectangle 49">
            <a:extLst>
              <a:ext uri="{FF2B5EF4-FFF2-40B4-BE49-F238E27FC236}">
                <a16:creationId xmlns:a16="http://schemas.microsoft.com/office/drawing/2014/main" id="{E01A37D8-720D-2079-DB37-C9671BE50487}"/>
              </a:ext>
            </a:extLst>
          </p:cNvPr>
          <p:cNvSpPr/>
          <p:nvPr/>
        </p:nvSpPr>
        <p:spPr>
          <a:xfrm>
            <a:off x="9001953" y="7867741"/>
            <a:ext cx="6154586" cy="1061829"/>
          </a:xfrm>
          <a:prstGeom prst="rect">
            <a:avLst/>
          </a:prstGeom>
        </p:spPr>
        <p:txBody>
          <a:bodyPr wrap="square" lIns="0" rIns="0" anchor="ctr">
            <a:spAutoFit/>
          </a:bodyPr>
          <a:lstStyle/>
          <a:p>
            <a:pPr>
              <a:buClrTx/>
              <a:buFontTx/>
              <a:buNone/>
            </a:pPr>
            <a:r>
              <a:rPr lang="en-US" sz="2100" kern="1200" noProof="0">
                <a:solidFill>
                  <a:prstClr val="black"/>
                </a:solidFill>
                <a:latin typeface="Segoe UI" panose="020B0502040204020203" pitchFamily="34" charset="0"/>
                <a:ea typeface="Open Sans" panose="020B0606030504020204" pitchFamily="34" charset="0"/>
                <a:cs typeface="Segoe UI" panose="020B0502040204020203" pitchFamily="34" charset="0"/>
              </a:rPr>
              <a:t>Brings </a:t>
            </a:r>
            <a:r>
              <a:rPr lang="en-US" sz="2100" b="1" kern="1200" noProof="0">
                <a:solidFill>
                  <a:prstClr val="black"/>
                </a:solidFill>
                <a:latin typeface="Segoe UI" panose="020B0502040204020203" pitchFamily="34" charset="0"/>
                <a:ea typeface="Open Sans" panose="020B0606030504020204" pitchFamily="34" charset="0"/>
                <a:cs typeface="Segoe UI" panose="020B0502040204020203" pitchFamily="34" charset="0"/>
              </a:rPr>
              <a:t>deep technical expertise</a:t>
            </a:r>
            <a:r>
              <a:rPr lang="en-US" sz="2100" kern="1200" noProof="0">
                <a:solidFill>
                  <a:prstClr val="black"/>
                </a:solidFill>
                <a:latin typeface="Segoe UI" panose="020B0502040204020203" pitchFamily="34" charset="0"/>
                <a:ea typeface="Open Sans" panose="020B0606030504020204" pitchFamily="34" charset="0"/>
                <a:cs typeface="Segoe UI" panose="020B0502040204020203" pitchFamily="34" charset="0"/>
              </a:rPr>
              <a:t> and a holistic perspective to bridge the gap between business needs and technology solutions</a:t>
            </a:r>
          </a:p>
        </p:txBody>
      </p:sp>
      <p:sp>
        <p:nvSpPr>
          <p:cNvPr id="51" name="Line 5">
            <a:extLst>
              <a:ext uri="{FF2B5EF4-FFF2-40B4-BE49-F238E27FC236}">
                <a16:creationId xmlns:a16="http://schemas.microsoft.com/office/drawing/2014/main" id="{6A1D7B7D-4C27-5F3C-E7BA-9F31712A6BCD}"/>
              </a:ext>
            </a:extLst>
          </p:cNvPr>
          <p:cNvSpPr>
            <a:spLocks noChangeShapeType="1"/>
          </p:cNvSpPr>
          <p:nvPr/>
        </p:nvSpPr>
        <p:spPr bwMode="auto">
          <a:xfrm>
            <a:off x="6623801" y="6152897"/>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a:buClrTx/>
              <a:buFontTx/>
              <a:buNone/>
            </a:pPr>
            <a:endParaRPr lang="en-US" sz="2700" kern="1200" noProof="0">
              <a:solidFill>
                <a:prstClr val="black"/>
              </a:solidFill>
              <a:latin typeface="Segoe UI" panose="020B0502040204020203" pitchFamily="34" charset="0"/>
              <a:ea typeface="+mn-ea"/>
              <a:cs typeface="Segoe UI" panose="020B0502040204020203" pitchFamily="34" charset="0"/>
            </a:endParaRPr>
          </a:p>
        </p:txBody>
      </p:sp>
      <p:sp>
        <p:nvSpPr>
          <p:cNvPr id="52" name="Line 6">
            <a:extLst>
              <a:ext uri="{FF2B5EF4-FFF2-40B4-BE49-F238E27FC236}">
                <a16:creationId xmlns:a16="http://schemas.microsoft.com/office/drawing/2014/main" id="{042C6A1E-68E7-98B5-A01F-C73C4F3E4A04}"/>
              </a:ext>
            </a:extLst>
          </p:cNvPr>
          <p:cNvSpPr>
            <a:spLocks noChangeShapeType="1"/>
          </p:cNvSpPr>
          <p:nvPr/>
        </p:nvSpPr>
        <p:spPr bwMode="auto">
          <a:xfrm>
            <a:off x="6623801" y="6152897"/>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a:buClrTx/>
              <a:buFontTx/>
              <a:buNone/>
            </a:pPr>
            <a:endParaRPr lang="en-US" sz="2700" kern="1200" noProof="0">
              <a:solidFill>
                <a:prstClr val="black"/>
              </a:solidFill>
              <a:latin typeface="Segoe UI" panose="020B0502040204020203" pitchFamily="34" charset="0"/>
              <a:ea typeface="+mn-ea"/>
              <a:cs typeface="Segoe UI" panose="020B0502040204020203" pitchFamily="34" charset="0"/>
            </a:endParaRPr>
          </a:p>
        </p:txBody>
      </p:sp>
      <p:sp>
        <p:nvSpPr>
          <p:cNvPr id="53" name="Freeform 7">
            <a:extLst>
              <a:ext uri="{FF2B5EF4-FFF2-40B4-BE49-F238E27FC236}">
                <a16:creationId xmlns:a16="http://schemas.microsoft.com/office/drawing/2014/main" id="{30236B39-8C80-20F1-9948-10A9C193684E}"/>
              </a:ext>
            </a:extLst>
          </p:cNvPr>
          <p:cNvSpPr>
            <a:spLocks/>
          </p:cNvSpPr>
          <p:nvPr/>
        </p:nvSpPr>
        <p:spPr bwMode="auto">
          <a:xfrm>
            <a:off x="2866041" y="3613039"/>
            <a:ext cx="4459227" cy="1898409"/>
          </a:xfrm>
          <a:custGeom>
            <a:avLst/>
            <a:gdLst>
              <a:gd name="T0" fmla="*/ 2386 w 2722"/>
              <a:gd name="T1" fmla="*/ 0 h 1161"/>
              <a:gd name="T2" fmla="*/ 25 w 2722"/>
              <a:gd name="T3" fmla="*/ 971 h 1161"/>
              <a:gd name="T4" fmla="*/ 0 w 2722"/>
              <a:gd name="T5" fmla="*/ 1066 h 1161"/>
              <a:gd name="T6" fmla="*/ 2722 w 2722"/>
              <a:gd name="T7" fmla="*/ 639 h 1161"/>
              <a:gd name="T8" fmla="*/ 2386 w 2722"/>
              <a:gd name="T9" fmla="*/ 0 h 1161"/>
            </a:gdLst>
            <a:ahLst/>
            <a:cxnLst>
              <a:cxn ang="0">
                <a:pos x="T0" y="T1"/>
              </a:cxn>
              <a:cxn ang="0">
                <a:pos x="T2" y="T3"/>
              </a:cxn>
              <a:cxn ang="0">
                <a:pos x="T4" y="T5"/>
              </a:cxn>
              <a:cxn ang="0">
                <a:pos x="T6" y="T7"/>
              </a:cxn>
              <a:cxn ang="0">
                <a:pos x="T8" y="T9"/>
              </a:cxn>
            </a:cxnLst>
            <a:rect l="0" t="0" r="r" b="b"/>
            <a:pathLst>
              <a:path w="2722" h="1161">
                <a:moveTo>
                  <a:pt x="2386" y="0"/>
                </a:moveTo>
                <a:cubicBezTo>
                  <a:pt x="2386" y="0"/>
                  <a:pt x="1116" y="1031"/>
                  <a:pt x="25" y="971"/>
                </a:cubicBezTo>
                <a:cubicBezTo>
                  <a:pt x="0" y="1066"/>
                  <a:pt x="0" y="1066"/>
                  <a:pt x="0" y="1066"/>
                </a:cubicBezTo>
                <a:cubicBezTo>
                  <a:pt x="0" y="1066"/>
                  <a:pt x="756" y="1161"/>
                  <a:pt x="2722" y="639"/>
                </a:cubicBezTo>
                <a:lnTo>
                  <a:pt x="2386" y="0"/>
                </a:lnTo>
                <a:close/>
              </a:path>
            </a:pathLst>
          </a:custGeom>
          <a:solidFill>
            <a:sysClr val="window" lastClr="FFFFFF">
              <a:lumMod val="85000"/>
            </a:sysClr>
          </a:solidFill>
          <a:ln w="9525">
            <a:noFill/>
            <a:round/>
            <a:headEnd/>
            <a:tailEnd/>
          </a:ln>
        </p:spPr>
        <p:txBody>
          <a:bodyPr vert="horz" wrap="square" lIns="137160" tIns="68580" rIns="137160" bIns="6858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solidFill>
              <a:effectLst/>
              <a:uLnTx/>
              <a:uFillTx/>
              <a:latin typeface="Calibri"/>
              <a:ea typeface="+mn-ea"/>
              <a:cs typeface="+mn-cs"/>
            </a:endParaRPr>
          </a:p>
        </p:txBody>
      </p:sp>
      <p:sp>
        <p:nvSpPr>
          <p:cNvPr id="54" name="Freeform 8">
            <a:extLst>
              <a:ext uri="{FF2B5EF4-FFF2-40B4-BE49-F238E27FC236}">
                <a16:creationId xmlns:a16="http://schemas.microsoft.com/office/drawing/2014/main" id="{58B7FEDB-C807-111F-8764-F2B6DFB64FB6}"/>
              </a:ext>
            </a:extLst>
          </p:cNvPr>
          <p:cNvSpPr>
            <a:spLocks/>
          </p:cNvSpPr>
          <p:nvPr/>
        </p:nvSpPr>
        <p:spPr bwMode="auto">
          <a:xfrm>
            <a:off x="2866041" y="5566955"/>
            <a:ext cx="4459227" cy="1898409"/>
          </a:xfrm>
          <a:custGeom>
            <a:avLst/>
            <a:gdLst>
              <a:gd name="T0" fmla="*/ 2386 w 2722"/>
              <a:gd name="T1" fmla="*/ 1161 h 1161"/>
              <a:gd name="T2" fmla="*/ 25 w 2722"/>
              <a:gd name="T3" fmla="*/ 191 h 1161"/>
              <a:gd name="T4" fmla="*/ 0 w 2722"/>
              <a:gd name="T5" fmla="*/ 95 h 1161"/>
              <a:gd name="T6" fmla="*/ 2722 w 2722"/>
              <a:gd name="T7" fmla="*/ 523 h 1161"/>
              <a:gd name="T8" fmla="*/ 2386 w 2722"/>
              <a:gd name="T9" fmla="*/ 1161 h 1161"/>
            </a:gdLst>
            <a:ahLst/>
            <a:cxnLst>
              <a:cxn ang="0">
                <a:pos x="T0" y="T1"/>
              </a:cxn>
              <a:cxn ang="0">
                <a:pos x="T2" y="T3"/>
              </a:cxn>
              <a:cxn ang="0">
                <a:pos x="T4" y="T5"/>
              </a:cxn>
              <a:cxn ang="0">
                <a:pos x="T6" y="T7"/>
              </a:cxn>
              <a:cxn ang="0">
                <a:pos x="T8" y="T9"/>
              </a:cxn>
            </a:cxnLst>
            <a:rect l="0" t="0" r="r" b="b"/>
            <a:pathLst>
              <a:path w="2722" h="1161">
                <a:moveTo>
                  <a:pt x="2386" y="1161"/>
                </a:moveTo>
                <a:cubicBezTo>
                  <a:pt x="2386" y="1161"/>
                  <a:pt x="1116" y="131"/>
                  <a:pt x="25" y="191"/>
                </a:cubicBezTo>
                <a:cubicBezTo>
                  <a:pt x="0" y="95"/>
                  <a:pt x="0" y="95"/>
                  <a:pt x="0" y="95"/>
                </a:cubicBezTo>
                <a:cubicBezTo>
                  <a:pt x="0" y="95"/>
                  <a:pt x="756" y="0"/>
                  <a:pt x="2722" y="523"/>
                </a:cubicBezTo>
                <a:lnTo>
                  <a:pt x="2386" y="1161"/>
                </a:lnTo>
                <a:close/>
              </a:path>
            </a:pathLst>
          </a:custGeom>
          <a:solidFill>
            <a:sysClr val="window" lastClr="FFFFFF">
              <a:lumMod val="85000"/>
            </a:sysClr>
          </a:solidFill>
          <a:ln w="9525">
            <a:noFill/>
            <a:round/>
            <a:headEnd/>
            <a:tailEnd/>
          </a:ln>
        </p:spPr>
        <p:txBody>
          <a:bodyPr vert="horz" wrap="square" lIns="137160" tIns="68580" rIns="137160" bIns="6858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solidFill>
              <a:effectLst/>
              <a:uLnTx/>
              <a:uFillTx/>
              <a:latin typeface="Calibri"/>
              <a:ea typeface="+mn-ea"/>
              <a:cs typeface="+mn-cs"/>
            </a:endParaRPr>
          </a:p>
        </p:txBody>
      </p:sp>
      <p:sp>
        <p:nvSpPr>
          <p:cNvPr id="55" name="Freeform 9">
            <a:extLst>
              <a:ext uri="{FF2B5EF4-FFF2-40B4-BE49-F238E27FC236}">
                <a16:creationId xmlns:a16="http://schemas.microsoft.com/office/drawing/2014/main" id="{7815C93D-6979-D5A7-F778-3AA5856BCE7F}"/>
              </a:ext>
            </a:extLst>
          </p:cNvPr>
          <p:cNvSpPr>
            <a:spLocks/>
          </p:cNvSpPr>
          <p:nvPr/>
        </p:nvSpPr>
        <p:spPr bwMode="auto">
          <a:xfrm>
            <a:off x="3073275" y="4940713"/>
            <a:ext cx="5395481" cy="1258205"/>
          </a:xfrm>
          <a:custGeom>
            <a:avLst/>
            <a:gdLst>
              <a:gd name="T0" fmla="*/ 3293 w 3293"/>
              <a:gd name="T1" fmla="*/ 0 h 769"/>
              <a:gd name="T2" fmla="*/ 0 w 3293"/>
              <a:gd name="T3" fmla="*/ 339 h 769"/>
              <a:gd name="T4" fmla="*/ 0 w 3293"/>
              <a:gd name="T5" fmla="*/ 424 h 769"/>
              <a:gd name="T6" fmla="*/ 3293 w 3293"/>
              <a:gd name="T7" fmla="*/ 769 h 769"/>
              <a:gd name="T8" fmla="*/ 3293 w 3293"/>
              <a:gd name="T9" fmla="*/ 0 h 769"/>
            </a:gdLst>
            <a:ahLst/>
            <a:cxnLst>
              <a:cxn ang="0">
                <a:pos x="T0" y="T1"/>
              </a:cxn>
              <a:cxn ang="0">
                <a:pos x="T2" y="T3"/>
              </a:cxn>
              <a:cxn ang="0">
                <a:pos x="T4" y="T5"/>
              </a:cxn>
              <a:cxn ang="0">
                <a:pos x="T6" y="T7"/>
              </a:cxn>
              <a:cxn ang="0">
                <a:pos x="T8" y="T9"/>
              </a:cxn>
            </a:cxnLst>
            <a:rect l="0" t="0" r="r" b="b"/>
            <a:pathLst>
              <a:path w="3293" h="769">
                <a:moveTo>
                  <a:pt x="3293" y="0"/>
                </a:moveTo>
                <a:cubicBezTo>
                  <a:pt x="3293" y="0"/>
                  <a:pt x="1091" y="438"/>
                  <a:pt x="0" y="339"/>
                </a:cubicBezTo>
                <a:cubicBezTo>
                  <a:pt x="0" y="424"/>
                  <a:pt x="0" y="424"/>
                  <a:pt x="0" y="424"/>
                </a:cubicBezTo>
                <a:cubicBezTo>
                  <a:pt x="0" y="424"/>
                  <a:pt x="1384" y="477"/>
                  <a:pt x="3293" y="769"/>
                </a:cubicBezTo>
                <a:lnTo>
                  <a:pt x="3293" y="0"/>
                </a:lnTo>
                <a:close/>
              </a:path>
            </a:pathLst>
          </a:custGeom>
          <a:solidFill>
            <a:sysClr val="window" lastClr="FFFFFF">
              <a:lumMod val="85000"/>
            </a:sysClr>
          </a:solidFill>
          <a:ln w="9525">
            <a:noFill/>
            <a:round/>
            <a:headEnd/>
            <a:tailEnd/>
          </a:ln>
        </p:spPr>
        <p:txBody>
          <a:bodyPr vert="horz" wrap="square" lIns="137160" tIns="68580" rIns="137160" bIns="6858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solidFill>
              <a:effectLst/>
              <a:uLnTx/>
              <a:uFillTx/>
              <a:latin typeface="Calibri"/>
              <a:ea typeface="+mn-ea"/>
              <a:cs typeface="+mn-cs"/>
            </a:endParaRPr>
          </a:p>
        </p:txBody>
      </p:sp>
      <p:sp>
        <p:nvSpPr>
          <p:cNvPr id="56" name="Freeform 10">
            <a:extLst>
              <a:ext uri="{FF2B5EF4-FFF2-40B4-BE49-F238E27FC236}">
                <a16:creationId xmlns:a16="http://schemas.microsoft.com/office/drawing/2014/main" id="{57755FEB-30F4-BEE4-10D4-0180843031D8}"/>
              </a:ext>
            </a:extLst>
          </p:cNvPr>
          <p:cNvSpPr>
            <a:spLocks/>
          </p:cNvSpPr>
          <p:nvPr/>
        </p:nvSpPr>
        <p:spPr bwMode="auto">
          <a:xfrm>
            <a:off x="2906748" y="2414042"/>
            <a:ext cx="3330543" cy="2808758"/>
          </a:xfrm>
          <a:custGeom>
            <a:avLst/>
            <a:gdLst>
              <a:gd name="T0" fmla="*/ 1281 w 2033"/>
              <a:gd name="T1" fmla="*/ 0 h 1719"/>
              <a:gd name="T2" fmla="*/ 0 w 2033"/>
              <a:gd name="T3" fmla="*/ 1528 h 1719"/>
              <a:gd name="T4" fmla="*/ 0 w 2033"/>
              <a:gd name="T5" fmla="*/ 1641 h 1719"/>
              <a:gd name="T6" fmla="*/ 2033 w 2033"/>
              <a:gd name="T7" fmla="*/ 310 h 1719"/>
              <a:gd name="T8" fmla="*/ 1281 w 2033"/>
              <a:gd name="T9" fmla="*/ 0 h 1719"/>
            </a:gdLst>
            <a:ahLst/>
            <a:cxnLst>
              <a:cxn ang="0">
                <a:pos x="T0" y="T1"/>
              </a:cxn>
              <a:cxn ang="0">
                <a:pos x="T2" y="T3"/>
              </a:cxn>
              <a:cxn ang="0">
                <a:pos x="T4" y="T5"/>
              </a:cxn>
              <a:cxn ang="0">
                <a:pos x="T6" y="T7"/>
              </a:cxn>
              <a:cxn ang="0">
                <a:pos x="T8" y="T9"/>
              </a:cxn>
            </a:cxnLst>
            <a:rect l="0" t="0" r="r" b="b"/>
            <a:pathLst>
              <a:path w="2033" h="1719">
                <a:moveTo>
                  <a:pt x="1281" y="0"/>
                </a:moveTo>
                <a:cubicBezTo>
                  <a:pt x="1281" y="0"/>
                  <a:pt x="822" y="1383"/>
                  <a:pt x="0" y="1528"/>
                </a:cubicBezTo>
                <a:cubicBezTo>
                  <a:pt x="0" y="1641"/>
                  <a:pt x="0" y="1641"/>
                  <a:pt x="0" y="1641"/>
                </a:cubicBezTo>
                <a:cubicBezTo>
                  <a:pt x="0" y="1641"/>
                  <a:pt x="1182" y="1719"/>
                  <a:pt x="2033" y="310"/>
                </a:cubicBezTo>
                <a:lnTo>
                  <a:pt x="1281" y="0"/>
                </a:lnTo>
                <a:close/>
              </a:path>
            </a:pathLst>
          </a:custGeom>
          <a:solidFill>
            <a:sysClr val="window" lastClr="FFFFFF">
              <a:lumMod val="85000"/>
            </a:sysClr>
          </a:solidFill>
          <a:ln w="9525">
            <a:noFill/>
            <a:round/>
            <a:headEnd/>
            <a:tailEnd/>
          </a:ln>
        </p:spPr>
        <p:txBody>
          <a:bodyPr vert="horz" wrap="square" lIns="137160" tIns="68580" rIns="137160" bIns="6858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solidFill>
              <a:effectLst/>
              <a:uLnTx/>
              <a:uFillTx/>
              <a:latin typeface="Calibri"/>
              <a:ea typeface="+mn-ea"/>
              <a:cs typeface="+mn-cs"/>
            </a:endParaRPr>
          </a:p>
        </p:txBody>
      </p:sp>
      <p:sp>
        <p:nvSpPr>
          <p:cNvPr id="57" name="Freeform 11">
            <a:extLst>
              <a:ext uri="{FF2B5EF4-FFF2-40B4-BE49-F238E27FC236}">
                <a16:creationId xmlns:a16="http://schemas.microsoft.com/office/drawing/2014/main" id="{482975F3-08E5-C516-894A-CB4BE4D7474E}"/>
              </a:ext>
            </a:extLst>
          </p:cNvPr>
          <p:cNvSpPr>
            <a:spLocks/>
          </p:cNvSpPr>
          <p:nvPr/>
        </p:nvSpPr>
        <p:spPr bwMode="auto">
          <a:xfrm>
            <a:off x="2906748" y="5859304"/>
            <a:ext cx="3330543" cy="2806908"/>
          </a:xfrm>
          <a:custGeom>
            <a:avLst/>
            <a:gdLst>
              <a:gd name="T0" fmla="*/ 1281 w 2033"/>
              <a:gd name="T1" fmla="*/ 1718 h 1718"/>
              <a:gd name="T2" fmla="*/ 0 w 2033"/>
              <a:gd name="T3" fmla="*/ 190 h 1718"/>
              <a:gd name="T4" fmla="*/ 0 w 2033"/>
              <a:gd name="T5" fmla="*/ 77 h 1718"/>
              <a:gd name="T6" fmla="*/ 2033 w 2033"/>
              <a:gd name="T7" fmla="*/ 1408 h 1718"/>
              <a:gd name="T8" fmla="*/ 1281 w 2033"/>
              <a:gd name="T9" fmla="*/ 1718 h 1718"/>
            </a:gdLst>
            <a:ahLst/>
            <a:cxnLst>
              <a:cxn ang="0">
                <a:pos x="T0" y="T1"/>
              </a:cxn>
              <a:cxn ang="0">
                <a:pos x="T2" y="T3"/>
              </a:cxn>
              <a:cxn ang="0">
                <a:pos x="T4" y="T5"/>
              </a:cxn>
              <a:cxn ang="0">
                <a:pos x="T6" y="T7"/>
              </a:cxn>
              <a:cxn ang="0">
                <a:pos x="T8" y="T9"/>
              </a:cxn>
            </a:cxnLst>
            <a:rect l="0" t="0" r="r" b="b"/>
            <a:pathLst>
              <a:path w="2033" h="1718">
                <a:moveTo>
                  <a:pt x="1281" y="1718"/>
                </a:moveTo>
                <a:cubicBezTo>
                  <a:pt x="1281" y="1718"/>
                  <a:pt x="822" y="335"/>
                  <a:pt x="0" y="190"/>
                </a:cubicBezTo>
                <a:cubicBezTo>
                  <a:pt x="0" y="77"/>
                  <a:pt x="0" y="77"/>
                  <a:pt x="0" y="77"/>
                </a:cubicBezTo>
                <a:cubicBezTo>
                  <a:pt x="0" y="77"/>
                  <a:pt x="1182" y="0"/>
                  <a:pt x="2033" y="1408"/>
                </a:cubicBezTo>
                <a:lnTo>
                  <a:pt x="1281" y="1718"/>
                </a:lnTo>
                <a:close/>
              </a:path>
            </a:pathLst>
          </a:custGeom>
          <a:solidFill>
            <a:sysClr val="window" lastClr="FFFFFF">
              <a:lumMod val="85000"/>
            </a:sysClr>
          </a:solidFill>
          <a:ln w="9525">
            <a:noFill/>
            <a:round/>
            <a:headEnd/>
            <a:tailEnd/>
          </a:ln>
        </p:spPr>
        <p:txBody>
          <a:bodyPr vert="horz" wrap="square" lIns="137160" tIns="68580" rIns="137160" bIns="6858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solidFill>
              <a:effectLst/>
              <a:uLnTx/>
              <a:uFillTx/>
              <a:latin typeface="Calibri"/>
              <a:ea typeface="+mn-ea"/>
              <a:cs typeface="+mn-cs"/>
            </a:endParaRPr>
          </a:p>
        </p:txBody>
      </p:sp>
      <p:sp>
        <p:nvSpPr>
          <p:cNvPr id="58" name="Oval 57">
            <a:extLst>
              <a:ext uri="{FF2B5EF4-FFF2-40B4-BE49-F238E27FC236}">
                <a16:creationId xmlns:a16="http://schemas.microsoft.com/office/drawing/2014/main" id="{2463FA12-7DAB-FCDC-4115-FD9851668F7F}"/>
              </a:ext>
            </a:extLst>
          </p:cNvPr>
          <p:cNvSpPr/>
          <p:nvPr/>
        </p:nvSpPr>
        <p:spPr>
          <a:xfrm>
            <a:off x="4867506" y="1802894"/>
            <a:ext cx="1508340" cy="1508340"/>
          </a:xfrm>
          <a:prstGeom prst="ellipse">
            <a:avLst/>
          </a:prstGeom>
          <a:solidFill>
            <a:srgbClr val="9E5AFF"/>
          </a:solidFill>
          <a:ln w="57150" cap="flat" cmpd="sng" algn="ctr">
            <a:solidFill>
              <a:sysClr val="window" lastClr="FFFFFF"/>
            </a:solidFill>
            <a:prstDash val="solid"/>
          </a:ln>
          <a:effectLst>
            <a:outerShdw blurRad="279400" dir="5400000" algn="t" rotWithShape="0">
              <a:prstClr val="black">
                <a:alpha val="2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59" name="Oval 58">
            <a:extLst>
              <a:ext uri="{FF2B5EF4-FFF2-40B4-BE49-F238E27FC236}">
                <a16:creationId xmlns:a16="http://schemas.microsoft.com/office/drawing/2014/main" id="{36553135-A36F-16B9-7E7C-9ADE94356137}"/>
              </a:ext>
            </a:extLst>
          </p:cNvPr>
          <p:cNvSpPr/>
          <p:nvPr/>
        </p:nvSpPr>
        <p:spPr>
          <a:xfrm>
            <a:off x="1475274" y="4469039"/>
            <a:ext cx="2201550" cy="2201552"/>
          </a:xfrm>
          <a:prstGeom prst="ellipse">
            <a:avLst/>
          </a:prstGeom>
          <a:solidFill>
            <a:srgbClr val="6800FF"/>
          </a:solidFill>
          <a:ln w="57150" cap="flat" cmpd="sng" algn="ctr">
            <a:solidFill>
              <a:sysClr val="window" lastClr="FFFFFF"/>
            </a:solidFill>
            <a:prstDash val="solid"/>
          </a:ln>
          <a:effectLst>
            <a:outerShdw blurRad="279400" dir="5400000" algn="t" rotWithShape="0">
              <a:prstClr val="black">
                <a:alpha val="2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60" name="Oval 59">
            <a:extLst>
              <a:ext uri="{FF2B5EF4-FFF2-40B4-BE49-F238E27FC236}">
                <a16:creationId xmlns:a16="http://schemas.microsoft.com/office/drawing/2014/main" id="{41A70C17-338C-376C-5509-CD90CF6FA209}"/>
              </a:ext>
            </a:extLst>
          </p:cNvPr>
          <p:cNvSpPr/>
          <p:nvPr/>
        </p:nvSpPr>
        <p:spPr>
          <a:xfrm>
            <a:off x="5155538" y="1941976"/>
            <a:ext cx="912837" cy="741021"/>
          </a:xfrm>
          <a:prstGeom prst="ellipse">
            <a:avLst/>
          </a:prstGeom>
          <a:gradFill flip="none" rotWithShape="1">
            <a:gsLst>
              <a:gs pos="0">
                <a:sysClr val="window" lastClr="FFFFFF">
                  <a:alpha val="40000"/>
                </a:sysClr>
              </a:gs>
              <a:gs pos="90000">
                <a:sysClr val="window" lastClr="FFFFFF">
                  <a:lumMod val="85000"/>
                  <a:alpha val="0"/>
                </a:sysClr>
              </a:gs>
            </a:gsLst>
            <a:lin ang="5400000" scaled="1"/>
            <a:tileRect/>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nvGrpSpPr>
          <p:cNvPr id="61" name="Group 60">
            <a:extLst>
              <a:ext uri="{FF2B5EF4-FFF2-40B4-BE49-F238E27FC236}">
                <a16:creationId xmlns:a16="http://schemas.microsoft.com/office/drawing/2014/main" id="{67463C3C-561B-F3D7-B179-62528F6A5121}"/>
              </a:ext>
            </a:extLst>
          </p:cNvPr>
          <p:cNvGrpSpPr/>
          <p:nvPr/>
        </p:nvGrpSpPr>
        <p:grpSpPr>
          <a:xfrm>
            <a:off x="6483548" y="3220243"/>
            <a:ext cx="1508340" cy="1508340"/>
            <a:chOff x="4619789" y="2281866"/>
            <a:chExt cx="1005560" cy="1005560"/>
          </a:xfrm>
        </p:grpSpPr>
        <p:sp>
          <p:nvSpPr>
            <p:cNvPr id="62" name="Oval 61">
              <a:extLst>
                <a:ext uri="{FF2B5EF4-FFF2-40B4-BE49-F238E27FC236}">
                  <a16:creationId xmlns:a16="http://schemas.microsoft.com/office/drawing/2014/main" id="{F494D2C0-5B5D-FACE-7F64-E52490A6B487}"/>
                </a:ext>
              </a:extLst>
            </p:cNvPr>
            <p:cNvSpPr/>
            <p:nvPr/>
          </p:nvSpPr>
          <p:spPr>
            <a:xfrm>
              <a:off x="4619789" y="2281866"/>
              <a:ext cx="1005560" cy="1005560"/>
            </a:xfrm>
            <a:prstGeom prst="ellipse">
              <a:avLst/>
            </a:prstGeom>
            <a:solidFill>
              <a:srgbClr val="4F81BD">
                <a:lumMod val="60000"/>
                <a:lumOff val="40000"/>
              </a:srgbClr>
            </a:solidFill>
            <a:ln w="57150" cap="flat" cmpd="sng" algn="ctr">
              <a:solidFill>
                <a:sysClr val="window" lastClr="FFFFFF"/>
              </a:solidFill>
              <a:prstDash val="solid"/>
            </a:ln>
            <a:effectLst>
              <a:outerShdw blurRad="279400" dir="5400000" algn="t" rotWithShape="0">
                <a:prstClr val="black">
                  <a:alpha val="2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63" name="Oval 62">
              <a:extLst>
                <a:ext uri="{FF2B5EF4-FFF2-40B4-BE49-F238E27FC236}">
                  <a16:creationId xmlns:a16="http://schemas.microsoft.com/office/drawing/2014/main" id="{E76E1B45-1814-DB4E-30EE-3223824D37C7}"/>
                </a:ext>
              </a:extLst>
            </p:cNvPr>
            <p:cNvSpPr/>
            <p:nvPr/>
          </p:nvSpPr>
          <p:spPr>
            <a:xfrm>
              <a:off x="4821378" y="2378594"/>
              <a:ext cx="608558" cy="494014"/>
            </a:xfrm>
            <a:prstGeom prst="ellipse">
              <a:avLst/>
            </a:prstGeom>
            <a:gradFill flip="none" rotWithShape="1">
              <a:gsLst>
                <a:gs pos="0">
                  <a:sysClr val="window" lastClr="FFFFFF">
                    <a:alpha val="40000"/>
                  </a:sysClr>
                </a:gs>
                <a:gs pos="90000">
                  <a:sysClr val="window" lastClr="FFFFFF">
                    <a:lumMod val="85000"/>
                    <a:alpha val="0"/>
                  </a:sysClr>
                </a:gs>
              </a:gsLst>
              <a:lin ang="5400000" scaled="1"/>
              <a:tileRect/>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grpSp>
        <p:nvGrpSpPr>
          <p:cNvPr id="64" name="Group 63">
            <a:extLst>
              <a:ext uri="{FF2B5EF4-FFF2-40B4-BE49-F238E27FC236}">
                <a16:creationId xmlns:a16="http://schemas.microsoft.com/office/drawing/2014/main" id="{0A017A0F-8414-0B92-AF9F-F8112E1B0D39}"/>
              </a:ext>
            </a:extLst>
          </p:cNvPr>
          <p:cNvGrpSpPr/>
          <p:nvPr/>
        </p:nvGrpSpPr>
        <p:grpSpPr>
          <a:xfrm>
            <a:off x="8006867" y="4815646"/>
            <a:ext cx="1508340" cy="1508340"/>
            <a:chOff x="5635335" y="3345468"/>
            <a:chExt cx="1005560" cy="1005560"/>
          </a:xfrm>
        </p:grpSpPr>
        <p:sp>
          <p:nvSpPr>
            <p:cNvPr id="65" name="Oval 64">
              <a:extLst>
                <a:ext uri="{FF2B5EF4-FFF2-40B4-BE49-F238E27FC236}">
                  <a16:creationId xmlns:a16="http://schemas.microsoft.com/office/drawing/2014/main" id="{E5A00C35-9054-21C5-B920-D4F231FA1F8E}"/>
                </a:ext>
              </a:extLst>
            </p:cNvPr>
            <p:cNvSpPr/>
            <p:nvPr/>
          </p:nvSpPr>
          <p:spPr>
            <a:xfrm>
              <a:off x="5635335" y="3345468"/>
              <a:ext cx="1005560" cy="1005560"/>
            </a:xfrm>
            <a:prstGeom prst="ellipse">
              <a:avLst/>
            </a:prstGeom>
            <a:solidFill>
              <a:srgbClr val="C0504D">
                <a:lumMod val="60000"/>
                <a:lumOff val="40000"/>
              </a:srgbClr>
            </a:solidFill>
            <a:ln w="57150" cap="flat" cmpd="sng" algn="ctr">
              <a:solidFill>
                <a:sysClr val="window" lastClr="FFFFFF"/>
              </a:solidFill>
              <a:prstDash val="solid"/>
            </a:ln>
            <a:effectLst>
              <a:outerShdw blurRad="279400" dir="5400000" algn="t" rotWithShape="0">
                <a:prstClr val="black">
                  <a:alpha val="2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66" name="Oval 65">
              <a:extLst>
                <a:ext uri="{FF2B5EF4-FFF2-40B4-BE49-F238E27FC236}">
                  <a16:creationId xmlns:a16="http://schemas.microsoft.com/office/drawing/2014/main" id="{124FEDDA-5F71-A515-BB78-FD0D4A085075}"/>
                </a:ext>
              </a:extLst>
            </p:cNvPr>
            <p:cNvSpPr/>
            <p:nvPr/>
          </p:nvSpPr>
          <p:spPr>
            <a:xfrm>
              <a:off x="5822042" y="3439643"/>
              <a:ext cx="608558" cy="494014"/>
            </a:xfrm>
            <a:prstGeom prst="ellipse">
              <a:avLst/>
            </a:prstGeom>
            <a:gradFill flip="none" rotWithShape="1">
              <a:gsLst>
                <a:gs pos="0">
                  <a:sysClr val="window" lastClr="FFFFFF">
                    <a:alpha val="40000"/>
                  </a:sysClr>
                </a:gs>
                <a:gs pos="90000">
                  <a:sysClr val="window" lastClr="FFFFFF">
                    <a:lumMod val="85000"/>
                    <a:alpha val="0"/>
                  </a:sysClr>
                </a:gs>
              </a:gsLst>
              <a:lin ang="5400000" scaled="1"/>
              <a:tileRect/>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grpSp>
        <p:nvGrpSpPr>
          <p:cNvPr id="67" name="Group 66">
            <a:extLst>
              <a:ext uri="{FF2B5EF4-FFF2-40B4-BE49-F238E27FC236}">
                <a16:creationId xmlns:a16="http://schemas.microsoft.com/office/drawing/2014/main" id="{4F18EB6F-40BC-0437-A4BF-A28C7EEB64BD}"/>
              </a:ext>
            </a:extLst>
          </p:cNvPr>
          <p:cNvGrpSpPr/>
          <p:nvPr/>
        </p:nvGrpSpPr>
        <p:grpSpPr>
          <a:xfrm>
            <a:off x="6483548" y="6372847"/>
            <a:ext cx="1508340" cy="1508340"/>
            <a:chOff x="4619789" y="4383602"/>
            <a:chExt cx="1005560" cy="1005560"/>
          </a:xfrm>
        </p:grpSpPr>
        <p:sp>
          <p:nvSpPr>
            <p:cNvPr id="68" name="Oval 67">
              <a:extLst>
                <a:ext uri="{FF2B5EF4-FFF2-40B4-BE49-F238E27FC236}">
                  <a16:creationId xmlns:a16="http://schemas.microsoft.com/office/drawing/2014/main" id="{0BB419DB-EF22-F82C-C124-F81012D13D8F}"/>
                </a:ext>
              </a:extLst>
            </p:cNvPr>
            <p:cNvSpPr/>
            <p:nvPr/>
          </p:nvSpPr>
          <p:spPr>
            <a:xfrm>
              <a:off x="4619789" y="4383602"/>
              <a:ext cx="1005560" cy="1005560"/>
            </a:xfrm>
            <a:prstGeom prst="ellipse">
              <a:avLst/>
            </a:prstGeom>
            <a:solidFill>
              <a:srgbClr val="9BBB59">
                <a:lumMod val="60000"/>
                <a:lumOff val="40000"/>
              </a:srgbClr>
            </a:solidFill>
            <a:ln w="57150" cap="flat" cmpd="sng" algn="ctr">
              <a:solidFill>
                <a:sysClr val="window" lastClr="FFFFFF"/>
              </a:solidFill>
              <a:prstDash val="solid"/>
            </a:ln>
            <a:effectLst>
              <a:outerShdw blurRad="279400" dir="5400000" algn="t" rotWithShape="0">
                <a:prstClr val="black">
                  <a:alpha val="2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69" name="Oval 68">
              <a:extLst>
                <a:ext uri="{FF2B5EF4-FFF2-40B4-BE49-F238E27FC236}">
                  <a16:creationId xmlns:a16="http://schemas.microsoft.com/office/drawing/2014/main" id="{68255D48-17F2-A1A8-C964-4744892F4B76}"/>
                </a:ext>
              </a:extLst>
            </p:cNvPr>
            <p:cNvSpPr/>
            <p:nvPr/>
          </p:nvSpPr>
          <p:spPr>
            <a:xfrm>
              <a:off x="4821378" y="4483439"/>
              <a:ext cx="608558" cy="494014"/>
            </a:xfrm>
            <a:prstGeom prst="ellipse">
              <a:avLst/>
            </a:prstGeom>
            <a:gradFill flip="none" rotWithShape="1">
              <a:gsLst>
                <a:gs pos="0">
                  <a:sysClr val="window" lastClr="FFFFFF">
                    <a:alpha val="40000"/>
                  </a:sysClr>
                </a:gs>
                <a:gs pos="90000">
                  <a:sysClr val="window" lastClr="FFFFFF">
                    <a:lumMod val="85000"/>
                    <a:alpha val="0"/>
                  </a:sysClr>
                </a:gs>
              </a:gsLst>
              <a:lin ang="5400000" scaled="1"/>
              <a:tileRect/>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grpSp>
        <p:nvGrpSpPr>
          <p:cNvPr id="70" name="Group 69">
            <a:extLst>
              <a:ext uri="{FF2B5EF4-FFF2-40B4-BE49-F238E27FC236}">
                <a16:creationId xmlns:a16="http://schemas.microsoft.com/office/drawing/2014/main" id="{6ED0462C-FB44-1FC5-9364-6FB540E773A7}"/>
              </a:ext>
            </a:extLst>
          </p:cNvPr>
          <p:cNvGrpSpPr/>
          <p:nvPr/>
        </p:nvGrpSpPr>
        <p:grpSpPr>
          <a:xfrm>
            <a:off x="4867506" y="7644485"/>
            <a:ext cx="1508340" cy="1508340"/>
            <a:chOff x="3542428" y="5231361"/>
            <a:chExt cx="1005560" cy="1005560"/>
          </a:xfrm>
        </p:grpSpPr>
        <p:sp>
          <p:nvSpPr>
            <p:cNvPr id="71" name="Oval 70">
              <a:extLst>
                <a:ext uri="{FF2B5EF4-FFF2-40B4-BE49-F238E27FC236}">
                  <a16:creationId xmlns:a16="http://schemas.microsoft.com/office/drawing/2014/main" id="{907DE3B3-4938-55F5-487F-671ABDC445D1}"/>
                </a:ext>
              </a:extLst>
            </p:cNvPr>
            <p:cNvSpPr/>
            <p:nvPr/>
          </p:nvSpPr>
          <p:spPr>
            <a:xfrm>
              <a:off x="3542428" y="5231361"/>
              <a:ext cx="1005560" cy="1005560"/>
            </a:xfrm>
            <a:prstGeom prst="ellipse">
              <a:avLst/>
            </a:prstGeom>
            <a:solidFill>
              <a:srgbClr val="8064A2">
                <a:lumMod val="60000"/>
                <a:lumOff val="40000"/>
              </a:srgbClr>
            </a:solidFill>
            <a:ln w="57150" cap="flat" cmpd="sng" algn="ctr">
              <a:solidFill>
                <a:sysClr val="window" lastClr="FFFFFF"/>
              </a:solidFill>
              <a:prstDash val="solid"/>
            </a:ln>
            <a:effectLst>
              <a:outerShdw blurRad="279400" dir="5400000" algn="t" rotWithShape="0">
                <a:prstClr val="black">
                  <a:alpha val="2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72" name="Oval 71">
              <a:extLst>
                <a:ext uri="{FF2B5EF4-FFF2-40B4-BE49-F238E27FC236}">
                  <a16:creationId xmlns:a16="http://schemas.microsoft.com/office/drawing/2014/main" id="{B1814E60-6644-711A-B5D5-D669DE080C75}"/>
                </a:ext>
              </a:extLst>
            </p:cNvPr>
            <p:cNvSpPr/>
            <p:nvPr/>
          </p:nvSpPr>
          <p:spPr>
            <a:xfrm>
              <a:off x="3751702" y="5320201"/>
              <a:ext cx="608558" cy="494014"/>
            </a:xfrm>
            <a:prstGeom prst="ellipse">
              <a:avLst/>
            </a:prstGeom>
            <a:gradFill flip="none" rotWithShape="1">
              <a:gsLst>
                <a:gs pos="0">
                  <a:sysClr val="window" lastClr="FFFFFF">
                    <a:alpha val="40000"/>
                  </a:sysClr>
                </a:gs>
                <a:gs pos="90000">
                  <a:sysClr val="window" lastClr="FFFFFF">
                    <a:lumMod val="85000"/>
                    <a:alpha val="0"/>
                  </a:sysClr>
                </a:gs>
              </a:gsLst>
              <a:lin ang="5400000" scaled="1"/>
              <a:tileRect/>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grpSp>
        <p:nvGrpSpPr>
          <p:cNvPr id="73" name="Group 72">
            <a:extLst>
              <a:ext uri="{FF2B5EF4-FFF2-40B4-BE49-F238E27FC236}">
                <a16:creationId xmlns:a16="http://schemas.microsoft.com/office/drawing/2014/main" id="{B2757FCA-0FF1-307E-8BE8-CABEE87488F1}"/>
              </a:ext>
            </a:extLst>
          </p:cNvPr>
          <p:cNvGrpSpPr/>
          <p:nvPr/>
        </p:nvGrpSpPr>
        <p:grpSpPr>
          <a:xfrm>
            <a:off x="2093034" y="5202259"/>
            <a:ext cx="966030" cy="735111"/>
            <a:chOff x="1651000" y="3603625"/>
            <a:chExt cx="723901" cy="550863"/>
          </a:xfrm>
          <a:solidFill>
            <a:sysClr val="window" lastClr="FFFFFF">
              <a:lumMod val="75000"/>
            </a:sysClr>
          </a:solidFill>
        </p:grpSpPr>
        <p:sp>
          <p:nvSpPr>
            <p:cNvPr id="74" name="Freeform 15">
              <a:extLst>
                <a:ext uri="{FF2B5EF4-FFF2-40B4-BE49-F238E27FC236}">
                  <a16:creationId xmlns:a16="http://schemas.microsoft.com/office/drawing/2014/main" id="{9D9B2B0A-48C8-80BA-7EDC-73AA01B282A7}"/>
                </a:ext>
              </a:extLst>
            </p:cNvPr>
            <p:cNvSpPr>
              <a:spLocks/>
            </p:cNvSpPr>
            <p:nvPr/>
          </p:nvSpPr>
          <p:spPr bwMode="auto">
            <a:xfrm>
              <a:off x="1651000" y="3676650"/>
              <a:ext cx="303213" cy="477838"/>
            </a:xfrm>
            <a:custGeom>
              <a:avLst/>
              <a:gdLst>
                <a:gd name="T0" fmla="*/ 1411 w 2250"/>
                <a:gd name="T1" fmla="*/ 2772 h 3570"/>
                <a:gd name="T2" fmla="*/ 1872 w 2250"/>
                <a:gd name="T3" fmla="*/ 2520 h 3570"/>
                <a:gd name="T4" fmla="*/ 1877 w 2250"/>
                <a:gd name="T5" fmla="*/ 2518 h 3570"/>
                <a:gd name="T6" fmla="*/ 2103 w 2250"/>
                <a:gd name="T7" fmla="*/ 2394 h 3570"/>
                <a:gd name="T8" fmla="*/ 2250 w 2250"/>
                <a:gd name="T9" fmla="*/ 2146 h 3570"/>
                <a:gd name="T10" fmla="*/ 2250 w 2250"/>
                <a:gd name="T11" fmla="*/ 1863 h 3570"/>
                <a:gd name="T12" fmla="*/ 2088 w 2250"/>
                <a:gd name="T13" fmla="*/ 1605 h 3570"/>
                <a:gd name="T14" fmla="*/ 2088 w 2250"/>
                <a:gd name="T15" fmla="*/ 1605 h 3570"/>
                <a:gd name="T16" fmla="*/ 2088 w 2250"/>
                <a:gd name="T17" fmla="*/ 1605 h 3570"/>
                <a:gd name="T18" fmla="*/ 2057 w 2250"/>
                <a:gd name="T19" fmla="*/ 1539 h 3570"/>
                <a:gd name="T20" fmla="*/ 2053 w 2250"/>
                <a:gd name="T21" fmla="*/ 1530 h 3570"/>
                <a:gd name="T22" fmla="*/ 2023 w 2250"/>
                <a:gd name="T23" fmla="*/ 1456 h 3570"/>
                <a:gd name="T24" fmla="*/ 2021 w 2250"/>
                <a:gd name="T25" fmla="*/ 1451 h 3570"/>
                <a:gd name="T26" fmla="*/ 1997 w 2250"/>
                <a:gd name="T27" fmla="*/ 1382 h 3570"/>
                <a:gd name="T28" fmla="*/ 1991 w 2250"/>
                <a:gd name="T29" fmla="*/ 1362 h 3570"/>
                <a:gd name="T30" fmla="*/ 1970 w 2250"/>
                <a:gd name="T31" fmla="*/ 1282 h 3570"/>
                <a:gd name="T32" fmla="*/ 1863 w 2250"/>
                <a:gd name="T33" fmla="*/ 1087 h 3570"/>
                <a:gd name="T34" fmla="*/ 1863 w 2250"/>
                <a:gd name="T35" fmla="*/ 776 h 3570"/>
                <a:gd name="T36" fmla="*/ 1940 w 2250"/>
                <a:gd name="T37" fmla="*/ 604 h 3570"/>
                <a:gd name="T38" fmla="*/ 1940 w 2250"/>
                <a:gd name="T39" fmla="*/ 166 h 3570"/>
                <a:gd name="T40" fmla="*/ 1397 w 2250"/>
                <a:gd name="T41" fmla="*/ 0 h 3570"/>
                <a:gd name="T42" fmla="*/ 621 w 2250"/>
                <a:gd name="T43" fmla="*/ 621 h 3570"/>
                <a:gd name="T44" fmla="*/ 621 w 2250"/>
                <a:gd name="T45" fmla="*/ 1009 h 3570"/>
                <a:gd name="T46" fmla="*/ 543 w 2250"/>
                <a:gd name="T47" fmla="*/ 1157 h 3570"/>
                <a:gd name="T48" fmla="*/ 543 w 2250"/>
                <a:gd name="T49" fmla="*/ 1425 h 3570"/>
                <a:gd name="T50" fmla="*/ 636 w 2250"/>
                <a:gd name="T51" fmla="*/ 1594 h 3570"/>
                <a:gd name="T52" fmla="*/ 928 w 2250"/>
                <a:gd name="T53" fmla="*/ 2096 h 3570"/>
                <a:gd name="T54" fmla="*/ 928 w 2250"/>
                <a:gd name="T55" fmla="*/ 2340 h 3570"/>
                <a:gd name="T56" fmla="*/ 801 w 2250"/>
                <a:gd name="T57" fmla="*/ 2555 h 3570"/>
                <a:gd name="T58" fmla="*/ 280 w 2250"/>
                <a:gd name="T59" fmla="*/ 2881 h 3570"/>
                <a:gd name="T60" fmla="*/ 0 w 2250"/>
                <a:gd name="T61" fmla="*/ 3353 h 3570"/>
                <a:gd name="T62" fmla="*/ 0 w 2250"/>
                <a:gd name="T63" fmla="*/ 3570 h 3570"/>
                <a:gd name="T64" fmla="*/ 1087 w 2250"/>
                <a:gd name="T65" fmla="*/ 3570 h 3570"/>
                <a:gd name="T66" fmla="*/ 1087 w 2250"/>
                <a:gd name="T67" fmla="*/ 3318 h 3570"/>
                <a:gd name="T68" fmla="*/ 1411 w 2250"/>
                <a:gd name="T69" fmla="*/ 2772 h 3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50" h="3570">
                  <a:moveTo>
                    <a:pt x="1411" y="2772"/>
                  </a:moveTo>
                  <a:cubicBezTo>
                    <a:pt x="1872" y="2520"/>
                    <a:pt x="1872" y="2520"/>
                    <a:pt x="1872" y="2520"/>
                  </a:cubicBezTo>
                  <a:cubicBezTo>
                    <a:pt x="1870" y="2518"/>
                    <a:pt x="1872" y="2517"/>
                    <a:pt x="1877" y="2518"/>
                  </a:cubicBezTo>
                  <a:cubicBezTo>
                    <a:pt x="2103" y="2394"/>
                    <a:pt x="2103" y="2394"/>
                    <a:pt x="2103" y="2394"/>
                  </a:cubicBezTo>
                  <a:cubicBezTo>
                    <a:pt x="2194" y="2345"/>
                    <a:pt x="2250" y="2250"/>
                    <a:pt x="2250" y="2146"/>
                  </a:cubicBezTo>
                  <a:cubicBezTo>
                    <a:pt x="2250" y="1863"/>
                    <a:pt x="2250" y="1863"/>
                    <a:pt x="2250" y="1863"/>
                  </a:cubicBezTo>
                  <a:cubicBezTo>
                    <a:pt x="2250" y="1863"/>
                    <a:pt x="2168" y="1764"/>
                    <a:pt x="2088" y="1605"/>
                  </a:cubicBezTo>
                  <a:cubicBezTo>
                    <a:pt x="2088" y="1605"/>
                    <a:pt x="2088" y="1605"/>
                    <a:pt x="2088" y="1605"/>
                  </a:cubicBezTo>
                  <a:cubicBezTo>
                    <a:pt x="2088" y="1605"/>
                    <a:pt x="2088" y="1605"/>
                    <a:pt x="2088" y="1605"/>
                  </a:cubicBezTo>
                  <a:cubicBezTo>
                    <a:pt x="2078" y="1584"/>
                    <a:pt x="2067" y="1562"/>
                    <a:pt x="2057" y="1539"/>
                  </a:cubicBezTo>
                  <a:cubicBezTo>
                    <a:pt x="2056" y="1536"/>
                    <a:pt x="2054" y="1533"/>
                    <a:pt x="2053" y="1530"/>
                  </a:cubicBezTo>
                  <a:cubicBezTo>
                    <a:pt x="2043" y="1506"/>
                    <a:pt x="2033" y="1482"/>
                    <a:pt x="2023" y="1456"/>
                  </a:cubicBezTo>
                  <a:cubicBezTo>
                    <a:pt x="2022" y="1455"/>
                    <a:pt x="2022" y="1453"/>
                    <a:pt x="2021" y="1451"/>
                  </a:cubicBezTo>
                  <a:cubicBezTo>
                    <a:pt x="2013" y="1429"/>
                    <a:pt x="2005" y="1406"/>
                    <a:pt x="1997" y="1382"/>
                  </a:cubicBezTo>
                  <a:cubicBezTo>
                    <a:pt x="1995" y="1375"/>
                    <a:pt x="1993" y="1369"/>
                    <a:pt x="1991" y="1362"/>
                  </a:cubicBezTo>
                  <a:cubicBezTo>
                    <a:pt x="1984" y="1336"/>
                    <a:pt x="1976" y="1309"/>
                    <a:pt x="1970" y="1282"/>
                  </a:cubicBezTo>
                  <a:cubicBezTo>
                    <a:pt x="1906" y="1240"/>
                    <a:pt x="1863" y="1168"/>
                    <a:pt x="1863" y="1087"/>
                  </a:cubicBezTo>
                  <a:cubicBezTo>
                    <a:pt x="1863" y="776"/>
                    <a:pt x="1863" y="776"/>
                    <a:pt x="1863" y="776"/>
                  </a:cubicBezTo>
                  <a:cubicBezTo>
                    <a:pt x="1863" y="708"/>
                    <a:pt x="1893" y="647"/>
                    <a:pt x="1940" y="604"/>
                  </a:cubicBezTo>
                  <a:cubicBezTo>
                    <a:pt x="1940" y="166"/>
                    <a:pt x="1940" y="166"/>
                    <a:pt x="1940" y="166"/>
                  </a:cubicBezTo>
                  <a:cubicBezTo>
                    <a:pt x="1830" y="81"/>
                    <a:pt x="1661" y="0"/>
                    <a:pt x="1397" y="0"/>
                  </a:cubicBezTo>
                  <a:cubicBezTo>
                    <a:pt x="655" y="0"/>
                    <a:pt x="621" y="621"/>
                    <a:pt x="621" y="621"/>
                  </a:cubicBezTo>
                  <a:cubicBezTo>
                    <a:pt x="621" y="1009"/>
                    <a:pt x="621" y="1009"/>
                    <a:pt x="621" y="1009"/>
                  </a:cubicBezTo>
                  <a:cubicBezTo>
                    <a:pt x="580" y="1046"/>
                    <a:pt x="543" y="1098"/>
                    <a:pt x="543" y="1157"/>
                  </a:cubicBezTo>
                  <a:cubicBezTo>
                    <a:pt x="543" y="1425"/>
                    <a:pt x="543" y="1425"/>
                    <a:pt x="543" y="1425"/>
                  </a:cubicBezTo>
                  <a:cubicBezTo>
                    <a:pt x="543" y="1496"/>
                    <a:pt x="581" y="1558"/>
                    <a:pt x="636" y="1594"/>
                  </a:cubicBezTo>
                  <a:cubicBezTo>
                    <a:pt x="703" y="1886"/>
                    <a:pt x="928" y="2096"/>
                    <a:pt x="928" y="2096"/>
                  </a:cubicBezTo>
                  <a:cubicBezTo>
                    <a:pt x="928" y="2340"/>
                    <a:pt x="928" y="2340"/>
                    <a:pt x="928" y="2340"/>
                  </a:cubicBezTo>
                  <a:cubicBezTo>
                    <a:pt x="928" y="2430"/>
                    <a:pt x="879" y="2512"/>
                    <a:pt x="801" y="2555"/>
                  </a:cubicBezTo>
                  <a:cubicBezTo>
                    <a:pt x="280" y="2881"/>
                    <a:pt x="280" y="2881"/>
                    <a:pt x="280" y="2881"/>
                  </a:cubicBezTo>
                  <a:cubicBezTo>
                    <a:pt x="108" y="2975"/>
                    <a:pt x="0" y="3156"/>
                    <a:pt x="0" y="3353"/>
                  </a:cubicBezTo>
                  <a:cubicBezTo>
                    <a:pt x="0" y="3570"/>
                    <a:pt x="0" y="3570"/>
                    <a:pt x="0" y="3570"/>
                  </a:cubicBezTo>
                  <a:cubicBezTo>
                    <a:pt x="1087" y="3570"/>
                    <a:pt x="1087" y="3570"/>
                    <a:pt x="1087" y="3570"/>
                  </a:cubicBezTo>
                  <a:cubicBezTo>
                    <a:pt x="1087" y="3318"/>
                    <a:pt x="1087" y="3318"/>
                    <a:pt x="1087" y="3318"/>
                  </a:cubicBezTo>
                  <a:cubicBezTo>
                    <a:pt x="1087" y="3091"/>
                    <a:pt x="1211" y="2881"/>
                    <a:pt x="1411" y="27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solidFill>
                <a:effectLst/>
                <a:uLnTx/>
                <a:uFillTx/>
                <a:latin typeface="Calibri"/>
                <a:ea typeface="+mn-ea"/>
                <a:cs typeface="+mn-cs"/>
              </a:endParaRPr>
            </a:p>
          </p:txBody>
        </p:sp>
        <p:sp>
          <p:nvSpPr>
            <p:cNvPr id="75" name="Freeform 16">
              <a:extLst>
                <a:ext uri="{FF2B5EF4-FFF2-40B4-BE49-F238E27FC236}">
                  <a16:creationId xmlns:a16="http://schemas.microsoft.com/office/drawing/2014/main" id="{4FDBC1E9-D937-C53A-7A57-D5EE503CD58B}"/>
                </a:ext>
              </a:extLst>
            </p:cNvPr>
            <p:cNvSpPr>
              <a:spLocks/>
            </p:cNvSpPr>
            <p:nvPr/>
          </p:nvSpPr>
          <p:spPr bwMode="auto">
            <a:xfrm>
              <a:off x="2071688" y="3676650"/>
              <a:ext cx="303213" cy="477838"/>
            </a:xfrm>
            <a:custGeom>
              <a:avLst/>
              <a:gdLst>
                <a:gd name="T0" fmla="*/ 1164 w 2250"/>
                <a:gd name="T1" fmla="*/ 3318 h 3570"/>
                <a:gd name="T2" fmla="*/ 1164 w 2250"/>
                <a:gd name="T3" fmla="*/ 3570 h 3570"/>
                <a:gd name="T4" fmla="*/ 2250 w 2250"/>
                <a:gd name="T5" fmla="*/ 3570 h 3570"/>
                <a:gd name="T6" fmla="*/ 2250 w 2250"/>
                <a:gd name="T7" fmla="*/ 3353 h 3570"/>
                <a:gd name="T8" fmla="*/ 1970 w 2250"/>
                <a:gd name="T9" fmla="*/ 2881 h 3570"/>
                <a:gd name="T10" fmla="*/ 1450 w 2250"/>
                <a:gd name="T11" fmla="*/ 2555 h 3570"/>
                <a:gd name="T12" fmla="*/ 1322 w 2250"/>
                <a:gd name="T13" fmla="*/ 2340 h 3570"/>
                <a:gd name="T14" fmla="*/ 1322 w 2250"/>
                <a:gd name="T15" fmla="*/ 2096 h 3570"/>
                <a:gd name="T16" fmla="*/ 1614 w 2250"/>
                <a:gd name="T17" fmla="*/ 1594 h 3570"/>
                <a:gd name="T18" fmla="*/ 1707 w 2250"/>
                <a:gd name="T19" fmla="*/ 1425 h 3570"/>
                <a:gd name="T20" fmla="*/ 1707 w 2250"/>
                <a:gd name="T21" fmla="*/ 1157 h 3570"/>
                <a:gd name="T22" fmla="*/ 1629 w 2250"/>
                <a:gd name="T23" fmla="*/ 1009 h 3570"/>
                <a:gd name="T24" fmla="*/ 1629 w 2250"/>
                <a:gd name="T25" fmla="*/ 621 h 3570"/>
                <a:gd name="T26" fmla="*/ 853 w 2250"/>
                <a:gd name="T27" fmla="*/ 0 h 3570"/>
                <a:gd name="T28" fmla="*/ 310 w 2250"/>
                <a:gd name="T29" fmla="*/ 166 h 3570"/>
                <a:gd name="T30" fmla="*/ 310 w 2250"/>
                <a:gd name="T31" fmla="*/ 604 h 3570"/>
                <a:gd name="T32" fmla="*/ 388 w 2250"/>
                <a:gd name="T33" fmla="*/ 776 h 3570"/>
                <a:gd name="T34" fmla="*/ 388 w 2250"/>
                <a:gd name="T35" fmla="*/ 1087 h 3570"/>
                <a:gd name="T36" fmla="*/ 280 w 2250"/>
                <a:gd name="T37" fmla="*/ 1282 h 3570"/>
                <a:gd name="T38" fmla="*/ 259 w 2250"/>
                <a:gd name="T39" fmla="*/ 1362 h 3570"/>
                <a:gd name="T40" fmla="*/ 253 w 2250"/>
                <a:gd name="T41" fmla="*/ 1382 h 3570"/>
                <a:gd name="T42" fmla="*/ 229 w 2250"/>
                <a:gd name="T43" fmla="*/ 1451 h 3570"/>
                <a:gd name="T44" fmla="*/ 227 w 2250"/>
                <a:gd name="T45" fmla="*/ 1456 h 3570"/>
                <a:gd name="T46" fmla="*/ 197 w 2250"/>
                <a:gd name="T47" fmla="*/ 1530 h 3570"/>
                <a:gd name="T48" fmla="*/ 193 w 2250"/>
                <a:gd name="T49" fmla="*/ 1539 h 3570"/>
                <a:gd name="T50" fmla="*/ 162 w 2250"/>
                <a:gd name="T51" fmla="*/ 1605 h 3570"/>
                <a:gd name="T52" fmla="*/ 162 w 2250"/>
                <a:gd name="T53" fmla="*/ 1605 h 3570"/>
                <a:gd name="T54" fmla="*/ 162 w 2250"/>
                <a:gd name="T55" fmla="*/ 1605 h 3570"/>
                <a:gd name="T56" fmla="*/ 0 w 2250"/>
                <a:gd name="T57" fmla="*/ 1863 h 3570"/>
                <a:gd name="T58" fmla="*/ 0 w 2250"/>
                <a:gd name="T59" fmla="*/ 2146 h 3570"/>
                <a:gd name="T60" fmla="*/ 147 w 2250"/>
                <a:gd name="T61" fmla="*/ 2394 h 3570"/>
                <a:gd name="T62" fmla="*/ 373 w 2250"/>
                <a:gd name="T63" fmla="*/ 2518 h 3570"/>
                <a:gd name="T64" fmla="*/ 378 w 2250"/>
                <a:gd name="T65" fmla="*/ 2520 h 3570"/>
                <a:gd name="T66" fmla="*/ 839 w 2250"/>
                <a:gd name="T67" fmla="*/ 2772 h 3570"/>
                <a:gd name="T68" fmla="*/ 1164 w 2250"/>
                <a:gd name="T69" fmla="*/ 3318 h 3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50" h="3570">
                  <a:moveTo>
                    <a:pt x="1164" y="3318"/>
                  </a:moveTo>
                  <a:cubicBezTo>
                    <a:pt x="1164" y="3570"/>
                    <a:pt x="1164" y="3570"/>
                    <a:pt x="1164" y="3570"/>
                  </a:cubicBezTo>
                  <a:cubicBezTo>
                    <a:pt x="2250" y="3570"/>
                    <a:pt x="2250" y="3570"/>
                    <a:pt x="2250" y="3570"/>
                  </a:cubicBezTo>
                  <a:cubicBezTo>
                    <a:pt x="2250" y="3353"/>
                    <a:pt x="2250" y="3353"/>
                    <a:pt x="2250" y="3353"/>
                  </a:cubicBezTo>
                  <a:cubicBezTo>
                    <a:pt x="2250" y="3156"/>
                    <a:pt x="2142" y="2975"/>
                    <a:pt x="1970" y="2881"/>
                  </a:cubicBezTo>
                  <a:cubicBezTo>
                    <a:pt x="1450" y="2555"/>
                    <a:pt x="1450" y="2555"/>
                    <a:pt x="1450" y="2555"/>
                  </a:cubicBezTo>
                  <a:cubicBezTo>
                    <a:pt x="1371" y="2512"/>
                    <a:pt x="1322" y="2430"/>
                    <a:pt x="1322" y="2340"/>
                  </a:cubicBezTo>
                  <a:cubicBezTo>
                    <a:pt x="1322" y="2096"/>
                    <a:pt x="1322" y="2096"/>
                    <a:pt x="1322" y="2096"/>
                  </a:cubicBezTo>
                  <a:cubicBezTo>
                    <a:pt x="1322" y="2096"/>
                    <a:pt x="1547" y="1886"/>
                    <a:pt x="1614" y="1594"/>
                  </a:cubicBezTo>
                  <a:cubicBezTo>
                    <a:pt x="1670" y="1558"/>
                    <a:pt x="1707" y="1496"/>
                    <a:pt x="1707" y="1425"/>
                  </a:cubicBezTo>
                  <a:cubicBezTo>
                    <a:pt x="1707" y="1157"/>
                    <a:pt x="1707" y="1157"/>
                    <a:pt x="1707" y="1157"/>
                  </a:cubicBezTo>
                  <a:cubicBezTo>
                    <a:pt x="1707" y="1098"/>
                    <a:pt x="1670" y="1046"/>
                    <a:pt x="1629" y="1009"/>
                  </a:cubicBezTo>
                  <a:cubicBezTo>
                    <a:pt x="1629" y="621"/>
                    <a:pt x="1629" y="621"/>
                    <a:pt x="1629" y="621"/>
                  </a:cubicBezTo>
                  <a:cubicBezTo>
                    <a:pt x="1629" y="621"/>
                    <a:pt x="1595" y="0"/>
                    <a:pt x="853" y="0"/>
                  </a:cubicBezTo>
                  <a:cubicBezTo>
                    <a:pt x="590" y="0"/>
                    <a:pt x="420" y="81"/>
                    <a:pt x="310" y="166"/>
                  </a:cubicBezTo>
                  <a:cubicBezTo>
                    <a:pt x="310" y="604"/>
                    <a:pt x="310" y="604"/>
                    <a:pt x="310" y="604"/>
                  </a:cubicBezTo>
                  <a:cubicBezTo>
                    <a:pt x="357" y="647"/>
                    <a:pt x="388" y="708"/>
                    <a:pt x="388" y="776"/>
                  </a:cubicBezTo>
                  <a:cubicBezTo>
                    <a:pt x="388" y="1087"/>
                    <a:pt x="388" y="1087"/>
                    <a:pt x="388" y="1087"/>
                  </a:cubicBezTo>
                  <a:cubicBezTo>
                    <a:pt x="388" y="1168"/>
                    <a:pt x="345" y="1240"/>
                    <a:pt x="280" y="1282"/>
                  </a:cubicBezTo>
                  <a:cubicBezTo>
                    <a:pt x="274" y="1309"/>
                    <a:pt x="267" y="1336"/>
                    <a:pt x="259" y="1362"/>
                  </a:cubicBezTo>
                  <a:cubicBezTo>
                    <a:pt x="257" y="1369"/>
                    <a:pt x="255" y="1375"/>
                    <a:pt x="253" y="1382"/>
                  </a:cubicBezTo>
                  <a:cubicBezTo>
                    <a:pt x="245" y="1406"/>
                    <a:pt x="237" y="1429"/>
                    <a:pt x="229" y="1451"/>
                  </a:cubicBezTo>
                  <a:cubicBezTo>
                    <a:pt x="228" y="1453"/>
                    <a:pt x="228" y="1455"/>
                    <a:pt x="227" y="1456"/>
                  </a:cubicBezTo>
                  <a:cubicBezTo>
                    <a:pt x="218" y="1482"/>
                    <a:pt x="208" y="1506"/>
                    <a:pt x="197" y="1530"/>
                  </a:cubicBezTo>
                  <a:cubicBezTo>
                    <a:pt x="196" y="1533"/>
                    <a:pt x="194" y="1536"/>
                    <a:pt x="193" y="1539"/>
                  </a:cubicBezTo>
                  <a:cubicBezTo>
                    <a:pt x="183" y="1562"/>
                    <a:pt x="173" y="1584"/>
                    <a:pt x="162" y="1605"/>
                  </a:cubicBezTo>
                  <a:cubicBezTo>
                    <a:pt x="162" y="1605"/>
                    <a:pt x="162" y="1605"/>
                    <a:pt x="162" y="1605"/>
                  </a:cubicBezTo>
                  <a:cubicBezTo>
                    <a:pt x="162" y="1605"/>
                    <a:pt x="162" y="1605"/>
                    <a:pt x="162" y="1605"/>
                  </a:cubicBezTo>
                  <a:cubicBezTo>
                    <a:pt x="82" y="1764"/>
                    <a:pt x="0" y="1863"/>
                    <a:pt x="0" y="1863"/>
                  </a:cubicBezTo>
                  <a:cubicBezTo>
                    <a:pt x="0" y="2146"/>
                    <a:pt x="0" y="2146"/>
                    <a:pt x="0" y="2146"/>
                  </a:cubicBezTo>
                  <a:cubicBezTo>
                    <a:pt x="0" y="2250"/>
                    <a:pt x="56" y="2345"/>
                    <a:pt x="147" y="2394"/>
                  </a:cubicBezTo>
                  <a:cubicBezTo>
                    <a:pt x="373" y="2518"/>
                    <a:pt x="373" y="2518"/>
                    <a:pt x="373" y="2518"/>
                  </a:cubicBezTo>
                  <a:cubicBezTo>
                    <a:pt x="378" y="2517"/>
                    <a:pt x="381" y="2518"/>
                    <a:pt x="378" y="2520"/>
                  </a:cubicBezTo>
                  <a:cubicBezTo>
                    <a:pt x="839" y="2772"/>
                    <a:pt x="839" y="2772"/>
                    <a:pt x="839" y="2772"/>
                  </a:cubicBezTo>
                  <a:cubicBezTo>
                    <a:pt x="1039" y="2881"/>
                    <a:pt x="1164" y="3091"/>
                    <a:pt x="1164" y="33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solidFill>
                <a:effectLst/>
                <a:uLnTx/>
                <a:uFillTx/>
                <a:latin typeface="Calibri"/>
                <a:ea typeface="+mn-ea"/>
                <a:cs typeface="+mn-cs"/>
              </a:endParaRPr>
            </a:p>
          </p:txBody>
        </p:sp>
        <p:sp>
          <p:nvSpPr>
            <p:cNvPr id="76" name="Freeform 17">
              <a:extLst>
                <a:ext uri="{FF2B5EF4-FFF2-40B4-BE49-F238E27FC236}">
                  <a16:creationId xmlns:a16="http://schemas.microsoft.com/office/drawing/2014/main" id="{47608C8A-37B3-F4B7-90BE-3EC090972A31}"/>
                </a:ext>
              </a:extLst>
            </p:cNvPr>
            <p:cNvSpPr>
              <a:spLocks/>
            </p:cNvSpPr>
            <p:nvPr/>
          </p:nvSpPr>
          <p:spPr bwMode="auto">
            <a:xfrm>
              <a:off x="1782763" y="3603625"/>
              <a:ext cx="460375" cy="550863"/>
            </a:xfrm>
            <a:custGeom>
              <a:avLst/>
              <a:gdLst>
                <a:gd name="T0" fmla="*/ 3070 w 3414"/>
                <a:gd name="T1" fmla="*/ 3320 h 4113"/>
                <a:gd name="T2" fmla="*/ 2329 w 3414"/>
                <a:gd name="T3" fmla="*/ 2949 h 4113"/>
                <a:gd name="T4" fmla="*/ 2173 w 3414"/>
                <a:gd name="T5" fmla="*/ 2696 h 4113"/>
                <a:gd name="T6" fmla="*/ 2173 w 3414"/>
                <a:gd name="T7" fmla="*/ 2406 h 4113"/>
                <a:gd name="T8" fmla="*/ 2243 w 3414"/>
                <a:gd name="T9" fmla="*/ 2315 h 4113"/>
                <a:gd name="T10" fmla="*/ 2473 w 3414"/>
                <a:gd name="T11" fmla="*/ 1851 h 4113"/>
                <a:gd name="T12" fmla="*/ 2638 w 3414"/>
                <a:gd name="T13" fmla="*/ 1630 h 4113"/>
                <a:gd name="T14" fmla="*/ 2638 w 3414"/>
                <a:gd name="T15" fmla="*/ 1319 h 4113"/>
                <a:gd name="T16" fmla="*/ 2561 w 3414"/>
                <a:gd name="T17" fmla="*/ 1147 h 4113"/>
                <a:gd name="T18" fmla="*/ 2561 w 3414"/>
                <a:gd name="T19" fmla="*/ 699 h 4113"/>
                <a:gd name="T20" fmla="*/ 1707 w 3414"/>
                <a:gd name="T21" fmla="*/ 0 h 4113"/>
                <a:gd name="T22" fmla="*/ 854 w 3414"/>
                <a:gd name="T23" fmla="*/ 699 h 4113"/>
                <a:gd name="T24" fmla="*/ 854 w 3414"/>
                <a:gd name="T25" fmla="*/ 1147 h 4113"/>
                <a:gd name="T26" fmla="*/ 776 w 3414"/>
                <a:gd name="T27" fmla="*/ 1319 h 4113"/>
                <a:gd name="T28" fmla="*/ 776 w 3414"/>
                <a:gd name="T29" fmla="*/ 1630 h 4113"/>
                <a:gd name="T30" fmla="*/ 883 w 3414"/>
                <a:gd name="T31" fmla="*/ 1825 h 4113"/>
                <a:gd name="T32" fmla="*/ 1164 w 3414"/>
                <a:gd name="T33" fmla="*/ 2406 h 4113"/>
                <a:gd name="T34" fmla="*/ 1164 w 3414"/>
                <a:gd name="T35" fmla="*/ 2689 h 4113"/>
                <a:gd name="T36" fmla="*/ 1017 w 3414"/>
                <a:gd name="T37" fmla="*/ 2937 h 4113"/>
                <a:gd name="T38" fmla="*/ 324 w 3414"/>
                <a:gd name="T39" fmla="*/ 3315 h 4113"/>
                <a:gd name="T40" fmla="*/ 0 w 3414"/>
                <a:gd name="T41" fmla="*/ 3861 h 4113"/>
                <a:gd name="T42" fmla="*/ 0 w 3414"/>
                <a:gd name="T43" fmla="*/ 4113 h 4113"/>
                <a:gd name="T44" fmla="*/ 3414 w 3414"/>
                <a:gd name="T45" fmla="*/ 4113 h 4113"/>
                <a:gd name="T46" fmla="*/ 3414 w 3414"/>
                <a:gd name="T47" fmla="*/ 3877 h 4113"/>
                <a:gd name="T48" fmla="*/ 3070 w 3414"/>
                <a:gd name="T49" fmla="*/ 3320 h 4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14" h="4113">
                  <a:moveTo>
                    <a:pt x="3070" y="3320"/>
                  </a:moveTo>
                  <a:cubicBezTo>
                    <a:pt x="2329" y="2949"/>
                    <a:pt x="2329" y="2949"/>
                    <a:pt x="2329" y="2949"/>
                  </a:cubicBezTo>
                  <a:cubicBezTo>
                    <a:pt x="2233" y="2901"/>
                    <a:pt x="2173" y="2804"/>
                    <a:pt x="2173" y="2696"/>
                  </a:cubicBezTo>
                  <a:cubicBezTo>
                    <a:pt x="2173" y="2406"/>
                    <a:pt x="2173" y="2406"/>
                    <a:pt x="2173" y="2406"/>
                  </a:cubicBezTo>
                  <a:cubicBezTo>
                    <a:pt x="2193" y="2382"/>
                    <a:pt x="2217" y="2351"/>
                    <a:pt x="2243" y="2315"/>
                  </a:cubicBezTo>
                  <a:cubicBezTo>
                    <a:pt x="2344" y="2173"/>
                    <a:pt x="2420" y="2016"/>
                    <a:pt x="2473" y="1851"/>
                  </a:cubicBezTo>
                  <a:cubicBezTo>
                    <a:pt x="2568" y="1822"/>
                    <a:pt x="2638" y="1734"/>
                    <a:pt x="2638" y="1630"/>
                  </a:cubicBezTo>
                  <a:cubicBezTo>
                    <a:pt x="2638" y="1319"/>
                    <a:pt x="2638" y="1319"/>
                    <a:pt x="2638" y="1319"/>
                  </a:cubicBezTo>
                  <a:cubicBezTo>
                    <a:pt x="2638" y="1251"/>
                    <a:pt x="2608" y="1190"/>
                    <a:pt x="2561" y="1147"/>
                  </a:cubicBezTo>
                  <a:cubicBezTo>
                    <a:pt x="2561" y="699"/>
                    <a:pt x="2561" y="699"/>
                    <a:pt x="2561" y="699"/>
                  </a:cubicBezTo>
                  <a:cubicBezTo>
                    <a:pt x="2561" y="699"/>
                    <a:pt x="2653" y="0"/>
                    <a:pt x="1707" y="0"/>
                  </a:cubicBezTo>
                  <a:cubicBezTo>
                    <a:pt x="761" y="0"/>
                    <a:pt x="854" y="699"/>
                    <a:pt x="854" y="699"/>
                  </a:cubicBezTo>
                  <a:cubicBezTo>
                    <a:pt x="854" y="1147"/>
                    <a:pt x="854" y="1147"/>
                    <a:pt x="854" y="1147"/>
                  </a:cubicBezTo>
                  <a:cubicBezTo>
                    <a:pt x="806" y="1190"/>
                    <a:pt x="776" y="1251"/>
                    <a:pt x="776" y="1319"/>
                  </a:cubicBezTo>
                  <a:cubicBezTo>
                    <a:pt x="776" y="1630"/>
                    <a:pt x="776" y="1630"/>
                    <a:pt x="776" y="1630"/>
                  </a:cubicBezTo>
                  <a:cubicBezTo>
                    <a:pt x="776" y="1711"/>
                    <a:pt x="819" y="1783"/>
                    <a:pt x="883" y="1825"/>
                  </a:cubicBezTo>
                  <a:cubicBezTo>
                    <a:pt x="961" y="2163"/>
                    <a:pt x="1164" y="2406"/>
                    <a:pt x="1164" y="2406"/>
                  </a:cubicBezTo>
                  <a:cubicBezTo>
                    <a:pt x="1164" y="2689"/>
                    <a:pt x="1164" y="2689"/>
                    <a:pt x="1164" y="2689"/>
                  </a:cubicBezTo>
                  <a:cubicBezTo>
                    <a:pt x="1164" y="2793"/>
                    <a:pt x="1107" y="2888"/>
                    <a:pt x="1017" y="2937"/>
                  </a:cubicBezTo>
                  <a:cubicBezTo>
                    <a:pt x="324" y="3315"/>
                    <a:pt x="324" y="3315"/>
                    <a:pt x="324" y="3315"/>
                  </a:cubicBezTo>
                  <a:cubicBezTo>
                    <a:pt x="124" y="3424"/>
                    <a:pt x="0" y="3634"/>
                    <a:pt x="0" y="3861"/>
                  </a:cubicBezTo>
                  <a:cubicBezTo>
                    <a:pt x="0" y="4113"/>
                    <a:pt x="0" y="4113"/>
                    <a:pt x="0" y="4113"/>
                  </a:cubicBezTo>
                  <a:cubicBezTo>
                    <a:pt x="3414" y="4113"/>
                    <a:pt x="3414" y="4113"/>
                    <a:pt x="3414" y="4113"/>
                  </a:cubicBezTo>
                  <a:cubicBezTo>
                    <a:pt x="3414" y="3877"/>
                    <a:pt x="3414" y="3877"/>
                    <a:pt x="3414" y="3877"/>
                  </a:cubicBezTo>
                  <a:cubicBezTo>
                    <a:pt x="3414" y="3641"/>
                    <a:pt x="3281" y="3425"/>
                    <a:pt x="3070" y="3320"/>
                  </a:cubicBez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solidFill>
                <a:effectLst/>
                <a:uLnTx/>
                <a:uFillTx/>
                <a:latin typeface="Calibri"/>
                <a:ea typeface="+mn-ea"/>
                <a:cs typeface="+mn-cs"/>
              </a:endParaRPr>
            </a:p>
          </p:txBody>
        </p:sp>
      </p:grpSp>
      <p:sp>
        <p:nvSpPr>
          <p:cNvPr id="4" name="Title 1">
            <a:extLst>
              <a:ext uri="{FF2B5EF4-FFF2-40B4-BE49-F238E27FC236}">
                <a16:creationId xmlns:a16="http://schemas.microsoft.com/office/drawing/2014/main" id="{BDF6A88E-D6CB-4EDA-794A-C2A6D3638653}"/>
              </a:ext>
            </a:extLst>
          </p:cNvPr>
          <p:cNvSpPr txBox="1">
            <a:spLocks/>
          </p:cNvSpPr>
          <p:nvPr/>
        </p:nvSpPr>
        <p:spPr>
          <a:xfrm>
            <a:off x="776868" y="670785"/>
            <a:ext cx="10632735" cy="11454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1pPr>
            <a:lvl2pPr marR="0" lvl="1"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2pPr>
            <a:lvl3pPr marR="0" lvl="2"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3pPr>
            <a:lvl4pPr marR="0" lvl="3"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4pPr>
            <a:lvl5pPr marR="0" lvl="4"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5pPr>
            <a:lvl6pPr marR="0" lvl="5"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6pPr>
            <a:lvl7pPr marR="0" lvl="6"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7pPr>
            <a:lvl8pPr marR="0" lvl="7"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8pPr>
            <a:lvl9pPr marR="0" lvl="8"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9pPr>
          </a:lstStyle>
          <a:p>
            <a:r>
              <a:rPr lang="en-US" sz="4000" b="0" kern="1200">
                <a:solidFill>
                  <a:srgbClr val="000000"/>
                </a:solidFill>
                <a:latin typeface="Montserrat Bold"/>
              </a:rPr>
              <a:t>Core team structure and key roles</a:t>
            </a:r>
          </a:p>
        </p:txBody>
      </p:sp>
      <p:grpSp>
        <p:nvGrpSpPr>
          <p:cNvPr id="7" name="Group 7">
            <a:extLst>
              <a:ext uri="{FF2B5EF4-FFF2-40B4-BE49-F238E27FC236}">
                <a16:creationId xmlns:a16="http://schemas.microsoft.com/office/drawing/2014/main" id="{E865427A-5AD1-30CF-43F1-280A5230C2F3}"/>
              </a:ext>
            </a:extLst>
          </p:cNvPr>
          <p:cNvGrpSpPr/>
          <p:nvPr/>
        </p:nvGrpSpPr>
        <p:grpSpPr>
          <a:xfrm>
            <a:off x="9970958" y="1217018"/>
            <a:ext cx="612363" cy="56823"/>
            <a:chOff x="0" y="0"/>
            <a:chExt cx="1078484" cy="100076"/>
          </a:xfrm>
        </p:grpSpPr>
        <p:sp>
          <p:nvSpPr>
            <p:cNvPr id="6" name="Freeform 8">
              <a:extLst>
                <a:ext uri="{FF2B5EF4-FFF2-40B4-BE49-F238E27FC236}">
                  <a16:creationId xmlns:a16="http://schemas.microsoft.com/office/drawing/2014/main" id="{9D0B54D6-C3A3-FBA3-5608-A30A5E8B34D6}"/>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spTree>
    <p:extLst>
      <p:ext uri="{BB962C8B-B14F-4D97-AF65-F5344CB8AC3E}">
        <p14:creationId xmlns:p14="http://schemas.microsoft.com/office/powerpoint/2010/main" val="29249100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821AF2-52E5-5BA3-5334-759977CE69A2}"/>
            </a:ext>
          </a:extLst>
        </p:cNvPr>
        <p:cNvGrpSpPr/>
        <p:nvPr/>
      </p:nvGrpSpPr>
      <p:grpSpPr>
        <a:xfrm>
          <a:off x="0" y="0"/>
          <a:ext cx="0" cy="0"/>
          <a:chOff x="0" y="0"/>
          <a:chExt cx="0" cy="0"/>
        </a:xfrm>
      </p:grpSpPr>
      <p:sp>
        <p:nvSpPr>
          <p:cNvPr id="37" name="Freeform: Shape 36">
            <a:extLst>
              <a:ext uri="{FF2B5EF4-FFF2-40B4-BE49-F238E27FC236}">
                <a16:creationId xmlns:a16="http://schemas.microsoft.com/office/drawing/2014/main" id="{07ED234A-221F-3969-7539-A44533241E7F}"/>
              </a:ext>
            </a:extLst>
          </p:cNvPr>
          <p:cNvSpPr/>
          <p:nvPr/>
        </p:nvSpPr>
        <p:spPr>
          <a:xfrm>
            <a:off x="980649" y="1624041"/>
            <a:ext cx="7909359" cy="2159216"/>
          </a:xfrm>
          <a:custGeom>
            <a:avLst/>
            <a:gdLst>
              <a:gd name="connsiteX0" fmla="*/ 0 w 5315774"/>
              <a:gd name="connsiteY0" fmla="*/ 0 h 1451180"/>
              <a:gd name="connsiteX1" fmla="*/ 5315775 w 5315774"/>
              <a:gd name="connsiteY1" fmla="*/ 0 h 1451180"/>
              <a:gd name="connsiteX2" fmla="*/ 5315775 w 5315774"/>
              <a:gd name="connsiteY2" fmla="*/ 1451180 h 1451180"/>
              <a:gd name="connsiteX3" fmla="*/ 0 w 5315774"/>
              <a:gd name="connsiteY3" fmla="*/ 1451180 h 1451180"/>
            </a:gdLst>
            <a:ahLst/>
            <a:cxnLst>
              <a:cxn ang="0">
                <a:pos x="connsiteX0" y="connsiteY0"/>
              </a:cxn>
              <a:cxn ang="0">
                <a:pos x="connsiteX1" y="connsiteY1"/>
              </a:cxn>
              <a:cxn ang="0">
                <a:pos x="connsiteX2" y="connsiteY2"/>
              </a:cxn>
              <a:cxn ang="0">
                <a:pos x="connsiteX3" y="connsiteY3"/>
              </a:cxn>
            </a:cxnLst>
            <a:rect l="l" t="t" r="r" b="b"/>
            <a:pathLst>
              <a:path w="5315774" h="1451180">
                <a:moveTo>
                  <a:pt x="0" y="0"/>
                </a:moveTo>
                <a:lnTo>
                  <a:pt x="5315775" y="0"/>
                </a:lnTo>
                <a:lnTo>
                  <a:pt x="5315775" y="1451180"/>
                </a:lnTo>
                <a:lnTo>
                  <a:pt x="0" y="1451180"/>
                </a:lnTo>
                <a:close/>
              </a:path>
            </a:pathLst>
          </a:custGeom>
          <a:solidFill>
            <a:srgbClr val="4F81BD">
              <a:lumMod val="20000"/>
              <a:lumOff val="80000"/>
            </a:srgbClr>
          </a:solidFill>
          <a:ln w="63500" cap="flat">
            <a:solidFill>
              <a:srgbClr val="4F81BD"/>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solidFill>
              <a:effectLst/>
              <a:uLnTx/>
              <a:uFillTx/>
              <a:latin typeface="Calibri"/>
              <a:ea typeface="+mn-ea"/>
              <a:cs typeface="+mn-cs"/>
            </a:endParaRPr>
          </a:p>
        </p:txBody>
      </p:sp>
      <p:sp>
        <p:nvSpPr>
          <p:cNvPr id="38" name="Freeform: Shape 37">
            <a:extLst>
              <a:ext uri="{FF2B5EF4-FFF2-40B4-BE49-F238E27FC236}">
                <a16:creationId xmlns:a16="http://schemas.microsoft.com/office/drawing/2014/main" id="{113A0E20-90EA-8A4C-1929-FE43003E63EB}"/>
              </a:ext>
            </a:extLst>
          </p:cNvPr>
          <p:cNvSpPr/>
          <p:nvPr/>
        </p:nvSpPr>
        <p:spPr>
          <a:xfrm>
            <a:off x="9391933" y="1624041"/>
            <a:ext cx="7915421" cy="2159216"/>
          </a:xfrm>
          <a:custGeom>
            <a:avLst/>
            <a:gdLst>
              <a:gd name="connsiteX0" fmla="*/ 0 w 5319848"/>
              <a:gd name="connsiteY0" fmla="*/ 0 h 1451180"/>
              <a:gd name="connsiteX1" fmla="*/ 5319849 w 5319848"/>
              <a:gd name="connsiteY1" fmla="*/ 0 h 1451180"/>
              <a:gd name="connsiteX2" fmla="*/ 5319849 w 5319848"/>
              <a:gd name="connsiteY2" fmla="*/ 1451180 h 1451180"/>
              <a:gd name="connsiteX3" fmla="*/ 0 w 5319848"/>
              <a:gd name="connsiteY3" fmla="*/ 1451180 h 1451180"/>
            </a:gdLst>
            <a:ahLst/>
            <a:cxnLst>
              <a:cxn ang="0">
                <a:pos x="connsiteX0" y="connsiteY0"/>
              </a:cxn>
              <a:cxn ang="0">
                <a:pos x="connsiteX1" y="connsiteY1"/>
              </a:cxn>
              <a:cxn ang="0">
                <a:pos x="connsiteX2" y="connsiteY2"/>
              </a:cxn>
              <a:cxn ang="0">
                <a:pos x="connsiteX3" y="connsiteY3"/>
              </a:cxn>
            </a:cxnLst>
            <a:rect l="l" t="t" r="r" b="b"/>
            <a:pathLst>
              <a:path w="5319848" h="1451180">
                <a:moveTo>
                  <a:pt x="0" y="0"/>
                </a:moveTo>
                <a:lnTo>
                  <a:pt x="5319849" y="0"/>
                </a:lnTo>
                <a:lnTo>
                  <a:pt x="5319849" y="1451180"/>
                </a:lnTo>
                <a:lnTo>
                  <a:pt x="0" y="1451180"/>
                </a:lnTo>
                <a:close/>
              </a:path>
            </a:pathLst>
          </a:custGeom>
          <a:solidFill>
            <a:srgbClr val="C0504D">
              <a:lumMod val="20000"/>
              <a:lumOff val="80000"/>
            </a:srgbClr>
          </a:solidFill>
          <a:ln w="63500" cap="flat">
            <a:solidFill>
              <a:srgbClr val="C0504D"/>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solidFill>
              <a:effectLst/>
              <a:uLnTx/>
              <a:uFillTx/>
              <a:latin typeface="Calibri"/>
              <a:ea typeface="+mn-ea"/>
              <a:cs typeface="+mn-cs"/>
            </a:endParaRPr>
          </a:p>
        </p:txBody>
      </p:sp>
      <p:sp>
        <p:nvSpPr>
          <p:cNvPr id="39" name="Freeform: Shape 38">
            <a:extLst>
              <a:ext uri="{FF2B5EF4-FFF2-40B4-BE49-F238E27FC236}">
                <a16:creationId xmlns:a16="http://schemas.microsoft.com/office/drawing/2014/main" id="{4F943E2A-F847-C46E-54E0-CE0CDBAD8281}"/>
              </a:ext>
            </a:extLst>
          </p:cNvPr>
          <p:cNvSpPr/>
          <p:nvPr/>
        </p:nvSpPr>
        <p:spPr>
          <a:xfrm>
            <a:off x="9391933" y="4314118"/>
            <a:ext cx="7915421" cy="2168687"/>
          </a:xfrm>
          <a:custGeom>
            <a:avLst/>
            <a:gdLst>
              <a:gd name="connsiteX0" fmla="*/ 0 w 5319848"/>
              <a:gd name="connsiteY0" fmla="*/ 0 h 1457545"/>
              <a:gd name="connsiteX1" fmla="*/ 5319849 w 5319848"/>
              <a:gd name="connsiteY1" fmla="*/ 0 h 1457545"/>
              <a:gd name="connsiteX2" fmla="*/ 5319849 w 5319848"/>
              <a:gd name="connsiteY2" fmla="*/ 1457545 h 1457545"/>
              <a:gd name="connsiteX3" fmla="*/ 0 w 5319848"/>
              <a:gd name="connsiteY3" fmla="*/ 1457545 h 1457545"/>
            </a:gdLst>
            <a:ahLst/>
            <a:cxnLst>
              <a:cxn ang="0">
                <a:pos x="connsiteX0" y="connsiteY0"/>
              </a:cxn>
              <a:cxn ang="0">
                <a:pos x="connsiteX1" y="connsiteY1"/>
              </a:cxn>
              <a:cxn ang="0">
                <a:pos x="connsiteX2" y="connsiteY2"/>
              </a:cxn>
              <a:cxn ang="0">
                <a:pos x="connsiteX3" y="connsiteY3"/>
              </a:cxn>
            </a:cxnLst>
            <a:rect l="l" t="t" r="r" b="b"/>
            <a:pathLst>
              <a:path w="5319848" h="1457545">
                <a:moveTo>
                  <a:pt x="0" y="0"/>
                </a:moveTo>
                <a:lnTo>
                  <a:pt x="5319849" y="0"/>
                </a:lnTo>
                <a:lnTo>
                  <a:pt x="5319849" y="1457545"/>
                </a:lnTo>
                <a:lnTo>
                  <a:pt x="0" y="1457545"/>
                </a:lnTo>
                <a:close/>
              </a:path>
            </a:pathLst>
          </a:custGeom>
          <a:solidFill>
            <a:srgbClr val="9BBB59">
              <a:lumMod val="20000"/>
              <a:lumOff val="80000"/>
            </a:srgbClr>
          </a:solidFill>
          <a:ln w="63500" cap="flat">
            <a:solidFill>
              <a:srgbClr val="9BBB59"/>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solidFill>
              <a:effectLst/>
              <a:uLnTx/>
              <a:uFillTx/>
              <a:latin typeface="Calibri"/>
              <a:ea typeface="+mn-ea"/>
              <a:cs typeface="+mn-cs"/>
            </a:endParaRPr>
          </a:p>
        </p:txBody>
      </p:sp>
      <p:sp>
        <p:nvSpPr>
          <p:cNvPr id="40" name="Freeform: Shape 39">
            <a:extLst>
              <a:ext uri="{FF2B5EF4-FFF2-40B4-BE49-F238E27FC236}">
                <a16:creationId xmlns:a16="http://schemas.microsoft.com/office/drawing/2014/main" id="{5038867A-F914-7153-3BB1-B462255C1E86}"/>
              </a:ext>
            </a:extLst>
          </p:cNvPr>
          <p:cNvSpPr/>
          <p:nvPr/>
        </p:nvSpPr>
        <p:spPr>
          <a:xfrm>
            <a:off x="980649" y="4314118"/>
            <a:ext cx="7909359" cy="2168687"/>
          </a:xfrm>
          <a:custGeom>
            <a:avLst/>
            <a:gdLst>
              <a:gd name="connsiteX0" fmla="*/ 0 w 5315774"/>
              <a:gd name="connsiteY0" fmla="*/ 0 h 1457545"/>
              <a:gd name="connsiteX1" fmla="*/ 5315775 w 5315774"/>
              <a:gd name="connsiteY1" fmla="*/ 0 h 1457545"/>
              <a:gd name="connsiteX2" fmla="*/ 5315775 w 5315774"/>
              <a:gd name="connsiteY2" fmla="*/ 1457545 h 1457545"/>
              <a:gd name="connsiteX3" fmla="*/ 0 w 5315774"/>
              <a:gd name="connsiteY3" fmla="*/ 1457545 h 1457545"/>
            </a:gdLst>
            <a:ahLst/>
            <a:cxnLst>
              <a:cxn ang="0">
                <a:pos x="connsiteX0" y="connsiteY0"/>
              </a:cxn>
              <a:cxn ang="0">
                <a:pos x="connsiteX1" y="connsiteY1"/>
              </a:cxn>
              <a:cxn ang="0">
                <a:pos x="connsiteX2" y="connsiteY2"/>
              </a:cxn>
              <a:cxn ang="0">
                <a:pos x="connsiteX3" y="connsiteY3"/>
              </a:cxn>
            </a:cxnLst>
            <a:rect l="l" t="t" r="r" b="b"/>
            <a:pathLst>
              <a:path w="5315774" h="1457545">
                <a:moveTo>
                  <a:pt x="0" y="0"/>
                </a:moveTo>
                <a:lnTo>
                  <a:pt x="5315775" y="0"/>
                </a:lnTo>
                <a:lnTo>
                  <a:pt x="5315775" y="1457545"/>
                </a:lnTo>
                <a:lnTo>
                  <a:pt x="0" y="1457545"/>
                </a:lnTo>
                <a:close/>
              </a:path>
            </a:pathLst>
          </a:custGeom>
          <a:solidFill>
            <a:srgbClr val="F79646">
              <a:lumMod val="20000"/>
              <a:lumOff val="80000"/>
            </a:srgbClr>
          </a:solidFill>
          <a:ln w="63500" cap="flat">
            <a:solidFill>
              <a:srgbClr val="F79646"/>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solidFill>
              <a:effectLst/>
              <a:uLnTx/>
              <a:uFillTx/>
              <a:latin typeface="Calibri"/>
              <a:ea typeface="+mn-ea"/>
              <a:cs typeface="+mn-cs"/>
            </a:endParaRPr>
          </a:p>
        </p:txBody>
      </p:sp>
      <p:sp>
        <p:nvSpPr>
          <p:cNvPr id="77" name="Freeform: Shape 76">
            <a:extLst>
              <a:ext uri="{FF2B5EF4-FFF2-40B4-BE49-F238E27FC236}">
                <a16:creationId xmlns:a16="http://schemas.microsoft.com/office/drawing/2014/main" id="{A45721D8-8844-F031-6DA4-0939363B4CE1}"/>
              </a:ext>
            </a:extLst>
          </p:cNvPr>
          <p:cNvSpPr/>
          <p:nvPr/>
        </p:nvSpPr>
        <p:spPr>
          <a:xfrm>
            <a:off x="9391933" y="6984725"/>
            <a:ext cx="7915421" cy="2168687"/>
          </a:xfrm>
          <a:custGeom>
            <a:avLst/>
            <a:gdLst>
              <a:gd name="connsiteX0" fmla="*/ 0 w 5319848"/>
              <a:gd name="connsiteY0" fmla="*/ 0 h 1457545"/>
              <a:gd name="connsiteX1" fmla="*/ 5319849 w 5319848"/>
              <a:gd name="connsiteY1" fmla="*/ 0 h 1457545"/>
              <a:gd name="connsiteX2" fmla="*/ 5319849 w 5319848"/>
              <a:gd name="connsiteY2" fmla="*/ 1457545 h 1457545"/>
              <a:gd name="connsiteX3" fmla="*/ 0 w 5319848"/>
              <a:gd name="connsiteY3" fmla="*/ 1457545 h 1457545"/>
            </a:gdLst>
            <a:ahLst/>
            <a:cxnLst>
              <a:cxn ang="0">
                <a:pos x="connsiteX0" y="connsiteY0"/>
              </a:cxn>
              <a:cxn ang="0">
                <a:pos x="connsiteX1" y="connsiteY1"/>
              </a:cxn>
              <a:cxn ang="0">
                <a:pos x="connsiteX2" y="connsiteY2"/>
              </a:cxn>
              <a:cxn ang="0">
                <a:pos x="connsiteX3" y="connsiteY3"/>
              </a:cxn>
            </a:cxnLst>
            <a:rect l="l" t="t" r="r" b="b"/>
            <a:pathLst>
              <a:path w="5319848" h="1457545">
                <a:moveTo>
                  <a:pt x="0" y="0"/>
                </a:moveTo>
                <a:lnTo>
                  <a:pt x="5319849" y="0"/>
                </a:lnTo>
                <a:lnTo>
                  <a:pt x="5319849" y="1457545"/>
                </a:lnTo>
                <a:lnTo>
                  <a:pt x="0" y="1457545"/>
                </a:lnTo>
                <a:close/>
              </a:path>
            </a:pathLst>
          </a:custGeom>
          <a:solidFill>
            <a:srgbClr val="4BACC6">
              <a:lumMod val="20000"/>
              <a:lumOff val="80000"/>
            </a:srgbClr>
          </a:solidFill>
          <a:ln w="63500" cap="flat">
            <a:solidFill>
              <a:srgbClr val="4BACC6"/>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solidFill>
              <a:effectLst/>
              <a:uLnTx/>
              <a:uFillTx/>
              <a:latin typeface="Calibri"/>
              <a:ea typeface="+mn-ea"/>
              <a:cs typeface="+mn-cs"/>
            </a:endParaRPr>
          </a:p>
        </p:txBody>
      </p:sp>
      <p:sp>
        <p:nvSpPr>
          <p:cNvPr id="78" name="Freeform: Shape 77">
            <a:extLst>
              <a:ext uri="{FF2B5EF4-FFF2-40B4-BE49-F238E27FC236}">
                <a16:creationId xmlns:a16="http://schemas.microsoft.com/office/drawing/2014/main" id="{18DDAE79-2CE5-F8A2-55E3-F55FF861BE85}"/>
              </a:ext>
            </a:extLst>
          </p:cNvPr>
          <p:cNvSpPr/>
          <p:nvPr/>
        </p:nvSpPr>
        <p:spPr>
          <a:xfrm>
            <a:off x="980649" y="6984725"/>
            <a:ext cx="7909359" cy="2168687"/>
          </a:xfrm>
          <a:custGeom>
            <a:avLst/>
            <a:gdLst>
              <a:gd name="connsiteX0" fmla="*/ 0 w 5315774"/>
              <a:gd name="connsiteY0" fmla="*/ 0 h 1457545"/>
              <a:gd name="connsiteX1" fmla="*/ 5315775 w 5315774"/>
              <a:gd name="connsiteY1" fmla="*/ 0 h 1457545"/>
              <a:gd name="connsiteX2" fmla="*/ 5315775 w 5315774"/>
              <a:gd name="connsiteY2" fmla="*/ 1457545 h 1457545"/>
              <a:gd name="connsiteX3" fmla="*/ 0 w 5315774"/>
              <a:gd name="connsiteY3" fmla="*/ 1457545 h 1457545"/>
            </a:gdLst>
            <a:ahLst/>
            <a:cxnLst>
              <a:cxn ang="0">
                <a:pos x="connsiteX0" y="connsiteY0"/>
              </a:cxn>
              <a:cxn ang="0">
                <a:pos x="connsiteX1" y="connsiteY1"/>
              </a:cxn>
              <a:cxn ang="0">
                <a:pos x="connsiteX2" y="connsiteY2"/>
              </a:cxn>
              <a:cxn ang="0">
                <a:pos x="connsiteX3" y="connsiteY3"/>
              </a:cxn>
            </a:cxnLst>
            <a:rect l="l" t="t" r="r" b="b"/>
            <a:pathLst>
              <a:path w="5315774" h="1457545">
                <a:moveTo>
                  <a:pt x="0" y="0"/>
                </a:moveTo>
                <a:lnTo>
                  <a:pt x="5315775" y="0"/>
                </a:lnTo>
                <a:lnTo>
                  <a:pt x="5315775" y="1457545"/>
                </a:lnTo>
                <a:lnTo>
                  <a:pt x="0" y="1457545"/>
                </a:lnTo>
                <a:close/>
              </a:path>
            </a:pathLst>
          </a:custGeom>
          <a:solidFill>
            <a:srgbClr val="8064A2">
              <a:lumMod val="20000"/>
              <a:lumOff val="80000"/>
            </a:srgbClr>
          </a:solidFill>
          <a:ln w="63500" cap="flat">
            <a:solidFill>
              <a:srgbClr val="8064A2"/>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solidFill>
              <a:effectLst/>
              <a:uLnTx/>
              <a:uFillTx/>
              <a:latin typeface="Calibri"/>
              <a:ea typeface="+mn-ea"/>
              <a:cs typeface="+mn-cs"/>
            </a:endParaRPr>
          </a:p>
        </p:txBody>
      </p:sp>
      <p:sp>
        <p:nvSpPr>
          <p:cNvPr id="79" name="Freeform: Shape 78">
            <a:extLst>
              <a:ext uri="{FF2B5EF4-FFF2-40B4-BE49-F238E27FC236}">
                <a16:creationId xmlns:a16="http://schemas.microsoft.com/office/drawing/2014/main" id="{3AE212ED-B56A-246C-9478-1291F0912272}"/>
              </a:ext>
            </a:extLst>
          </p:cNvPr>
          <p:cNvSpPr/>
          <p:nvPr/>
        </p:nvSpPr>
        <p:spPr>
          <a:xfrm>
            <a:off x="10834441" y="4314118"/>
            <a:ext cx="568214" cy="2168687"/>
          </a:xfrm>
          <a:custGeom>
            <a:avLst/>
            <a:gdLst>
              <a:gd name="connsiteX0" fmla="*/ 0 w 381889"/>
              <a:gd name="connsiteY0" fmla="*/ 0 h 1457545"/>
              <a:gd name="connsiteX1" fmla="*/ 381890 w 381889"/>
              <a:gd name="connsiteY1" fmla="*/ 0 h 1457545"/>
              <a:gd name="connsiteX2" fmla="*/ 381890 w 381889"/>
              <a:gd name="connsiteY2" fmla="*/ 1457545 h 1457545"/>
              <a:gd name="connsiteX3" fmla="*/ 0 w 381889"/>
              <a:gd name="connsiteY3" fmla="*/ 1457545 h 1457545"/>
            </a:gdLst>
            <a:ahLst/>
            <a:cxnLst>
              <a:cxn ang="0">
                <a:pos x="connsiteX0" y="connsiteY0"/>
              </a:cxn>
              <a:cxn ang="0">
                <a:pos x="connsiteX1" y="connsiteY1"/>
              </a:cxn>
              <a:cxn ang="0">
                <a:pos x="connsiteX2" y="connsiteY2"/>
              </a:cxn>
              <a:cxn ang="0">
                <a:pos x="connsiteX3" y="connsiteY3"/>
              </a:cxn>
            </a:cxnLst>
            <a:rect l="l" t="t" r="r" b="b"/>
            <a:pathLst>
              <a:path w="381889" h="1457545">
                <a:moveTo>
                  <a:pt x="0" y="0"/>
                </a:moveTo>
                <a:lnTo>
                  <a:pt x="381890" y="0"/>
                </a:lnTo>
                <a:lnTo>
                  <a:pt x="381890" y="1457545"/>
                </a:lnTo>
                <a:lnTo>
                  <a:pt x="0" y="1457545"/>
                </a:lnTo>
                <a:close/>
              </a:path>
            </a:pathLst>
          </a:custGeom>
          <a:solidFill>
            <a:srgbClr val="9BBB59"/>
          </a:solidFill>
          <a:ln w="1272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solidFill>
              <a:effectLst/>
              <a:uLnTx/>
              <a:uFillTx/>
              <a:latin typeface="Calibri"/>
              <a:ea typeface="+mn-ea"/>
              <a:cs typeface="+mn-cs"/>
            </a:endParaRPr>
          </a:p>
        </p:txBody>
      </p:sp>
      <p:sp>
        <p:nvSpPr>
          <p:cNvPr id="80" name="Freeform: Shape 79">
            <a:extLst>
              <a:ext uri="{FF2B5EF4-FFF2-40B4-BE49-F238E27FC236}">
                <a16:creationId xmlns:a16="http://schemas.microsoft.com/office/drawing/2014/main" id="{DFFAAAA1-9FD9-FF5B-2FA8-4EF5558E4F85}"/>
              </a:ext>
            </a:extLst>
          </p:cNvPr>
          <p:cNvSpPr/>
          <p:nvPr/>
        </p:nvSpPr>
        <p:spPr>
          <a:xfrm>
            <a:off x="6885347" y="6984725"/>
            <a:ext cx="2004662" cy="913878"/>
          </a:xfrm>
          <a:custGeom>
            <a:avLst/>
            <a:gdLst>
              <a:gd name="connsiteX0" fmla="*/ 381890 w 1347306"/>
              <a:gd name="connsiteY0" fmla="*/ 29151 h 614205"/>
              <a:gd name="connsiteX1" fmla="*/ 381890 w 1347306"/>
              <a:gd name="connsiteY1" fmla="*/ 0 h 614205"/>
              <a:gd name="connsiteX2" fmla="*/ 0 w 1347306"/>
              <a:gd name="connsiteY2" fmla="*/ 0 h 614205"/>
              <a:gd name="connsiteX3" fmla="*/ 0 w 1347306"/>
              <a:gd name="connsiteY3" fmla="*/ 29151 h 614205"/>
              <a:gd name="connsiteX4" fmla="*/ 585055 w 1347306"/>
              <a:gd name="connsiteY4" fmla="*/ 614206 h 614205"/>
              <a:gd name="connsiteX5" fmla="*/ 1347306 w 1347306"/>
              <a:gd name="connsiteY5" fmla="*/ 614206 h 614205"/>
              <a:gd name="connsiteX6" fmla="*/ 1347306 w 1347306"/>
              <a:gd name="connsiteY6" fmla="*/ 232316 h 614205"/>
              <a:gd name="connsiteX7" fmla="*/ 585055 w 1347306"/>
              <a:gd name="connsiteY7" fmla="*/ 232316 h 614205"/>
              <a:gd name="connsiteX8" fmla="*/ 381890 w 1347306"/>
              <a:gd name="connsiteY8" fmla="*/ 29151 h 614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7306" h="614205">
                <a:moveTo>
                  <a:pt x="381890" y="29151"/>
                </a:moveTo>
                <a:lnTo>
                  <a:pt x="381890" y="0"/>
                </a:lnTo>
                <a:lnTo>
                  <a:pt x="0" y="0"/>
                </a:lnTo>
                <a:lnTo>
                  <a:pt x="0" y="29151"/>
                </a:lnTo>
                <a:cubicBezTo>
                  <a:pt x="0" y="351720"/>
                  <a:pt x="262485" y="614206"/>
                  <a:pt x="585055" y="614206"/>
                </a:cubicBezTo>
                <a:lnTo>
                  <a:pt x="1347306" y="614206"/>
                </a:lnTo>
                <a:lnTo>
                  <a:pt x="1347306" y="232316"/>
                </a:lnTo>
                <a:lnTo>
                  <a:pt x="585055" y="232316"/>
                </a:lnTo>
                <a:cubicBezTo>
                  <a:pt x="473034" y="232316"/>
                  <a:pt x="381890" y="141172"/>
                  <a:pt x="381890" y="29151"/>
                </a:cubicBezTo>
                <a:close/>
              </a:path>
            </a:pathLst>
          </a:custGeom>
          <a:solidFill>
            <a:srgbClr val="8064A2"/>
          </a:solidFill>
          <a:ln w="1272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solidFill>
              <a:effectLst/>
              <a:uLnTx/>
              <a:uFillTx/>
              <a:latin typeface="Calibri"/>
              <a:ea typeface="+mn-ea"/>
              <a:cs typeface="+mn-cs"/>
            </a:endParaRPr>
          </a:p>
        </p:txBody>
      </p:sp>
      <p:sp>
        <p:nvSpPr>
          <p:cNvPr id="81" name="Freeform: Shape 80">
            <a:extLst>
              <a:ext uri="{FF2B5EF4-FFF2-40B4-BE49-F238E27FC236}">
                <a16:creationId xmlns:a16="http://schemas.microsoft.com/office/drawing/2014/main" id="{2E4A3732-3D91-6598-EE5F-7A6FF53E1031}"/>
              </a:ext>
            </a:extLst>
          </p:cNvPr>
          <p:cNvSpPr/>
          <p:nvPr/>
        </p:nvSpPr>
        <p:spPr>
          <a:xfrm>
            <a:off x="9391933" y="6984725"/>
            <a:ext cx="2010722" cy="913878"/>
          </a:xfrm>
          <a:custGeom>
            <a:avLst/>
            <a:gdLst>
              <a:gd name="connsiteX0" fmla="*/ 766325 w 1351379"/>
              <a:gd name="connsiteY0" fmla="*/ 614206 h 614205"/>
              <a:gd name="connsiteX1" fmla="*/ 1351380 w 1351379"/>
              <a:gd name="connsiteY1" fmla="*/ 29151 h 614205"/>
              <a:gd name="connsiteX2" fmla="*/ 1351380 w 1351379"/>
              <a:gd name="connsiteY2" fmla="*/ 0 h 614205"/>
              <a:gd name="connsiteX3" fmla="*/ 969490 w 1351379"/>
              <a:gd name="connsiteY3" fmla="*/ 0 h 614205"/>
              <a:gd name="connsiteX4" fmla="*/ 969490 w 1351379"/>
              <a:gd name="connsiteY4" fmla="*/ 29151 h 614205"/>
              <a:gd name="connsiteX5" fmla="*/ 766325 w 1351379"/>
              <a:gd name="connsiteY5" fmla="*/ 232316 h 614205"/>
              <a:gd name="connsiteX6" fmla="*/ 0 w 1351379"/>
              <a:gd name="connsiteY6" fmla="*/ 232316 h 614205"/>
              <a:gd name="connsiteX7" fmla="*/ 0 w 1351379"/>
              <a:gd name="connsiteY7" fmla="*/ 614206 h 614205"/>
              <a:gd name="connsiteX8" fmla="*/ 766325 w 1351379"/>
              <a:gd name="connsiteY8" fmla="*/ 614206 h 614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1379" h="614205">
                <a:moveTo>
                  <a:pt x="766325" y="614206"/>
                </a:moveTo>
                <a:cubicBezTo>
                  <a:pt x="1088895" y="614206"/>
                  <a:pt x="1351380" y="351720"/>
                  <a:pt x="1351380" y="29151"/>
                </a:cubicBezTo>
                <a:lnTo>
                  <a:pt x="1351380" y="0"/>
                </a:lnTo>
                <a:lnTo>
                  <a:pt x="969490" y="0"/>
                </a:lnTo>
                <a:lnTo>
                  <a:pt x="969490" y="29151"/>
                </a:lnTo>
                <a:cubicBezTo>
                  <a:pt x="969490" y="141172"/>
                  <a:pt x="878346" y="232316"/>
                  <a:pt x="766325" y="232316"/>
                </a:cubicBezTo>
                <a:lnTo>
                  <a:pt x="0" y="232316"/>
                </a:lnTo>
                <a:lnTo>
                  <a:pt x="0" y="614206"/>
                </a:lnTo>
                <a:lnTo>
                  <a:pt x="766325" y="614206"/>
                </a:lnTo>
                <a:close/>
              </a:path>
            </a:pathLst>
          </a:custGeom>
          <a:solidFill>
            <a:srgbClr val="4BACC6"/>
          </a:solidFill>
          <a:ln w="1272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solidFill>
              <a:effectLst/>
              <a:uLnTx/>
              <a:uFillTx/>
              <a:latin typeface="Calibri"/>
              <a:ea typeface="+mn-ea"/>
              <a:cs typeface="+mn-cs"/>
            </a:endParaRPr>
          </a:p>
        </p:txBody>
      </p:sp>
      <p:sp>
        <p:nvSpPr>
          <p:cNvPr id="82" name="Freeform: Shape 81">
            <a:extLst>
              <a:ext uri="{FF2B5EF4-FFF2-40B4-BE49-F238E27FC236}">
                <a16:creationId xmlns:a16="http://schemas.microsoft.com/office/drawing/2014/main" id="{4105BE0C-C6CF-8A23-F209-B059DE65B459}"/>
              </a:ext>
            </a:extLst>
          </p:cNvPr>
          <p:cNvSpPr/>
          <p:nvPr/>
        </p:nvSpPr>
        <p:spPr>
          <a:xfrm>
            <a:off x="9391933" y="2869377"/>
            <a:ext cx="2010722" cy="913878"/>
          </a:xfrm>
          <a:custGeom>
            <a:avLst/>
            <a:gdLst>
              <a:gd name="connsiteX0" fmla="*/ 1351380 w 1351379"/>
              <a:gd name="connsiteY0" fmla="*/ 614206 h 614205"/>
              <a:gd name="connsiteX1" fmla="*/ 1351380 w 1351379"/>
              <a:gd name="connsiteY1" fmla="*/ 585055 h 614205"/>
              <a:gd name="connsiteX2" fmla="*/ 766325 w 1351379"/>
              <a:gd name="connsiteY2" fmla="*/ 0 h 614205"/>
              <a:gd name="connsiteX3" fmla="*/ 0 w 1351379"/>
              <a:gd name="connsiteY3" fmla="*/ 0 h 614205"/>
              <a:gd name="connsiteX4" fmla="*/ 0 w 1351379"/>
              <a:gd name="connsiteY4" fmla="*/ 381890 h 614205"/>
              <a:gd name="connsiteX5" fmla="*/ 766325 w 1351379"/>
              <a:gd name="connsiteY5" fmla="*/ 381890 h 614205"/>
              <a:gd name="connsiteX6" fmla="*/ 969490 w 1351379"/>
              <a:gd name="connsiteY6" fmla="*/ 585055 h 614205"/>
              <a:gd name="connsiteX7" fmla="*/ 969490 w 1351379"/>
              <a:gd name="connsiteY7" fmla="*/ 614206 h 614205"/>
              <a:gd name="connsiteX8" fmla="*/ 1351380 w 1351379"/>
              <a:gd name="connsiteY8" fmla="*/ 614206 h 614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1379" h="614205">
                <a:moveTo>
                  <a:pt x="1351380" y="614206"/>
                </a:moveTo>
                <a:lnTo>
                  <a:pt x="1351380" y="585055"/>
                </a:lnTo>
                <a:cubicBezTo>
                  <a:pt x="1351380" y="262485"/>
                  <a:pt x="1088895" y="0"/>
                  <a:pt x="766325" y="0"/>
                </a:cubicBezTo>
                <a:lnTo>
                  <a:pt x="0" y="0"/>
                </a:lnTo>
                <a:lnTo>
                  <a:pt x="0" y="381890"/>
                </a:lnTo>
                <a:lnTo>
                  <a:pt x="766325" y="381890"/>
                </a:lnTo>
                <a:cubicBezTo>
                  <a:pt x="878346" y="381890"/>
                  <a:pt x="969490" y="473034"/>
                  <a:pt x="969490" y="585055"/>
                </a:cubicBezTo>
                <a:lnTo>
                  <a:pt x="969490" y="614206"/>
                </a:lnTo>
                <a:lnTo>
                  <a:pt x="1351380" y="614206"/>
                </a:lnTo>
                <a:close/>
              </a:path>
            </a:pathLst>
          </a:custGeom>
          <a:solidFill>
            <a:srgbClr val="C0504D"/>
          </a:solidFill>
          <a:ln w="1272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solidFill>
              <a:effectLst/>
              <a:uLnTx/>
              <a:uFillTx/>
              <a:latin typeface="Calibri"/>
              <a:ea typeface="+mn-ea"/>
              <a:cs typeface="+mn-cs"/>
            </a:endParaRPr>
          </a:p>
        </p:txBody>
      </p:sp>
      <p:sp>
        <p:nvSpPr>
          <p:cNvPr id="83" name="Freeform: Shape 82">
            <a:extLst>
              <a:ext uri="{FF2B5EF4-FFF2-40B4-BE49-F238E27FC236}">
                <a16:creationId xmlns:a16="http://schemas.microsoft.com/office/drawing/2014/main" id="{C44F9A98-CD67-B232-EED9-D68FB6648927}"/>
              </a:ext>
            </a:extLst>
          </p:cNvPr>
          <p:cNvSpPr/>
          <p:nvPr/>
        </p:nvSpPr>
        <p:spPr>
          <a:xfrm>
            <a:off x="6885347" y="2869377"/>
            <a:ext cx="2004662" cy="913878"/>
          </a:xfrm>
          <a:custGeom>
            <a:avLst/>
            <a:gdLst>
              <a:gd name="connsiteX0" fmla="*/ 585055 w 1347306"/>
              <a:gd name="connsiteY0" fmla="*/ 0 h 614205"/>
              <a:gd name="connsiteX1" fmla="*/ 0 w 1347306"/>
              <a:gd name="connsiteY1" fmla="*/ 585055 h 614205"/>
              <a:gd name="connsiteX2" fmla="*/ 0 w 1347306"/>
              <a:gd name="connsiteY2" fmla="*/ 614206 h 614205"/>
              <a:gd name="connsiteX3" fmla="*/ 381890 w 1347306"/>
              <a:gd name="connsiteY3" fmla="*/ 614206 h 614205"/>
              <a:gd name="connsiteX4" fmla="*/ 381890 w 1347306"/>
              <a:gd name="connsiteY4" fmla="*/ 585055 h 614205"/>
              <a:gd name="connsiteX5" fmla="*/ 585055 w 1347306"/>
              <a:gd name="connsiteY5" fmla="*/ 381890 h 614205"/>
              <a:gd name="connsiteX6" fmla="*/ 1347306 w 1347306"/>
              <a:gd name="connsiteY6" fmla="*/ 381890 h 614205"/>
              <a:gd name="connsiteX7" fmla="*/ 1347306 w 1347306"/>
              <a:gd name="connsiteY7" fmla="*/ 0 h 614205"/>
              <a:gd name="connsiteX8" fmla="*/ 585055 w 1347306"/>
              <a:gd name="connsiteY8" fmla="*/ 0 h 614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7306" h="614205">
                <a:moveTo>
                  <a:pt x="585055" y="0"/>
                </a:moveTo>
                <a:cubicBezTo>
                  <a:pt x="262485" y="0"/>
                  <a:pt x="0" y="262485"/>
                  <a:pt x="0" y="585055"/>
                </a:cubicBezTo>
                <a:lnTo>
                  <a:pt x="0" y="614206"/>
                </a:lnTo>
                <a:lnTo>
                  <a:pt x="381890" y="614206"/>
                </a:lnTo>
                <a:lnTo>
                  <a:pt x="381890" y="585055"/>
                </a:lnTo>
                <a:cubicBezTo>
                  <a:pt x="381890" y="473034"/>
                  <a:pt x="473034" y="381890"/>
                  <a:pt x="585055" y="381890"/>
                </a:cubicBezTo>
                <a:lnTo>
                  <a:pt x="1347306" y="381890"/>
                </a:lnTo>
                <a:lnTo>
                  <a:pt x="1347306" y="0"/>
                </a:lnTo>
                <a:lnTo>
                  <a:pt x="585055" y="0"/>
                </a:lnTo>
                <a:close/>
              </a:path>
            </a:pathLst>
          </a:custGeom>
          <a:solidFill>
            <a:srgbClr val="4F81BD"/>
          </a:solidFill>
          <a:ln w="1272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solidFill>
              <a:effectLst/>
              <a:uLnTx/>
              <a:uFillTx/>
              <a:latin typeface="Calibri"/>
              <a:ea typeface="+mn-ea"/>
              <a:cs typeface="+mn-cs"/>
            </a:endParaRPr>
          </a:p>
        </p:txBody>
      </p:sp>
      <p:sp>
        <p:nvSpPr>
          <p:cNvPr id="84" name="Freeform: Shape 83">
            <a:extLst>
              <a:ext uri="{FF2B5EF4-FFF2-40B4-BE49-F238E27FC236}">
                <a16:creationId xmlns:a16="http://schemas.microsoft.com/office/drawing/2014/main" id="{89275677-2898-8625-0363-F865542E6C62}"/>
              </a:ext>
            </a:extLst>
          </p:cNvPr>
          <p:cNvSpPr/>
          <p:nvPr/>
        </p:nvSpPr>
        <p:spPr>
          <a:xfrm>
            <a:off x="6885347" y="4314118"/>
            <a:ext cx="568214" cy="2168687"/>
          </a:xfrm>
          <a:custGeom>
            <a:avLst/>
            <a:gdLst>
              <a:gd name="connsiteX0" fmla="*/ 0 w 381889"/>
              <a:gd name="connsiteY0" fmla="*/ 0 h 1457545"/>
              <a:gd name="connsiteX1" fmla="*/ 381890 w 381889"/>
              <a:gd name="connsiteY1" fmla="*/ 0 h 1457545"/>
              <a:gd name="connsiteX2" fmla="*/ 381890 w 381889"/>
              <a:gd name="connsiteY2" fmla="*/ 1457545 h 1457545"/>
              <a:gd name="connsiteX3" fmla="*/ 0 w 381889"/>
              <a:gd name="connsiteY3" fmla="*/ 1457545 h 1457545"/>
            </a:gdLst>
            <a:ahLst/>
            <a:cxnLst>
              <a:cxn ang="0">
                <a:pos x="connsiteX0" y="connsiteY0"/>
              </a:cxn>
              <a:cxn ang="0">
                <a:pos x="connsiteX1" y="connsiteY1"/>
              </a:cxn>
              <a:cxn ang="0">
                <a:pos x="connsiteX2" y="connsiteY2"/>
              </a:cxn>
              <a:cxn ang="0">
                <a:pos x="connsiteX3" y="connsiteY3"/>
              </a:cxn>
            </a:cxnLst>
            <a:rect l="l" t="t" r="r" b="b"/>
            <a:pathLst>
              <a:path w="381889" h="1457545">
                <a:moveTo>
                  <a:pt x="0" y="0"/>
                </a:moveTo>
                <a:lnTo>
                  <a:pt x="381890" y="0"/>
                </a:lnTo>
                <a:lnTo>
                  <a:pt x="381890" y="1457545"/>
                </a:lnTo>
                <a:lnTo>
                  <a:pt x="0" y="1457545"/>
                </a:lnTo>
                <a:close/>
              </a:path>
            </a:pathLst>
          </a:custGeom>
          <a:solidFill>
            <a:srgbClr val="F79646"/>
          </a:solidFill>
          <a:ln w="1272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solidFill>
              <a:effectLst/>
              <a:uLnTx/>
              <a:uFillTx/>
              <a:latin typeface="Calibri"/>
              <a:ea typeface="+mn-ea"/>
              <a:cs typeface="+mn-cs"/>
            </a:endParaRPr>
          </a:p>
        </p:txBody>
      </p:sp>
      <p:sp>
        <p:nvSpPr>
          <p:cNvPr id="85" name="Freeform: Shape 84">
            <a:extLst>
              <a:ext uri="{FF2B5EF4-FFF2-40B4-BE49-F238E27FC236}">
                <a16:creationId xmlns:a16="http://schemas.microsoft.com/office/drawing/2014/main" id="{955328CD-5CC6-CDC5-3126-190AA4BE01BF}"/>
              </a:ext>
            </a:extLst>
          </p:cNvPr>
          <p:cNvSpPr/>
          <p:nvPr/>
        </p:nvSpPr>
        <p:spPr>
          <a:xfrm>
            <a:off x="7206767" y="3187157"/>
            <a:ext cx="3874656" cy="4427340"/>
          </a:xfrm>
          <a:custGeom>
            <a:avLst/>
            <a:gdLst>
              <a:gd name="connsiteX0" fmla="*/ 2209868 w 2604104"/>
              <a:gd name="connsiteY0" fmla="*/ 2975556 h 2975556"/>
              <a:gd name="connsiteX1" fmla="*/ 394110 w 2604104"/>
              <a:gd name="connsiteY1" fmla="*/ 2975556 h 2975556"/>
              <a:gd name="connsiteX2" fmla="*/ 0 w 2604104"/>
              <a:gd name="connsiteY2" fmla="*/ 2581446 h 2975556"/>
              <a:gd name="connsiteX3" fmla="*/ 0 w 2604104"/>
              <a:gd name="connsiteY3" fmla="*/ 394110 h 2975556"/>
              <a:gd name="connsiteX4" fmla="*/ 394110 w 2604104"/>
              <a:gd name="connsiteY4" fmla="*/ 0 h 2975556"/>
              <a:gd name="connsiteX5" fmla="*/ 2209995 w 2604104"/>
              <a:gd name="connsiteY5" fmla="*/ 0 h 2975556"/>
              <a:gd name="connsiteX6" fmla="*/ 2604104 w 2604104"/>
              <a:gd name="connsiteY6" fmla="*/ 394110 h 2975556"/>
              <a:gd name="connsiteX7" fmla="*/ 2604104 w 2604104"/>
              <a:gd name="connsiteY7" fmla="*/ 2581573 h 2975556"/>
              <a:gd name="connsiteX8" fmla="*/ 2209868 w 2604104"/>
              <a:gd name="connsiteY8" fmla="*/ 2975556 h 2975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04104" h="2975556">
                <a:moveTo>
                  <a:pt x="2209868" y="2975556"/>
                </a:moveTo>
                <a:lnTo>
                  <a:pt x="394110" y="2975556"/>
                </a:lnTo>
                <a:cubicBezTo>
                  <a:pt x="177324" y="2975556"/>
                  <a:pt x="0" y="2798232"/>
                  <a:pt x="0" y="2581446"/>
                </a:cubicBezTo>
                <a:lnTo>
                  <a:pt x="0" y="394110"/>
                </a:lnTo>
                <a:cubicBezTo>
                  <a:pt x="0" y="177324"/>
                  <a:pt x="177324" y="0"/>
                  <a:pt x="394110" y="0"/>
                </a:cubicBezTo>
                <a:lnTo>
                  <a:pt x="2209995" y="0"/>
                </a:lnTo>
                <a:cubicBezTo>
                  <a:pt x="2426781" y="0"/>
                  <a:pt x="2604104" y="177324"/>
                  <a:pt x="2604104" y="394110"/>
                </a:cubicBezTo>
                <a:lnTo>
                  <a:pt x="2604104" y="2581573"/>
                </a:lnTo>
                <a:cubicBezTo>
                  <a:pt x="2603978" y="2798232"/>
                  <a:pt x="2426653" y="2975556"/>
                  <a:pt x="2209868" y="2975556"/>
                </a:cubicBezTo>
                <a:close/>
              </a:path>
            </a:pathLst>
          </a:custGeom>
          <a:solidFill>
            <a:srgbClr val="FFFFFF"/>
          </a:solidFill>
          <a:ln w="12729" cap="flat">
            <a:noFill/>
            <a:prstDash val="solid"/>
            <a:miter/>
          </a:ln>
        </p:spPr>
        <p:txBody>
          <a:bodyPr rtlCol="0" anchor="ctr"/>
          <a:lstStyle/>
          <a:p>
            <a:pPr>
              <a:buClrTx/>
              <a:buFontTx/>
              <a:buNone/>
            </a:pPr>
            <a:endParaRPr lang="en-US" sz="2700" kern="1200" noProof="0">
              <a:solidFill>
                <a:prstClr val="black"/>
              </a:solidFill>
              <a:latin typeface="Calibri"/>
              <a:ea typeface="+mn-ea"/>
              <a:cs typeface="+mn-cs"/>
            </a:endParaRPr>
          </a:p>
        </p:txBody>
      </p:sp>
      <p:sp>
        <p:nvSpPr>
          <p:cNvPr id="86" name="Graphic 71">
            <a:extLst>
              <a:ext uri="{FF2B5EF4-FFF2-40B4-BE49-F238E27FC236}">
                <a16:creationId xmlns:a16="http://schemas.microsoft.com/office/drawing/2014/main" id="{12B45169-BDB5-F68A-7045-344FAE2C1019}"/>
              </a:ext>
            </a:extLst>
          </p:cNvPr>
          <p:cNvSpPr/>
          <p:nvPr/>
        </p:nvSpPr>
        <p:spPr>
          <a:xfrm>
            <a:off x="7384342" y="3424563"/>
            <a:ext cx="3819440" cy="4383450"/>
          </a:xfrm>
          <a:custGeom>
            <a:avLst/>
            <a:gdLst>
              <a:gd name="connsiteX0" fmla="*/ 1530096 w 1695450"/>
              <a:gd name="connsiteY0" fmla="*/ 1952625 h 1952625"/>
              <a:gd name="connsiteX1" fmla="*/ 165354 w 1695450"/>
              <a:gd name="connsiteY1" fmla="*/ 1952625 h 1952625"/>
              <a:gd name="connsiteX2" fmla="*/ 0 w 1695450"/>
              <a:gd name="connsiteY2" fmla="*/ 1787271 h 1952625"/>
              <a:gd name="connsiteX3" fmla="*/ 0 w 1695450"/>
              <a:gd name="connsiteY3" fmla="*/ 165354 h 1952625"/>
              <a:gd name="connsiteX4" fmla="*/ 165354 w 1695450"/>
              <a:gd name="connsiteY4" fmla="*/ 0 h 1952625"/>
              <a:gd name="connsiteX5" fmla="*/ 1530096 w 1695450"/>
              <a:gd name="connsiteY5" fmla="*/ 0 h 1952625"/>
              <a:gd name="connsiteX6" fmla="*/ 1695450 w 1695450"/>
              <a:gd name="connsiteY6" fmla="*/ 165354 h 1952625"/>
              <a:gd name="connsiteX7" fmla="*/ 1695450 w 1695450"/>
              <a:gd name="connsiteY7" fmla="*/ 1787271 h 1952625"/>
              <a:gd name="connsiteX8" fmla="*/ 1530096 w 1695450"/>
              <a:gd name="connsiteY8" fmla="*/ 1952625 h 1952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95450" h="1952625">
                <a:moveTo>
                  <a:pt x="1530096" y="1952625"/>
                </a:moveTo>
                <a:lnTo>
                  <a:pt x="165354" y="1952625"/>
                </a:lnTo>
                <a:cubicBezTo>
                  <a:pt x="74390" y="1952625"/>
                  <a:pt x="0" y="1878235"/>
                  <a:pt x="0" y="1787271"/>
                </a:cubicBezTo>
                <a:lnTo>
                  <a:pt x="0" y="165354"/>
                </a:lnTo>
                <a:cubicBezTo>
                  <a:pt x="0" y="74390"/>
                  <a:pt x="74390" y="0"/>
                  <a:pt x="165354" y="0"/>
                </a:cubicBezTo>
                <a:lnTo>
                  <a:pt x="1530096" y="0"/>
                </a:lnTo>
                <a:cubicBezTo>
                  <a:pt x="1621060" y="0"/>
                  <a:pt x="1695450" y="74390"/>
                  <a:pt x="1695450" y="165354"/>
                </a:cubicBezTo>
                <a:lnTo>
                  <a:pt x="1695450" y="1787271"/>
                </a:lnTo>
                <a:cubicBezTo>
                  <a:pt x="1695450" y="1878235"/>
                  <a:pt x="1621060" y="1952625"/>
                  <a:pt x="1530096" y="1952625"/>
                </a:cubicBezTo>
                <a:close/>
              </a:path>
            </a:pathLst>
          </a:custGeom>
          <a:solidFill>
            <a:sysClr val="windowText" lastClr="000000">
              <a:alpha val="13000"/>
            </a:sysClr>
          </a:solidFill>
          <a:ln w="9525" cap="flat">
            <a:noFill/>
            <a:prstDash val="solid"/>
            <a:miter/>
          </a:ln>
          <a:effectLst>
            <a:softEdge rad="215900"/>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solidFill>
              <a:effectLst/>
              <a:uLnTx/>
              <a:uFillTx/>
              <a:latin typeface="Calibri"/>
              <a:ea typeface="+mn-ea"/>
              <a:cs typeface="+mn-cs"/>
            </a:endParaRPr>
          </a:p>
        </p:txBody>
      </p:sp>
      <p:sp>
        <p:nvSpPr>
          <p:cNvPr id="87" name="Graphic 71">
            <a:extLst>
              <a:ext uri="{FF2B5EF4-FFF2-40B4-BE49-F238E27FC236}">
                <a16:creationId xmlns:a16="http://schemas.microsoft.com/office/drawing/2014/main" id="{2B09E794-F8C1-3420-30D0-F876A19C5291}"/>
              </a:ext>
            </a:extLst>
          </p:cNvPr>
          <p:cNvSpPr/>
          <p:nvPr/>
        </p:nvSpPr>
        <p:spPr>
          <a:xfrm>
            <a:off x="7506809" y="3517666"/>
            <a:ext cx="3274383" cy="3771059"/>
          </a:xfrm>
          <a:custGeom>
            <a:avLst/>
            <a:gdLst>
              <a:gd name="connsiteX0" fmla="*/ 1530096 w 1695450"/>
              <a:gd name="connsiteY0" fmla="*/ 1952625 h 1952625"/>
              <a:gd name="connsiteX1" fmla="*/ 165354 w 1695450"/>
              <a:gd name="connsiteY1" fmla="*/ 1952625 h 1952625"/>
              <a:gd name="connsiteX2" fmla="*/ 0 w 1695450"/>
              <a:gd name="connsiteY2" fmla="*/ 1787271 h 1952625"/>
              <a:gd name="connsiteX3" fmla="*/ 0 w 1695450"/>
              <a:gd name="connsiteY3" fmla="*/ 165354 h 1952625"/>
              <a:gd name="connsiteX4" fmla="*/ 165354 w 1695450"/>
              <a:gd name="connsiteY4" fmla="*/ 0 h 1952625"/>
              <a:gd name="connsiteX5" fmla="*/ 1530096 w 1695450"/>
              <a:gd name="connsiteY5" fmla="*/ 0 h 1952625"/>
              <a:gd name="connsiteX6" fmla="*/ 1695450 w 1695450"/>
              <a:gd name="connsiteY6" fmla="*/ 165354 h 1952625"/>
              <a:gd name="connsiteX7" fmla="*/ 1695450 w 1695450"/>
              <a:gd name="connsiteY7" fmla="*/ 1787271 h 1952625"/>
              <a:gd name="connsiteX8" fmla="*/ 1530096 w 1695450"/>
              <a:gd name="connsiteY8" fmla="*/ 1952625 h 1952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95450" h="1952625">
                <a:moveTo>
                  <a:pt x="1530096" y="1952625"/>
                </a:moveTo>
                <a:lnTo>
                  <a:pt x="165354" y="1952625"/>
                </a:lnTo>
                <a:cubicBezTo>
                  <a:pt x="74390" y="1952625"/>
                  <a:pt x="0" y="1878235"/>
                  <a:pt x="0" y="1787271"/>
                </a:cubicBezTo>
                <a:lnTo>
                  <a:pt x="0" y="165354"/>
                </a:lnTo>
                <a:cubicBezTo>
                  <a:pt x="0" y="74390"/>
                  <a:pt x="74390" y="0"/>
                  <a:pt x="165354" y="0"/>
                </a:cubicBezTo>
                <a:lnTo>
                  <a:pt x="1530096" y="0"/>
                </a:lnTo>
                <a:cubicBezTo>
                  <a:pt x="1621060" y="0"/>
                  <a:pt x="1695450" y="74390"/>
                  <a:pt x="1695450" y="165354"/>
                </a:cubicBezTo>
                <a:lnTo>
                  <a:pt x="1695450" y="1787271"/>
                </a:lnTo>
                <a:cubicBezTo>
                  <a:pt x="1695450" y="1878235"/>
                  <a:pt x="1621060" y="1952625"/>
                  <a:pt x="1530096" y="1952625"/>
                </a:cubicBezTo>
                <a:close/>
              </a:path>
            </a:pathLst>
          </a:custGeom>
          <a:gradFill>
            <a:gsLst>
              <a:gs pos="1000">
                <a:sysClr val="window" lastClr="FFFFFF"/>
              </a:gs>
              <a:gs pos="100000">
                <a:sysClr val="window" lastClr="FFFFFF">
                  <a:lumMod val="95000"/>
                </a:sysClr>
              </a:gs>
            </a:gsLst>
            <a:lin ang="5400000" scaled="1"/>
          </a:gra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solidFill>
              <a:effectLst/>
              <a:uLnTx/>
              <a:uFillTx/>
              <a:latin typeface="Calibri"/>
              <a:ea typeface="+mn-ea"/>
              <a:cs typeface="+mn-cs"/>
            </a:endParaRPr>
          </a:p>
        </p:txBody>
      </p:sp>
      <p:sp>
        <p:nvSpPr>
          <p:cNvPr id="88" name="TextBox 87">
            <a:extLst>
              <a:ext uri="{FF2B5EF4-FFF2-40B4-BE49-F238E27FC236}">
                <a16:creationId xmlns:a16="http://schemas.microsoft.com/office/drawing/2014/main" id="{4AA70999-3A82-A78C-F5E7-6CAE069E9F3A}"/>
              </a:ext>
            </a:extLst>
          </p:cNvPr>
          <p:cNvSpPr txBox="1"/>
          <p:nvPr/>
        </p:nvSpPr>
        <p:spPr>
          <a:xfrm>
            <a:off x="7576028" y="4692231"/>
            <a:ext cx="3136054" cy="1421928"/>
          </a:xfrm>
          <a:prstGeom prst="rect">
            <a:avLst/>
          </a:prstGeom>
          <a:noFill/>
        </p:spPr>
        <p:txBody>
          <a:bodyPr wrap="square" rtlCol="0" anchor="ctr">
            <a:spAutoFit/>
          </a:bodyPr>
          <a:lstStyle/>
          <a:p>
            <a:pPr algn="ctr">
              <a:lnSpc>
                <a:spcPct val="90000"/>
              </a:lnSpc>
              <a:buClrTx/>
              <a:buFontTx/>
              <a:buNone/>
            </a:pPr>
            <a:r>
              <a:rPr lang="en-US" sz="4800" b="1" kern="1200" noProof="0">
                <a:solidFill>
                  <a:prstClr val="black">
                    <a:lumMod val="75000"/>
                    <a:lumOff val="25000"/>
                  </a:prstClr>
                </a:solidFill>
                <a:latin typeface="Calibri"/>
                <a:ea typeface="Segoe UI Black" panose="020B0A02040204020203" pitchFamily="34" charset="0"/>
                <a:cs typeface="+mn-cs"/>
              </a:rPr>
              <a:t>Digital Office</a:t>
            </a:r>
          </a:p>
        </p:txBody>
      </p:sp>
      <p:sp>
        <p:nvSpPr>
          <p:cNvPr id="89" name="Rectangle 88">
            <a:extLst>
              <a:ext uri="{FF2B5EF4-FFF2-40B4-BE49-F238E27FC236}">
                <a16:creationId xmlns:a16="http://schemas.microsoft.com/office/drawing/2014/main" id="{B3769C6F-9835-7DF6-1570-E0D6DF5F08E0}"/>
              </a:ext>
            </a:extLst>
          </p:cNvPr>
          <p:cNvSpPr/>
          <p:nvPr/>
        </p:nvSpPr>
        <p:spPr>
          <a:xfrm>
            <a:off x="2239143" y="2204945"/>
            <a:ext cx="6412717" cy="1179240"/>
          </a:xfrm>
          <a:prstGeom prst="rect">
            <a:avLst/>
          </a:prstGeom>
        </p:spPr>
        <p:txBody>
          <a:bodyPr wrap="square" lIns="0" tIns="0" rIns="0" bIns="0" anchor="t">
            <a:noAutofit/>
          </a:bodyPr>
          <a:lstStyle/>
          <a:p>
            <a:pPr>
              <a:buClrTx/>
              <a:buFontTx/>
              <a:buNone/>
            </a:pPr>
            <a:r>
              <a:rPr lang="en-US" sz="2100" kern="1200" noProof="0">
                <a:solidFill>
                  <a:prstClr val="black">
                    <a:lumMod val="85000"/>
                    <a:lumOff val="15000"/>
                  </a:prstClr>
                </a:solidFill>
                <a:latin typeface="Segoe UI" panose="020B0502040204020203" pitchFamily="34" charset="0"/>
                <a:ea typeface="Open Sans" panose="020B0606030504020204" pitchFamily="34" charset="0"/>
                <a:cs typeface="Segoe UI" panose="020B0502040204020203" pitchFamily="34" charset="0"/>
              </a:rPr>
              <a:t>Ensures that all </a:t>
            </a:r>
            <a:r>
              <a:rPr lang="en-US" sz="2100" b="1" kern="1200" noProof="0">
                <a:solidFill>
                  <a:prstClr val="black">
                    <a:lumMod val="85000"/>
                    <a:lumOff val="15000"/>
                  </a:prstClr>
                </a:solidFill>
                <a:latin typeface="Segoe UI" panose="020B0502040204020203" pitchFamily="34" charset="0"/>
                <a:ea typeface="Open Sans" panose="020B0606030504020204" pitchFamily="34" charset="0"/>
                <a:cs typeface="Segoe UI" panose="020B0502040204020203" pitchFamily="34" charset="0"/>
              </a:rPr>
              <a:t>projects, initiatives, and technology investments are directly aligned with business objectives</a:t>
            </a:r>
            <a:r>
              <a:rPr lang="en-US" sz="2100" kern="1200" noProof="0">
                <a:solidFill>
                  <a:prstClr val="black">
                    <a:lumMod val="85000"/>
                    <a:lumOff val="15000"/>
                  </a:prstClr>
                </a:solidFill>
                <a:latin typeface="Segoe UI" panose="020B0502040204020203" pitchFamily="34" charset="0"/>
                <a:ea typeface="Open Sans" panose="020B0606030504020204" pitchFamily="34" charset="0"/>
                <a:cs typeface="Segoe UI" panose="020B0502040204020203" pitchFamily="34" charset="0"/>
              </a:rPr>
              <a:t> and long-term growth </a:t>
            </a:r>
          </a:p>
          <a:p>
            <a:pPr>
              <a:buClrTx/>
              <a:buFontTx/>
              <a:buNone/>
            </a:pPr>
            <a:r>
              <a:rPr lang="en-US" sz="2100" kern="1200" noProof="0">
                <a:solidFill>
                  <a:prstClr val="black">
                    <a:lumMod val="85000"/>
                    <a:lumOff val="15000"/>
                  </a:prstClr>
                </a:solidFill>
                <a:latin typeface="Segoe UI" panose="020B0502040204020203" pitchFamily="34" charset="0"/>
                <a:ea typeface="Open Sans" panose="020B0606030504020204" pitchFamily="34" charset="0"/>
                <a:cs typeface="Segoe UI" panose="020B0502040204020203" pitchFamily="34" charset="0"/>
              </a:rPr>
              <a:t>strategies. </a:t>
            </a:r>
          </a:p>
        </p:txBody>
      </p:sp>
      <p:sp>
        <p:nvSpPr>
          <p:cNvPr id="90" name="Rectangle 89">
            <a:extLst>
              <a:ext uri="{FF2B5EF4-FFF2-40B4-BE49-F238E27FC236}">
                <a16:creationId xmlns:a16="http://schemas.microsoft.com/office/drawing/2014/main" id="{83ED6027-F7EB-F246-A3E5-39162EC817FB}"/>
              </a:ext>
            </a:extLst>
          </p:cNvPr>
          <p:cNvSpPr/>
          <p:nvPr/>
        </p:nvSpPr>
        <p:spPr>
          <a:xfrm>
            <a:off x="1078173" y="1672453"/>
            <a:ext cx="7799804" cy="603588"/>
          </a:xfrm>
          <a:prstGeom prst="rect">
            <a:avLst/>
          </a:prstGeom>
        </p:spPr>
        <p:txBody>
          <a:bodyPr wrap="square" lIns="0" tIns="0" rIns="0" bIns="0" anchor="ctr">
            <a:noAutofit/>
          </a:bodyPr>
          <a:lstStyle/>
          <a:p>
            <a:pPr>
              <a:buClrTx/>
              <a:buFontTx/>
              <a:buNone/>
            </a:pPr>
            <a:r>
              <a:rPr lang="en-US" sz="2700" b="1" kern="1200" noProof="0">
                <a:solidFill>
                  <a:srgbClr val="4F81BD"/>
                </a:solidFill>
                <a:latin typeface="Segoe UI" panose="020B0502040204020203" pitchFamily="34" charset="0"/>
                <a:ea typeface="Open Sans" panose="020B0606030504020204" pitchFamily="34" charset="0"/>
                <a:cs typeface="Segoe UI" panose="020B0502040204020203" pitchFamily="34" charset="0"/>
              </a:rPr>
              <a:t>Improved Strategic Alignment</a:t>
            </a:r>
          </a:p>
        </p:txBody>
      </p:sp>
      <p:sp>
        <p:nvSpPr>
          <p:cNvPr id="91" name="Rectangle 90">
            <a:extLst>
              <a:ext uri="{FF2B5EF4-FFF2-40B4-BE49-F238E27FC236}">
                <a16:creationId xmlns:a16="http://schemas.microsoft.com/office/drawing/2014/main" id="{F94B95B8-43D6-CF52-A120-038C59C90EE8}"/>
              </a:ext>
            </a:extLst>
          </p:cNvPr>
          <p:cNvSpPr/>
          <p:nvPr/>
        </p:nvSpPr>
        <p:spPr>
          <a:xfrm>
            <a:off x="9376972" y="2204945"/>
            <a:ext cx="6816172" cy="1179240"/>
          </a:xfrm>
          <a:prstGeom prst="rect">
            <a:avLst/>
          </a:prstGeom>
        </p:spPr>
        <p:txBody>
          <a:bodyPr wrap="square" lIns="0" tIns="0" rIns="0" bIns="0" anchor="t">
            <a:noAutofit/>
          </a:bodyPr>
          <a:lstStyle/>
          <a:p>
            <a:pPr algn="r">
              <a:buClrTx/>
              <a:buFontTx/>
              <a:buNone/>
            </a:pPr>
            <a:r>
              <a:rPr lang="en-US" sz="2100" kern="1200" noProof="0">
                <a:solidFill>
                  <a:prstClr val="black">
                    <a:lumMod val="85000"/>
                    <a:lumOff val="15000"/>
                  </a:prstClr>
                </a:solidFill>
                <a:latin typeface="Segoe UI" panose="020B0502040204020203" pitchFamily="34" charset="0"/>
                <a:ea typeface="Open Sans" panose="020B0606030504020204" pitchFamily="34" charset="0"/>
                <a:cs typeface="Segoe UI" panose="020B0502040204020203" pitchFamily="34" charset="0"/>
              </a:rPr>
              <a:t>By </a:t>
            </a:r>
            <a:r>
              <a:rPr lang="en-US" sz="2100" b="1" kern="1200" noProof="0">
                <a:solidFill>
                  <a:prstClr val="black">
                    <a:lumMod val="85000"/>
                    <a:lumOff val="15000"/>
                  </a:prstClr>
                </a:solidFill>
                <a:latin typeface="Segoe UI" panose="020B0502040204020203" pitchFamily="34" charset="0"/>
                <a:ea typeface="Open Sans" panose="020B0606030504020204" pitchFamily="34" charset="0"/>
                <a:cs typeface="Segoe UI" panose="020B0502040204020203" pitchFamily="34" charset="0"/>
              </a:rPr>
              <a:t>adopting a flexible and adaptive governance model</a:t>
            </a:r>
            <a:r>
              <a:rPr lang="en-US" sz="2100" kern="1200" noProof="0">
                <a:solidFill>
                  <a:prstClr val="black">
                    <a:lumMod val="85000"/>
                    <a:lumOff val="15000"/>
                  </a:prstClr>
                </a:solidFill>
                <a:latin typeface="Segoe UI" panose="020B0502040204020203" pitchFamily="34" charset="0"/>
                <a:ea typeface="Open Sans" panose="020B0606030504020204" pitchFamily="34" charset="0"/>
                <a:cs typeface="Segoe UI" panose="020B0502040204020203" pitchFamily="34" charset="0"/>
              </a:rPr>
              <a:t>, organizations can respond more quickly to     </a:t>
            </a:r>
          </a:p>
          <a:p>
            <a:pPr algn="r">
              <a:buClrTx/>
              <a:buFontTx/>
              <a:buNone/>
            </a:pPr>
            <a:r>
              <a:rPr lang="en-US" sz="2100" kern="1200" noProof="0">
                <a:solidFill>
                  <a:prstClr val="black">
                    <a:lumMod val="85000"/>
                    <a:lumOff val="15000"/>
                  </a:prstClr>
                </a:solidFill>
                <a:latin typeface="Segoe UI" panose="020B0502040204020203" pitchFamily="34" charset="0"/>
                <a:ea typeface="Open Sans" panose="020B0606030504020204" pitchFamily="34" charset="0"/>
                <a:cs typeface="Segoe UI" panose="020B0502040204020203" pitchFamily="34" charset="0"/>
              </a:rPr>
              <a:t>        	           evolving market trends, customer demands, and operational challenges.</a:t>
            </a:r>
          </a:p>
        </p:txBody>
      </p:sp>
      <p:sp>
        <p:nvSpPr>
          <p:cNvPr id="92" name="Rectangle 91">
            <a:extLst>
              <a:ext uri="{FF2B5EF4-FFF2-40B4-BE49-F238E27FC236}">
                <a16:creationId xmlns:a16="http://schemas.microsoft.com/office/drawing/2014/main" id="{9C14FD99-936D-D2EC-B2B5-236CAD4AC43D}"/>
              </a:ext>
            </a:extLst>
          </p:cNvPr>
          <p:cNvSpPr/>
          <p:nvPr/>
        </p:nvSpPr>
        <p:spPr>
          <a:xfrm>
            <a:off x="9391932" y="1672453"/>
            <a:ext cx="7817895" cy="603588"/>
          </a:xfrm>
          <a:prstGeom prst="rect">
            <a:avLst/>
          </a:prstGeom>
        </p:spPr>
        <p:txBody>
          <a:bodyPr wrap="square" lIns="0" tIns="0" rIns="0" bIns="0" anchor="ctr">
            <a:noAutofit/>
          </a:bodyPr>
          <a:lstStyle/>
          <a:p>
            <a:pPr algn="r">
              <a:buClrTx/>
              <a:buFontTx/>
              <a:buNone/>
            </a:pPr>
            <a:r>
              <a:rPr lang="en-US" sz="2700" b="1" kern="1200" noProof="0">
                <a:solidFill>
                  <a:srgbClr val="C0504D"/>
                </a:solidFill>
                <a:latin typeface="Segoe UI" panose="020B0502040204020203" pitchFamily="34" charset="0"/>
                <a:ea typeface="Open Sans" panose="020B0606030504020204" pitchFamily="34" charset="0"/>
                <a:cs typeface="Segoe UI" panose="020B0502040204020203" pitchFamily="34" charset="0"/>
              </a:rPr>
              <a:t>Enhanced Agility</a:t>
            </a:r>
          </a:p>
        </p:txBody>
      </p:sp>
      <p:sp>
        <p:nvSpPr>
          <p:cNvPr id="93" name="Rectangle 92">
            <a:extLst>
              <a:ext uri="{FF2B5EF4-FFF2-40B4-BE49-F238E27FC236}">
                <a16:creationId xmlns:a16="http://schemas.microsoft.com/office/drawing/2014/main" id="{3984B281-90FA-483A-5C82-A1729C977CAF}"/>
              </a:ext>
            </a:extLst>
          </p:cNvPr>
          <p:cNvSpPr/>
          <p:nvPr/>
        </p:nvSpPr>
        <p:spPr>
          <a:xfrm>
            <a:off x="2243702" y="4893875"/>
            <a:ext cx="4638715" cy="1588930"/>
          </a:xfrm>
          <a:prstGeom prst="rect">
            <a:avLst/>
          </a:prstGeom>
        </p:spPr>
        <p:txBody>
          <a:bodyPr wrap="square" lIns="0" tIns="0" rIns="0" bIns="0" anchor="t">
            <a:noAutofit/>
          </a:bodyPr>
          <a:lstStyle/>
          <a:p>
            <a:pPr>
              <a:buClrTx/>
              <a:buFontTx/>
              <a:buNone/>
            </a:pPr>
            <a:r>
              <a:rPr lang="en-US" sz="2000" kern="1200" noProof="0">
                <a:solidFill>
                  <a:prstClr val="black">
                    <a:lumMod val="85000"/>
                    <a:lumOff val="15000"/>
                  </a:prstClr>
                </a:solidFill>
                <a:latin typeface="Segoe UI" panose="020B0502040204020203" pitchFamily="34" charset="0"/>
                <a:ea typeface="Open Sans" panose="020B0606030504020204" pitchFamily="34" charset="0"/>
                <a:cs typeface="Segoe UI" panose="020B0502040204020203" pitchFamily="34" charset="0"/>
              </a:rPr>
              <a:t>A culture of CPI and technological advancement is fostered through the strategic </a:t>
            </a:r>
            <a:r>
              <a:rPr lang="en-US" sz="2000" b="1" kern="1200" noProof="0">
                <a:solidFill>
                  <a:prstClr val="black">
                    <a:lumMod val="85000"/>
                    <a:lumOff val="15000"/>
                  </a:prstClr>
                </a:solidFill>
                <a:latin typeface="Segoe UI" panose="020B0502040204020203" pitchFamily="34" charset="0"/>
                <a:ea typeface="Open Sans" panose="020B0606030504020204" pitchFamily="34" charset="0"/>
                <a:cs typeface="Segoe UI" panose="020B0502040204020203" pitchFamily="34" charset="0"/>
              </a:rPr>
              <a:t>integration of emerging technologies, data-driven decision-making, and process optimization</a:t>
            </a:r>
            <a:r>
              <a:rPr lang="en-US" sz="2000" kern="1200" noProof="0">
                <a:solidFill>
                  <a:prstClr val="black">
                    <a:lumMod val="85000"/>
                    <a:lumOff val="15000"/>
                  </a:prstClr>
                </a:solidFill>
                <a:latin typeface="Segoe UI" panose="020B0502040204020203" pitchFamily="34" charset="0"/>
                <a:ea typeface="Open Sans" panose="020B0606030504020204" pitchFamily="34" charset="0"/>
                <a:cs typeface="Segoe UI" panose="020B0502040204020203" pitchFamily="34" charset="0"/>
              </a:rPr>
              <a:t>.</a:t>
            </a:r>
          </a:p>
        </p:txBody>
      </p:sp>
      <p:sp>
        <p:nvSpPr>
          <p:cNvPr id="94" name="Rectangle 93">
            <a:extLst>
              <a:ext uri="{FF2B5EF4-FFF2-40B4-BE49-F238E27FC236}">
                <a16:creationId xmlns:a16="http://schemas.microsoft.com/office/drawing/2014/main" id="{5D31B17F-845B-84C1-BF51-CB1AE3A43597}"/>
              </a:ext>
            </a:extLst>
          </p:cNvPr>
          <p:cNvSpPr/>
          <p:nvPr/>
        </p:nvSpPr>
        <p:spPr>
          <a:xfrm>
            <a:off x="1078173" y="4371576"/>
            <a:ext cx="5804244" cy="603717"/>
          </a:xfrm>
          <a:prstGeom prst="rect">
            <a:avLst/>
          </a:prstGeom>
        </p:spPr>
        <p:txBody>
          <a:bodyPr wrap="square" lIns="0" tIns="0" rIns="0" bIns="0" anchor="ctr">
            <a:noAutofit/>
          </a:bodyPr>
          <a:lstStyle/>
          <a:p>
            <a:pPr>
              <a:buClrTx/>
              <a:buFontTx/>
              <a:buNone/>
            </a:pPr>
            <a:r>
              <a:rPr lang="en-US" sz="2700" b="1" kern="1200" noProof="0">
                <a:solidFill>
                  <a:srgbClr val="F79646"/>
                </a:solidFill>
                <a:latin typeface="Segoe UI" panose="020B0502040204020203" pitchFamily="34" charset="0"/>
                <a:ea typeface="Open Sans" panose="020B0606030504020204" pitchFamily="34" charset="0"/>
                <a:cs typeface="Segoe UI" panose="020B0502040204020203" pitchFamily="34" charset="0"/>
              </a:rPr>
              <a:t>Increased Innovation</a:t>
            </a:r>
          </a:p>
        </p:txBody>
      </p:sp>
      <p:sp>
        <p:nvSpPr>
          <p:cNvPr id="95" name="Rectangle 94">
            <a:extLst>
              <a:ext uri="{FF2B5EF4-FFF2-40B4-BE49-F238E27FC236}">
                <a16:creationId xmlns:a16="http://schemas.microsoft.com/office/drawing/2014/main" id="{01BB86BB-98E5-D82D-246F-7140D791626E}"/>
              </a:ext>
            </a:extLst>
          </p:cNvPr>
          <p:cNvSpPr/>
          <p:nvPr/>
        </p:nvSpPr>
        <p:spPr>
          <a:xfrm>
            <a:off x="11402654" y="4893875"/>
            <a:ext cx="4820625" cy="1588930"/>
          </a:xfrm>
          <a:prstGeom prst="rect">
            <a:avLst/>
          </a:prstGeom>
        </p:spPr>
        <p:txBody>
          <a:bodyPr wrap="square" lIns="0" tIns="0" rIns="0" bIns="0" anchor="t">
            <a:noAutofit/>
          </a:bodyPr>
          <a:lstStyle/>
          <a:p>
            <a:pPr algn="r">
              <a:buClrTx/>
              <a:buFontTx/>
              <a:buNone/>
            </a:pPr>
            <a:r>
              <a:rPr lang="en-US" sz="2000" kern="1200" noProof="0">
                <a:solidFill>
                  <a:prstClr val="black">
                    <a:lumMod val="85000"/>
                    <a:lumOff val="15000"/>
                  </a:prstClr>
                </a:solidFill>
                <a:latin typeface="Segoe UI" panose="020B0502040204020203" pitchFamily="34" charset="0"/>
                <a:ea typeface="Open Sans" panose="020B0606030504020204" pitchFamily="34" charset="0"/>
                <a:cs typeface="Segoe UI" panose="020B0502040204020203" pitchFamily="34" charset="0"/>
              </a:rPr>
              <a:t>Provide higher visibility and </a:t>
            </a:r>
            <a:r>
              <a:rPr lang="en-US" sz="2000" b="1" kern="1200" noProof="0">
                <a:solidFill>
                  <a:prstClr val="black">
                    <a:lumMod val="85000"/>
                    <a:lumOff val="15000"/>
                  </a:prstClr>
                </a:solidFill>
                <a:latin typeface="Segoe UI" panose="020B0502040204020203" pitchFamily="34" charset="0"/>
                <a:ea typeface="Open Sans" panose="020B0606030504020204" pitchFamily="34" charset="0"/>
                <a:cs typeface="Segoe UI" panose="020B0502040204020203" pitchFamily="34" charset="0"/>
              </a:rPr>
              <a:t>optimizing the allocation of human capital, technology infrastructure, and financial investments</a:t>
            </a:r>
            <a:r>
              <a:rPr lang="en-US" sz="2000" kern="1200" noProof="0">
                <a:solidFill>
                  <a:prstClr val="black">
                    <a:lumMod val="85000"/>
                    <a:lumOff val="15000"/>
                  </a:prstClr>
                </a:solidFill>
                <a:latin typeface="Segoe UI" panose="020B0502040204020203" pitchFamily="34" charset="0"/>
                <a:ea typeface="Open Sans" panose="020B0606030504020204" pitchFamily="34" charset="0"/>
                <a:cs typeface="Segoe UI" panose="020B0502040204020203" pitchFamily="34" charset="0"/>
              </a:rPr>
              <a:t>, eliminates inefficiencies and enhances productivity.</a:t>
            </a:r>
          </a:p>
        </p:txBody>
      </p:sp>
      <p:sp>
        <p:nvSpPr>
          <p:cNvPr id="96" name="Rectangle 95">
            <a:extLst>
              <a:ext uri="{FF2B5EF4-FFF2-40B4-BE49-F238E27FC236}">
                <a16:creationId xmlns:a16="http://schemas.microsoft.com/office/drawing/2014/main" id="{5BA2D171-26F0-3BC0-A5CE-18135ECC2227}"/>
              </a:ext>
            </a:extLst>
          </p:cNvPr>
          <p:cNvSpPr/>
          <p:nvPr/>
        </p:nvSpPr>
        <p:spPr>
          <a:xfrm>
            <a:off x="11457382" y="4371576"/>
            <a:ext cx="5752445" cy="603717"/>
          </a:xfrm>
          <a:prstGeom prst="rect">
            <a:avLst/>
          </a:prstGeom>
        </p:spPr>
        <p:txBody>
          <a:bodyPr wrap="square" lIns="0" tIns="0" rIns="0" bIns="0" anchor="ctr">
            <a:noAutofit/>
          </a:bodyPr>
          <a:lstStyle/>
          <a:p>
            <a:pPr algn="r">
              <a:buClrTx/>
              <a:buFontTx/>
              <a:buNone/>
            </a:pPr>
            <a:r>
              <a:rPr lang="en-US" sz="2700" b="1" kern="1200" noProof="0">
                <a:solidFill>
                  <a:srgbClr val="9BBB59"/>
                </a:solidFill>
                <a:latin typeface="Segoe UI" panose="020B0502040204020203" pitchFamily="34" charset="0"/>
                <a:ea typeface="Open Sans" panose="020B0606030504020204" pitchFamily="34" charset="0"/>
                <a:cs typeface="Segoe UI" panose="020B0502040204020203" pitchFamily="34" charset="0"/>
              </a:rPr>
              <a:t>Better Resource Utilization</a:t>
            </a:r>
          </a:p>
        </p:txBody>
      </p:sp>
      <p:sp>
        <p:nvSpPr>
          <p:cNvPr id="97" name="Rectangle 96">
            <a:extLst>
              <a:ext uri="{FF2B5EF4-FFF2-40B4-BE49-F238E27FC236}">
                <a16:creationId xmlns:a16="http://schemas.microsoft.com/office/drawing/2014/main" id="{AAEAAF62-9297-905F-DD4C-926CA3EC1C60}"/>
              </a:ext>
            </a:extLst>
          </p:cNvPr>
          <p:cNvSpPr/>
          <p:nvPr/>
        </p:nvSpPr>
        <p:spPr>
          <a:xfrm>
            <a:off x="2204190" y="7869714"/>
            <a:ext cx="6673787" cy="1174514"/>
          </a:xfrm>
          <a:prstGeom prst="rect">
            <a:avLst/>
          </a:prstGeom>
        </p:spPr>
        <p:txBody>
          <a:bodyPr wrap="square" lIns="0" tIns="0" rIns="0" bIns="0" anchor="t">
            <a:noAutofit/>
          </a:bodyPr>
          <a:lstStyle/>
          <a:p>
            <a:pPr>
              <a:buClrTx/>
              <a:buFontTx/>
              <a:buNone/>
            </a:pPr>
            <a:r>
              <a:rPr lang="en-US" sz="2000" kern="1200" noProof="0">
                <a:solidFill>
                  <a:prstClr val="black">
                    <a:lumMod val="85000"/>
                    <a:lumOff val="15000"/>
                  </a:prstClr>
                </a:solidFill>
                <a:latin typeface="Segoe UI" panose="020B0502040204020203" pitchFamily="34" charset="0"/>
                <a:ea typeface="Open Sans" panose="020B0606030504020204" pitchFamily="34" charset="0"/>
                <a:cs typeface="Segoe UI" panose="020B0502040204020203" pitchFamily="34" charset="0"/>
              </a:rPr>
              <a:t>Through clear governance structures, transparent communication channels, and well-defined performance metrics, the framework ensures that </a:t>
            </a:r>
            <a:r>
              <a:rPr lang="en-US" sz="2000" b="1" kern="1200" noProof="0">
                <a:solidFill>
                  <a:prstClr val="black">
                    <a:lumMod val="85000"/>
                    <a:lumOff val="15000"/>
                  </a:prstClr>
                </a:solidFill>
                <a:latin typeface="Segoe UI" panose="020B0502040204020203" pitchFamily="34" charset="0"/>
                <a:ea typeface="Open Sans" panose="020B0606030504020204" pitchFamily="34" charset="0"/>
                <a:cs typeface="Segoe UI" panose="020B0502040204020203" pitchFamily="34" charset="0"/>
              </a:rPr>
              <a:t>stakeholder expectations are consistently met or exceeded.</a:t>
            </a:r>
          </a:p>
        </p:txBody>
      </p:sp>
      <p:sp>
        <p:nvSpPr>
          <p:cNvPr id="98" name="Rectangle 97">
            <a:extLst>
              <a:ext uri="{FF2B5EF4-FFF2-40B4-BE49-F238E27FC236}">
                <a16:creationId xmlns:a16="http://schemas.microsoft.com/office/drawing/2014/main" id="{BBE33D50-2E66-1352-BADD-B683F6354B60}"/>
              </a:ext>
            </a:extLst>
          </p:cNvPr>
          <p:cNvSpPr/>
          <p:nvPr/>
        </p:nvSpPr>
        <p:spPr>
          <a:xfrm>
            <a:off x="1078173" y="7050632"/>
            <a:ext cx="5862270" cy="601169"/>
          </a:xfrm>
          <a:prstGeom prst="rect">
            <a:avLst/>
          </a:prstGeom>
        </p:spPr>
        <p:txBody>
          <a:bodyPr wrap="square" lIns="0" tIns="0" rIns="0" bIns="0" anchor="ctr">
            <a:noAutofit/>
          </a:bodyPr>
          <a:lstStyle/>
          <a:p>
            <a:pPr>
              <a:buClrTx/>
              <a:buFontTx/>
              <a:buNone/>
            </a:pPr>
            <a:r>
              <a:rPr lang="en-US" sz="2700" b="1" kern="1200" noProof="0">
                <a:solidFill>
                  <a:srgbClr val="8064A2"/>
                </a:solidFill>
                <a:latin typeface="Segoe UI" panose="020B0502040204020203" pitchFamily="34" charset="0"/>
                <a:ea typeface="Open Sans" panose="020B0606030504020204" pitchFamily="34" charset="0"/>
                <a:cs typeface="Segoe UI" panose="020B0502040204020203" pitchFamily="34" charset="0"/>
              </a:rPr>
              <a:t>Improved Stakeholder Satisfaction</a:t>
            </a:r>
          </a:p>
        </p:txBody>
      </p:sp>
      <p:sp>
        <p:nvSpPr>
          <p:cNvPr id="99" name="Rectangle 98">
            <a:extLst>
              <a:ext uri="{FF2B5EF4-FFF2-40B4-BE49-F238E27FC236}">
                <a16:creationId xmlns:a16="http://schemas.microsoft.com/office/drawing/2014/main" id="{6EE20030-D0AE-9A6E-490E-C6708897D14B}"/>
              </a:ext>
            </a:extLst>
          </p:cNvPr>
          <p:cNvSpPr/>
          <p:nvPr/>
        </p:nvSpPr>
        <p:spPr>
          <a:xfrm>
            <a:off x="9391932" y="7978898"/>
            <a:ext cx="6831347" cy="1174514"/>
          </a:xfrm>
          <a:prstGeom prst="rect">
            <a:avLst/>
          </a:prstGeom>
        </p:spPr>
        <p:txBody>
          <a:bodyPr wrap="square" lIns="0" tIns="0" rIns="0" bIns="0" anchor="t">
            <a:noAutofit/>
          </a:bodyPr>
          <a:lstStyle/>
          <a:p>
            <a:pPr algn="r">
              <a:buClrTx/>
              <a:buFontTx/>
              <a:buNone/>
            </a:pPr>
            <a:r>
              <a:rPr lang="en-US" sz="2000" kern="1200" noProof="0">
                <a:solidFill>
                  <a:prstClr val="black">
                    <a:lumMod val="85000"/>
                    <a:lumOff val="15000"/>
                  </a:prstClr>
                </a:solidFill>
                <a:latin typeface="Segoe UI" panose="020B0502040204020203" pitchFamily="34" charset="0"/>
                <a:ea typeface="Open Sans" panose="020B0606030504020204" pitchFamily="34" charset="0"/>
                <a:cs typeface="Segoe UI" panose="020B0502040204020203" pitchFamily="34" charset="0"/>
              </a:rPr>
              <a:t>The data-driven nature of the Digital Office and </a:t>
            </a:r>
            <a:r>
              <a:rPr lang="en-US" sz="2000" i="1" kern="1200" noProof="0">
                <a:solidFill>
                  <a:prstClr val="black">
                    <a:lumMod val="85000"/>
                    <a:lumOff val="15000"/>
                  </a:prstClr>
                </a:solidFill>
                <a:latin typeface="Segoe UI" panose="020B0502040204020203" pitchFamily="34" charset="0"/>
                <a:ea typeface="Open Sans" panose="020B0606030504020204" pitchFamily="34" charset="0"/>
                <a:cs typeface="Segoe UI" panose="020B0502040204020203" pitchFamily="34" charset="0"/>
              </a:rPr>
              <a:t>NextGen</a:t>
            </a:r>
            <a:r>
              <a:rPr lang="en-US" sz="2000" kern="1200" noProof="0">
                <a:solidFill>
                  <a:prstClr val="black">
                    <a:lumMod val="85000"/>
                    <a:lumOff val="15000"/>
                  </a:prstClr>
                </a:solidFill>
                <a:latin typeface="Segoe UI" panose="020B0502040204020203" pitchFamily="34" charset="0"/>
                <a:ea typeface="Open Sans" panose="020B0606030504020204" pitchFamily="34" charset="0"/>
                <a:cs typeface="Segoe UI" panose="020B0502040204020203" pitchFamily="34" charset="0"/>
              </a:rPr>
              <a:t> PMO ensures that </a:t>
            </a:r>
            <a:r>
              <a:rPr lang="en-US" sz="2000" b="1" kern="1200" noProof="0">
                <a:solidFill>
                  <a:prstClr val="black">
                    <a:lumMod val="85000"/>
                    <a:lumOff val="15000"/>
                  </a:prstClr>
                </a:solidFill>
                <a:latin typeface="Segoe UI" panose="020B0502040204020203" pitchFamily="34" charset="0"/>
                <a:ea typeface="Open Sans" panose="020B0606030504020204" pitchFamily="34" charset="0"/>
                <a:cs typeface="Segoe UI" panose="020B0502040204020203" pitchFamily="34" charset="0"/>
              </a:rPr>
              <a:t>all initiatives are tied to objectives and key results </a:t>
            </a:r>
            <a:r>
              <a:rPr lang="en-US" sz="2000" kern="1200" noProof="0">
                <a:solidFill>
                  <a:prstClr val="black">
                    <a:lumMod val="85000"/>
                    <a:lumOff val="15000"/>
                  </a:prstClr>
                </a:solidFill>
                <a:latin typeface="Segoe UI" panose="020B0502040204020203" pitchFamily="34" charset="0"/>
                <a:ea typeface="Open Sans" panose="020B0606030504020204" pitchFamily="34" charset="0"/>
                <a:cs typeface="Segoe UI" panose="020B0502040204020203" pitchFamily="34" charset="0"/>
              </a:rPr>
              <a:t>and measurable outcomes.</a:t>
            </a:r>
          </a:p>
        </p:txBody>
      </p:sp>
      <p:sp>
        <p:nvSpPr>
          <p:cNvPr id="100" name="Rectangle 99">
            <a:extLst>
              <a:ext uri="{FF2B5EF4-FFF2-40B4-BE49-F238E27FC236}">
                <a16:creationId xmlns:a16="http://schemas.microsoft.com/office/drawing/2014/main" id="{A599700D-FFB7-EEBF-BF5A-4857D92B5A90}"/>
              </a:ext>
            </a:extLst>
          </p:cNvPr>
          <p:cNvSpPr/>
          <p:nvPr/>
        </p:nvSpPr>
        <p:spPr>
          <a:xfrm>
            <a:off x="11402655" y="7050632"/>
            <a:ext cx="5807172" cy="601169"/>
          </a:xfrm>
          <a:prstGeom prst="rect">
            <a:avLst/>
          </a:prstGeom>
        </p:spPr>
        <p:txBody>
          <a:bodyPr wrap="square" lIns="0" tIns="0" rIns="0" bIns="0" anchor="ctr">
            <a:noAutofit/>
          </a:bodyPr>
          <a:lstStyle/>
          <a:p>
            <a:pPr algn="r">
              <a:buClrTx/>
              <a:buFontTx/>
              <a:buNone/>
            </a:pPr>
            <a:r>
              <a:rPr lang="en-US" sz="2700" b="1" kern="1200" noProof="0">
                <a:solidFill>
                  <a:srgbClr val="4BACC6"/>
                </a:solidFill>
                <a:latin typeface="Segoe UI" panose="020B0502040204020203" pitchFamily="34" charset="0"/>
                <a:ea typeface="Open Sans" panose="020B0606030504020204" pitchFamily="34" charset="0"/>
                <a:cs typeface="Segoe UI" panose="020B0502040204020203" pitchFamily="34" charset="0"/>
              </a:rPr>
              <a:t>Measurable Business Outcomes</a:t>
            </a:r>
          </a:p>
        </p:txBody>
      </p:sp>
      <p:pic>
        <p:nvPicPr>
          <p:cNvPr id="101" name="Graphic 100" descr="Daily calendar with solid fill">
            <a:extLst>
              <a:ext uri="{FF2B5EF4-FFF2-40B4-BE49-F238E27FC236}">
                <a16:creationId xmlns:a16="http://schemas.microsoft.com/office/drawing/2014/main" id="{92806776-603E-F03E-8E67-A0C5D1E7CE3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6198165" y="2200329"/>
            <a:ext cx="1006641" cy="1006641"/>
          </a:xfrm>
          <a:prstGeom prst="rect">
            <a:avLst/>
          </a:prstGeom>
        </p:spPr>
      </p:pic>
      <p:pic>
        <p:nvPicPr>
          <p:cNvPr id="102" name="Graphic 101" descr="Decision chart with solid fill">
            <a:extLst>
              <a:ext uri="{FF2B5EF4-FFF2-40B4-BE49-F238E27FC236}">
                <a16:creationId xmlns:a16="http://schemas.microsoft.com/office/drawing/2014/main" id="{D6B1A559-67DA-8836-87FB-C03D1EE318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6198165" y="4895141"/>
            <a:ext cx="1006641" cy="1006641"/>
          </a:xfrm>
          <a:prstGeom prst="rect">
            <a:avLst/>
          </a:prstGeom>
        </p:spPr>
      </p:pic>
      <p:pic>
        <p:nvPicPr>
          <p:cNvPr id="103" name="Graphic 102" descr="Diamond with solid fill">
            <a:extLst>
              <a:ext uri="{FF2B5EF4-FFF2-40B4-BE49-F238E27FC236}">
                <a16:creationId xmlns:a16="http://schemas.microsoft.com/office/drawing/2014/main" id="{9E307FB8-FE60-21B1-5F85-FD2C43BA1D6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6198165" y="7565748"/>
            <a:ext cx="1006641" cy="1006641"/>
          </a:xfrm>
          <a:prstGeom prst="rect">
            <a:avLst/>
          </a:prstGeom>
        </p:spPr>
      </p:pic>
      <p:pic>
        <p:nvPicPr>
          <p:cNvPr id="104" name="Graphic 103" descr="Puzzle pieces with solid fill">
            <a:extLst>
              <a:ext uri="{FF2B5EF4-FFF2-40B4-BE49-F238E27FC236}">
                <a16:creationId xmlns:a16="http://schemas.microsoft.com/office/drawing/2014/main" id="{666263E2-9E53-3CDB-D906-13B2751569C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92400" y="4901709"/>
            <a:ext cx="993505" cy="993505"/>
          </a:xfrm>
          <a:prstGeom prst="rect">
            <a:avLst/>
          </a:prstGeom>
        </p:spPr>
      </p:pic>
      <p:pic>
        <p:nvPicPr>
          <p:cNvPr id="105" name="Graphic 104" descr="Rating 3 Star with solid fill">
            <a:extLst>
              <a:ext uri="{FF2B5EF4-FFF2-40B4-BE49-F238E27FC236}">
                <a16:creationId xmlns:a16="http://schemas.microsoft.com/office/drawing/2014/main" id="{EE898638-A73B-528A-D7FB-F2C5C45224C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92400" y="7611868"/>
            <a:ext cx="914400" cy="914400"/>
          </a:xfrm>
          <a:prstGeom prst="rect">
            <a:avLst/>
          </a:prstGeom>
        </p:spPr>
      </p:pic>
      <p:pic>
        <p:nvPicPr>
          <p:cNvPr id="106" name="Graphic 105" descr="Target with solid fill">
            <a:extLst>
              <a:ext uri="{FF2B5EF4-FFF2-40B4-BE49-F238E27FC236}">
                <a16:creationId xmlns:a16="http://schemas.microsoft.com/office/drawing/2014/main" id="{AD0057B6-49FE-D614-A1BF-451EDFA2056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92400" y="2246449"/>
            <a:ext cx="914400" cy="914400"/>
          </a:xfrm>
          <a:prstGeom prst="rect">
            <a:avLst/>
          </a:prstGeom>
        </p:spPr>
      </p:pic>
      <p:sp>
        <p:nvSpPr>
          <p:cNvPr id="4" name="Title 1">
            <a:extLst>
              <a:ext uri="{FF2B5EF4-FFF2-40B4-BE49-F238E27FC236}">
                <a16:creationId xmlns:a16="http://schemas.microsoft.com/office/drawing/2014/main" id="{4BCE592C-D795-75DF-CA3A-8E06AF4A90C6}"/>
              </a:ext>
            </a:extLst>
          </p:cNvPr>
          <p:cNvSpPr txBox="1">
            <a:spLocks/>
          </p:cNvSpPr>
          <p:nvPr/>
        </p:nvSpPr>
        <p:spPr>
          <a:xfrm>
            <a:off x="776868" y="670785"/>
            <a:ext cx="10632735" cy="11454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1pPr>
            <a:lvl2pPr marR="0" lvl="1"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2pPr>
            <a:lvl3pPr marR="0" lvl="2"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3pPr>
            <a:lvl4pPr marR="0" lvl="3"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4pPr>
            <a:lvl5pPr marR="0" lvl="4"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5pPr>
            <a:lvl6pPr marR="0" lvl="5"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6pPr>
            <a:lvl7pPr marR="0" lvl="6"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7pPr>
            <a:lvl8pPr marR="0" lvl="7"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8pPr>
            <a:lvl9pPr marR="0" lvl="8"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9pPr>
          </a:lstStyle>
          <a:p>
            <a:r>
              <a:rPr lang="en-US" sz="4000" b="0" kern="1200">
                <a:solidFill>
                  <a:srgbClr val="000000"/>
                </a:solidFill>
                <a:latin typeface="Montserrat Bold"/>
              </a:rPr>
              <a:t>Key business benefits</a:t>
            </a:r>
            <a:endParaRPr lang="pt-BR"/>
          </a:p>
        </p:txBody>
      </p:sp>
      <p:grpSp>
        <p:nvGrpSpPr>
          <p:cNvPr id="7" name="Group 7">
            <a:extLst>
              <a:ext uri="{FF2B5EF4-FFF2-40B4-BE49-F238E27FC236}">
                <a16:creationId xmlns:a16="http://schemas.microsoft.com/office/drawing/2014/main" id="{9FBC886D-1FFE-1CC0-D9A0-AEB1BD4AE7AD}"/>
              </a:ext>
            </a:extLst>
          </p:cNvPr>
          <p:cNvGrpSpPr/>
          <p:nvPr/>
        </p:nvGrpSpPr>
        <p:grpSpPr>
          <a:xfrm>
            <a:off x="6744515" y="1217018"/>
            <a:ext cx="612363" cy="56823"/>
            <a:chOff x="0" y="0"/>
            <a:chExt cx="1078484" cy="100076"/>
          </a:xfrm>
        </p:grpSpPr>
        <p:sp>
          <p:nvSpPr>
            <p:cNvPr id="6" name="Freeform 8">
              <a:extLst>
                <a:ext uri="{FF2B5EF4-FFF2-40B4-BE49-F238E27FC236}">
                  <a16:creationId xmlns:a16="http://schemas.microsoft.com/office/drawing/2014/main" id="{AA97B239-C7D7-9EE7-4954-9F96D893C245}"/>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spTree>
    <p:extLst>
      <p:ext uri="{BB962C8B-B14F-4D97-AF65-F5344CB8AC3E}">
        <p14:creationId xmlns:p14="http://schemas.microsoft.com/office/powerpoint/2010/main" val="360251465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DBA014-5B9B-0928-FA24-7E2A2039A472}"/>
            </a:ext>
          </a:extLst>
        </p:cNvPr>
        <p:cNvGrpSpPr/>
        <p:nvPr/>
      </p:nvGrpSpPr>
      <p:grpSpPr>
        <a:xfrm>
          <a:off x="0" y="0"/>
          <a:ext cx="0" cy="0"/>
          <a:chOff x="0" y="0"/>
          <a:chExt cx="0" cy="0"/>
        </a:xfrm>
      </p:grpSpPr>
      <p:sp>
        <p:nvSpPr>
          <p:cNvPr id="38" name="Oval 37">
            <a:extLst>
              <a:ext uri="{FF2B5EF4-FFF2-40B4-BE49-F238E27FC236}">
                <a16:creationId xmlns:a16="http://schemas.microsoft.com/office/drawing/2014/main" id="{4E5119F1-0C7E-0EDC-557F-D9C51424A1DA}"/>
              </a:ext>
            </a:extLst>
          </p:cNvPr>
          <p:cNvSpPr/>
          <p:nvPr/>
        </p:nvSpPr>
        <p:spPr>
          <a:xfrm>
            <a:off x="5906997" y="2791501"/>
            <a:ext cx="3240000" cy="3240000"/>
          </a:xfrm>
          <a:prstGeom prst="ellipse">
            <a:avLst/>
          </a:prstGeom>
          <a:gradFill>
            <a:gsLst>
              <a:gs pos="0">
                <a:srgbClr val="C0504D"/>
              </a:gs>
              <a:gs pos="100000">
                <a:srgbClr val="C0504D">
                  <a:lumMod val="75000"/>
                </a:srgbClr>
              </a:gs>
            </a:gsLst>
            <a:lin ang="13500000" scaled="1"/>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39" name="TextBox 38">
            <a:extLst>
              <a:ext uri="{FF2B5EF4-FFF2-40B4-BE49-F238E27FC236}">
                <a16:creationId xmlns:a16="http://schemas.microsoft.com/office/drawing/2014/main" id="{10EC0A65-CCB1-7966-859E-9689C1A7D41D}"/>
              </a:ext>
            </a:extLst>
          </p:cNvPr>
          <p:cNvSpPr txBox="1"/>
          <p:nvPr/>
        </p:nvSpPr>
        <p:spPr>
          <a:xfrm flipH="1">
            <a:off x="6288427" y="3836033"/>
            <a:ext cx="1801970" cy="1132296"/>
          </a:xfrm>
          <a:prstGeom prst="rect">
            <a:avLst/>
          </a:prstGeom>
          <a:noFill/>
        </p:spPr>
        <p:txBody>
          <a:bodyPr wrap="square" lIns="0" tIns="0" rIns="0" bIns="0" rtlCol="0" anchor="ctr">
            <a:noAutofit/>
          </a:bodyPr>
          <a:lstStyle/>
          <a:p>
            <a:pPr algn="ctr">
              <a:lnSpc>
                <a:spcPct val="90000"/>
              </a:lnSpc>
              <a:buClrTx/>
              <a:buFontTx/>
              <a:buNone/>
            </a:pPr>
            <a:r>
              <a:rPr lang="en-US" sz="2100" kern="1200" noProof="0">
                <a:solidFill>
                  <a:prstClr val="white"/>
                </a:solidFill>
                <a:latin typeface="Calibri"/>
                <a:ea typeface="+mn-ea"/>
                <a:cs typeface="+mn-cs"/>
              </a:rPr>
              <a:t>Comprehensive </a:t>
            </a:r>
            <a:r>
              <a:rPr lang="en-US" sz="2100" b="1" kern="1200" noProof="0">
                <a:solidFill>
                  <a:prstClr val="white"/>
                </a:solidFill>
                <a:latin typeface="Calibri"/>
                <a:ea typeface="+mn-ea"/>
                <a:cs typeface="+mn-cs"/>
              </a:rPr>
              <a:t>Governance</a:t>
            </a:r>
            <a:r>
              <a:rPr lang="en-US" sz="2100" kern="1200" noProof="0">
                <a:solidFill>
                  <a:prstClr val="white"/>
                </a:solidFill>
                <a:latin typeface="Calibri"/>
                <a:ea typeface="+mn-ea"/>
                <a:cs typeface="+mn-cs"/>
              </a:rPr>
              <a:t> for Strategic Oversight</a:t>
            </a:r>
          </a:p>
        </p:txBody>
      </p:sp>
      <p:sp>
        <p:nvSpPr>
          <p:cNvPr id="40" name="Oval 39">
            <a:extLst>
              <a:ext uri="{FF2B5EF4-FFF2-40B4-BE49-F238E27FC236}">
                <a16:creationId xmlns:a16="http://schemas.microsoft.com/office/drawing/2014/main" id="{1A31A506-59F3-CBD5-E064-A926DF6699C6}"/>
              </a:ext>
            </a:extLst>
          </p:cNvPr>
          <p:cNvSpPr/>
          <p:nvPr/>
        </p:nvSpPr>
        <p:spPr>
          <a:xfrm>
            <a:off x="8445929" y="2731443"/>
            <a:ext cx="3240000" cy="3240000"/>
          </a:xfrm>
          <a:prstGeom prst="ellipse">
            <a:avLst/>
          </a:prstGeom>
          <a:gradFill>
            <a:gsLst>
              <a:gs pos="0">
                <a:srgbClr val="9BBB59"/>
              </a:gs>
              <a:gs pos="100000">
                <a:srgbClr val="9BBB59">
                  <a:lumMod val="75000"/>
                </a:srgbClr>
              </a:gs>
            </a:gsLst>
            <a:lin ang="13500000" scaled="1"/>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77" name="TextBox 76">
            <a:extLst>
              <a:ext uri="{FF2B5EF4-FFF2-40B4-BE49-F238E27FC236}">
                <a16:creationId xmlns:a16="http://schemas.microsoft.com/office/drawing/2014/main" id="{05334F20-14E9-FCC9-7317-9134D6D24F75}"/>
              </a:ext>
            </a:extLst>
          </p:cNvPr>
          <p:cNvSpPr txBox="1"/>
          <p:nvPr/>
        </p:nvSpPr>
        <p:spPr>
          <a:xfrm flipH="1">
            <a:off x="9023918" y="3450911"/>
            <a:ext cx="2084022" cy="1016824"/>
          </a:xfrm>
          <a:prstGeom prst="rect">
            <a:avLst/>
          </a:prstGeom>
          <a:noFill/>
        </p:spPr>
        <p:txBody>
          <a:bodyPr wrap="square" lIns="0" tIns="0" rIns="0" bIns="0" rtlCol="0" anchor="ctr">
            <a:noAutofit/>
          </a:bodyPr>
          <a:lstStyle/>
          <a:p>
            <a:pPr algn="ctr">
              <a:lnSpc>
                <a:spcPct val="90000"/>
              </a:lnSpc>
              <a:buClrTx/>
              <a:buFontTx/>
              <a:buNone/>
            </a:pPr>
            <a:r>
              <a:rPr lang="en-US" sz="2100" kern="1200" noProof="0">
                <a:solidFill>
                  <a:prstClr val="white"/>
                </a:solidFill>
                <a:latin typeface="Calibri"/>
                <a:ea typeface="+mn-ea"/>
                <a:cs typeface="+mn-cs"/>
              </a:rPr>
              <a:t>Enhanced </a:t>
            </a:r>
            <a:r>
              <a:rPr lang="en-US" sz="2100" b="1" kern="1200" noProof="0">
                <a:solidFill>
                  <a:prstClr val="white"/>
                </a:solidFill>
                <a:latin typeface="Calibri"/>
                <a:ea typeface="+mn-ea"/>
                <a:cs typeface="+mn-cs"/>
              </a:rPr>
              <a:t>Communication</a:t>
            </a:r>
            <a:r>
              <a:rPr lang="en-US" sz="2100" kern="1200" noProof="0">
                <a:solidFill>
                  <a:prstClr val="white"/>
                </a:solidFill>
                <a:latin typeface="Calibri"/>
                <a:ea typeface="+mn-ea"/>
                <a:cs typeface="+mn-cs"/>
              </a:rPr>
              <a:t> and Stakeholder Alignment</a:t>
            </a:r>
          </a:p>
        </p:txBody>
      </p:sp>
      <p:sp>
        <p:nvSpPr>
          <p:cNvPr id="78" name="Oval 77">
            <a:extLst>
              <a:ext uri="{FF2B5EF4-FFF2-40B4-BE49-F238E27FC236}">
                <a16:creationId xmlns:a16="http://schemas.microsoft.com/office/drawing/2014/main" id="{7A5C44A7-FE9D-F35F-C5FF-DF77D433B321}"/>
              </a:ext>
            </a:extLst>
          </p:cNvPr>
          <p:cNvSpPr/>
          <p:nvPr/>
        </p:nvSpPr>
        <p:spPr>
          <a:xfrm>
            <a:off x="8678493" y="5067884"/>
            <a:ext cx="3240000" cy="3240000"/>
          </a:xfrm>
          <a:prstGeom prst="ellipse">
            <a:avLst/>
          </a:prstGeom>
          <a:gradFill>
            <a:gsLst>
              <a:gs pos="0">
                <a:srgbClr val="4BACC6"/>
              </a:gs>
              <a:gs pos="100000">
                <a:srgbClr val="4BACC6">
                  <a:lumMod val="75000"/>
                </a:srgbClr>
              </a:gs>
            </a:gsLst>
            <a:lin ang="13500000" scaled="1"/>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79" name="TextBox 78">
            <a:extLst>
              <a:ext uri="{FF2B5EF4-FFF2-40B4-BE49-F238E27FC236}">
                <a16:creationId xmlns:a16="http://schemas.microsoft.com/office/drawing/2014/main" id="{E9295326-B67D-C633-2297-6DB9DF258925}"/>
              </a:ext>
            </a:extLst>
          </p:cNvPr>
          <p:cNvSpPr txBox="1"/>
          <p:nvPr/>
        </p:nvSpPr>
        <p:spPr>
          <a:xfrm flipH="1">
            <a:off x="10000511" y="5997701"/>
            <a:ext cx="1665881" cy="1291175"/>
          </a:xfrm>
          <a:prstGeom prst="rect">
            <a:avLst/>
          </a:prstGeom>
          <a:noFill/>
        </p:spPr>
        <p:txBody>
          <a:bodyPr wrap="square" lIns="0" tIns="0" rIns="0" bIns="0" rtlCol="0" anchor="ctr">
            <a:noAutofit/>
          </a:bodyPr>
          <a:lstStyle/>
          <a:p>
            <a:pPr algn="ctr">
              <a:lnSpc>
                <a:spcPct val="90000"/>
              </a:lnSpc>
              <a:buClrTx/>
              <a:buFontTx/>
              <a:buNone/>
            </a:pPr>
            <a:r>
              <a:rPr lang="en-US" sz="2100" kern="1200" noProof="0">
                <a:solidFill>
                  <a:prstClr val="white"/>
                </a:solidFill>
                <a:latin typeface="Calibri"/>
                <a:ea typeface="+mn-ea"/>
                <a:cs typeface="+mn-cs"/>
              </a:rPr>
              <a:t>Continuous </a:t>
            </a:r>
            <a:r>
              <a:rPr lang="en-US" sz="2100" b="1" kern="1200" noProof="0">
                <a:solidFill>
                  <a:prstClr val="white"/>
                </a:solidFill>
                <a:latin typeface="Calibri"/>
                <a:ea typeface="+mn-ea"/>
                <a:cs typeface="+mn-cs"/>
              </a:rPr>
              <a:t>Innovation</a:t>
            </a:r>
            <a:r>
              <a:rPr lang="en-US" sz="2100" kern="1200" noProof="0">
                <a:solidFill>
                  <a:prstClr val="white"/>
                </a:solidFill>
                <a:latin typeface="Calibri"/>
                <a:ea typeface="+mn-ea"/>
                <a:cs typeface="+mn-cs"/>
              </a:rPr>
              <a:t> and </a:t>
            </a:r>
            <a:r>
              <a:rPr lang="en-US" sz="2100" b="1" kern="1200" noProof="0">
                <a:solidFill>
                  <a:prstClr val="white"/>
                </a:solidFill>
                <a:latin typeface="Calibri"/>
                <a:ea typeface="+mn-ea"/>
                <a:cs typeface="+mn-cs"/>
              </a:rPr>
              <a:t>Business Enablement</a:t>
            </a:r>
          </a:p>
        </p:txBody>
      </p:sp>
      <p:sp>
        <p:nvSpPr>
          <p:cNvPr id="80" name="Oval 79">
            <a:extLst>
              <a:ext uri="{FF2B5EF4-FFF2-40B4-BE49-F238E27FC236}">
                <a16:creationId xmlns:a16="http://schemas.microsoft.com/office/drawing/2014/main" id="{F8048CE9-F680-F51C-BFEE-F7889B98C930}"/>
              </a:ext>
            </a:extLst>
          </p:cNvPr>
          <p:cNvSpPr/>
          <p:nvPr/>
        </p:nvSpPr>
        <p:spPr>
          <a:xfrm>
            <a:off x="5763349" y="5143376"/>
            <a:ext cx="3240000" cy="3240000"/>
          </a:xfrm>
          <a:prstGeom prst="ellipse">
            <a:avLst/>
          </a:prstGeom>
          <a:gradFill>
            <a:gsLst>
              <a:gs pos="0">
                <a:srgbClr val="4F81BD"/>
              </a:gs>
              <a:gs pos="100000">
                <a:srgbClr val="4F81BD">
                  <a:lumMod val="75000"/>
                </a:srgbClr>
              </a:gs>
            </a:gsLst>
            <a:lin ang="13500000" scaled="1"/>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81" name="TextBox 80">
            <a:extLst>
              <a:ext uri="{FF2B5EF4-FFF2-40B4-BE49-F238E27FC236}">
                <a16:creationId xmlns:a16="http://schemas.microsoft.com/office/drawing/2014/main" id="{E7A0255D-B0D0-2C67-03DC-AF5D3BC89EC1}"/>
              </a:ext>
            </a:extLst>
          </p:cNvPr>
          <p:cNvSpPr txBox="1"/>
          <p:nvPr/>
        </p:nvSpPr>
        <p:spPr>
          <a:xfrm flipH="1">
            <a:off x="5899897" y="6215643"/>
            <a:ext cx="1822920" cy="1016824"/>
          </a:xfrm>
          <a:prstGeom prst="rect">
            <a:avLst/>
          </a:prstGeom>
          <a:noFill/>
        </p:spPr>
        <p:txBody>
          <a:bodyPr wrap="square" lIns="0" tIns="0" rIns="0" bIns="0" rtlCol="0" anchor="ctr">
            <a:noAutofit/>
          </a:bodyPr>
          <a:lstStyle/>
          <a:p>
            <a:pPr algn="ctr">
              <a:lnSpc>
                <a:spcPct val="90000"/>
              </a:lnSpc>
              <a:buClrTx/>
              <a:buFontTx/>
              <a:buNone/>
            </a:pPr>
            <a:r>
              <a:rPr lang="en-US" sz="2100" b="1" kern="1200" noProof="0">
                <a:solidFill>
                  <a:prstClr val="white"/>
                </a:solidFill>
                <a:latin typeface="Calibri"/>
                <a:ea typeface="+mn-ea"/>
                <a:cs typeface="+mn-cs"/>
              </a:rPr>
              <a:t>Business-Driven</a:t>
            </a:r>
            <a:r>
              <a:rPr lang="en-US" sz="2100" kern="1200" noProof="0">
                <a:solidFill>
                  <a:prstClr val="white"/>
                </a:solidFill>
                <a:latin typeface="Calibri"/>
                <a:ea typeface="+mn-ea"/>
                <a:cs typeface="+mn-cs"/>
              </a:rPr>
              <a:t> Technology Integration</a:t>
            </a:r>
          </a:p>
        </p:txBody>
      </p:sp>
      <p:sp>
        <p:nvSpPr>
          <p:cNvPr id="82" name="Rectangle 49">
            <a:extLst>
              <a:ext uri="{FF2B5EF4-FFF2-40B4-BE49-F238E27FC236}">
                <a16:creationId xmlns:a16="http://schemas.microsoft.com/office/drawing/2014/main" id="{69A87454-F294-3FBA-4BB5-452FE8098390}"/>
              </a:ext>
            </a:extLst>
          </p:cNvPr>
          <p:cNvSpPr/>
          <p:nvPr/>
        </p:nvSpPr>
        <p:spPr>
          <a:xfrm>
            <a:off x="4975467" y="2176075"/>
            <a:ext cx="972000" cy="558000"/>
          </a:xfrm>
          <a:custGeom>
            <a:avLst/>
            <a:gdLst>
              <a:gd name="connsiteX0" fmla="*/ 0 w 943928"/>
              <a:gd name="connsiteY0" fmla="*/ 0 h 810488"/>
              <a:gd name="connsiteX1" fmla="*/ 943928 w 943928"/>
              <a:gd name="connsiteY1" fmla="*/ 0 h 810488"/>
              <a:gd name="connsiteX2" fmla="*/ 943928 w 943928"/>
              <a:gd name="connsiteY2" fmla="*/ 810488 h 810488"/>
              <a:gd name="connsiteX3" fmla="*/ 0 w 943928"/>
              <a:gd name="connsiteY3" fmla="*/ 810488 h 810488"/>
              <a:gd name="connsiteX4" fmla="*/ 0 w 943928"/>
              <a:gd name="connsiteY4" fmla="*/ 0 h 810488"/>
              <a:gd name="connsiteX0" fmla="*/ 0 w 943928"/>
              <a:gd name="connsiteY0" fmla="*/ 810488 h 901928"/>
              <a:gd name="connsiteX1" fmla="*/ 0 w 943928"/>
              <a:gd name="connsiteY1" fmla="*/ 0 h 901928"/>
              <a:gd name="connsiteX2" fmla="*/ 943928 w 943928"/>
              <a:gd name="connsiteY2" fmla="*/ 0 h 901928"/>
              <a:gd name="connsiteX3" fmla="*/ 943928 w 943928"/>
              <a:gd name="connsiteY3" fmla="*/ 810488 h 901928"/>
              <a:gd name="connsiteX4" fmla="*/ 91440 w 943928"/>
              <a:gd name="connsiteY4" fmla="*/ 901928 h 901928"/>
              <a:gd name="connsiteX0" fmla="*/ 0 w 943928"/>
              <a:gd name="connsiteY0" fmla="*/ 810488 h 810488"/>
              <a:gd name="connsiteX1" fmla="*/ 0 w 943928"/>
              <a:gd name="connsiteY1" fmla="*/ 0 h 810488"/>
              <a:gd name="connsiteX2" fmla="*/ 943928 w 943928"/>
              <a:gd name="connsiteY2" fmla="*/ 0 h 810488"/>
              <a:gd name="connsiteX3" fmla="*/ 943928 w 943928"/>
              <a:gd name="connsiteY3" fmla="*/ 810488 h 810488"/>
              <a:gd name="connsiteX0" fmla="*/ 0 w 943928"/>
              <a:gd name="connsiteY0" fmla="*/ 0 h 810488"/>
              <a:gd name="connsiteX1" fmla="*/ 943928 w 943928"/>
              <a:gd name="connsiteY1" fmla="*/ 0 h 810488"/>
              <a:gd name="connsiteX2" fmla="*/ 943928 w 943928"/>
              <a:gd name="connsiteY2" fmla="*/ 810488 h 810488"/>
              <a:gd name="connsiteX0" fmla="*/ 0 w 943928"/>
              <a:gd name="connsiteY0" fmla="*/ 961 h 811449"/>
              <a:gd name="connsiteX1" fmla="*/ 717058 w 943928"/>
              <a:gd name="connsiteY1" fmla="*/ 0 h 811449"/>
              <a:gd name="connsiteX2" fmla="*/ 943928 w 943928"/>
              <a:gd name="connsiteY2" fmla="*/ 961 h 811449"/>
              <a:gd name="connsiteX3" fmla="*/ 943928 w 943928"/>
              <a:gd name="connsiteY3" fmla="*/ 811449 h 811449"/>
              <a:gd name="connsiteX0" fmla="*/ 0 w 943928"/>
              <a:gd name="connsiteY0" fmla="*/ 961 h 811449"/>
              <a:gd name="connsiteX1" fmla="*/ 717058 w 943928"/>
              <a:gd name="connsiteY1" fmla="*/ 0 h 811449"/>
              <a:gd name="connsiteX2" fmla="*/ 943928 w 943928"/>
              <a:gd name="connsiteY2" fmla="*/ 811449 h 811449"/>
              <a:gd name="connsiteX0" fmla="*/ 0 w 1267886"/>
              <a:gd name="connsiteY0" fmla="*/ 961 h 649470"/>
              <a:gd name="connsiteX1" fmla="*/ 717058 w 1267886"/>
              <a:gd name="connsiteY1" fmla="*/ 0 h 649470"/>
              <a:gd name="connsiteX2" fmla="*/ 1267886 w 1267886"/>
              <a:gd name="connsiteY2" fmla="*/ 649470 h 649470"/>
            </a:gdLst>
            <a:ahLst/>
            <a:cxnLst>
              <a:cxn ang="0">
                <a:pos x="connsiteX0" y="connsiteY0"/>
              </a:cxn>
              <a:cxn ang="0">
                <a:pos x="connsiteX1" y="connsiteY1"/>
              </a:cxn>
              <a:cxn ang="0">
                <a:pos x="connsiteX2" y="connsiteY2"/>
              </a:cxn>
            </a:cxnLst>
            <a:rect l="l" t="t" r="r" b="b"/>
            <a:pathLst>
              <a:path w="1267886" h="649470">
                <a:moveTo>
                  <a:pt x="0" y="961"/>
                </a:moveTo>
                <a:lnTo>
                  <a:pt x="717058" y="0"/>
                </a:lnTo>
                <a:lnTo>
                  <a:pt x="1267886" y="649470"/>
                </a:lnTo>
              </a:path>
            </a:pathLst>
          </a:custGeom>
          <a:noFill/>
          <a:ln w="25400" cap="flat" cmpd="sng" algn="ctr">
            <a:solidFill>
              <a:sysClr val="window" lastClr="FFFFFF">
                <a:lumMod val="85000"/>
              </a:sysClr>
            </a:solidFill>
            <a:prstDash val="solid"/>
            <a:headEnd type="oval" w="lg" len="lg"/>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83" name="Oval 82">
            <a:extLst>
              <a:ext uri="{FF2B5EF4-FFF2-40B4-BE49-F238E27FC236}">
                <a16:creationId xmlns:a16="http://schemas.microsoft.com/office/drawing/2014/main" id="{2B30E82B-5106-9762-FE78-FA073AFC9313}"/>
              </a:ext>
            </a:extLst>
          </p:cNvPr>
          <p:cNvSpPr/>
          <p:nvPr/>
        </p:nvSpPr>
        <p:spPr>
          <a:xfrm>
            <a:off x="7191927" y="4050757"/>
            <a:ext cx="3229337" cy="3229337"/>
          </a:xfrm>
          <a:prstGeom prst="ellipse">
            <a:avLst/>
          </a:prstGeom>
          <a:solidFill>
            <a:sysClr val="windowText" lastClr="000000">
              <a:alpha val="36000"/>
            </a:sysClr>
          </a:solidFill>
          <a:ln w="76200" cap="flat" cmpd="sng" algn="ctr">
            <a:noFill/>
            <a:prstDash val="solid"/>
          </a:ln>
          <a:effectLst>
            <a:softEdge rad="24130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84" name="Oval 83">
            <a:extLst>
              <a:ext uri="{FF2B5EF4-FFF2-40B4-BE49-F238E27FC236}">
                <a16:creationId xmlns:a16="http://schemas.microsoft.com/office/drawing/2014/main" id="{FDF1AFC9-43BA-1FB2-E680-852C96F5B96F}"/>
              </a:ext>
            </a:extLst>
          </p:cNvPr>
          <p:cNvSpPr/>
          <p:nvPr/>
        </p:nvSpPr>
        <p:spPr>
          <a:xfrm>
            <a:off x="7630416" y="4441351"/>
            <a:ext cx="2336355" cy="2336355"/>
          </a:xfrm>
          <a:prstGeom prst="ellipse">
            <a:avLst/>
          </a:prstGeom>
          <a:solidFill>
            <a:srgbClr val="6800FF"/>
          </a:solidFill>
          <a:ln w="762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85" name="TextBox 84">
            <a:extLst>
              <a:ext uri="{FF2B5EF4-FFF2-40B4-BE49-F238E27FC236}">
                <a16:creationId xmlns:a16="http://schemas.microsoft.com/office/drawing/2014/main" id="{E45AAF5B-9B8F-D9D8-6E8F-FDDDB3FFEB58}"/>
              </a:ext>
            </a:extLst>
          </p:cNvPr>
          <p:cNvSpPr txBox="1"/>
          <p:nvPr/>
        </p:nvSpPr>
        <p:spPr>
          <a:xfrm>
            <a:off x="7657210" y="5012494"/>
            <a:ext cx="2282768" cy="1194069"/>
          </a:xfrm>
          <a:prstGeom prst="rect">
            <a:avLst/>
          </a:prstGeom>
          <a:noFill/>
        </p:spPr>
        <p:txBody>
          <a:bodyPr wrap="square" lIns="0" tIns="0" rIns="0" bIns="0" rtlCol="0" anchor="ctr">
            <a:noAutofit/>
          </a:bodyPr>
          <a:lstStyle/>
          <a:p>
            <a:pPr algn="ctr">
              <a:buClrTx/>
              <a:buFontTx/>
              <a:buNone/>
            </a:pPr>
            <a:r>
              <a:rPr lang="en-US" sz="2800" kern="1200" noProof="0">
                <a:solidFill>
                  <a:prstClr val="white"/>
                </a:solidFill>
                <a:latin typeface="Calibri"/>
                <a:ea typeface="+mn-ea"/>
                <a:cs typeface="+mn-cs"/>
              </a:rPr>
              <a:t>Digital Office</a:t>
            </a:r>
          </a:p>
        </p:txBody>
      </p:sp>
      <p:sp>
        <p:nvSpPr>
          <p:cNvPr id="86" name="Rectangle 49">
            <a:extLst>
              <a:ext uri="{FF2B5EF4-FFF2-40B4-BE49-F238E27FC236}">
                <a16:creationId xmlns:a16="http://schemas.microsoft.com/office/drawing/2014/main" id="{A547BC9F-C030-DA69-C931-74A8C84BA64B}"/>
              </a:ext>
            </a:extLst>
          </p:cNvPr>
          <p:cNvSpPr/>
          <p:nvPr/>
        </p:nvSpPr>
        <p:spPr>
          <a:xfrm flipH="1">
            <a:off x="11918492" y="2176075"/>
            <a:ext cx="972007" cy="557396"/>
          </a:xfrm>
          <a:custGeom>
            <a:avLst/>
            <a:gdLst>
              <a:gd name="connsiteX0" fmla="*/ 0 w 943928"/>
              <a:gd name="connsiteY0" fmla="*/ 0 h 810488"/>
              <a:gd name="connsiteX1" fmla="*/ 943928 w 943928"/>
              <a:gd name="connsiteY1" fmla="*/ 0 h 810488"/>
              <a:gd name="connsiteX2" fmla="*/ 943928 w 943928"/>
              <a:gd name="connsiteY2" fmla="*/ 810488 h 810488"/>
              <a:gd name="connsiteX3" fmla="*/ 0 w 943928"/>
              <a:gd name="connsiteY3" fmla="*/ 810488 h 810488"/>
              <a:gd name="connsiteX4" fmla="*/ 0 w 943928"/>
              <a:gd name="connsiteY4" fmla="*/ 0 h 810488"/>
              <a:gd name="connsiteX0" fmla="*/ 0 w 943928"/>
              <a:gd name="connsiteY0" fmla="*/ 810488 h 901928"/>
              <a:gd name="connsiteX1" fmla="*/ 0 w 943928"/>
              <a:gd name="connsiteY1" fmla="*/ 0 h 901928"/>
              <a:gd name="connsiteX2" fmla="*/ 943928 w 943928"/>
              <a:gd name="connsiteY2" fmla="*/ 0 h 901928"/>
              <a:gd name="connsiteX3" fmla="*/ 943928 w 943928"/>
              <a:gd name="connsiteY3" fmla="*/ 810488 h 901928"/>
              <a:gd name="connsiteX4" fmla="*/ 91440 w 943928"/>
              <a:gd name="connsiteY4" fmla="*/ 901928 h 901928"/>
              <a:gd name="connsiteX0" fmla="*/ 0 w 943928"/>
              <a:gd name="connsiteY0" fmla="*/ 810488 h 810488"/>
              <a:gd name="connsiteX1" fmla="*/ 0 w 943928"/>
              <a:gd name="connsiteY1" fmla="*/ 0 h 810488"/>
              <a:gd name="connsiteX2" fmla="*/ 943928 w 943928"/>
              <a:gd name="connsiteY2" fmla="*/ 0 h 810488"/>
              <a:gd name="connsiteX3" fmla="*/ 943928 w 943928"/>
              <a:gd name="connsiteY3" fmla="*/ 810488 h 810488"/>
              <a:gd name="connsiteX0" fmla="*/ 0 w 943928"/>
              <a:gd name="connsiteY0" fmla="*/ 0 h 810488"/>
              <a:gd name="connsiteX1" fmla="*/ 943928 w 943928"/>
              <a:gd name="connsiteY1" fmla="*/ 0 h 810488"/>
              <a:gd name="connsiteX2" fmla="*/ 943928 w 943928"/>
              <a:gd name="connsiteY2" fmla="*/ 810488 h 810488"/>
              <a:gd name="connsiteX0" fmla="*/ 0 w 943928"/>
              <a:gd name="connsiteY0" fmla="*/ 961 h 811449"/>
              <a:gd name="connsiteX1" fmla="*/ 717058 w 943928"/>
              <a:gd name="connsiteY1" fmla="*/ 0 h 811449"/>
              <a:gd name="connsiteX2" fmla="*/ 943928 w 943928"/>
              <a:gd name="connsiteY2" fmla="*/ 961 h 811449"/>
              <a:gd name="connsiteX3" fmla="*/ 943928 w 943928"/>
              <a:gd name="connsiteY3" fmla="*/ 811449 h 811449"/>
              <a:gd name="connsiteX0" fmla="*/ 0 w 943928"/>
              <a:gd name="connsiteY0" fmla="*/ 961 h 811449"/>
              <a:gd name="connsiteX1" fmla="*/ 717058 w 943928"/>
              <a:gd name="connsiteY1" fmla="*/ 0 h 811449"/>
              <a:gd name="connsiteX2" fmla="*/ 943928 w 943928"/>
              <a:gd name="connsiteY2" fmla="*/ 811449 h 811449"/>
              <a:gd name="connsiteX0" fmla="*/ 0 w 1267886"/>
              <a:gd name="connsiteY0" fmla="*/ 961 h 649470"/>
              <a:gd name="connsiteX1" fmla="*/ 717058 w 1267886"/>
              <a:gd name="connsiteY1" fmla="*/ 0 h 649470"/>
              <a:gd name="connsiteX2" fmla="*/ 1267886 w 1267886"/>
              <a:gd name="connsiteY2" fmla="*/ 649470 h 649470"/>
            </a:gdLst>
            <a:ahLst/>
            <a:cxnLst>
              <a:cxn ang="0">
                <a:pos x="connsiteX0" y="connsiteY0"/>
              </a:cxn>
              <a:cxn ang="0">
                <a:pos x="connsiteX1" y="connsiteY1"/>
              </a:cxn>
              <a:cxn ang="0">
                <a:pos x="connsiteX2" y="connsiteY2"/>
              </a:cxn>
            </a:cxnLst>
            <a:rect l="l" t="t" r="r" b="b"/>
            <a:pathLst>
              <a:path w="1267886" h="649470">
                <a:moveTo>
                  <a:pt x="0" y="961"/>
                </a:moveTo>
                <a:lnTo>
                  <a:pt x="717058" y="0"/>
                </a:lnTo>
                <a:lnTo>
                  <a:pt x="1267886" y="649470"/>
                </a:lnTo>
              </a:path>
            </a:pathLst>
          </a:custGeom>
          <a:noFill/>
          <a:ln w="25400" cap="flat" cmpd="sng" algn="ctr">
            <a:solidFill>
              <a:sysClr val="window" lastClr="FFFFFF">
                <a:lumMod val="85000"/>
              </a:sysClr>
            </a:solidFill>
            <a:prstDash val="solid"/>
            <a:headEnd type="oval" w="lg" len="lg"/>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87" name="TextBox 86">
            <a:extLst>
              <a:ext uri="{FF2B5EF4-FFF2-40B4-BE49-F238E27FC236}">
                <a16:creationId xmlns:a16="http://schemas.microsoft.com/office/drawing/2014/main" id="{8EA518C3-66D8-A786-5AEA-7C20CB6439F2}"/>
              </a:ext>
            </a:extLst>
          </p:cNvPr>
          <p:cNvSpPr txBox="1"/>
          <p:nvPr/>
        </p:nvSpPr>
        <p:spPr>
          <a:xfrm>
            <a:off x="13142039" y="2333932"/>
            <a:ext cx="2934868" cy="2100999"/>
          </a:xfrm>
          <a:prstGeom prst="rect">
            <a:avLst/>
          </a:prstGeom>
          <a:noFill/>
        </p:spPr>
        <p:txBody>
          <a:bodyPr wrap="square" lIns="0" tIns="0" rIns="0" bIns="0" rtlCol="0" anchor="t">
            <a:noAutofit/>
          </a:bodyPr>
          <a:lstStyle/>
          <a:p>
            <a:pPr>
              <a:buClrTx/>
              <a:buFontTx/>
              <a:buNone/>
            </a:pPr>
            <a:r>
              <a:rPr lang="en-US" sz="2400" b="1" kern="1200" noProof="0">
                <a:solidFill>
                  <a:prstClr val="black">
                    <a:lumMod val="85000"/>
                    <a:lumOff val="15000"/>
                  </a:prstClr>
                </a:solidFill>
                <a:latin typeface="Calibri"/>
                <a:ea typeface="+mn-ea"/>
                <a:cs typeface="+mn-cs"/>
              </a:rPr>
              <a:t>Prioritizes</a:t>
            </a:r>
            <a:r>
              <a:rPr lang="en-US" sz="2400" kern="1200" noProof="0">
                <a:solidFill>
                  <a:prstClr val="black">
                    <a:lumMod val="85000"/>
                    <a:lumOff val="15000"/>
                  </a:prstClr>
                </a:solidFill>
                <a:latin typeface="Calibri"/>
                <a:ea typeface="+mn-ea"/>
                <a:cs typeface="+mn-cs"/>
              </a:rPr>
              <a:t> a </a:t>
            </a:r>
            <a:r>
              <a:rPr lang="en-US" sz="2400" b="1" kern="1200" noProof="0">
                <a:solidFill>
                  <a:prstClr val="black">
                    <a:lumMod val="85000"/>
                    <a:lumOff val="15000"/>
                  </a:prstClr>
                </a:solidFill>
                <a:latin typeface="Calibri"/>
                <a:ea typeface="+mn-ea"/>
                <a:cs typeface="+mn-cs"/>
              </a:rPr>
              <a:t>clear and structured communication strategy</a:t>
            </a:r>
            <a:r>
              <a:rPr lang="en-US" sz="2400" kern="1200" noProof="0">
                <a:solidFill>
                  <a:prstClr val="black">
                    <a:lumMod val="85000"/>
                    <a:lumOff val="15000"/>
                  </a:prstClr>
                </a:solidFill>
                <a:latin typeface="Calibri"/>
                <a:ea typeface="+mn-ea"/>
                <a:cs typeface="+mn-cs"/>
              </a:rPr>
              <a:t> to ensure seamless </a:t>
            </a:r>
            <a:r>
              <a:rPr lang="en-US" sz="2400" b="1" kern="1200" noProof="0">
                <a:solidFill>
                  <a:prstClr val="black">
                    <a:lumMod val="85000"/>
                    <a:lumOff val="15000"/>
                  </a:prstClr>
                </a:solidFill>
                <a:latin typeface="Calibri"/>
                <a:ea typeface="+mn-ea"/>
                <a:cs typeface="+mn-cs"/>
              </a:rPr>
              <a:t>collaboration</a:t>
            </a:r>
            <a:r>
              <a:rPr lang="en-US" sz="2400" kern="1200" noProof="0">
                <a:solidFill>
                  <a:prstClr val="black">
                    <a:lumMod val="85000"/>
                    <a:lumOff val="15000"/>
                  </a:prstClr>
                </a:solidFill>
                <a:latin typeface="Calibri"/>
                <a:ea typeface="+mn-ea"/>
                <a:cs typeface="+mn-cs"/>
              </a:rPr>
              <a:t> across all levels of the organization</a:t>
            </a:r>
          </a:p>
        </p:txBody>
      </p:sp>
      <p:sp>
        <p:nvSpPr>
          <p:cNvPr id="88" name="TextBox 87">
            <a:extLst>
              <a:ext uri="{FF2B5EF4-FFF2-40B4-BE49-F238E27FC236}">
                <a16:creationId xmlns:a16="http://schemas.microsoft.com/office/drawing/2014/main" id="{DF4A373F-A662-F089-8847-9E71597DFC35}"/>
              </a:ext>
            </a:extLst>
          </p:cNvPr>
          <p:cNvSpPr txBox="1"/>
          <p:nvPr/>
        </p:nvSpPr>
        <p:spPr>
          <a:xfrm>
            <a:off x="13100773" y="1982490"/>
            <a:ext cx="2891677" cy="391886"/>
          </a:xfrm>
          <a:prstGeom prst="rect">
            <a:avLst/>
          </a:prstGeom>
          <a:noFill/>
        </p:spPr>
        <p:txBody>
          <a:bodyPr wrap="square" lIns="0" tIns="0" rIns="0" bIns="0" rtlCol="0" anchor="ctr">
            <a:noAutofit/>
          </a:bodyPr>
          <a:lstStyle/>
          <a:p>
            <a:pPr>
              <a:buClrTx/>
              <a:buFontTx/>
              <a:buNone/>
            </a:pPr>
            <a:r>
              <a:rPr lang="en-US" sz="2700" b="1" kern="1200" noProof="0">
                <a:solidFill>
                  <a:srgbClr val="9BBB59"/>
                </a:solidFill>
                <a:latin typeface="Calibri"/>
                <a:ea typeface="+mn-ea"/>
                <a:cs typeface="+mn-cs"/>
              </a:rPr>
              <a:t>Communication</a:t>
            </a:r>
          </a:p>
        </p:txBody>
      </p:sp>
      <p:sp>
        <p:nvSpPr>
          <p:cNvPr id="89" name="TextBox 88">
            <a:extLst>
              <a:ext uri="{FF2B5EF4-FFF2-40B4-BE49-F238E27FC236}">
                <a16:creationId xmlns:a16="http://schemas.microsoft.com/office/drawing/2014/main" id="{362B6194-B9CF-AD1E-8A2C-BC59C7F042F4}"/>
              </a:ext>
            </a:extLst>
          </p:cNvPr>
          <p:cNvSpPr txBox="1"/>
          <p:nvPr/>
        </p:nvSpPr>
        <p:spPr>
          <a:xfrm>
            <a:off x="13142038" y="7654290"/>
            <a:ext cx="4140200" cy="1444914"/>
          </a:xfrm>
          <a:prstGeom prst="rect">
            <a:avLst/>
          </a:prstGeom>
          <a:noFill/>
        </p:spPr>
        <p:txBody>
          <a:bodyPr wrap="square" lIns="0" tIns="0" rIns="0" bIns="0" rtlCol="0" anchor="t">
            <a:noAutofit/>
          </a:bodyPr>
          <a:lstStyle/>
          <a:p>
            <a:pPr>
              <a:buClrTx/>
              <a:buFontTx/>
              <a:buNone/>
            </a:pPr>
            <a:r>
              <a:rPr lang="en-US" sz="2400" b="1" kern="1200" noProof="0">
                <a:solidFill>
                  <a:prstClr val="black">
                    <a:lumMod val="85000"/>
                    <a:lumOff val="15000"/>
                  </a:prstClr>
                </a:solidFill>
                <a:latin typeface="Calibri"/>
                <a:ea typeface="+mn-ea"/>
                <a:cs typeface="+mn-cs"/>
              </a:rPr>
              <a:t>Drives</a:t>
            </a:r>
            <a:r>
              <a:rPr lang="en-US" sz="2400" kern="1200" noProof="0">
                <a:solidFill>
                  <a:prstClr val="black">
                    <a:lumMod val="85000"/>
                    <a:lumOff val="15000"/>
                  </a:prstClr>
                </a:solidFill>
                <a:latin typeface="Calibri"/>
                <a:ea typeface="+mn-ea"/>
                <a:cs typeface="+mn-cs"/>
              </a:rPr>
              <a:t> ongoing transformation by </a:t>
            </a:r>
            <a:r>
              <a:rPr lang="en-US" sz="2400" b="1" kern="1200" noProof="0">
                <a:solidFill>
                  <a:prstClr val="black">
                    <a:lumMod val="85000"/>
                    <a:lumOff val="15000"/>
                  </a:prstClr>
                </a:solidFill>
                <a:latin typeface="Calibri"/>
                <a:ea typeface="+mn-ea"/>
                <a:cs typeface="+mn-cs"/>
              </a:rPr>
              <a:t>integrating emerging technologies and innovative strategies</a:t>
            </a:r>
            <a:r>
              <a:rPr lang="en-US" sz="2400" kern="1200" noProof="0">
                <a:solidFill>
                  <a:prstClr val="black">
                    <a:lumMod val="85000"/>
                    <a:lumOff val="15000"/>
                  </a:prstClr>
                </a:solidFill>
                <a:latin typeface="Calibri"/>
                <a:ea typeface="+mn-ea"/>
                <a:cs typeface="+mn-cs"/>
              </a:rPr>
              <a:t> into business operations</a:t>
            </a:r>
          </a:p>
        </p:txBody>
      </p:sp>
      <p:sp>
        <p:nvSpPr>
          <p:cNvPr id="90" name="TextBox 89">
            <a:extLst>
              <a:ext uri="{FF2B5EF4-FFF2-40B4-BE49-F238E27FC236}">
                <a16:creationId xmlns:a16="http://schemas.microsoft.com/office/drawing/2014/main" id="{2884C154-8669-0A69-FBE0-E144C4902EE8}"/>
              </a:ext>
            </a:extLst>
          </p:cNvPr>
          <p:cNvSpPr txBox="1"/>
          <p:nvPr/>
        </p:nvSpPr>
        <p:spPr>
          <a:xfrm>
            <a:off x="13088073" y="6801887"/>
            <a:ext cx="3117127" cy="797744"/>
          </a:xfrm>
          <a:prstGeom prst="rect">
            <a:avLst/>
          </a:prstGeom>
          <a:noFill/>
        </p:spPr>
        <p:txBody>
          <a:bodyPr wrap="square" lIns="0" tIns="0" rIns="0" bIns="0" rtlCol="0" anchor="ctr">
            <a:noAutofit/>
          </a:bodyPr>
          <a:lstStyle/>
          <a:p>
            <a:pPr>
              <a:buClrTx/>
              <a:buFontTx/>
              <a:buNone/>
            </a:pPr>
            <a:r>
              <a:rPr lang="en-US" sz="2700" b="1" kern="1200" noProof="0">
                <a:solidFill>
                  <a:srgbClr val="4BACC6"/>
                </a:solidFill>
                <a:latin typeface="Calibri"/>
                <a:ea typeface="+mn-ea"/>
                <a:cs typeface="+mn-cs"/>
              </a:rPr>
              <a:t>Innovation &amp; Business Enablement</a:t>
            </a:r>
          </a:p>
        </p:txBody>
      </p:sp>
      <p:sp>
        <p:nvSpPr>
          <p:cNvPr id="91" name="Oval 90">
            <a:extLst>
              <a:ext uri="{FF2B5EF4-FFF2-40B4-BE49-F238E27FC236}">
                <a16:creationId xmlns:a16="http://schemas.microsoft.com/office/drawing/2014/main" id="{2C81F58F-CD0B-2AC5-B977-974996E8F3CB}"/>
              </a:ext>
            </a:extLst>
          </p:cNvPr>
          <p:cNvSpPr/>
          <p:nvPr/>
        </p:nvSpPr>
        <p:spPr>
          <a:xfrm>
            <a:off x="5730906" y="2488432"/>
            <a:ext cx="1587600" cy="1587600"/>
          </a:xfrm>
          <a:prstGeom prst="ellipse">
            <a:avLst/>
          </a:prstGeom>
          <a:solidFill>
            <a:sysClr val="windowText" lastClr="000000">
              <a:alpha val="41000"/>
            </a:sysClr>
          </a:solidFill>
          <a:ln w="38100" cap="flat" cmpd="sng" algn="ctr">
            <a:noFill/>
            <a:prstDash val="solid"/>
          </a:ln>
          <a:effectLst>
            <a:softEdge rad="20320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92" name="Oval 91">
            <a:extLst>
              <a:ext uri="{FF2B5EF4-FFF2-40B4-BE49-F238E27FC236}">
                <a16:creationId xmlns:a16="http://schemas.microsoft.com/office/drawing/2014/main" id="{3072ACB7-E88D-A1CA-A895-DD43D60C3188}"/>
              </a:ext>
            </a:extLst>
          </p:cNvPr>
          <p:cNvSpPr/>
          <p:nvPr/>
        </p:nvSpPr>
        <p:spPr>
          <a:xfrm>
            <a:off x="5816067" y="2557773"/>
            <a:ext cx="1155600" cy="1155600"/>
          </a:xfrm>
          <a:prstGeom prst="ellipse">
            <a:avLst/>
          </a:prstGeom>
          <a:gradFill>
            <a:gsLst>
              <a:gs pos="0">
                <a:srgbClr val="C0504D"/>
              </a:gs>
              <a:gs pos="100000">
                <a:srgbClr val="C0504D">
                  <a:lumMod val="75000"/>
                </a:srgbClr>
              </a:gs>
            </a:gsLst>
            <a:lin ang="13500000" scaled="1"/>
          </a:gradFill>
          <a:ln w="381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93" name="Oval 92">
            <a:extLst>
              <a:ext uri="{FF2B5EF4-FFF2-40B4-BE49-F238E27FC236}">
                <a16:creationId xmlns:a16="http://schemas.microsoft.com/office/drawing/2014/main" id="{913FFFC0-24F9-A143-9C60-F1F65E40AA2D}"/>
              </a:ext>
            </a:extLst>
          </p:cNvPr>
          <p:cNvSpPr/>
          <p:nvPr/>
        </p:nvSpPr>
        <p:spPr>
          <a:xfrm>
            <a:off x="5547929" y="7074999"/>
            <a:ext cx="1587654" cy="1587654"/>
          </a:xfrm>
          <a:prstGeom prst="ellipse">
            <a:avLst/>
          </a:prstGeom>
          <a:solidFill>
            <a:sysClr val="windowText" lastClr="000000">
              <a:alpha val="41000"/>
            </a:sysClr>
          </a:solidFill>
          <a:ln w="38100" cap="flat" cmpd="sng" algn="ctr">
            <a:noFill/>
            <a:prstDash val="solid"/>
          </a:ln>
          <a:effectLst>
            <a:softEdge rad="20320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94" name="Oval 93">
            <a:extLst>
              <a:ext uri="{FF2B5EF4-FFF2-40B4-BE49-F238E27FC236}">
                <a16:creationId xmlns:a16="http://schemas.microsoft.com/office/drawing/2014/main" id="{FC5D56B2-4AC1-C5E6-45F2-74661D0B56AD}"/>
              </a:ext>
            </a:extLst>
          </p:cNvPr>
          <p:cNvSpPr/>
          <p:nvPr/>
        </p:nvSpPr>
        <p:spPr>
          <a:xfrm>
            <a:off x="10603108" y="2534505"/>
            <a:ext cx="1587654" cy="1587654"/>
          </a:xfrm>
          <a:prstGeom prst="ellipse">
            <a:avLst/>
          </a:prstGeom>
          <a:solidFill>
            <a:sysClr val="windowText" lastClr="000000">
              <a:alpha val="41000"/>
            </a:sysClr>
          </a:solidFill>
          <a:ln w="38100" cap="flat" cmpd="sng" algn="ctr">
            <a:noFill/>
            <a:prstDash val="solid"/>
          </a:ln>
          <a:effectLst>
            <a:softEdge rad="20320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95" name="Oval 94">
            <a:extLst>
              <a:ext uri="{FF2B5EF4-FFF2-40B4-BE49-F238E27FC236}">
                <a16:creationId xmlns:a16="http://schemas.microsoft.com/office/drawing/2014/main" id="{D7F2CE2A-A3F3-B4F3-4E75-3E6DFC4F65E6}"/>
              </a:ext>
            </a:extLst>
          </p:cNvPr>
          <p:cNvSpPr/>
          <p:nvPr/>
        </p:nvSpPr>
        <p:spPr>
          <a:xfrm>
            <a:off x="10943419" y="2558662"/>
            <a:ext cx="1156413" cy="1156413"/>
          </a:xfrm>
          <a:prstGeom prst="ellipse">
            <a:avLst/>
          </a:prstGeom>
          <a:gradFill>
            <a:gsLst>
              <a:gs pos="0">
                <a:srgbClr val="9BBB59"/>
              </a:gs>
              <a:gs pos="100000">
                <a:srgbClr val="9BBB59">
                  <a:lumMod val="75000"/>
                </a:srgbClr>
              </a:gs>
            </a:gsLst>
            <a:lin ang="13500000" scaled="1"/>
          </a:gradFill>
          <a:ln w="381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pic>
        <p:nvPicPr>
          <p:cNvPr id="96" name="Graphic 95" descr="Handshake with solid fill">
            <a:extLst>
              <a:ext uri="{FF2B5EF4-FFF2-40B4-BE49-F238E27FC236}">
                <a16:creationId xmlns:a16="http://schemas.microsoft.com/office/drawing/2014/main" id="{CF1E8496-00D7-2E2E-6855-E68584C44DA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990771" y="2732477"/>
            <a:ext cx="806193" cy="806193"/>
          </a:xfrm>
          <a:prstGeom prst="rect">
            <a:avLst/>
          </a:prstGeom>
        </p:spPr>
      </p:pic>
      <p:sp>
        <p:nvSpPr>
          <p:cNvPr id="97" name="Rectangle 49">
            <a:extLst>
              <a:ext uri="{FF2B5EF4-FFF2-40B4-BE49-F238E27FC236}">
                <a16:creationId xmlns:a16="http://schemas.microsoft.com/office/drawing/2014/main" id="{807C383B-9A82-CC7B-2B09-EB1147A2D725}"/>
              </a:ext>
            </a:extLst>
          </p:cNvPr>
          <p:cNvSpPr/>
          <p:nvPr/>
        </p:nvSpPr>
        <p:spPr>
          <a:xfrm flipH="1">
            <a:off x="11918492" y="7181935"/>
            <a:ext cx="972007" cy="557396"/>
          </a:xfrm>
          <a:custGeom>
            <a:avLst/>
            <a:gdLst>
              <a:gd name="connsiteX0" fmla="*/ 0 w 943928"/>
              <a:gd name="connsiteY0" fmla="*/ 0 h 810488"/>
              <a:gd name="connsiteX1" fmla="*/ 943928 w 943928"/>
              <a:gd name="connsiteY1" fmla="*/ 0 h 810488"/>
              <a:gd name="connsiteX2" fmla="*/ 943928 w 943928"/>
              <a:gd name="connsiteY2" fmla="*/ 810488 h 810488"/>
              <a:gd name="connsiteX3" fmla="*/ 0 w 943928"/>
              <a:gd name="connsiteY3" fmla="*/ 810488 h 810488"/>
              <a:gd name="connsiteX4" fmla="*/ 0 w 943928"/>
              <a:gd name="connsiteY4" fmla="*/ 0 h 810488"/>
              <a:gd name="connsiteX0" fmla="*/ 0 w 943928"/>
              <a:gd name="connsiteY0" fmla="*/ 810488 h 901928"/>
              <a:gd name="connsiteX1" fmla="*/ 0 w 943928"/>
              <a:gd name="connsiteY1" fmla="*/ 0 h 901928"/>
              <a:gd name="connsiteX2" fmla="*/ 943928 w 943928"/>
              <a:gd name="connsiteY2" fmla="*/ 0 h 901928"/>
              <a:gd name="connsiteX3" fmla="*/ 943928 w 943928"/>
              <a:gd name="connsiteY3" fmla="*/ 810488 h 901928"/>
              <a:gd name="connsiteX4" fmla="*/ 91440 w 943928"/>
              <a:gd name="connsiteY4" fmla="*/ 901928 h 901928"/>
              <a:gd name="connsiteX0" fmla="*/ 0 w 943928"/>
              <a:gd name="connsiteY0" fmla="*/ 810488 h 810488"/>
              <a:gd name="connsiteX1" fmla="*/ 0 w 943928"/>
              <a:gd name="connsiteY1" fmla="*/ 0 h 810488"/>
              <a:gd name="connsiteX2" fmla="*/ 943928 w 943928"/>
              <a:gd name="connsiteY2" fmla="*/ 0 h 810488"/>
              <a:gd name="connsiteX3" fmla="*/ 943928 w 943928"/>
              <a:gd name="connsiteY3" fmla="*/ 810488 h 810488"/>
              <a:gd name="connsiteX0" fmla="*/ 0 w 943928"/>
              <a:gd name="connsiteY0" fmla="*/ 0 h 810488"/>
              <a:gd name="connsiteX1" fmla="*/ 943928 w 943928"/>
              <a:gd name="connsiteY1" fmla="*/ 0 h 810488"/>
              <a:gd name="connsiteX2" fmla="*/ 943928 w 943928"/>
              <a:gd name="connsiteY2" fmla="*/ 810488 h 810488"/>
              <a:gd name="connsiteX0" fmla="*/ 0 w 943928"/>
              <a:gd name="connsiteY0" fmla="*/ 961 h 811449"/>
              <a:gd name="connsiteX1" fmla="*/ 717058 w 943928"/>
              <a:gd name="connsiteY1" fmla="*/ 0 h 811449"/>
              <a:gd name="connsiteX2" fmla="*/ 943928 w 943928"/>
              <a:gd name="connsiteY2" fmla="*/ 961 h 811449"/>
              <a:gd name="connsiteX3" fmla="*/ 943928 w 943928"/>
              <a:gd name="connsiteY3" fmla="*/ 811449 h 811449"/>
              <a:gd name="connsiteX0" fmla="*/ 0 w 943928"/>
              <a:gd name="connsiteY0" fmla="*/ 961 h 811449"/>
              <a:gd name="connsiteX1" fmla="*/ 717058 w 943928"/>
              <a:gd name="connsiteY1" fmla="*/ 0 h 811449"/>
              <a:gd name="connsiteX2" fmla="*/ 943928 w 943928"/>
              <a:gd name="connsiteY2" fmla="*/ 811449 h 811449"/>
              <a:gd name="connsiteX0" fmla="*/ 0 w 1267886"/>
              <a:gd name="connsiteY0" fmla="*/ 961 h 649470"/>
              <a:gd name="connsiteX1" fmla="*/ 717058 w 1267886"/>
              <a:gd name="connsiteY1" fmla="*/ 0 h 649470"/>
              <a:gd name="connsiteX2" fmla="*/ 1267886 w 1267886"/>
              <a:gd name="connsiteY2" fmla="*/ 649470 h 649470"/>
            </a:gdLst>
            <a:ahLst/>
            <a:cxnLst>
              <a:cxn ang="0">
                <a:pos x="connsiteX0" y="connsiteY0"/>
              </a:cxn>
              <a:cxn ang="0">
                <a:pos x="connsiteX1" y="connsiteY1"/>
              </a:cxn>
              <a:cxn ang="0">
                <a:pos x="connsiteX2" y="connsiteY2"/>
              </a:cxn>
            </a:cxnLst>
            <a:rect l="l" t="t" r="r" b="b"/>
            <a:pathLst>
              <a:path w="1267886" h="649470">
                <a:moveTo>
                  <a:pt x="0" y="961"/>
                </a:moveTo>
                <a:lnTo>
                  <a:pt x="717058" y="0"/>
                </a:lnTo>
                <a:lnTo>
                  <a:pt x="1267886" y="649470"/>
                </a:lnTo>
              </a:path>
            </a:pathLst>
          </a:custGeom>
          <a:noFill/>
          <a:ln w="25400" cap="flat" cmpd="sng" algn="ctr">
            <a:solidFill>
              <a:sysClr val="window" lastClr="FFFFFF">
                <a:lumMod val="85000"/>
              </a:sysClr>
            </a:solidFill>
            <a:prstDash val="solid"/>
            <a:headEnd type="oval" w="lg" len="lg"/>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98" name="Oval 97">
            <a:extLst>
              <a:ext uri="{FF2B5EF4-FFF2-40B4-BE49-F238E27FC236}">
                <a16:creationId xmlns:a16="http://schemas.microsoft.com/office/drawing/2014/main" id="{3BAFB939-2B30-B001-C524-3D87022DEAF8}"/>
              </a:ext>
            </a:extLst>
          </p:cNvPr>
          <p:cNvSpPr/>
          <p:nvPr/>
        </p:nvSpPr>
        <p:spPr>
          <a:xfrm>
            <a:off x="10708585" y="7121890"/>
            <a:ext cx="1587600" cy="1587600"/>
          </a:xfrm>
          <a:prstGeom prst="ellipse">
            <a:avLst/>
          </a:prstGeom>
          <a:solidFill>
            <a:sysClr val="windowText" lastClr="000000">
              <a:alpha val="41000"/>
            </a:sysClr>
          </a:solidFill>
          <a:ln w="38100" cap="flat" cmpd="sng" algn="ctr">
            <a:noFill/>
            <a:prstDash val="solid"/>
          </a:ln>
          <a:effectLst>
            <a:softEdge rad="20320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99" name="Oval 98">
            <a:extLst>
              <a:ext uri="{FF2B5EF4-FFF2-40B4-BE49-F238E27FC236}">
                <a16:creationId xmlns:a16="http://schemas.microsoft.com/office/drawing/2014/main" id="{97AFADF9-011D-EB65-877C-58AF00A2663E}"/>
              </a:ext>
            </a:extLst>
          </p:cNvPr>
          <p:cNvSpPr/>
          <p:nvPr/>
        </p:nvSpPr>
        <p:spPr>
          <a:xfrm>
            <a:off x="11035162" y="7399974"/>
            <a:ext cx="1155600" cy="1155600"/>
          </a:xfrm>
          <a:prstGeom prst="ellipse">
            <a:avLst/>
          </a:prstGeom>
          <a:gradFill>
            <a:gsLst>
              <a:gs pos="0">
                <a:srgbClr val="4BACC6"/>
              </a:gs>
              <a:gs pos="100000">
                <a:srgbClr val="4BACC6">
                  <a:lumMod val="75000"/>
                </a:srgbClr>
              </a:gs>
            </a:gsLst>
            <a:lin ang="13500000" scaled="1"/>
          </a:gradFill>
          <a:ln w="381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pic>
        <p:nvPicPr>
          <p:cNvPr id="100" name="Graphic 99" descr="Puzzle pieces with solid fill">
            <a:extLst>
              <a:ext uri="{FF2B5EF4-FFF2-40B4-BE49-F238E27FC236}">
                <a16:creationId xmlns:a16="http://schemas.microsoft.com/office/drawing/2014/main" id="{16596221-C752-7F3D-70AA-F7AD1EC26F6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209762" y="7574574"/>
            <a:ext cx="806400" cy="806400"/>
          </a:xfrm>
          <a:prstGeom prst="rect">
            <a:avLst/>
          </a:prstGeom>
        </p:spPr>
      </p:pic>
      <p:sp>
        <p:nvSpPr>
          <p:cNvPr id="101" name="Rectangle 49">
            <a:extLst>
              <a:ext uri="{FF2B5EF4-FFF2-40B4-BE49-F238E27FC236}">
                <a16:creationId xmlns:a16="http://schemas.microsoft.com/office/drawing/2014/main" id="{0AC9EFCB-6544-DCD0-2387-3096505A1D76}"/>
              </a:ext>
            </a:extLst>
          </p:cNvPr>
          <p:cNvSpPr/>
          <p:nvPr/>
        </p:nvSpPr>
        <p:spPr>
          <a:xfrm>
            <a:off x="4975467" y="7227970"/>
            <a:ext cx="972000" cy="558000"/>
          </a:xfrm>
          <a:custGeom>
            <a:avLst/>
            <a:gdLst>
              <a:gd name="connsiteX0" fmla="*/ 0 w 943928"/>
              <a:gd name="connsiteY0" fmla="*/ 0 h 810488"/>
              <a:gd name="connsiteX1" fmla="*/ 943928 w 943928"/>
              <a:gd name="connsiteY1" fmla="*/ 0 h 810488"/>
              <a:gd name="connsiteX2" fmla="*/ 943928 w 943928"/>
              <a:gd name="connsiteY2" fmla="*/ 810488 h 810488"/>
              <a:gd name="connsiteX3" fmla="*/ 0 w 943928"/>
              <a:gd name="connsiteY3" fmla="*/ 810488 h 810488"/>
              <a:gd name="connsiteX4" fmla="*/ 0 w 943928"/>
              <a:gd name="connsiteY4" fmla="*/ 0 h 810488"/>
              <a:gd name="connsiteX0" fmla="*/ 0 w 943928"/>
              <a:gd name="connsiteY0" fmla="*/ 810488 h 901928"/>
              <a:gd name="connsiteX1" fmla="*/ 0 w 943928"/>
              <a:gd name="connsiteY1" fmla="*/ 0 h 901928"/>
              <a:gd name="connsiteX2" fmla="*/ 943928 w 943928"/>
              <a:gd name="connsiteY2" fmla="*/ 0 h 901928"/>
              <a:gd name="connsiteX3" fmla="*/ 943928 w 943928"/>
              <a:gd name="connsiteY3" fmla="*/ 810488 h 901928"/>
              <a:gd name="connsiteX4" fmla="*/ 91440 w 943928"/>
              <a:gd name="connsiteY4" fmla="*/ 901928 h 901928"/>
              <a:gd name="connsiteX0" fmla="*/ 0 w 943928"/>
              <a:gd name="connsiteY0" fmla="*/ 810488 h 810488"/>
              <a:gd name="connsiteX1" fmla="*/ 0 w 943928"/>
              <a:gd name="connsiteY1" fmla="*/ 0 h 810488"/>
              <a:gd name="connsiteX2" fmla="*/ 943928 w 943928"/>
              <a:gd name="connsiteY2" fmla="*/ 0 h 810488"/>
              <a:gd name="connsiteX3" fmla="*/ 943928 w 943928"/>
              <a:gd name="connsiteY3" fmla="*/ 810488 h 810488"/>
              <a:gd name="connsiteX0" fmla="*/ 0 w 943928"/>
              <a:gd name="connsiteY0" fmla="*/ 0 h 810488"/>
              <a:gd name="connsiteX1" fmla="*/ 943928 w 943928"/>
              <a:gd name="connsiteY1" fmla="*/ 0 h 810488"/>
              <a:gd name="connsiteX2" fmla="*/ 943928 w 943928"/>
              <a:gd name="connsiteY2" fmla="*/ 810488 h 810488"/>
              <a:gd name="connsiteX0" fmla="*/ 0 w 943928"/>
              <a:gd name="connsiteY0" fmla="*/ 961 h 811449"/>
              <a:gd name="connsiteX1" fmla="*/ 717058 w 943928"/>
              <a:gd name="connsiteY1" fmla="*/ 0 h 811449"/>
              <a:gd name="connsiteX2" fmla="*/ 943928 w 943928"/>
              <a:gd name="connsiteY2" fmla="*/ 961 h 811449"/>
              <a:gd name="connsiteX3" fmla="*/ 943928 w 943928"/>
              <a:gd name="connsiteY3" fmla="*/ 811449 h 811449"/>
              <a:gd name="connsiteX0" fmla="*/ 0 w 943928"/>
              <a:gd name="connsiteY0" fmla="*/ 961 h 811449"/>
              <a:gd name="connsiteX1" fmla="*/ 717058 w 943928"/>
              <a:gd name="connsiteY1" fmla="*/ 0 h 811449"/>
              <a:gd name="connsiteX2" fmla="*/ 943928 w 943928"/>
              <a:gd name="connsiteY2" fmla="*/ 811449 h 811449"/>
              <a:gd name="connsiteX0" fmla="*/ 0 w 1267886"/>
              <a:gd name="connsiteY0" fmla="*/ 961 h 649470"/>
              <a:gd name="connsiteX1" fmla="*/ 717058 w 1267886"/>
              <a:gd name="connsiteY1" fmla="*/ 0 h 649470"/>
              <a:gd name="connsiteX2" fmla="*/ 1267886 w 1267886"/>
              <a:gd name="connsiteY2" fmla="*/ 649470 h 649470"/>
            </a:gdLst>
            <a:ahLst/>
            <a:cxnLst>
              <a:cxn ang="0">
                <a:pos x="connsiteX0" y="connsiteY0"/>
              </a:cxn>
              <a:cxn ang="0">
                <a:pos x="connsiteX1" y="connsiteY1"/>
              </a:cxn>
              <a:cxn ang="0">
                <a:pos x="connsiteX2" y="connsiteY2"/>
              </a:cxn>
            </a:cxnLst>
            <a:rect l="l" t="t" r="r" b="b"/>
            <a:pathLst>
              <a:path w="1267886" h="649470">
                <a:moveTo>
                  <a:pt x="0" y="961"/>
                </a:moveTo>
                <a:lnTo>
                  <a:pt x="717058" y="0"/>
                </a:lnTo>
                <a:lnTo>
                  <a:pt x="1267886" y="649470"/>
                </a:lnTo>
              </a:path>
            </a:pathLst>
          </a:custGeom>
          <a:noFill/>
          <a:ln w="25400" cap="flat" cmpd="sng" algn="ctr">
            <a:solidFill>
              <a:sysClr val="window" lastClr="FFFFFF">
                <a:lumMod val="85000"/>
              </a:sysClr>
            </a:solidFill>
            <a:prstDash val="solid"/>
            <a:headEnd type="oval" w="lg" len="lg"/>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102" name="Oval 101">
            <a:extLst>
              <a:ext uri="{FF2B5EF4-FFF2-40B4-BE49-F238E27FC236}">
                <a16:creationId xmlns:a16="http://schemas.microsoft.com/office/drawing/2014/main" id="{3099CB92-839B-2130-C4ED-4587EF59497A}"/>
              </a:ext>
            </a:extLst>
          </p:cNvPr>
          <p:cNvSpPr/>
          <p:nvPr/>
        </p:nvSpPr>
        <p:spPr>
          <a:xfrm>
            <a:off x="5646940" y="7349502"/>
            <a:ext cx="1155600" cy="1155600"/>
          </a:xfrm>
          <a:prstGeom prst="ellipse">
            <a:avLst/>
          </a:prstGeom>
          <a:gradFill>
            <a:gsLst>
              <a:gs pos="0">
                <a:srgbClr val="4F81BD"/>
              </a:gs>
              <a:gs pos="100000">
                <a:srgbClr val="4F81BD">
                  <a:lumMod val="75000"/>
                </a:srgbClr>
              </a:gs>
            </a:gsLst>
            <a:lin ang="13500000" scaled="1"/>
          </a:gradFill>
          <a:ln w="381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103" name="TextBox 102">
            <a:extLst>
              <a:ext uri="{FF2B5EF4-FFF2-40B4-BE49-F238E27FC236}">
                <a16:creationId xmlns:a16="http://schemas.microsoft.com/office/drawing/2014/main" id="{721DF4A5-97BD-4431-9CAC-43A944EC6622}"/>
              </a:ext>
            </a:extLst>
          </p:cNvPr>
          <p:cNvSpPr txBox="1"/>
          <p:nvPr/>
        </p:nvSpPr>
        <p:spPr>
          <a:xfrm>
            <a:off x="622300" y="7589899"/>
            <a:ext cx="4140200" cy="1587600"/>
          </a:xfrm>
          <a:prstGeom prst="rect">
            <a:avLst/>
          </a:prstGeom>
          <a:noFill/>
        </p:spPr>
        <p:txBody>
          <a:bodyPr wrap="square" lIns="0" tIns="0" rIns="0" bIns="0" rtlCol="0" anchor="t">
            <a:noAutofit/>
          </a:bodyPr>
          <a:lstStyle/>
          <a:p>
            <a:pPr algn="r">
              <a:buClrTx/>
              <a:buFontTx/>
              <a:buNone/>
            </a:pPr>
            <a:r>
              <a:rPr lang="en-US" sz="2400" b="1" kern="1200" noProof="0">
                <a:solidFill>
                  <a:prstClr val="black">
                    <a:lumMod val="85000"/>
                    <a:lumOff val="15000"/>
                  </a:prstClr>
                </a:solidFill>
                <a:latin typeface="Calibri"/>
                <a:ea typeface="+mn-ea"/>
                <a:cs typeface="+mn-cs"/>
              </a:rPr>
              <a:t>Serves as a strategic link between business and technology</a:t>
            </a:r>
            <a:r>
              <a:rPr lang="en-US" sz="2400" kern="1200" noProof="0">
                <a:solidFill>
                  <a:prstClr val="black">
                    <a:lumMod val="85000"/>
                    <a:lumOff val="15000"/>
                  </a:prstClr>
                </a:solidFill>
                <a:latin typeface="Calibri"/>
                <a:ea typeface="+mn-ea"/>
                <a:cs typeface="+mn-cs"/>
              </a:rPr>
              <a:t>, ensuring seamless alignment between enterprise objectives and digital capabilities</a:t>
            </a:r>
          </a:p>
        </p:txBody>
      </p:sp>
      <p:sp>
        <p:nvSpPr>
          <p:cNvPr id="104" name="TextBox 103">
            <a:extLst>
              <a:ext uri="{FF2B5EF4-FFF2-40B4-BE49-F238E27FC236}">
                <a16:creationId xmlns:a16="http://schemas.microsoft.com/office/drawing/2014/main" id="{2089504F-F8AF-8264-3505-78471DD54D63}"/>
              </a:ext>
            </a:extLst>
          </p:cNvPr>
          <p:cNvSpPr txBox="1"/>
          <p:nvPr/>
        </p:nvSpPr>
        <p:spPr>
          <a:xfrm>
            <a:off x="1645373" y="6788296"/>
            <a:ext cx="3117127" cy="797744"/>
          </a:xfrm>
          <a:prstGeom prst="rect">
            <a:avLst/>
          </a:prstGeom>
          <a:noFill/>
        </p:spPr>
        <p:txBody>
          <a:bodyPr wrap="square" lIns="0" tIns="0" rIns="0" bIns="0" rtlCol="0" anchor="ctr">
            <a:noAutofit/>
          </a:bodyPr>
          <a:lstStyle/>
          <a:p>
            <a:pPr algn="r">
              <a:buClrTx/>
              <a:buFontTx/>
              <a:buNone/>
            </a:pPr>
            <a:r>
              <a:rPr lang="en-US" sz="2700" b="1" kern="1200" noProof="0">
                <a:solidFill>
                  <a:srgbClr val="4F81BD"/>
                </a:solidFill>
                <a:latin typeface="Calibri"/>
                <a:ea typeface="+mn-ea"/>
                <a:cs typeface="+mn-cs"/>
              </a:rPr>
              <a:t>Business-driven Technology</a:t>
            </a:r>
          </a:p>
        </p:txBody>
      </p:sp>
      <p:sp>
        <p:nvSpPr>
          <p:cNvPr id="105" name="TextBox 104">
            <a:extLst>
              <a:ext uri="{FF2B5EF4-FFF2-40B4-BE49-F238E27FC236}">
                <a16:creationId xmlns:a16="http://schemas.microsoft.com/office/drawing/2014/main" id="{CE0D69D1-508D-56FA-CB26-C7B03F683F05}"/>
              </a:ext>
            </a:extLst>
          </p:cNvPr>
          <p:cNvSpPr txBox="1"/>
          <p:nvPr/>
        </p:nvSpPr>
        <p:spPr>
          <a:xfrm>
            <a:off x="800100" y="2333932"/>
            <a:ext cx="3962400" cy="1587600"/>
          </a:xfrm>
          <a:prstGeom prst="rect">
            <a:avLst/>
          </a:prstGeom>
          <a:noFill/>
        </p:spPr>
        <p:txBody>
          <a:bodyPr wrap="square" lIns="0" tIns="0" rIns="0" bIns="0" rtlCol="0" anchor="t">
            <a:noAutofit/>
          </a:bodyPr>
          <a:lstStyle/>
          <a:p>
            <a:pPr algn="r">
              <a:buClrTx/>
              <a:buFontTx/>
              <a:buNone/>
            </a:pPr>
            <a:r>
              <a:rPr lang="en-US" sz="2400" b="1" kern="1200" noProof="0">
                <a:solidFill>
                  <a:prstClr val="black">
                    <a:lumMod val="85000"/>
                    <a:lumOff val="15000"/>
                  </a:prstClr>
                </a:solidFill>
                <a:latin typeface="Calibri"/>
                <a:ea typeface="+mn-ea"/>
                <a:cs typeface="+mn-cs"/>
              </a:rPr>
              <a:t>Implements a robust governance </a:t>
            </a:r>
            <a:r>
              <a:rPr lang="en-US" sz="2400" kern="1200" noProof="0">
                <a:solidFill>
                  <a:prstClr val="black">
                    <a:lumMod val="85000"/>
                    <a:lumOff val="15000"/>
                  </a:prstClr>
                </a:solidFill>
                <a:latin typeface="Calibri"/>
                <a:ea typeface="+mn-ea"/>
                <a:cs typeface="+mn-cs"/>
              </a:rPr>
              <a:t>structure that extends beyond traditional project timelines, ensuring </a:t>
            </a:r>
            <a:r>
              <a:rPr lang="en-US" sz="2400" b="1" kern="1200" noProof="0">
                <a:solidFill>
                  <a:prstClr val="black">
                    <a:lumMod val="85000"/>
                    <a:lumOff val="15000"/>
                  </a:prstClr>
                </a:solidFill>
                <a:latin typeface="Calibri"/>
                <a:ea typeface="+mn-ea"/>
                <a:cs typeface="+mn-cs"/>
              </a:rPr>
              <a:t>long-term strategic alignment and operational efficiency</a:t>
            </a:r>
          </a:p>
        </p:txBody>
      </p:sp>
      <p:sp>
        <p:nvSpPr>
          <p:cNvPr id="106" name="TextBox 105">
            <a:extLst>
              <a:ext uri="{FF2B5EF4-FFF2-40B4-BE49-F238E27FC236}">
                <a16:creationId xmlns:a16="http://schemas.microsoft.com/office/drawing/2014/main" id="{49E88704-BE47-4768-C139-C718AD2FAF8F}"/>
              </a:ext>
            </a:extLst>
          </p:cNvPr>
          <p:cNvSpPr txBox="1"/>
          <p:nvPr/>
        </p:nvSpPr>
        <p:spPr>
          <a:xfrm>
            <a:off x="1645373" y="1969790"/>
            <a:ext cx="3117127" cy="427642"/>
          </a:xfrm>
          <a:prstGeom prst="rect">
            <a:avLst/>
          </a:prstGeom>
          <a:noFill/>
        </p:spPr>
        <p:txBody>
          <a:bodyPr wrap="square" lIns="0" tIns="0" rIns="0" bIns="0" rtlCol="0" anchor="ctr">
            <a:noAutofit/>
          </a:bodyPr>
          <a:lstStyle/>
          <a:p>
            <a:pPr algn="r">
              <a:buClrTx/>
              <a:buFontTx/>
              <a:buNone/>
            </a:pPr>
            <a:r>
              <a:rPr lang="en-US" sz="2700" b="1" kern="1200" noProof="0">
                <a:solidFill>
                  <a:srgbClr val="C0504D"/>
                </a:solidFill>
                <a:latin typeface="Calibri"/>
                <a:ea typeface="+mn-ea"/>
                <a:cs typeface="+mn-cs"/>
              </a:rPr>
              <a:t>Governance</a:t>
            </a:r>
          </a:p>
        </p:txBody>
      </p:sp>
      <p:pic>
        <p:nvPicPr>
          <p:cNvPr id="107" name="Graphic 106" descr="Group brainstorm with solid fill">
            <a:extLst>
              <a:ext uri="{FF2B5EF4-FFF2-40B4-BE49-F238E27FC236}">
                <a16:creationId xmlns:a16="http://schemas.microsoft.com/office/drawing/2014/main" id="{625FECC1-34D2-F75F-0A1E-872D8821AF3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21540" y="7524102"/>
            <a:ext cx="806400" cy="806400"/>
          </a:xfrm>
          <a:prstGeom prst="rect">
            <a:avLst/>
          </a:prstGeom>
        </p:spPr>
      </p:pic>
      <p:pic>
        <p:nvPicPr>
          <p:cNvPr id="108" name="Graphic 107" descr="Connections with solid fill">
            <a:extLst>
              <a:ext uri="{FF2B5EF4-FFF2-40B4-BE49-F238E27FC236}">
                <a16:creationId xmlns:a16="http://schemas.microsoft.com/office/drawing/2014/main" id="{C5CC9C87-852F-172F-23B2-98BB733D9B6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118425" y="2733668"/>
            <a:ext cx="806400" cy="806400"/>
          </a:xfrm>
          <a:prstGeom prst="rect">
            <a:avLst/>
          </a:prstGeom>
        </p:spPr>
      </p:pic>
      <p:sp>
        <p:nvSpPr>
          <p:cNvPr id="4" name="Title 1">
            <a:extLst>
              <a:ext uri="{FF2B5EF4-FFF2-40B4-BE49-F238E27FC236}">
                <a16:creationId xmlns:a16="http://schemas.microsoft.com/office/drawing/2014/main" id="{15B0FB74-292D-0B4A-0A0B-41ABE4BBEAF6}"/>
              </a:ext>
            </a:extLst>
          </p:cNvPr>
          <p:cNvSpPr txBox="1">
            <a:spLocks/>
          </p:cNvSpPr>
          <p:nvPr/>
        </p:nvSpPr>
        <p:spPr>
          <a:xfrm>
            <a:off x="762400" y="670785"/>
            <a:ext cx="5510938" cy="11454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1pPr>
            <a:lvl2pPr marR="0" lvl="1"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2pPr>
            <a:lvl3pPr marR="0" lvl="2"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3pPr>
            <a:lvl4pPr marR="0" lvl="3"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4pPr>
            <a:lvl5pPr marR="0" lvl="4"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5pPr>
            <a:lvl6pPr marR="0" lvl="5"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6pPr>
            <a:lvl7pPr marR="0" lvl="6"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7pPr>
            <a:lvl8pPr marR="0" lvl="7"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8pPr>
            <a:lvl9pPr marR="0" lvl="8"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9pPr>
          </a:lstStyle>
          <a:p>
            <a:r>
              <a:rPr lang="en-US" sz="4000" b="0" kern="1200">
                <a:solidFill>
                  <a:srgbClr val="000000"/>
                </a:solidFill>
                <a:latin typeface="Montserrat Bold"/>
              </a:rPr>
              <a:t>Key differentiators</a:t>
            </a:r>
            <a:endParaRPr lang="pt-BR" err="1"/>
          </a:p>
        </p:txBody>
      </p:sp>
      <p:grpSp>
        <p:nvGrpSpPr>
          <p:cNvPr id="7" name="Group 7">
            <a:extLst>
              <a:ext uri="{FF2B5EF4-FFF2-40B4-BE49-F238E27FC236}">
                <a16:creationId xmlns:a16="http://schemas.microsoft.com/office/drawing/2014/main" id="{CD6D5D71-69F3-37D7-1D3B-A7A63C02DE5E}"/>
              </a:ext>
            </a:extLst>
          </p:cNvPr>
          <p:cNvGrpSpPr/>
          <p:nvPr/>
        </p:nvGrpSpPr>
        <p:grpSpPr>
          <a:xfrm>
            <a:off x="5919819" y="1217018"/>
            <a:ext cx="612363" cy="56823"/>
            <a:chOff x="0" y="0"/>
            <a:chExt cx="1078484" cy="100076"/>
          </a:xfrm>
        </p:grpSpPr>
        <p:sp>
          <p:nvSpPr>
            <p:cNvPr id="6" name="Freeform 8">
              <a:extLst>
                <a:ext uri="{FF2B5EF4-FFF2-40B4-BE49-F238E27FC236}">
                  <a16:creationId xmlns:a16="http://schemas.microsoft.com/office/drawing/2014/main" id="{72B0FA4F-60F5-C35F-3F7F-3F275CF6D7B2}"/>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spTree>
    <p:extLst>
      <p:ext uri="{BB962C8B-B14F-4D97-AF65-F5344CB8AC3E}">
        <p14:creationId xmlns:p14="http://schemas.microsoft.com/office/powerpoint/2010/main" val="17815263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2"/>
                                        </p:tgtEl>
                                        <p:attrNameLst>
                                          <p:attrName>style.visibility</p:attrName>
                                        </p:attrNameLst>
                                      </p:cBhvr>
                                      <p:to>
                                        <p:strVal val="visible"/>
                                      </p:to>
                                    </p:set>
                                    <p:animEffect transition="in" filter="fade">
                                      <p:cBhvr>
                                        <p:cTn id="7" dur="500"/>
                                        <p:tgtEl>
                                          <p:spTgt spid="8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6"/>
                                        </p:tgtEl>
                                        <p:attrNameLst>
                                          <p:attrName>style.visibility</p:attrName>
                                        </p:attrNameLst>
                                      </p:cBhvr>
                                      <p:to>
                                        <p:strVal val="visible"/>
                                      </p:to>
                                    </p:set>
                                    <p:animEffect transition="in" filter="fade">
                                      <p:cBhvr>
                                        <p:cTn id="10" dur="500"/>
                                        <p:tgtEl>
                                          <p:spTgt spid="8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7"/>
                                        </p:tgtEl>
                                        <p:attrNameLst>
                                          <p:attrName>style.visibility</p:attrName>
                                        </p:attrNameLst>
                                      </p:cBhvr>
                                      <p:to>
                                        <p:strVal val="visible"/>
                                      </p:to>
                                    </p:set>
                                    <p:animEffect transition="in" filter="fade">
                                      <p:cBhvr>
                                        <p:cTn id="13" dur="500"/>
                                        <p:tgtEl>
                                          <p:spTgt spid="9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01"/>
                                        </p:tgtEl>
                                        <p:attrNameLst>
                                          <p:attrName>style.visibility</p:attrName>
                                        </p:attrNameLst>
                                      </p:cBhvr>
                                      <p:to>
                                        <p:strVal val="visible"/>
                                      </p:to>
                                    </p:set>
                                    <p:animEffect transition="in" filter="fade">
                                      <p:cBhvr>
                                        <p:cTn id="16" dur="500"/>
                                        <p:tgtEl>
                                          <p:spTgt spid="10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 grpId="0" animBg="1"/>
      <p:bldP spid="86" grpId="0" animBg="1"/>
      <p:bldP spid="97" grpId="0" animBg="1"/>
      <p:bldP spid="101"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D4861F-D208-F914-DA40-DC4A072ECA5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DB39AE7-D539-2E83-397C-49466F7C3568}"/>
              </a:ext>
            </a:extLst>
          </p:cNvPr>
          <p:cNvSpPr>
            <a:spLocks noGrp="1"/>
          </p:cNvSpPr>
          <p:nvPr>
            <p:ph type="title" idx="4294967295"/>
          </p:nvPr>
        </p:nvSpPr>
        <p:spPr>
          <a:xfrm>
            <a:off x="689953" y="709678"/>
            <a:ext cx="15539217" cy="1145400"/>
          </a:xfrm>
        </p:spPr>
        <p:txBody>
          <a:bodyPr/>
          <a:lstStyle/>
          <a:p>
            <a:r>
              <a:rPr lang="en-US" sz="4000" kern="1200">
                <a:solidFill>
                  <a:schemeClr val="bg1"/>
                </a:solidFill>
                <a:ea typeface="+mn-ea"/>
                <a:cs typeface="Segoe UI"/>
              </a:rPr>
              <a:t>Deliverables</a:t>
            </a:r>
            <a:br>
              <a:rPr lang="en-US" sz="4000" b="0" i="0" u="none" strike="noStrike" kern="1200" cap="none" spc="0" normalizeH="0" baseline="0" noProof="0">
                <a:ln>
                  <a:noFill/>
                </a:ln>
                <a:effectLst/>
                <a:uLnTx/>
                <a:uFillTx/>
                <a:latin typeface="Montserrat Bold"/>
                <a:ea typeface="+mn-ea"/>
                <a:cs typeface="+mn-cs"/>
              </a:rPr>
            </a:br>
            <a:r>
              <a:rPr kumimoji="0" lang="en-US" sz="2800" i="0" u="none" strike="noStrike" kern="1200" cap="none" spc="0" normalizeH="0" baseline="0" noProof="0">
                <a:ln>
                  <a:noFill/>
                </a:ln>
                <a:solidFill>
                  <a:srgbClr val="6800FF"/>
                </a:solidFill>
                <a:effectLst/>
                <a:uLnTx/>
                <a:uFillTx/>
                <a:latin typeface="Montserrat Light"/>
                <a:ea typeface="+mn-ea"/>
                <a:cs typeface="+mn-cs"/>
              </a:rPr>
              <a:t>Main challenges in delivering expected results are on the </a:t>
            </a:r>
            <a:r>
              <a:rPr kumimoji="0" lang="en-US" sz="2800" i="1" u="none" strike="noStrike" kern="1200" cap="none" spc="0" normalizeH="0" baseline="0" noProof="0">
                <a:ln>
                  <a:noFill/>
                </a:ln>
                <a:solidFill>
                  <a:srgbClr val="6800FF"/>
                </a:solidFill>
                <a:effectLst/>
                <a:uLnTx/>
                <a:uFillTx/>
                <a:latin typeface="Montserrat Light"/>
                <a:ea typeface="+mn-ea"/>
                <a:cs typeface="+mn-cs"/>
              </a:rPr>
              <a:t>human-side  </a:t>
            </a:r>
            <a:endParaRPr lang="en-US" sz="2800" i="1" noProof="0">
              <a:latin typeface="Montserrat Light"/>
            </a:endParaRPr>
          </a:p>
        </p:txBody>
      </p:sp>
      <p:sp>
        <p:nvSpPr>
          <p:cNvPr id="7" name="TextBox 7">
            <a:extLst>
              <a:ext uri="{FF2B5EF4-FFF2-40B4-BE49-F238E27FC236}">
                <a16:creationId xmlns:a16="http://schemas.microsoft.com/office/drawing/2014/main" id="{1F3BD3EA-F5CA-274A-260C-29EA0170A656}"/>
              </a:ext>
            </a:extLst>
          </p:cNvPr>
          <p:cNvSpPr txBox="1"/>
          <p:nvPr/>
        </p:nvSpPr>
        <p:spPr>
          <a:xfrm>
            <a:off x="776868" y="8216953"/>
            <a:ext cx="5849312" cy="1077218"/>
          </a:xfrm>
          <a:prstGeom prst="rect">
            <a:avLst/>
          </a:prstGeom>
        </p:spPr>
        <p:txBody>
          <a:bodyPr wrap="square" lIns="0" tIns="0" rIns="0" bIns="0" rtlCol="0" anchor="t">
            <a:spAutoFit/>
          </a:bodyPr>
          <a:lstStyle/>
          <a:p>
            <a:pPr marL="0" marR="0" lvl="0" indent="0" algn="l" defTabSz="914400" rtl="0" eaLnBrk="1" fontAlgn="auto" latinLnBrk="0" hangingPunct="1">
              <a:lnSpc>
                <a:spcPts val="2799"/>
              </a:lnSpc>
              <a:spcBef>
                <a:spcPct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Montserrat Light"/>
                <a:ea typeface="+mn-ea"/>
                <a:cs typeface="+mn-cs"/>
              </a:rPr>
              <a:t>We drive and support our customers on their realization journeys achieving the expected outcomes</a:t>
            </a:r>
          </a:p>
        </p:txBody>
      </p:sp>
      <p:graphicFrame>
        <p:nvGraphicFramePr>
          <p:cNvPr id="58" name="Table 57">
            <a:extLst>
              <a:ext uri="{FF2B5EF4-FFF2-40B4-BE49-F238E27FC236}">
                <a16:creationId xmlns:a16="http://schemas.microsoft.com/office/drawing/2014/main" id="{F37942AD-E5C6-2861-2B4B-5150CEBE866A}"/>
              </a:ext>
            </a:extLst>
          </p:cNvPr>
          <p:cNvGraphicFramePr>
            <a:graphicFrameLocks noGrp="1"/>
          </p:cNvGraphicFramePr>
          <p:nvPr>
            <p:extLst>
              <p:ext uri="{D42A27DB-BD31-4B8C-83A1-F6EECF244321}">
                <p14:modId xmlns:p14="http://schemas.microsoft.com/office/powerpoint/2010/main" val="2927096056"/>
              </p:ext>
            </p:extLst>
          </p:nvPr>
        </p:nvGraphicFramePr>
        <p:xfrm>
          <a:off x="8791100" y="6022330"/>
          <a:ext cx="8736800" cy="3376084"/>
        </p:xfrm>
        <a:graphic>
          <a:graphicData uri="http://schemas.openxmlformats.org/drawingml/2006/table">
            <a:tbl>
              <a:tblPr firstRow="1" bandRow="1"/>
              <a:tblGrid>
                <a:gridCol w="606500">
                  <a:extLst>
                    <a:ext uri="{9D8B030D-6E8A-4147-A177-3AD203B41FA5}">
                      <a16:colId xmlns:a16="http://schemas.microsoft.com/office/drawing/2014/main" val="270139617"/>
                    </a:ext>
                  </a:extLst>
                </a:gridCol>
                <a:gridCol w="8130300">
                  <a:extLst>
                    <a:ext uri="{9D8B030D-6E8A-4147-A177-3AD203B41FA5}">
                      <a16:colId xmlns:a16="http://schemas.microsoft.com/office/drawing/2014/main" val="3920221297"/>
                    </a:ext>
                  </a:extLst>
                </a:gridCol>
              </a:tblGrid>
              <a:tr h="505064">
                <a:tc gridSpan="2">
                  <a:txBody>
                    <a:bodyPr/>
                    <a:lstStyle>
                      <a:lvl1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1pPr>
                      <a:lvl2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2pPr>
                      <a:lvl3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3pPr>
                      <a:lvl4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4pPr>
                      <a:lvl5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5pPr>
                      <a:lvl6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6pPr>
                      <a:lvl7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7pPr>
                      <a:lvl8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8pPr>
                      <a:lvl9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9pPr>
                    </a:lstStyle>
                    <a:p>
                      <a:r>
                        <a:rPr lang="en-US" sz="2200" spc="300" noProof="0">
                          <a:solidFill>
                            <a:schemeClr val="tx1"/>
                          </a:solidFill>
                        </a:rPr>
                        <a:t>CHANGE MANAGEMENT &amp; STAKEHOLDER ENGAGEMENT</a:t>
                      </a:r>
                    </a:p>
                  </a:txBody>
                  <a:tcPr marL="147484" marR="147484" marT="73742" marB="73742">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6800FF"/>
                    </a:solidFill>
                  </a:tcPr>
                </a:tc>
                <a:tc hMerge="1">
                  <a:txBody>
                    <a:bodyPr/>
                    <a:lstStyle/>
                    <a:p>
                      <a:endParaRPr lang="en-US" sz="1300" spc="300"/>
                    </a:p>
                  </a:txBody>
                  <a:tcPr marL="73742" marR="73742" marT="36871" marB="36871">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977207694"/>
                  </a:ext>
                </a:extLst>
              </a:tr>
              <a:tr h="574204">
                <a:tc>
                  <a:txBody>
                    <a:bodyPr/>
                    <a:lstStyle>
                      <a:lvl1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9pPr>
                    </a:lstStyle>
                    <a:p>
                      <a:endParaRPr lang="en-US" sz="2800" noProof="0">
                        <a:solidFill>
                          <a:schemeClr val="bg1"/>
                        </a:solidFill>
                      </a:endParaRPr>
                    </a:p>
                  </a:txBody>
                  <a:tcPr marL="147484" marR="147484" marT="73742" marB="73742">
                    <a:lnL w="12700" cmpd="sng">
                      <a:noFill/>
                    </a:lnL>
                    <a:lnR w="12700" cmpd="sng">
                      <a:noFill/>
                    </a:lnR>
                    <a:lnT w="38100" cmpd="sng">
                      <a:noFill/>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9pPr>
                    </a:lstStyle>
                    <a:p>
                      <a:r>
                        <a:rPr lang="en-US" sz="2000" noProof="0">
                          <a:solidFill>
                            <a:schemeClr val="bg1"/>
                          </a:solidFill>
                        </a:rPr>
                        <a:t>Change Management Strategy </a:t>
                      </a:r>
                    </a:p>
                  </a:txBody>
                  <a:tcPr marL="147484" marR="147484" marT="73742" marB="73742">
                    <a:lnL w="12700" cmpd="sng">
                      <a:noFill/>
                    </a:lnL>
                    <a:lnR w="12700" cmpd="sng">
                      <a:noFill/>
                    </a:lnR>
                    <a:lnT w="38100" cmpd="sng">
                      <a:noFill/>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259256234"/>
                  </a:ext>
                </a:extLst>
              </a:tr>
              <a:tr h="574204">
                <a:tc>
                  <a:txBody>
                    <a:bodyPr/>
                    <a:lstStyle>
                      <a:lvl1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9pPr>
                    </a:lstStyle>
                    <a:p>
                      <a:endParaRPr lang="en-US" sz="2800" noProof="0">
                        <a:solidFill>
                          <a:schemeClr val="bg1"/>
                        </a:solidFill>
                      </a:endParaRPr>
                    </a:p>
                  </a:txBody>
                  <a:tcPr marL="147484" marR="147484" marT="73742" marB="73742">
                    <a:lnL w="12700" cmpd="sng">
                      <a:noFill/>
                    </a:lnL>
                    <a:lnR w="12700" cmpd="sng">
                      <a:noFill/>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9pPr>
                    </a:lstStyle>
                    <a:p>
                      <a:r>
                        <a:rPr lang="en-US" sz="2000" noProof="0">
                          <a:solidFill>
                            <a:schemeClr val="bg1"/>
                          </a:solidFill>
                        </a:rPr>
                        <a:t>Stakeholder Engagement &amp; Communication Plan</a:t>
                      </a:r>
                    </a:p>
                  </a:txBody>
                  <a:tcPr marL="147484" marR="147484" marT="73742" marB="73742">
                    <a:lnL w="12700" cmpd="sng">
                      <a:noFill/>
                    </a:lnL>
                    <a:lnR w="12700" cmpd="sng">
                      <a:noFill/>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768764830"/>
                  </a:ext>
                </a:extLst>
              </a:tr>
              <a:tr h="574204">
                <a:tc>
                  <a:txBody>
                    <a:bodyPr/>
                    <a:lstStyle>
                      <a:lvl1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9pPr>
                    </a:lstStyle>
                    <a:p>
                      <a:endParaRPr lang="en-US" sz="2800" noProof="0">
                        <a:solidFill>
                          <a:schemeClr val="bg1"/>
                        </a:solidFill>
                      </a:endParaRPr>
                    </a:p>
                  </a:txBody>
                  <a:tcPr marL="147484" marR="147484" marT="73742" marB="73742">
                    <a:lnL w="12700" cmpd="sng">
                      <a:noFill/>
                    </a:lnL>
                    <a:lnR w="12700" cmpd="sng">
                      <a:noFill/>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9pPr>
                    </a:lstStyle>
                    <a:p>
                      <a:r>
                        <a:rPr lang="en-US" sz="2000" noProof="0">
                          <a:solidFill>
                            <a:schemeClr val="bg1"/>
                          </a:solidFill>
                        </a:rPr>
                        <a:t>Training &amp; Upskilling Program</a:t>
                      </a:r>
                    </a:p>
                  </a:txBody>
                  <a:tcPr marL="147484" marR="147484" marT="73742" marB="73742">
                    <a:lnL w="12700" cmpd="sng">
                      <a:noFill/>
                    </a:lnL>
                    <a:lnR w="12700" cmpd="sng">
                      <a:noFill/>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493965771"/>
                  </a:ext>
                </a:extLst>
              </a:tr>
              <a:tr h="574204">
                <a:tc>
                  <a:txBody>
                    <a:bodyPr/>
                    <a:lstStyle>
                      <a:lvl1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9pPr>
                    </a:lstStyle>
                    <a:p>
                      <a:endParaRPr lang="en-US" sz="2800" noProof="0">
                        <a:solidFill>
                          <a:schemeClr val="bg1"/>
                        </a:solidFill>
                      </a:endParaRPr>
                    </a:p>
                  </a:txBody>
                  <a:tcPr marL="147484" marR="147484" marT="73742" marB="73742">
                    <a:lnL w="12700" cmpd="sng">
                      <a:noFill/>
                    </a:lnL>
                    <a:lnR w="12700" cmpd="sng">
                      <a:noFill/>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9pPr>
                    </a:lstStyle>
                    <a:p>
                      <a:r>
                        <a:rPr lang="en-US" sz="2000" noProof="0">
                          <a:solidFill>
                            <a:schemeClr val="bg1"/>
                          </a:solidFill>
                        </a:rPr>
                        <a:t>Performance &amp; Adoption Tracking Dashboard</a:t>
                      </a:r>
                    </a:p>
                  </a:txBody>
                  <a:tcPr marL="147484" marR="147484" marT="73742" marB="73742">
                    <a:lnL w="12700" cmpd="sng">
                      <a:noFill/>
                    </a:lnL>
                    <a:lnR w="12700" cmpd="sng">
                      <a:noFill/>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560737366"/>
                  </a:ext>
                </a:extLst>
              </a:tr>
              <a:tr h="574204">
                <a:tc>
                  <a:txBody>
                    <a:bodyPr/>
                    <a:lstStyle>
                      <a:lvl1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9pPr>
                    </a:lstStyle>
                    <a:p>
                      <a:endParaRPr lang="en-US" sz="2800" noProof="0">
                        <a:solidFill>
                          <a:schemeClr val="bg1"/>
                        </a:solidFill>
                      </a:endParaRPr>
                    </a:p>
                  </a:txBody>
                  <a:tcPr marL="147484" marR="147484" marT="73742" marB="73742">
                    <a:lnL w="12700" cmpd="sng">
                      <a:noFill/>
                    </a:lnL>
                    <a:lnR w="12700" cmpd="sng">
                      <a:noFill/>
                    </a:lnR>
                    <a:lnT w="3175" cap="flat" cmpd="sng" algn="ctr">
                      <a:solidFill>
                        <a:sysClr val="windowText" lastClr="000000"/>
                      </a:solidFill>
                      <a:prstDash val="solid"/>
                      <a:round/>
                      <a:headEnd type="none" w="med" len="med"/>
                      <a:tailEnd type="none" w="med" len="med"/>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9pPr>
                    </a:lstStyle>
                    <a:p>
                      <a:r>
                        <a:rPr lang="en-US" sz="2000" noProof="0">
                          <a:solidFill>
                            <a:schemeClr val="bg1"/>
                          </a:solidFill>
                        </a:rPr>
                        <a:t>Resistance Management Framework</a:t>
                      </a:r>
                    </a:p>
                  </a:txBody>
                  <a:tcPr marL="147484" marR="147484" marT="73742" marB="73742">
                    <a:lnL w="12700" cmpd="sng">
                      <a:noFill/>
                    </a:lnL>
                    <a:lnR w="12700" cmpd="sng">
                      <a:noFill/>
                    </a:lnR>
                    <a:lnT w="3175" cap="flat" cmpd="sng" algn="ctr">
                      <a:solidFill>
                        <a:sysClr val="windowText" lastClr="000000"/>
                      </a:solidFill>
                      <a:prstDash val="solid"/>
                      <a:round/>
                      <a:headEnd type="none" w="med" len="med"/>
                      <a:tailEnd type="none" w="med" len="med"/>
                    </a:lnT>
                    <a:lnB w="12700" cmpd="sng">
                      <a:noFill/>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540248949"/>
                  </a:ext>
                </a:extLst>
              </a:tr>
            </a:tbl>
          </a:graphicData>
        </a:graphic>
      </p:graphicFrame>
      <p:graphicFrame>
        <p:nvGraphicFramePr>
          <p:cNvPr id="59" name="Table 58">
            <a:extLst>
              <a:ext uri="{FF2B5EF4-FFF2-40B4-BE49-F238E27FC236}">
                <a16:creationId xmlns:a16="http://schemas.microsoft.com/office/drawing/2014/main" id="{B582FD8C-DAF9-5BE1-0B37-26B696F096F8}"/>
              </a:ext>
            </a:extLst>
          </p:cNvPr>
          <p:cNvGraphicFramePr>
            <a:graphicFrameLocks noGrp="1"/>
          </p:cNvGraphicFramePr>
          <p:nvPr>
            <p:extLst>
              <p:ext uri="{D42A27DB-BD31-4B8C-83A1-F6EECF244321}">
                <p14:modId xmlns:p14="http://schemas.microsoft.com/office/powerpoint/2010/main" val="1292045116"/>
              </p:ext>
            </p:extLst>
          </p:nvPr>
        </p:nvGraphicFramePr>
        <p:xfrm>
          <a:off x="986974" y="2407127"/>
          <a:ext cx="5240596" cy="3376084"/>
        </p:xfrm>
        <a:graphic>
          <a:graphicData uri="http://schemas.openxmlformats.org/drawingml/2006/table">
            <a:tbl>
              <a:tblPr firstRow="1" bandRow="1"/>
              <a:tblGrid>
                <a:gridCol w="363796">
                  <a:extLst>
                    <a:ext uri="{9D8B030D-6E8A-4147-A177-3AD203B41FA5}">
                      <a16:colId xmlns:a16="http://schemas.microsoft.com/office/drawing/2014/main" val="270139617"/>
                    </a:ext>
                  </a:extLst>
                </a:gridCol>
                <a:gridCol w="4876800">
                  <a:extLst>
                    <a:ext uri="{9D8B030D-6E8A-4147-A177-3AD203B41FA5}">
                      <a16:colId xmlns:a16="http://schemas.microsoft.com/office/drawing/2014/main" val="3920221297"/>
                    </a:ext>
                  </a:extLst>
                </a:gridCol>
              </a:tblGrid>
              <a:tr h="505064">
                <a:tc gridSpan="2">
                  <a:txBody>
                    <a:bodyPr/>
                    <a:lstStyle>
                      <a:lvl1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1pPr>
                      <a:lvl2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2pPr>
                      <a:lvl3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3pPr>
                      <a:lvl4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4pPr>
                      <a:lvl5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5pPr>
                      <a:lvl6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6pPr>
                      <a:lvl7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7pPr>
                      <a:lvl8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8pPr>
                      <a:lvl9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9pPr>
                    </a:lstStyle>
                    <a:p>
                      <a:r>
                        <a:rPr lang="en-US" sz="2200" spc="300" noProof="0">
                          <a:solidFill>
                            <a:schemeClr val="tx1"/>
                          </a:solidFill>
                        </a:rPr>
                        <a:t>GOVERNANCE STRUCTURE</a:t>
                      </a:r>
                    </a:p>
                  </a:txBody>
                  <a:tcPr marL="147484" marR="147484" marT="73742" marB="73742">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6800FF"/>
                    </a:solidFill>
                  </a:tcPr>
                </a:tc>
                <a:tc hMerge="1">
                  <a:txBody>
                    <a:bodyPr/>
                    <a:lstStyle/>
                    <a:p>
                      <a:endParaRPr lang="en-US" sz="1300" spc="300"/>
                    </a:p>
                  </a:txBody>
                  <a:tcPr marL="73742" marR="73742" marT="36871" marB="36871">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977207694"/>
                  </a:ext>
                </a:extLst>
              </a:tr>
              <a:tr h="574204">
                <a:tc>
                  <a:txBody>
                    <a:bodyPr/>
                    <a:lstStyle>
                      <a:lvl1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9pPr>
                    </a:lstStyle>
                    <a:p>
                      <a:endParaRPr lang="en-US" sz="2800" noProof="0">
                        <a:solidFill>
                          <a:schemeClr val="bg1"/>
                        </a:solidFill>
                      </a:endParaRPr>
                    </a:p>
                  </a:txBody>
                  <a:tcPr marL="147484" marR="147484" marT="73742" marB="73742">
                    <a:lnL w="12700" cmpd="sng">
                      <a:noFill/>
                    </a:lnL>
                    <a:lnR w="12700" cmpd="sng">
                      <a:noFill/>
                    </a:lnR>
                    <a:lnT w="38100" cmpd="sng">
                      <a:noFill/>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9pPr>
                    </a:lstStyle>
                    <a:p>
                      <a:r>
                        <a:rPr lang="en-US" sz="2000" noProof="0">
                          <a:solidFill>
                            <a:schemeClr val="bg1"/>
                          </a:solidFill>
                        </a:rPr>
                        <a:t>Governance Framework</a:t>
                      </a:r>
                    </a:p>
                  </a:txBody>
                  <a:tcPr marL="147484" marR="147484" marT="73742" marB="73742">
                    <a:lnL w="12700" cmpd="sng">
                      <a:noFill/>
                    </a:lnL>
                    <a:lnR w="12700" cmpd="sng">
                      <a:noFill/>
                    </a:lnR>
                    <a:lnT w="38100" cmpd="sng">
                      <a:noFill/>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259256234"/>
                  </a:ext>
                </a:extLst>
              </a:tr>
              <a:tr h="574204">
                <a:tc>
                  <a:txBody>
                    <a:bodyPr/>
                    <a:lstStyle>
                      <a:lvl1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9pPr>
                    </a:lstStyle>
                    <a:p>
                      <a:endParaRPr lang="en-US" sz="2800" noProof="0">
                        <a:solidFill>
                          <a:schemeClr val="bg1"/>
                        </a:solidFill>
                      </a:endParaRPr>
                    </a:p>
                  </a:txBody>
                  <a:tcPr marL="147484" marR="147484" marT="73742" marB="73742">
                    <a:lnL w="12700" cmpd="sng">
                      <a:noFill/>
                    </a:lnL>
                    <a:lnR w="12700" cmpd="sng">
                      <a:noFill/>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9pPr>
                    </a:lstStyle>
                    <a:p>
                      <a:r>
                        <a:rPr lang="en-US" sz="2000" noProof="0">
                          <a:solidFill>
                            <a:schemeClr val="bg1"/>
                          </a:solidFill>
                        </a:rPr>
                        <a:t>Governance Model Blueprint</a:t>
                      </a:r>
                    </a:p>
                  </a:txBody>
                  <a:tcPr marL="147484" marR="147484" marT="73742" marB="73742">
                    <a:lnL w="12700" cmpd="sng">
                      <a:noFill/>
                    </a:lnL>
                    <a:lnR w="12700" cmpd="sng">
                      <a:noFill/>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768764830"/>
                  </a:ext>
                </a:extLst>
              </a:tr>
              <a:tr h="574204">
                <a:tc>
                  <a:txBody>
                    <a:bodyPr/>
                    <a:lstStyle>
                      <a:lvl1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9pPr>
                    </a:lstStyle>
                    <a:p>
                      <a:endParaRPr lang="en-US" sz="2800" noProof="0">
                        <a:solidFill>
                          <a:schemeClr val="bg1"/>
                        </a:solidFill>
                      </a:endParaRPr>
                    </a:p>
                  </a:txBody>
                  <a:tcPr marL="147484" marR="147484" marT="73742" marB="73742">
                    <a:lnL w="12700" cmpd="sng">
                      <a:noFill/>
                    </a:lnL>
                    <a:lnR w="12700" cmpd="sng">
                      <a:noFill/>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9pPr>
                    </a:lstStyle>
                    <a:p>
                      <a:r>
                        <a:rPr lang="en-US" sz="2000" noProof="0">
                          <a:solidFill>
                            <a:schemeClr val="bg1"/>
                          </a:solidFill>
                        </a:rPr>
                        <a:t>Guiding Principles &amp; Compliance Handbook</a:t>
                      </a:r>
                    </a:p>
                  </a:txBody>
                  <a:tcPr marL="147484" marR="147484" marT="73742" marB="73742">
                    <a:lnL w="12700" cmpd="sng">
                      <a:noFill/>
                    </a:lnL>
                    <a:lnR w="12700" cmpd="sng">
                      <a:noFill/>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493965771"/>
                  </a:ext>
                </a:extLst>
              </a:tr>
              <a:tr h="574204">
                <a:tc>
                  <a:txBody>
                    <a:bodyPr/>
                    <a:lstStyle>
                      <a:lvl1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9pPr>
                    </a:lstStyle>
                    <a:p>
                      <a:endParaRPr lang="en-US" sz="2800" noProof="0">
                        <a:solidFill>
                          <a:schemeClr val="bg1"/>
                        </a:solidFill>
                      </a:endParaRPr>
                    </a:p>
                  </a:txBody>
                  <a:tcPr marL="147484" marR="147484" marT="73742" marB="73742">
                    <a:lnL w="12700" cmpd="sng">
                      <a:noFill/>
                    </a:lnL>
                    <a:lnR w="12700" cmpd="sng">
                      <a:noFill/>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9pPr>
                    </a:lstStyle>
                    <a:p>
                      <a:r>
                        <a:rPr lang="en-US" sz="2000" noProof="0">
                          <a:solidFill>
                            <a:schemeClr val="bg1"/>
                          </a:solidFill>
                        </a:rPr>
                        <a:t>Governance Oversight Dashboard</a:t>
                      </a:r>
                    </a:p>
                  </a:txBody>
                  <a:tcPr marL="147484" marR="147484" marT="73742" marB="73742">
                    <a:lnL w="12700" cmpd="sng">
                      <a:noFill/>
                    </a:lnL>
                    <a:lnR w="12700" cmpd="sng">
                      <a:noFill/>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560737366"/>
                  </a:ext>
                </a:extLst>
              </a:tr>
              <a:tr h="574204">
                <a:tc>
                  <a:txBody>
                    <a:bodyPr/>
                    <a:lstStyle>
                      <a:lvl1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9pPr>
                    </a:lstStyle>
                    <a:p>
                      <a:endParaRPr lang="en-US" sz="2800" noProof="0">
                        <a:solidFill>
                          <a:schemeClr val="bg1"/>
                        </a:solidFill>
                      </a:endParaRPr>
                    </a:p>
                  </a:txBody>
                  <a:tcPr marL="147484" marR="147484" marT="73742" marB="73742">
                    <a:lnL w="12700" cmpd="sng">
                      <a:noFill/>
                    </a:lnL>
                    <a:lnR w="12700" cmpd="sng">
                      <a:noFill/>
                    </a:lnR>
                    <a:lnT w="3175" cap="flat" cmpd="sng" algn="ctr">
                      <a:solidFill>
                        <a:sysClr val="windowText" lastClr="000000"/>
                      </a:solidFill>
                      <a:prstDash val="solid"/>
                      <a:round/>
                      <a:headEnd type="none" w="med" len="med"/>
                      <a:tailEnd type="none" w="med" len="med"/>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9pPr>
                    </a:lstStyle>
                    <a:p>
                      <a:r>
                        <a:rPr lang="en-US" sz="2000" noProof="0">
                          <a:solidFill>
                            <a:schemeClr val="bg1"/>
                          </a:solidFill>
                        </a:rPr>
                        <a:t>Risk Management &amp; Escalation Plan</a:t>
                      </a:r>
                    </a:p>
                  </a:txBody>
                  <a:tcPr marL="147484" marR="147484" marT="73742" marB="73742">
                    <a:lnL w="12700" cmpd="sng">
                      <a:noFill/>
                    </a:lnL>
                    <a:lnR w="12700" cmpd="sng">
                      <a:noFill/>
                    </a:lnR>
                    <a:lnT w="3175" cap="flat" cmpd="sng" algn="ctr">
                      <a:solidFill>
                        <a:sysClr val="windowText" lastClr="000000"/>
                      </a:solidFill>
                      <a:prstDash val="solid"/>
                      <a:round/>
                      <a:headEnd type="none" w="med" len="med"/>
                      <a:tailEnd type="none" w="med" len="med"/>
                    </a:lnT>
                    <a:lnB w="12700" cmpd="sng">
                      <a:noFill/>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540248949"/>
                  </a:ext>
                </a:extLst>
              </a:tr>
            </a:tbl>
          </a:graphicData>
        </a:graphic>
      </p:graphicFrame>
      <p:sp>
        <p:nvSpPr>
          <p:cNvPr id="60" name="Rectangle 59">
            <a:extLst>
              <a:ext uri="{FF2B5EF4-FFF2-40B4-BE49-F238E27FC236}">
                <a16:creationId xmlns:a16="http://schemas.microsoft.com/office/drawing/2014/main" id="{1C3135F8-0254-CED9-C580-588BFD155436}"/>
              </a:ext>
            </a:extLst>
          </p:cNvPr>
          <p:cNvSpPr/>
          <p:nvPr/>
        </p:nvSpPr>
        <p:spPr>
          <a:xfrm>
            <a:off x="1077721" y="3059336"/>
            <a:ext cx="273050" cy="273050"/>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alibri"/>
              <a:ea typeface="+mn-ea"/>
              <a:cs typeface="+mn-cs"/>
            </a:endParaRPr>
          </a:p>
        </p:txBody>
      </p:sp>
      <p:sp>
        <p:nvSpPr>
          <p:cNvPr id="61" name="Rectangle 60">
            <a:extLst>
              <a:ext uri="{FF2B5EF4-FFF2-40B4-BE49-F238E27FC236}">
                <a16:creationId xmlns:a16="http://schemas.microsoft.com/office/drawing/2014/main" id="{426B26FE-81B6-2942-EE71-6875E3A0D034}"/>
              </a:ext>
            </a:extLst>
          </p:cNvPr>
          <p:cNvSpPr/>
          <p:nvPr/>
        </p:nvSpPr>
        <p:spPr>
          <a:xfrm>
            <a:off x="1077721" y="3624486"/>
            <a:ext cx="273050" cy="273050"/>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alibri"/>
              <a:ea typeface="+mn-ea"/>
              <a:cs typeface="+mn-cs"/>
            </a:endParaRPr>
          </a:p>
        </p:txBody>
      </p:sp>
      <p:sp>
        <p:nvSpPr>
          <p:cNvPr id="62" name="Rectangle 61">
            <a:extLst>
              <a:ext uri="{FF2B5EF4-FFF2-40B4-BE49-F238E27FC236}">
                <a16:creationId xmlns:a16="http://schemas.microsoft.com/office/drawing/2014/main" id="{6A178128-ED1A-939E-C6D5-9DCD58EEB9B2}"/>
              </a:ext>
            </a:extLst>
          </p:cNvPr>
          <p:cNvSpPr/>
          <p:nvPr/>
        </p:nvSpPr>
        <p:spPr>
          <a:xfrm>
            <a:off x="1077721" y="4202336"/>
            <a:ext cx="273050" cy="273050"/>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alibri"/>
              <a:ea typeface="+mn-ea"/>
              <a:cs typeface="+mn-cs"/>
            </a:endParaRPr>
          </a:p>
        </p:txBody>
      </p:sp>
      <p:sp>
        <p:nvSpPr>
          <p:cNvPr id="63" name="Rectangle 62">
            <a:extLst>
              <a:ext uri="{FF2B5EF4-FFF2-40B4-BE49-F238E27FC236}">
                <a16:creationId xmlns:a16="http://schemas.microsoft.com/office/drawing/2014/main" id="{4E78CBDF-86F2-1F4B-D0A2-A512D71A4744}"/>
              </a:ext>
            </a:extLst>
          </p:cNvPr>
          <p:cNvSpPr/>
          <p:nvPr/>
        </p:nvSpPr>
        <p:spPr>
          <a:xfrm>
            <a:off x="1077721" y="4780186"/>
            <a:ext cx="273050" cy="273050"/>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alibri"/>
              <a:ea typeface="+mn-ea"/>
              <a:cs typeface="+mn-cs"/>
            </a:endParaRPr>
          </a:p>
        </p:txBody>
      </p:sp>
      <p:sp>
        <p:nvSpPr>
          <p:cNvPr id="64" name="Rectangle 63">
            <a:extLst>
              <a:ext uri="{FF2B5EF4-FFF2-40B4-BE49-F238E27FC236}">
                <a16:creationId xmlns:a16="http://schemas.microsoft.com/office/drawing/2014/main" id="{A8E932B4-0479-5A14-D6D2-EB19173F1D57}"/>
              </a:ext>
            </a:extLst>
          </p:cNvPr>
          <p:cNvSpPr/>
          <p:nvPr/>
        </p:nvSpPr>
        <p:spPr>
          <a:xfrm>
            <a:off x="1077721" y="5358036"/>
            <a:ext cx="273050" cy="273050"/>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alibri"/>
              <a:ea typeface="+mn-ea"/>
              <a:cs typeface="+mn-cs"/>
            </a:endParaRPr>
          </a:p>
        </p:txBody>
      </p:sp>
      <p:sp>
        <p:nvSpPr>
          <p:cNvPr id="65" name="Rectangle 64">
            <a:extLst>
              <a:ext uri="{FF2B5EF4-FFF2-40B4-BE49-F238E27FC236}">
                <a16:creationId xmlns:a16="http://schemas.microsoft.com/office/drawing/2014/main" id="{1C54EB08-BBFA-BA69-EF3C-A93901E36C89}"/>
              </a:ext>
            </a:extLst>
          </p:cNvPr>
          <p:cNvSpPr/>
          <p:nvPr/>
        </p:nvSpPr>
        <p:spPr>
          <a:xfrm>
            <a:off x="7723205" y="3059336"/>
            <a:ext cx="273050" cy="273050"/>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alibri"/>
              <a:ea typeface="+mn-ea"/>
              <a:cs typeface="+mn-cs"/>
            </a:endParaRPr>
          </a:p>
        </p:txBody>
      </p:sp>
      <p:sp>
        <p:nvSpPr>
          <p:cNvPr id="66" name="Rectangle 65">
            <a:extLst>
              <a:ext uri="{FF2B5EF4-FFF2-40B4-BE49-F238E27FC236}">
                <a16:creationId xmlns:a16="http://schemas.microsoft.com/office/drawing/2014/main" id="{BD795C4C-2FE6-7432-516B-B5165DFD51BD}"/>
              </a:ext>
            </a:extLst>
          </p:cNvPr>
          <p:cNvSpPr/>
          <p:nvPr/>
        </p:nvSpPr>
        <p:spPr>
          <a:xfrm>
            <a:off x="7723205" y="3624486"/>
            <a:ext cx="273050" cy="273050"/>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alibri"/>
              <a:ea typeface="+mn-ea"/>
              <a:cs typeface="+mn-cs"/>
            </a:endParaRPr>
          </a:p>
        </p:txBody>
      </p:sp>
      <p:sp>
        <p:nvSpPr>
          <p:cNvPr id="67" name="Rectangle 66">
            <a:extLst>
              <a:ext uri="{FF2B5EF4-FFF2-40B4-BE49-F238E27FC236}">
                <a16:creationId xmlns:a16="http://schemas.microsoft.com/office/drawing/2014/main" id="{77BC2ABE-5709-1328-B733-94515058611A}"/>
              </a:ext>
            </a:extLst>
          </p:cNvPr>
          <p:cNvSpPr/>
          <p:nvPr/>
        </p:nvSpPr>
        <p:spPr>
          <a:xfrm>
            <a:off x="7723205" y="4202336"/>
            <a:ext cx="273050" cy="273050"/>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alibri"/>
              <a:ea typeface="+mn-ea"/>
              <a:cs typeface="+mn-cs"/>
            </a:endParaRPr>
          </a:p>
        </p:txBody>
      </p:sp>
      <p:sp>
        <p:nvSpPr>
          <p:cNvPr id="68" name="Rectangle 67">
            <a:extLst>
              <a:ext uri="{FF2B5EF4-FFF2-40B4-BE49-F238E27FC236}">
                <a16:creationId xmlns:a16="http://schemas.microsoft.com/office/drawing/2014/main" id="{40D50E3E-70A5-FC71-064D-900EA5440438}"/>
              </a:ext>
            </a:extLst>
          </p:cNvPr>
          <p:cNvSpPr/>
          <p:nvPr/>
        </p:nvSpPr>
        <p:spPr>
          <a:xfrm>
            <a:off x="7723205" y="4780186"/>
            <a:ext cx="273050" cy="273050"/>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alibri"/>
              <a:ea typeface="+mn-ea"/>
              <a:cs typeface="+mn-cs"/>
            </a:endParaRPr>
          </a:p>
        </p:txBody>
      </p:sp>
      <p:sp>
        <p:nvSpPr>
          <p:cNvPr id="69" name="Rectangle 68">
            <a:extLst>
              <a:ext uri="{FF2B5EF4-FFF2-40B4-BE49-F238E27FC236}">
                <a16:creationId xmlns:a16="http://schemas.microsoft.com/office/drawing/2014/main" id="{0D198EA8-935E-2759-30A3-829A16C3AB91}"/>
              </a:ext>
            </a:extLst>
          </p:cNvPr>
          <p:cNvSpPr/>
          <p:nvPr/>
        </p:nvSpPr>
        <p:spPr>
          <a:xfrm>
            <a:off x="7723205" y="5358036"/>
            <a:ext cx="273050" cy="273050"/>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alibri"/>
              <a:ea typeface="+mn-ea"/>
              <a:cs typeface="+mn-cs"/>
            </a:endParaRPr>
          </a:p>
        </p:txBody>
      </p:sp>
      <p:grpSp>
        <p:nvGrpSpPr>
          <p:cNvPr id="70" name="Graphic 4">
            <a:extLst>
              <a:ext uri="{FF2B5EF4-FFF2-40B4-BE49-F238E27FC236}">
                <a16:creationId xmlns:a16="http://schemas.microsoft.com/office/drawing/2014/main" id="{72E9F434-2CD4-D9B4-DE09-226039EEDFE8}"/>
              </a:ext>
            </a:extLst>
          </p:cNvPr>
          <p:cNvGrpSpPr/>
          <p:nvPr/>
        </p:nvGrpSpPr>
        <p:grpSpPr>
          <a:xfrm>
            <a:off x="15145502" y="2991503"/>
            <a:ext cx="2155524" cy="2639583"/>
            <a:chOff x="647832" y="3001151"/>
            <a:chExt cx="1577451" cy="2028660"/>
          </a:xfrm>
        </p:grpSpPr>
        <p:sp>
          <p:nvSpPr>
            <p:cNvPr id="71" name="Freeform: Shape 70">
              <a:extLst>
                <a:ext uri="{FF2B5EF4-FFF2-40B4-BE49-F238E27FC236}">
                  <a16:creationId xmlns:a16="http://schemas.microsoft.com/office/drawing/2014/main" id="{DE966D42-EA2C-325C-1E17-ACE2AF2EFB00}"/>
                </a:ext>
              </a:extLst>
            </p:cNvPr>
            <p:cNvSpPr/>
            <p:nvPr/>
          </p:nvSpPr>
          <p:spPr>
            <a:xfrm>
              <a:off x="647832" y="3077858"/>
              <a:ext cx="1577451" cy="1951953"/>
            </a:xfrm>
            <a:custGeom>
              <a:avLst/>
              <a:gdLst>
                <a:gd name="connsiteX0" fmla="*/ 1159913 w 1577451"/>
                <a:gd name="connsiteY0" fmla="*/ 1950245 h 1951953"/>
                <a:gd name="connsiteX1" fmla="*/ 84633 w 1577451"/>
                <a:gd name="connsiteY1" fmla="*/ 1745374 h 1951953"/>
                <a:gd name="connsiteX2" fmla="*/ 1919 w 1577451"/>
                <a:gd name="connsiteY2" fmla="*/ 1623817 h 1951953"/>
                <a:gd name="connsiteX3" fmla="*/ 295861 w 1577451"/>
                <a:gd name="connsiteY3" fmla="*/ 84549 h 1951953"/>
                <a:gd name="connsiteX4" fmla="*/ 417539 w 1577451"/>
                <a:gd name="connsiteY4" fmla="*/ 1917 h 1951953"/>
                <a:gd name="connsiteX5" fmla="*/ 1492819 w 1577451"/>
                <a:gd name="connsiteY5" fmla="*/ 206789 h 1951953"/>
                <a:gd name="connsiteX6" fmla="*/ 1575533 w 1577451"/>
                <a:gd name="connsiteY6" fmla="*/ 328346 h 1951953"/>
                <a:gd name="connsiteX7" fmla="*/ 1281591 w 1577451"/>
                <a:gd name="connsiteY7" fmla="*/ 1867614 h 1951953"/>
                <a:gd name="connsiteX8" fmla="*/ 1159913 w 1577451"/>
                <a:gd name="connsiteY8" fmla="*/ 1950245 h 1951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7451" h="1951953">
                  <a:moveTo>
                    <a:pt x="1159913" y="1950245"/>
                  </a:moveTo>
                  <a:lnTo>
                    <a:pt x="84633" y="1745374"/>
                  </a:lnTo>
                  <a:cubicBezTo>
                    <a:pt x="27895" y="1734447"/>
                    <a:pt x="-9018" y="1679815"/>
                    <a:pt x="1919" y="1623817"/>
                  </a:cubicBezTo>
                  <a:lnTo>
                    <a:pt x="295861" y="84549"/>
                  </a:lnTo>
                  <a:cubicBezTo>
                    <a:pt x="306798" y="27868"/>
                    <a:pt x="361485" y="-9009"/>
                    <a:pt x="417539" y="1917"/>
                  </a:cubicBezTo>
                  <a:lnTo>
                    <a:pt x="1492819" y="206789"/>
                  </a:lnTo>
                  <a:cubicBezTo>
                    <a:pt x="1549556" y="217715"/>
                    <a:pt x="1586470" y="272348"/>
                    <a:pt x="1575533" y="328346"/>
                  </a:cubicBezTo>
                  <a:lnTo>
                    <a:pt x="1281591" y="1867614"/>
                  </a:lnTo>
                  <a:cubicBezTo>
                    <a:pt x="1270653" y="1923612"/>
                    <a:pt x="1215967" y="1960489"/>
                    <a:pt x="1159913" y="1950245"/>
                  </a:cubicBezTo>
                  <a:close/>
                </a:path>
              </a:pathLst>
            </a:custGeom>
            <a:solidFill>
              <a:srgbClr val="6800FF"/>
            </a:solidFill>
            <a:ln w="683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a:ea typeface="+mn-ea"/>
              </a:endParaRPr>
            </a:p>
          </p:txBody>
        </p:sp>
        <p:sp>
          <p:nvSpPr>
            <p:cNvPr id="72" name="Freeform: Shape 71">
              <a:extLst>
                <a:ext uri="{FF2B5EF4-FFF2-40B4-BE49-F238E27FC236}">
                  <a16:creationId xmlns:a16="http://schemas.microsoft.com/office/drawing/2014/main" id="{1194E03F-0AFF-6CB3-99C7-C5143B39A071}"/>
                </a:ext>
              </a:extLst>
            </p:cNvPr>
            <p:cNvSpPr/>
            <p:nvPr/>
          </p:nvSpPr>
          <p:spPr>
            <a:xfrm>
              <a:off x="734470" y="3132313"/>
              <a:ext cx="1402808" cy="1779707"/>
            </a:xfrm>
            <a:custGeom>
              <a:avLst/>
              <a:gdLst>
                <a:gd name="connsiteX0" fmla="*/ 1026791 w 1402808"/>
                <a:gd name="connsiteY0" fmla="*/ 1779014 h 1779707"/>
                <a:gd name="connsiteX1" fmla="*/ 21237 w 1402808"/>
                <a:gd name="connsiteY1" fmla="*/ 1548875 h 1779707"/>
                <a:gd name="connsiteX2" fmla="*/ 729 w 1402808"/>
                <a:gd name="connsiteY2" fmla="*/ 1516095 h 1779707"/>
                <a:gd name="connsiteX3" fmla="*/ 343206 w 1402808"/>
                <a:gd name="connsiteY3" fmla="*/ 21216 h 1779707"/>
                <a:gd name="connsiteX4" fmla="*/ 376018 w 1402808"/>
                <a:gd name="connsiteY4" fmla="*/ 729 h 1779707"/>
                <a:gd name="connsiteX5" fmla="*/ 1381572 w 1402808"/>
                <a:gd name="connsiteY5" fmla="*/ 230868 h 1779707"/>
                <a:gd name="connsiteX6" fmla="*/ 1402079 w 1402808"/>
                <a:gd name="connsiteY6" fmla="*/ 263647 h 1779707"/>
                <a:gd name="connsiteX7" fmla="*/ 1059603 w 1402808"/>
                <a:gd name="connsiteY7" fmla="*/ 1758527 h 1779707"/>
                <a:gd name="connsiteX8" fmla="*/ 1026791 w 1402808"/>
                <a:gd name="connsiteY8" fmla="*/ 1779014 h 1779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2808" h="1779707">
                  <a:moveTo>
                    <a:pt x="1026791" y="1779014"/>
                  </a:moveTo>
                  <a:lnTo>
                    <a:pt x="21237" y="1548875"/>
                  </a:lnTo>
                  <a:cubicBezTo>
                    <a:pt x="6198" y="1545460"/>
                    <a:pt x="-2688" y="1531119"/>
                    <a:pt x="729" y="1516095"/>
                  </a:cubicBezTo>
                  <a:lnTo>
                    <a:pt x="343206" y="21216"/>
                  </a:lnTo>
                  <a:cubicBezTo>
                    <a:pt x="346624" y="6192"/>
                    <a:pt x="360979" y="-2686"/>
                    <a:pt x="376018" y="729"/>
                  </a:cubicBezTo>
                  <a:lnTo>
                    <a:pt x="1381572" y="230868"/>
                  </a:lnTo>
                  <a:cubicBezTo>
                    <a:pt x="1396611" y="234282"/>
                    <a:pt x="1405497" y="248623"/>
                    <a:pt x="1402079" y="263647"/>
                  </a:cubicBezTo>
                  <a:lnTo>
                    <a:pt x="1059603" y="1758527"/>
                  </a:lnTo>
                  <a:cubicBezTo>
                    <a:pt x="1056185" y="1772867"/>
                    <a:pt x="1041830" y="1782428"/>
                    <a:pt x="1026791" y="1779014"/>
                  </a:cubicBezTo>
                  <a:close/>
                </a:path>
              </a:pathLst>
            </a:custGeom>
            <a:solidFill>
              <a:srgbClr val="FFFFFF"/>
            </a:solidFill>
            <a:ln w="683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a:ea typeface="+mn-ea"/>
              </a:endParaRPr>
            </a:p>
          </p:txBody>
        </p:sp>
        <p:sp>
          <p:nvSpPr>
            <p:cNvPr id="73" name="Freeform: Shape 72">
              <a:extLst>
                <a:ext uri="{FF2B5EF4-FFF2-40B4-BE49-F238E27FC236}">
                  <a16:creationId xmlns:a16="http://schemas.microsoft.com/office/drawing/2014/main" id="{A5FE4CEF-EC7A-9F81-7EF0-7C649B06162D}"/>
                </a:ext>
              </a:extLst>
            </p:cNvPr>
            <p:cNvSpPr/>
            <p:nvPr/>
          </p:nvSpPr>
          <p:spPr>
            <a:xfrm>
              <a:off x="1109675" y="3419733"/>
              <a:ext cx="186877" cy="186691"/>
            </a:xfrm>
            <a:custGeom>
              <a:avLst/>
              <a:gdLst>
                <a:gd name="connsiteX0" fmla="*/ 145733 w 186877"/>
                <a:gd name="connsiteY0" fmla="*/ 186562 h 186691"/>
                <a:gd name="connsiteX1" fmla="*/ 5598 w 186877"/>
                <a:gd name="connsiteY1" fmla="*/ 154466 h 186691"/>
                <a:gd name="connsiteX2" fmla="*/ 130 w 186877"/>
                <a:gd name="connsiteY2" fmla="*/ 145588 h 186691"/>
                <a:gd name="connsiteX3" fmla="*/ 32258 w 186877"/>
                <a:gd name="connsiteY3" fmla="*/ 5593 h 186691"/>
                <a:gd name="connsiteX4" fmla="*/ 41145 w 186877"/>
                <a:gd name="connsiteY4" fmla="*/ 129 h 186691"/>
                <a:gd name="connsiteX5" fmla="*/ 181280 w 186877"/>
                <a:gd name="connsiteY5" fmla="*/ 32226 h 186691"/>
                <a:gd name="connsiteX6" fmla="*/ 186748 w 186877"/>
                <a:gd name="connsiteY6" fmla="*/ 41104 h 186691"/>
                <a:gd name="connsiteX7" fmla="*/ 154620 w 186877"/>
                <a:gd name="connsiteY7" fmla="*/ 181099 h 186691"/>
                <a:gd name="connsiteX8" fmla="*/ 145733 w 186877"/>
                <a:gd name="connsiteY8" fmla="*/ 186562 h 186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877" h="186691">
                  <a:moveTo>
                    <a:pt x="145733" y="186562"/>
                  </a:moveTo>
                  <a:lnTo>
                    <a:pt x="5598" y="154466"/>
                  </a:lnTo>
                  <a:cubicBezTo>
                    <a:pt x="1497" y="153783"/>
                    <a:pt x="-554" y="149686"/>
                    <a:pt x="130" y="145588"/>
                  </a:cubicBezTo>
                  <a:lnTo>
                    <a:pt x="32258" y="5593"/>
                  </a:lnTo>
                  <a:cubicBezTo>
                    <a:pt x="32942" y="1495"/>
                    <a:pt x="37043" y="-553"/>
                    <a:pt x="41145" y="129"/>
                  </a:cubicBezTo>
                  <a:lnTo>
                    <a:pt x="181280" y="32226"/>
                  </a:lnTo>
                  <a:cubicBezTo>
                    <a:pt x="185381" y="32909"/>
                    <a:pt x="187432" y="37006"/>
                    <a:pt x="186748" y="41104"/>
                  </a:cubicBezTo>
                  <a:lnTo>
                    <a:pt x="154620" y="181099"/>
                  </a:lnTo>
                  <a:cubicBezTo>
                    <a:pt x="153253" y="185197"/>
                    <a:pt x="149835" y="187245"/>
                    <a:pt x="145733" y="186562"/>
                  </a:cubicBezTo>
                  <a:close/>
                </a:path>
              </a:pathLst>
            </a:custGeom>
            <a:noFill/>
            <a:ln w="6833" cap="rnd">
              <a:solidFill>
                <a:srgbClr val="1D1359"/>
              </a:solidFill>
              <a:prstDash val="solid"/>
              <a:round/>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a:ea typeface="+mn-ea"/>
              </a:endParaRPr>
            </a:p>
          </p:txBody>
        </p:sp>
        <p:sp>
          <p:nvSpPr>
            <p:cNvPr id="74" name="Freeform: Shape 73">
              <a:extLst>
                <a:ext uri="{FF2B5EF4-FFF2-40B4-BE49-F238E27FC236}">
                  <a16:creationId xmlns:a16="http://schemas.microsoft.com/office/drawing/2014/main" id="{88562FC2-BC87-74F9-7348-DCEA5125E1D2}"/>
                </a:ext>
              </a:extLst>
            </p:cNvPr>
            <p:cNvSpPr/>
            <p:nvPr/>
          </p:nvSpPr>
          <p:spPr>
            <a:xfrm>
              <a:off x="1051570" y="3673774"/>
              <a:ext cx="186877" cy="186917"/>
            </a:xfrm>
            <a:custGeom>
              <a:avLst/>
              <a:gdLst>
                <a:gd name="connsiteX0" fmla="*/ 145733 w 186877"/>
                <a:gd name="connsiteY0" fmla="*/ 186563 h 186917"/>
                <a:gd name="connsiteX1" fmla="*/ 5598 w 186877"/>
                <a:gd name="connsiteY1" fmla="*/ 154466 h 186917"/>
                <a:gd name="connsiteX2" fmla="*/ 130 w 186877"/>
                <a:gd name="connsiteY2" fmla="*/ 145588 h 186917"/>
                <a:gd name="connsiteX3" fmla="*/ 32258 w 186877"/>
                <a:gd name="connsiteY3" fmla="*/ 5593 h 186917"/>
                <a:gd name="connsiteX4" fmla="*/ 41145 w 186877"/>
                <a:gd name="connsiteY4" fmla="*/ 129 h 186917"/>
                <a:gd name="connsiteX5" fmla="*/ 181280 w 186877"/>
                <a:gd name="connsiteY5" fmla="*/ 32226 h 186917"/>
                <a:gd name="connsiteX6" fmla="*/ 186748 w 186877"/>
                <a:gd name="connsiteY6" fmla="*/ 41104 h 186917"/>
                <a:gd name="connsiteX7" fmla="*/ 154620 w 186877"/>
                <a:gd name="connsiteY7" fmla="*/ 181099 h 186917"/>
                <a:gd name="connsiteX8" fmla="*/ 145733 w 186877"/>
                <a:gd name="connsiteY8" fmla="*/ 186563 h 186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877" h="186917">
                  <a:moveTo>
                    <a:pt x="145733" y="186563"/>
                  </a:moveTo>
                  <a:lnTo>
                    <a:pt x="5598" y="154466"/>
                  </a:lnTo>
                  <a:cubicBezTo>
                    <a:pt x="1497" y="153783"/>
                    <a:pt x="-554" y="149686"/>
                    <a:pt x="130" y="145588"/>
                  </a:cubicBezTo>
                  <a:lnTo>
                    <a:pt x="32258" y="5593"/>
                  </a:lnTo>
                  <a:cubicBezTo>
                    <a:pt x="32942" y="1495"/>
                    <a:pt x="37043" y="-553"/>
                    <a:pt x="41145" y="129"/>
                  </a:cubicBezTo>
                  <a:lnTo>
                    <a:pt x="181280" y="32226"/>
                  </a:lnTo>
                  <a:cubicBezTo>
                    <a:pt x="185381" y="32909"/>
                    <a:pt x="187432" y="37006"/>
                    <a:pt x="186748" y="41104"/>
                  </a:cubicBezTo>
                  <a:lnTo>
                    <a:pt x="154620" y="181099"/>
                  </a:lnTo>
                  <a:cubicBezTo>
                    <a:pt x="153253" y="185197"/>
                    <a:pt x="149151" y="187928"/>
                    <a:pt x="145733" y="186563"/>
                  </a:cubicBezTo>
                  <a:close/>
                </a:path>
              </a:pathLst>
            </a:custGeom>
            <a:noFill/>
            <a:ln w="6833" cap="rnd">
              <a:solidFill>
                <a:srgbClr val="1D1359"/>
              </a:solidFill>
              <a:prstDash val="solid"/>
              <a:round/>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a:ea typeface="+mn-ea"/>
              </a:endParaRPr>
            </a:p>
          </p:txBody>
        </p:sp>
        <p:sp>
          <p:nvSpPr>
            <p:cNvPr id="75" name="Freeform: Shape 74">
              <a:extLst>
                <a:ext uri="{FF2B5EF4-FFF2-40B4-BE49-F238E27FC236}">
                  <a16:creationId xmlns:a16="http://schemas.microsoft.com/office/drawing/2014/main" id="{00CFE2EC-CCE6-6096-31F0-9F59A78A442A}"/>
                </a:ext>
              </a:extLst>
            </p:cNvPr>
            <p:cNvSpPr/>
            <p:nvPr/>
          </p:nvSpPr>
          <p:spPr>
            <a:xfrm>
              <a:off x="992782" y="3928497"/>
              <a:ext cx="186877" cy="186691"/>
            </a:xfrm>
            <a:custGeom>
              <a:avLst/>
              <a:gdLst>
                <a:gd name="connsiteX0" fmla="*/ 145733 w 186877"/>
                <a:gd name="connsiteY0" fmla="*/ 186563 h 186691"/>
                <a:gd name="connsiteX1" fmla="*/ 5598 w 186877"/>
                <a:gd name="connsiteY1" fmla="*/ 154466 h 186691"/>
                <a:gd name="connsiteX2" fmla="*/ 130 w 186877"/>
                <a:gd name="connsiteY2" fmla="*/ 145588 h 186691"/>
                <a:gd name="connsiteX3" fmla="*/ 32258 w 186877"/>
                <a:gd name="connsiteY3" fmla="*/ 5593 h 186691"/>
                <a:gd name="connsiteX4" fmla="*/ 41145 w 186877"/>
                <a:gd name="connsiteY4" fmla="*/ 129 h 186691"/>
                <a:gd name="connsiteX5" fmla="*/ 181280 w 186877"/>
                <a:gd name="connsiteY5" fmla="*/ 32226 h 186691"/>
                <a:gd name="connsiteX6" fmla="*/ 186748 w 186877"/>
                <a:gd name="connsiteY6" fmla="*/ 41104 h 186691"/>
                <a:gd name="connsiteX7" fmla="*/ 154620 w 186877"/>
                <a:gd name="connsiteY7" fmla="*/ 181099 h 186691"/>
                <a:gd name="connsiteX8" fmla="*/ 145733 w 186877"/>
                <a:gd name="connsiteY8" fmla="*/ 186563 h 186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877" h="186691">
                  <a:moveTo>
                    <a:pt x="145733" y="186563"/>
                  </a:moveTo>
                  <a:lnTo>
                    <a:pt x="5598" y="154466"/>
                  </a:lnTo>
                  <a:cubicBezTo>
                    <a:pt x="1497" y="153783"/>
                    <a:pt x="-554" y="149686"/>
                    <a:pt x="130" y="145588"/>
                  </a:cubicBezTo>
                  <a:lnTo>
                    <a:pt x="32258" y="5593"/>
                  </a:lnTo>
                  <a:cubicBezTo>
                    <a:pt x="32942" y="1495"/>
                    <a:pt x="37043" y="-554"/>
                    <a:pt x="41145" y="129"/>
                  </a:cubicBezTo>
                  <a:lnTo>
                    <a:pt x="181280" y="32226"/>
                  </a:lnTo>
                  <a:cubicBezTo>
                    <a:pt x="185381" y="32909"/>
                    <a:pt x="187432" y="37006"/>
                    <a:pt x="186748" y="41104"/>
                  </a:cubicBezTo>
                  <a:lnTo>
                    <a:pt x="154620" y="181099"/>
                  </a:lnTo>
                  <a:cubicBezTo>
                    <a:pt x="153936" y="185197"/>
                    <a:pt x="149835" y="187245"/>
                    <a:pt x="145733" y="186563"/>
                  </a:cubicBezTo>
                  <a:close/>
                </a:path>
              </a:pathLst>
            </a:custGeom>
            <a:noFill/>
            <a:ln w="6833" cap="rnd">
              <a:solidFill>
                <a:srgbClr val="1D1359"/>
              </a:solidFill>
              <a:prstDash val="solid"/>
              <a:round/>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a:ea typeface="+mn-ea"/>
              </a:endParaRPr>
            </a:p>
          </p:txBody>
        </p:sp>
        <p:sp>
          <p:nvSpPr>
            <p:cNvPr id="76" name="Freeform: Shape 75">
              <a:extLst>
                <a:ext uri="{FF2B5EF4-FFF2-40B4-BE49-F238E27FC236}">
                  <a16:creationId xmlns:a16="http://schemas.microsoft.com/office/drawing/2014/main" id="{4DC5466C-F4C3-B75E-1376-A19424E98863}"/>
                </a:ext>
              </a:extLst>
            </p:cNvPr>
            <p:cNvSpPr/>
            <p:nvPr/>
          </p:nvSpPr>
          <p:spPr>
            <a:xfrm>
              <a:off x="934677" y="4183221"/>
              <a:ext cx="186877" cy="186691"/>
            </a:xfrm>
            <a:custGeom>
              <a:avLst/>
              <a:gdLst>
                <a:gd name="connsiteX0" fmla="*/ 145733 w 186877"/>
                <a:gd name="connsiteY0" fmla="*/ 186562 h 186691"/>
                <a:gd name="connsiteX1" fmla="*/ 5598 w 186877"/>
                <a:gd name="connsiteY1" fmla="*/ 154466 h 186691"/>
                <a:gd name="connsiteX2" fmla="*/ 130 w 186877"/>
                <a:gd name="connsiteY2" fmla="*/ 145588 h 186691"/>
                <a:gd name="connsiteX3" fmla="*/ 32258 w 186877"/>
                <a:gd name="connsiteY3" fmla="*/ 5593 h 186691"/>
                <a:gd name="connsiteX4" fmla="*/ 41145 w 186877"/>
                <a:gd name="connsiteY4" fmla="*/ 129 h 186691"/>
                <a:gd name="connsiteX5" fmla="*/ 181280 w 186877"/>
                <a:gd name="connsiteY5" fmla="*/ 32226 h 186691"/>
                <a:gd name="connsiteX6" fmla="*/ 186748 w 186877"/>
                <a:gd name="connsiteY6" fmla="*/ 41104 h 186691"/>
                <a:gd name="connsiteX7" fmla="*/ 154620 w 186877"/>
                <a:gd name="connsiteY7" fmla="*/ 181099 h 186691"/>
                <a:gd name="connsiteX8" fmla="*/ 145733 w 186877"/>
                <a:gd name="connsiteY8" fmla="*/ 186562 h 186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877" h="186691">
                  <a:moveTo>
                    <a:pt x="145733" y="186562"/>
                  </a:moveTo>
                  <a:lnTo>
                    <a:pt x="5598" y="154466"/>
                  </a:lnTo>
                  <a:cubicBezTo>
                    <a:pt x="1497" y="153783"/>
                    <a:pt x="-554" y="149686"/>
                    <a:pt x="130" y="145588"/>
                  </a:cubicBezTo>
                  <a:lnTo>
                    <a:pt x="32258" y="5593"/>
                  </a:lnTo>
                  <a:cubicBezTo>
                    <a:pt x="32942" y="1495"/>
                    <a:pt x="37043" y="-554"/>
                    <a:pt x="41145" y="129"/>
                  </a:cubicBezTo>
                  <a:lnTo>
                    <a:pt x="181280" y="32226"/>
                  </a:lnTo>
                  <a:cubicBezTo>
                    <a:pt x="185381" y="32909"/>
                    <a:pt x="187432" y="37006"/>
                    <a:pt x="186748" y="41104"/>
                  </a:cubicBezTo>
                  <a:lnTo>
                    <a:pt x="154620" y="181099"/>
                  </a:lnTo>
                  <a:cubicBezTo>
                    <a:pt x="153253" y="185197"/>
                    <a:pt x="149151" y="187245"/>
                    <a:pt x="145733" y="186562"/>
                  </a:cubicBezTo>
                  <a:close/>
                </a:path>
              </a:pathLst>
            </a:custGeom>
            <a:noFill/>
            <a:ln w="6833" cap="rnd">
              <a:solidFill>
                <a:srgbClr val="1D1359"/>
              </a:solidFill>
              <a:prstDash val="solid"/>
              <a:round/>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a:ea typeface="+mn-ea"/>
              </a:endParaRPr>
            </a:p>
          </p:txBody>
        </p:sp>
        <p:sp>
          <p:nvSpPr>
            <p:cNvPr id="77" name="Freeform: Shape 76">
              <a:extLst>
                <a:ext uri="{FF2B5EF4-FFF2-40B4-BE49-F238E27FC236}">
                  <a16:creationId xmlns:a16="http://schemas.microsoft.com/office/drawing/2014/main" id="{EAC58093-0B4B-1E95-4772-ABED53230AB7}"/>
                </a:ext>
              </a:extLst>
            </p:cNvPr>
            <p:cNvSpPr/>
            <p:nvPr/>
          </p:nvSpPr>
          <p:spPr>
            <a:xfrm>
              <a:off x="875888" y="4437261"/>
              <a:ext cx="186877" cy="186917"/>
            </a:xfrm>
            <a:custGeom>
              <a:avLst/>
              <a:gdLst>
                <a:gd name="connsiteX0" fmla="*/ 145733 w 186877"/>
                <a:gd name="connsiteY0" fmla="*/ 186563 h 186917"/>
                <a:gd name="connsiteX1" fmla="*/ 5598 w 186877"/>
                <a:gd name="connsiteY1" fmla="*/ 154466 h 186917"/>
                <a:gd name="connsiteX2" fmla="*/ 130 w 186877"/>
                <a:gd name="connsiteY2" fmla="*/ 145588 h 186917"/>
                <a:gd name="connsiteX3" fmla="*/ 32258 w 186877"/>
                <a:gd name="connsiteY3" fmla="*/ 5593 h 186917"/>
                <a:gd name="connsiteX4" fmla="*/ 41145 w 186877"/>
                <a:gd name="connsiteY4" fmla="*/ 129 h 186917"/>
                <a:gd name="connsiteX5" fmla="*/ 181280 w 186877"/>
                <a:gd name="connsiteY5" fmla="*/ 32226 h 186917"/>
                <a:gd name="connsiteX6" fmla="*/ 186748 w 186877"/>
                <a:gd name="connsiteY6" fmla="*/ 41104 h 186917"/>
                <a:gd name="connsiteX7" fmla="*/ 154620 w 186877"/>
                <a:gd name="connsiteY7" fmla="*/ 181099 h 186917"/>
                <a:gd name="connsiteX8" fmla="*/ 145733 w 186877"/>
                <a:gd name="connsiteY8" fmla="*/ 186563 h 186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877" h="186917">
                  <a:moveTo>
                    <a:pt x="145733" y="186563"/>
                  </a:moveTo>
                  <a:lnTo>
                    <a:pt x="5598" y="154466"/>
                  </a:lnTo>
                  <a:cubicBezTo>
                    <a:pt x="1497" y="153783"/>
                    <a:pt x="-554" y="149686"/>
                    <a:pt x="130" y="145588"/>
                  </a:cubicBezTo>
                  <a:lnTo>
                    <a:pt x="32258" y="5593"/>
                  </a:lnTo>
                  <a:cubicBezTo>
                    <a:pt x="32942" y="1495"/>
                    <a:pt x="37043" y="-554"/>
                    <a:pt x="41145" y="129"/>
                  </a:cubicBezTo>
                  <a:lnTo>
                    <a:pt x="181280" y="32226"/>
                  </a:lnTo>
                  <a:cubicBezTo>
                    <a:pt x="185381" y="32909"/>
                    <a:pt x="187432" y="37006"/>
                    <a:pt x="186748" y="41104"/>
                  </a:cubicBezTo>
                  <a:lnTo>
                    <a:pt x="154620" y="181099"/>
                  </a:lnTo>
                  <a:cubicBezTo>
                    <a:pt x="153936" y="185197"/>
                    <a:pt x="149835" y="187928"/>
                    <a:pt x="145733" y="186563"/>
                  </a:cubicBezTo>
                  <a:close/>
                </a:path>
              </a:pathLst>
            </a:custGeom>
            <a:noFill/>
            <a:ln w="6833" cap="rnd">
              <a:solidFill>
                <a:srgbClr val="1D1359"/>
              </a:solidFill>
              <a:prstDash val="solid"/>
              <a:round/>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a:ea typeface="+mn-ea"/>
              </a:endParaRPr>
            </a:p>
          </p:txBody>
        </p:sp>
        <p:grpSp>
          <p:nvGrpSpPr>
            <p:cNvPr id="78" name="Graphic 4">
              <a:extLst>
                <a:ext uri="{FF2B5EF4-FFF2-40B4-BE49-F238E27FC236}">
                  <a16:creationId xmlns:a16="http://schemas.microsoft.com/office/drawing/2014/main" id="{03C2DD19-4799-8DBA-B90E-7CB651B90C0E}"/>
                </a:ext>
              </a:extLst>
            </p:cNvPr>
            <p:cNvGrpSpPr/>
            <p:nvPr/>
          </p:nvGrpSpPr>
          <p:grpSpPr>
            <a:xfrm>
              <a:off x="1324087" y="3491888"/>
              <a:ext cx="652182" cy="247936"/>
              <a:chOff x="1324087" y="3491888"/>
              <a:chExt cx="652182" cy="247936"/>
            </a:xfrm>
            <a:solidFill>
              <a:srgbClr val="E6F0FF"/>
            </a:solidFill>
          </p:grpSpPr>
          <p:sp>
            <p:nvSpPr>
              <p:cNvPr id="94" name="Freeform: Shape 93">
                <a:extLst>
                  <a:ext uri="{FF2B5EF4-FFF2-40B4-BE49-F238E27FC236}">
                    <a16:creationId xmlns:a16="http://schemas.microsoft.com/office/drawing/2014/main" id="{C0154171-5C29-3A53-E342-6A2A6CB1BFCE}"/>
                  </a:ext>
                </a:extLst>
              </p:cNvPr>
              <p:cNvSpPr/>
              <p:nvPr/>
            </p:nvSpPr>
            <p:spPr>
              <a:xfrm>
                <a:off x="1340493" y="3491888"/>
                <a:ext cx="635776" cy="177115"/>
              </a:xfrm>
              <a:custGeom>
                <a:avLst/>
                <a:gdLst>
                  <a:gd name="connsiteX0" fmla="*/ 610804 w 635776"/>
                  <a:gd name="connsiteY0" fmla="*/ 176552 h 177115"/>
                  <a:gd name="connsiteX1" fmla="*/ 16085 w 635776"/>
                  <a:gd name="connsiteY1" fmla="*/ 40654 h 177115"/>
                  <a:gd name="connsiteX2" fmla="*/ 363 w 635776"/>
                  <a:gd name="connsiteY2" fmla="*/ 16069 h 177115"/>
                  <a:gd name="connsiteX3" fmla="*/ 363 w 635776"/>
                  <a:gd name="connsiteY3" fmla="*/ 16069 h 177115"/>
                  <a:gd name="connsiteX4" fmla="*/ 24972 w 635776"/>
                  <a:gd name="connsiteY4" fmla="*/ 362 h 177115"/>
                  <a:gd name="connsiteX5" fmla="*/ 619691 w 635776"/>
                  <a:gd name="connsiteY5" fmla="*/ 136260 h 177115"/>
                  <a:gd name="connsiteX6" fmla="*/ 635413 w 635776"/>
                  <a:gd name="connsiteY6" fmla="*/ 160845 h 177115"/>
                  <a:gd name="connsiteX7" fmla="*/ 635413 w 635776"/>
                  <a:gd name="connsiteY7" fmla="*/ 160845 h 177115"/>
                  <a:gd name="connsiteX8" fmla="*/ 610804 w 635776"/>
                  <a:gd name="connsiteY8" fmla="*/ 176552 h 177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5776" h="177115">
                    <a:moveTo>
                      <a:pt x="610804" y="176552"/>
                    </a:moveTo>
                    <a:lnTo>
                      <a:pt x="16085" y="40654"/>
                    </a:lnTo>
                    <a:cubicBezTo>
                      <a:pt x="5148" y="37922"/>
                      <a:pt x="-1688" y="26996"/>
                      <a:pt x="363" y="16069"/>
                    </a:cubicBezTo>
                    <a:lnTo>
                      <a:pt x="363" y="16069"/>
                    </a:lnTo>
                    <a:cubicBezTo>
                      <a:pt x="3097" y="5143"/>
                      <a:pt x="14034" y="-1686"/>
                      <a:pt x="24972" y="362"/>
                    </a:cubicBezTo>
                    <a:lnTo>
                      <a:pt x="619691" y="136260"/>
                    </a:lnTo>
                    <a:cubicBezTo>
                      <a:pt x="630628" y="138992"/>
                      <a:pt x="637464" y="149919"/>
                      <a:pt x="635413" y="160845"/>
                    </a:cubicBezTo>
                    <a:lnTo>
                      <a:pt x="635413" y="160845"/>
                    </a:lnTo>
                    <a:cubicBezTo>
                      <a:pt x="633363" y="171771"/>
                      <a:pt x="621742" y="179283"/>
                      <a:pt x="610804" y="176552"/>
                    </a:cubicBezTo>
                    <a:close/>
                  </a:path>
                </a:pathLst>
              </a:custGeom>
              <a:solidFill>
                <a:srgbClr val="9E5AFF"/>
              </a:solidFill>
              <a:ln w="683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a:ea typeface="+mn-ea"/>
                </a:endParaRPr>
              </a:p>
            </p:txBody>
          </p:sp>
          <p:sp>
            <p:nvSpPr>
              <p:cNvPr id="95" name="Freeform: Shape 94">
                <a:extLst>
                  <a:ext uri="{FF2B5EF4-FFF2-40B4-BE49-F238E27FC236}">
                    <a16:creationId xmlns:a16="http://schemas.microsoft.com/office/drawing/2014/main" id="{96F3D4BD-4E05-96C2-130B-B0710E7A5583}"/>
                  </a:ext>
                </a:extLst>
              </p:cNvPr>
              <p:cNvSpPr/>
              <p:nvPr/>
            </p:nvSpPr>
            <p:spPr>
              <a:xfrm>
                <a:off x="1324087" y="3562910"/>
                <a:ext cx="635776" cy="176914"/>
              </a:xfrm>
              <a:custGeom>
                <a:avLst/>
                <a:gdLst>
                  <a:gd name="connsiteX0" fmla="*/ 610804 w 635776"/>
                  <a:gd name="connsiteY0" fmla="*/ 176552 h 176914"/>
                  <a:gd name="connsiteX1" fmla="*/ 16085 w 635776"/>
                  <a:gd name="connsiteY1" fmla="*/ 40654 h 176914"/>
                  <a:gd name="connsiteX2" fmla="*/ 363 w 635776"/>
                  <a:gd name="connsiteY2" fmla="*/ 16069 h 176914"/>
                  <a:gd name="connsiteX3" fmla="*/ 363 w 635776"/>
                  <a:gd name="connsiteY3" fmla="*/ 16069 h 176914"/>
                  <a:gd name="connsiteX4" fmla="*/ 24972 w 635776"/>
                  <a:gd name="connsiteY4" fmla="*/ 362 h 176914"/>
                  <a:gd name="connsiteX5" fmla="*/ 619691 w 635776"/>
                  <a:gd name="connsiteY5" fmla="*/ 136260 h 176914"/>
                  <a:gd name="connsiteX6" fmla="*/ 635413 w 635776"/>
                  <a:gd name="connsiteY6" fmla="*/ 160845 h 176914"/>
                  <a:gd name="connsiteX7" fmla="*/ 635413 w 635776"/>
                  <a:gd name="connsiteY7" fmla="*/ 160845 h 176914"/>
                  <a:gd name="connsiteX8" fmla="*/ 610804 w 635776"/>
                  <a:gd name="connsiteY8" fmla="*/ 176552 h 176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5776" h="176914">
                    <a:moveTo>
                      <a:pt x="610804" y="176552"/>
                    </a:moveTo>
                    <a:lnTo>
                      <a:pt x="16085" y="40654"/>
                    </a:lnTo>
                    <a:cubicBezTo>
                      <a:pt x="5148" y="37922"/>
                      <a:pt x="-1688" y="26996"/>
                      <a:pt x="363" y="16069"/>
                    </a:cubicBezTo>
                    <a:lnTo>
                      <a:pt x="363" y="16069"/>
                    </a:lnTo>
                    <a:cubicBezTo>
                      <a:pt x="3097" y="5143"/>
                      <a:pt x="14034" y="-1686"/>
                      <a:pt x="24972" y="362"/>
                    </a:cubicBezTo>
                    <a:lnTo>
                      <a:pt x="619691" y="136260"/>
                    </a:lnTo>
                    <a:cubicBezTo>
                      <a:pt x="630628" y="138992"/>
                      <a:pt x="637464" y="149918"/>
                      <a:pt x="635413" y="160845"/>
                    </a:cubicBezTo>
                    <a:lnTo>
                      <a:pt x="635413" y="160845"/>
                    </a:lnTo>
                    <a:cubicBezTo>
                      <a:pt x="633363" y="171771"/>
                      <a:pt x="622425" y="178601"/>
                      <a:pt x="610804" y="176552"/>
                    </a:cubicBezTo>
                    <a:close/>
                  </a:path>
                </a:pathLst>
              </a:custGeom>
              <a:solidFill>
                <a:srgbClr val="9E5AFF"/>
              </a:solidFill>
              <a:ln w="683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a:ea typeface="+mn-ea"/>
                </a:endParaRPr>
              </a:p>
            </p:txBody>
          </p:sp>
        </p:grpSp>
        <p:grpSp>
          <p:nvGrpSpPr>
            <p:cNvPr id="79" name="Graphic 4">
              <a:extLst>
                <a:ext uri="{FF2B5EF4-FFF2-40B4-BE49-F238E27FC236}">
                  <a16:creationId xmlns:a16="http://schemas.microsoft.com/office/drawing/2014/main" id="{2B4A998A-B9D2-3DF4-9F12-62AB40661376}"/>
                </a:ext>
              </a:extLst>
            </p:cNvPr>
            <p:cNvGrpSpPr/>
            <p:nvPr/>
          </p:nvGrpSpPr>
          <p:grpSpPr>
            <a:xfrm>
              <a:off x="1265983" y="3746612"/>
              <a:ext cx="652182" cy="247491"/>
              <a:chOff x="1265983" y="3746612"/>
              <a:chExt cx="652182" cy="247491"/>
            </a:xfrm>
            <a:solidFill>
              <a:srgbClr val="E6F0FF"/>
            </a:solidFill>
          </p:grpSpPr>
          <p:sp>
            <p:nvSpPr>
              <p:cNvPr id="92" name="Freeform: Shape 91">
                <a:extLst>
                  <a:ext uri="{FF2B5EF4-FFF2-40B4-BE49-F238E27FC236}">
                    <a16:creationId xmlns:a16="http://schemas.microsoft.com/office/drawing/2014/main" id="{E30B59AA-AA8C-25B4-8E9C-5F9A8CFDCD9B}"/>
                  </a:ext>
                </a:extLst>
              </p:cNvPr>
              <p:cNvSpPr/>
              <p:nvPr/>
            </p:nvSpPr>
            <p:spPr>
              <a:xfrm>
                <a:off x="1282389" y="3746612"/>
                <a:ext cx="635776" cy="176914"/>
              </a:xfrm>
              <a:custGeom>
                <a:avLst/>
                <a:gdLst>
                  <a:gd name="connsiteX0" fmla="*/ 610804 w 635776"/>
                  <a:gd name="connsiteY0" fmla="*/ 176552 h 176914"/>
                  <a:gd name="connsiteX1" fmla="*/ 16085 w 635776"/>
                  <a:gd name="connsiteY1" fmla="*/ 40654 h 176914"/>
                  <a:gd name="connsiteX2" fmla="*/ 363 w 635776"/>
                  <a:gd name="connsiteY2" fmla="*/ 16069 h 176914"/>
                  <a:gd name="connsiteX3" fmla="*/ 363 w 635776"/>
                  <a:gd name="connsiteY3" fmla="*/ 16069 h 176914"/>
                  <a:gd name="connsiteX4" fmla="*/ 24972 w 635776"/>
                  <a:gd name="connsiteY4" fmla="*/ 362 h 176914"/>
                  <a:gd name="connsiteX5" fmla="*/ 619691 w 635776"/>
                  <a:gd name="connsiteY5" fmla="*/ 136260 h 176914"/>
                  <a:gd name="connsiteX6" fmla="*/ 635413 w 635776"/>
                  <a:gd name="connsiteY6" fmla="*/ 160845 h 176914"/>
                  <a:gd name="connsiteX7" fmla="*/ 635413 w 635776"/>
                  <a:gd name="connsiteY7" fmla="*/ 160845 h 176914"/>
                  <a:gd name="connsiteX8" fmla="*/ 610804 w 635776"/>
                  <a:gd name="connsiteY8" fmla="*/ 176552 h 176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5776" h="176914">
                    <a:moveTo>
                      <a:pt x="610804" y="176552"/>
                    </a:moveTo>
                    <a:lnTo>
                      <a:pt x="16085" y="40654"/>
                    </a:lnTo>
                    <a:cubicBezTo>
                      <a:pt x="5148" y="37922"/>
                      <a:pt x="-1688" y="26996"/>
                      <a:pt x="363" y="16069"/>
                    </a:cubicBezTo>
                    <a:lnTo>
                      <a:pt x="363" y="16069"/>
                    </a:lnTo>
                    <a:cubicBezTo>
                      <a:pt x="3097" y="5143"/>
                      <a:pt x="14034" y="-1686"/>
                      <a:pt x="24972" y="362"/>
                    </a:cubicBezTo>
                    <a:lnTo>
                      <a:pt x="619691" y="136260"/>
                    </a:lnTo>
                    <a:cubicBezTo>
                      <a:pt x="630628" y="138992"/>
                      <a:pt x="637464" y="149919"/>
                      <a:pt x="635413" y="160845"/>
                    </a:cubicBezTo>
                    <a:lnTo>
                      <a:pt x="635413" y="160845"/>
                    </a:lnTo>
                    <a:cubicBezTo>
                      <a:pt x="632679" y="171772"/>
                      <a:pt x="621742" y="178601"/>
                      <a:pt x="610804" y="176552"/>
                    </a:cubicBezTo>
                    <a:close/>
                  </a:path>
                </a:pathLst>
              </a:custGeom>
              <a:solidFill>
                <a:srgbClr val="9BBB59"/>
              </a:solidFill>
              <a:ln w="683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a:ea typeface="+mn-ea"/>
                </a:endParaRPr>
              </a:p>
            </p:txBody>
          </p:sp>
          <p:sp>
            <p:nvSpPr>
              <p:cNvPr id="93" name="Freeform: Shape 92">
                <a:extLst>
                  <a:ext uri="{FF2B5EF4-FFF2-40B4-BE49-F238E27FC236}">
                    <a16:creationId xmlns:a16="http://schemas.microsoft.com/office/drawing/2014/main" id="{A80082DA-F2E1-0AE2-D61C-6A1ED68AE2CB}"/>
                  </a:ext>
                </a:extLst>
              </p:cNvPr>
              <p:cNvSpPr/>
              <p:nvPr/>
            </p:nvSpPr>
            <p:spPr>
              <a:xfrm>
                <a:off x="1265983" y="3816951"/>
                <a:ext cx="635776" cy="177151"/>
              </a:xfrm>
              <a:custGeom>
                <a:avLst/>
                <a:gdLst>
                  <a:gd name="connsiteX0" fmla="*/ 610804 w 635776"/>
                  <a:gd name="connsiteY0" fmla="*/ 176552 h 177151"/>
                  <a:gd name="connsiteX1" fmla="*/ 16085 w 635776"/>
                  <a:gd name="connsiteY1" fmla="*/ 40654 h 177151"/>
                  <a:gd name="connsiteX2" fmla="*/ 363 w 635776"/>
                  <a:gd name="connsiteY2" fmla="*/ 16069 h 177151"/>
                  <a:gd name="connsiteX3" fmla="*/ 363 w 635776"/>
                  <a:gd name="connsiteY3" fmla="*/ 16069 h 177151"/>
                  <a:gd name="connsiteX4" fmla="*/ 24972 w 635776"/>
                  <a:gd name="connsiteY4" fmla="*/ 362 h 177151"/>
                  <a:gd name="connsiteX5" fmla="*/ 619691 w 635776"/>
                  <a:gd name="connsiteY5" fmla="*/ 136260 h 177151"/>
                  <a:gd name="connsiteX6" fmla="*/ 635413 w 635776"/>
                  <a:gd name="connsiteY6" fmla="*/ 160845 h 177151"/>
                  <a:gd name="connsiteX7" fmla="*/ 635413 w 635776"/>
                  <a:gd name="connsiteY7" fmla="*/ 160845 h 177151"/>
                  <a:gd name="connsiteX8" fmla="*/ 610804 w 635776"/>
                  <a:gd name="connsiteY8" fmla="*/ 176552 h 177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5776" h="177151">
                    <a:moveTo>
                      <a:pt x="610804" y="176552"/>
                    </a:moveTo>
                    <a:lnTo>
                      <a:pt x="16085" y="40654"/>
                    </a:lnTo>
                    <a:cubicBezTo>
                      <a:pt x="5148" y="37922"/>
                      <a:pt x="-1688" y="26996"/>
                      <a:pt x="363" y="16069"/>
                    </a:cubicBezTo>
                    <a:lnTo>
                      <a:pt x="363" y="16069"/>
                    </a:lnTo>
                    <a:cubicBezTo>
                      <a:pt x="3097" y="5143"/>
                      <a:pt x="14034" y="-1686"/>
                      <a:pt x="24972" y="362"/>
                    </a:cubicBezTo>
                    <a:lnTo>
                      <a:pt x="619691" y="136260"/>
                    </a:lnTo>
                    <a:cubicBezTo>
                      <a:pt x="630628" y="138992"/>
                      <a:pt x="637464" y="149918"/>
                      <a:pt x="635413" y="160845"/>
                    </a:cubicBezTo>
                    <a:lnTo>
                      <a:pt x="635413" y="160845"/>
                    </a:lnTo>
                    <a:cubicBezTo>
                      <a:pt x="632679" y="172454"/>
                      <a:pt x="621742" y="179283"/>
                      <a:pt x="610804" y="176552"/>
                    </a:cubicBezTo>
                    <a:close/>
                  </a:path>
                </a:pathLst>
              </a:custGeom>
              <a:solidFill>
                <a:srgbClr val="9E5AFF"/>
              </a:solidFill>
              <a:ln w="683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a:ea typeface="+mn-ea"/>
                </a:endParaRPr>
              </a:p>
            </p:txBody>
          </p:sp>
        </p:grpSp>
        <p:grpSp>
          <p:nvGrpSpPr>
            <p:cNvPr id="80" name="Graphic 4">
              <a:extLst>
                <a:ext uri="{FF2B5EF4-FFF2-40B4-BE49-F238E27FC236}">
                  <a16:creationId xmlns:a16="http://schemas.microsoft.com/office/drawing/2014/main" id="{59D42F16-BAC8-FFB2-E966-CD09E328D9A5}"/>
                </a:ext>
              </a:extLst>
            </p:cNvPr>
            <p:cNvGrpSpPr/>
            <p:nvPr/>
          </p:nvGrpSpPr>
          <p:grpSpPr>
            <a:xfrm>
              <a:off x="1207878" y="4000652"/>
              <a:ext cx="651498" cy="248137"/>
              <a:chOff x="1207878" y="4000652"/>
              <a:chExt cx="651498" cy="248137"/>
            </a:xfrm>
            <a:solidFill>
              <a:srgbClr val="E6F0FF"/>
            </a:solidFill>
          </p:grpSpPr>
          <p:sp>
            <p:nvSpPr>
              <p:cNvPr id="90" name="Freeform: Shape 89">
                <a:extLst>
                  <a:ext uri="{FF2B5EF4-FFF2-40B4-BE49-F238E27FC236}">
                    <a16:creationId xmlns:a16="http://schemas.microsoft.com/office/drawing/2014/main" id="{7BC48BD8-2419-A846-07BD-71F2C254D85B}"/>
                  </a:ext>
                </a:extLst>
              </p:cNvPr>
              <p:cNvSpPr/>
              <p:nvPr/>
            </p:nvSpPr>
            <p:spPr>
              <a:xfrm>
                <a:off x="1223600" y="4000652"/>
                <a:ext cx="635776" cy="177151"/>
              </a:xfrm>
              <a:custGeom>
                <a:avLst/>
                <a:gdLst>
                  <a:gd name="connsiteX0" fmla="*/ 610804 w 635776"/>
                  <a:gd name="connsiteY0" fmla="*/ 176552 h 177151"/>
                  <a:gd name="connsiteX1" fmla="*/ 16085 w 635776"/>
                  <a:gd name="connsiteY1" fmla="*/ 40654 h 177151"/>
                  <a:gd name="connsiteX2" fmla="*/ 363 w 635776"/>
                  <a:gd name="connsiteY2" fmla="*/ 16069 h 177151"/>
                  <a:gd name="connsiteX3" fmla="*/ 363 w 635776"/>
                  <a:gd name="connsiteY3" fmla="*/ 16069 h 177151"/>
                  <a:gd name="connsiteX4" fmla="*/ 24972 w 635776"/>
                  <a:gd name="connsiteY4" fmla="*/ 362 h 177151"/>
                  <a:gd name="connsiteX5" fmla="*/ 619691 w 635776"/>
                  <a:gd name="connsiteY5" fmla="*/ 136260 h 177151"/>
                  <a:gd name="connsiteX6" fmla="*/ 635413 w 635776"/>
                  <a:gd name="connsiteY6" fmla="*/ 160845 h 177151"/>
                  <a:gd name="connsiteX7" fmla="*/ 635413 w 635776"/>
                  <a:gd name="connsiteY7" fmla="*/ 160845 h 177151"/>
                  <a:gd name="connsiteX8" fmla="*/ 610804 w 635776"/>
                  <a:gd name="connsiteY8" fmla="*/ 176552 h 177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5776" h="177151">
                    <a:moveTo>
                      <a:pt x="610804" y="176552"/>
                    </a:moveTo>
                    <a:lnTo>
                      <a:pt x="16085" y="40654"/>
                    </a:lnTo>
                    <a:cubicBezTo>
                      <a:pt x="5148" y="37922"/>
                      <a:pt x="-1688" y="26996"/>
                      <a:pt x="363" y="16069"/>
                    </a:cubicBezTo>
                    <a:lnTo>
                      <a:pt x="363" y="16069"/>
                    </a:lnTo>
                    <a:cubicBezTo>
                      <a:pt x="3097" y="5143"/>
                      <a:pt x="14034" y="-1686"/>
                      <a:pt x="24972" y="362"/>
                    </a:cubicBezTo>
                    <a:lnTo>
                      <a:pt x="619691" y="136260"/>
                    </a:lnTo>
                    <a:cubicBezTo>
                      <a:pt x="630628" y="138992"/>
                      <a:pt x="637464" y="149919"/>
                      <a:pt x="635413" y="160845"/>
                    </a:cubicBezTo>
                    <a:lnTo>
                      <a:pt x="635413" y="160845"/>
                    </a:lnTo>
                    <a:cubicBezTo>
                      <a:pt x="633363" y="172454"/>
                      <a:pt x="622425" y="179283"/>
                      <a:pt x="610804" y="176552"/>
                    </a:cubicBezTo>
                    <a:close/>
                  </a:path>
                </a:pathLst>
              </a:custGeom>
              <a:solidFill>
                <a:srgbClr val="9E5AFF"/>
              </a:solidFill>
              <a:ln w="683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a:ea typeface="+mn-ea"/>
                </a:endParaRPr>
              </a:p>
            </p:txBody>
          </p:sp>
          <p:sp>
            <p:nvSpPr>
              <p:cNvPr id="91" name="Freeform: Shape 90">
                <a:extLst>
                  <a:ext uri="{FF2B5EF4-FFF2-40B4-BE49-F238E27FC236}">
                    <a16:creationId xmlns:a16="http://schemas.microsoft.com/office/drawing/2014/main" id="{7F80ADAC-8DE0-4ED0-8906-6CFCCEE3A0AC}"/>
                  </a:ext>
                </a:extLst>
              </p:cNvPr>
              <p:cNvSpPr/>
              <p:nvPr/>
            </p:nvSpPr>
            <p:spPr>
              <a:xfrm>
                <a:off x="1207878" y="4071674"/>
                <a:ext cx="635776" cy="177115"/>
              </a:xfrm>
              <a:custGeom>
                <a:avLst/>
                <a:gdLst>
                  <a:gd name="connsiteX0" fmla="*/ 610804 w 635776"/>
                  <a:gd name="connsiteY0" fmla="*/ 176552 h 177115"/>
                  <a:gd name="connsiteX1" fmla="*/ 16085 w 635776"/>
                  <a:gd name="connsiteY1" fmla="*/ 40654 h 177115"/>
                  <a:gd name="connsiteX2" fmla="*/ 363 w 635776"/>
                  <a:gd name="connsiteY2" fmla="*/ 16069 h 177115"/>
                  <a:gd name="connsiteX3" fmla="*/ 363 w 635776"/>
                  <a:gd name="connsiteY3" fmla="*/ 16069 h 177115"/>
                  <a:gd name="connsiteX4" fmla="*/ 24972 w 635776"/>
                  <a:gd name="connsiteY4" fmla="*/ 362 h 177115"/>
                  <a:gd name="connsiteX5" fmla="*/ 619691 w 635776"/>
                  <a:gd name="connsiteY5" fmla="*/ 136260 h 177115"/>
                  <a:gd name="connsiteX6" fmla="*/ 635413 w 635776"/>
                  <a:gd name="connsiteY6" fmla="*/ 160845 h 177115"/>
                  <a:gd name="connsiteX7" fmla="*/ 635413 w 635776"/>
                  <a:gd name="connsiteY7" fmla="*/ 160845 h 177115"/>
                  <a:gd name="connsiteX8" fmla="*/ 610804 w 635776"/>
                  <a:gd name="connsiteY8" fmla="*/ 176552 h 177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5776" h="177115">
                    <a:moveTo>
                      <a:pt x="610804" y="176552"/>
                    </a:moveTo>
                    <a:lnTo>
                      <a:pt x="16085" y="40654"/>
                    </a:lnTo>
                    <a:cubicBezTo>
                      <a:pt x="5148" y="37922"/>
                      <a:pt x="-1688" y="26996"/>
                      <a:pt x="363" y="16069"/>
                    </a:cubicBezTo>
                    <a:lnTo>
                      <a:pt x="363" y="16069"/>
                    </a:lnTo>
                    <a:cubicBezTo>
                      <a:pt x="3097" y="5143"/>
                      <a:pt x="14034" y="-1686"/>
                      <a:pt x="24972" y="362"/>
                    </a:cubicBezTo>
                    <a:lnTo>
                      <a:pt x="619691" y="136260"/>
                    </a:lnTo>
                    <a:cubicBezTo>
                      <a:pt x="630628" y="138992"/>
                      <a:pt x="637464" y="149918"/>
                      <a:pt x="635413" y="160845"/>
                    </a:cubicBezTo>
                    <a:lnTo>
                      <a:pt x="635413" y="160845"/>
                    </a:lnTo>
                    <a:cubicBezTo>
                      <a:pt x="632679" y="171771"/>
                      <a:pt x="621742" y="179283"/>
                      <a:pt x="610804" y="176552"/>
                    </a:cubicBezTo>
                    <a:close/>
                  </a:path>
                </a:pathLst>
              </a:custGeom>
              <a:solidFill>
                <a:srgbClr val="9E5AFF"/>
              </a:solidFill>
              <a:ln w="683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a:ea typeface="+mn-ea"/>
                </a:endParaRPr>
              </a:p>
            </p:txBody>
          </p:sp>
        </p:grpSp>
        <p:grpSp>
          <p:nvGrpSpPr>
            <p:cNvPr id="81" name="Graphic 4">
              <a:extLst>
                <a:ext uri="{FF2B5EF4-FFF2-40B4-BE49-F238E27FC236}">
                  <a16:creationId xmlns:a16="http://schemas.microsoft.com/office/drawing/2014/main" id="{56429FFD-840A-2529-6D5C-EA868E86BBAC}"/>
                </a:ext>
              </a:extLst>
            </p:cNvPr>
            <p:cNvGrpSpPr/>
            <p:nvPr/>
          </p:nvGrpSpPr>
          <p:grpSpPr>
            <a:xfrm>
              <a:off x="1149089" y="4255376"/>
              <a:ext cx="652182" cy="247491"/>
              <a:chOff x="1149089" y="4255376"/>
              <a:chExt cx="652182" cy="247491"/>
            </a:xfrm>
            <a:solidFill>
              <a:srgbClr val="E6F0FF"/>
            </a:solidFill>
          </p:grpSpPr>
          <p:sp>
            <p:nvSpPr>
              <p:cNvPr id="88" name="Freeform: Shape 87">
                <a:extLst>
                  <a:ext uri="{FF2B5EF4-FFF2-40B4-BE49-F238E27FC236}">
                    <a16:creationId xmlns:a16="http://schemas.microsoft.com/office/drawing/2014/main" id="{134D9477-4CD7-D3D3-A3F4-2C9CC526C0C2}"/>
                  </a:ext>
                </a:extLst>
              </p:cNvPr>
              <p:cNvSpPr/>
              <p:nvPr/>
            </p:nvSpPr>
            <p:spPr>
              <a:xfrm>
                <a:off x="1165496" y="4255376"/>
                <a:ext cx="635776" cy="177115"/>
              </a:xfrm>
              <a:custGeom>
                <a:avLst/>
                <a:gdLst>
                  <a:gd name="connsiteX0" fmla="*/ 610804 w 635776"/>
                  <a:gd name="connsiteY0" fmla="*/ 176552 h 177115"/>
                  <a:gd name="connsiteX1" fmla="*/ 16085 w 635776"/>
                  <a:gd name="connsiteY1" fmla="*/ 40654 h 177115"/>
                  <a:gd name="connsiteX2" fmla="*/ 363 w 635776"/>
                  <a:gd name="connsiteY2" fmla="*/ 16069 h 177115"/>
                  <a:gd name="connsiteX3" fmla="*/ 363 w 635776"/>
                  <a:gd name="connsiteY3" fmla="*/ 16069 h 177115"/>
                  <a:gd name="connsiteX4" fmla="*/ 24972 w 635776"/>
                  <a:gd name="connsiteY4" fmla="*/ 362 h 177115"/>
                  <a:gd name="connsiteX5" fmla="*/ 619691 w 635776"/>
                  <a:gd name="connsiteY5" fmla="*/ 136260 h 177115"/>
                  <a:gd name="connsiteX6" fmla="*/ 635413 w 635776"/>
                  <a:gd name="connsiteY6" fmla="*/ 160845 h 177115"/>
                  <a:gd name="connsiteX7" fmla="*/ 635413 w 635776"/>
                  <a:gd name="connsiteY7" fmla="*/ 160845 h 177115"/>
                  <a:gd name="connsiteX8" fmla="*/ 610804 w 635776"/>
                  <a:gd name="connsiteY8" fmla="*/ 176552 h 177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5776" h="177115">
                    <a:moveTo>
                      <a:pt x="610804" y="176552"/>
                    </a:moveTo>
                    <a:lnTo>
                      <a:pt x="16085" y="40654"/>
                    </a:lnTo>
                    <a:cubicBezTo>
                      <a:pt x="5148" y="37922"/>
                      <a:pt x="-1688" y="26996"/>
                      <a:pt x="363" y="16069"/>
                    </a:cubicBezTo>
                    <a:lnTo>
                      <a:pt x="363" y="16069"/>
                    </a:lnTo>
                    <a:cubicBezTo>
                      <a:pt x="3097" y="5143"/>
                      <a:pt x="14034" y="-1686"/>
                      <a:pt x="24972" y="362"/>
                    </a:cubicBezTo>
                    <a:lnTo>
                      <a:pt x="619691" y="136260"/>
                    </a:lnTo>
                    <a:cubicBezTo>
                      <a:pt x="630628" y="138992"/>
                      <a:pt x="637464" y="149919"/>
                      <a:pt x="635413" y="160845"/>
                    </a:cubicBezTo>
                    <a:lnTo>
                      <a:pt x="635413" y="160845"/>
                    </a:lnTo>
                    <a:cubicBezTo>
                      <a:pt x="632679" y="171772"/>
                      <a:pt x="621742" y="179283"/>
                      <a:pt x="610804" y="176552"/>
                    </a:cubicBezTo>
                    <a:close/>
                  </a:path>
                </a:pathLst>
              </a:custGeom>
              <a:solidFill>
                <a:srgbClr val="9E5AFF"/>
              </a:solidFill>
              <a:ln w="683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a:ea typeface="+mn-ea"/>
                </a:endParaRPr>
              </a:p>
            </p:txBody>
          </p:sp>
          <p:sp>
            <p:nvSpPr>
              <p:cNvPr id="89" name="Freeform: Shape 88">
                <a:extLst>
                  <a:ext uri="{FF2B5EF4-FFF2-40B4-BE49-F238E27FC236}">
                    <a16:creationId xmlns:a16="http://schemas.microsoft.com/office/drawing/2014/main" id="{3AFF9B0A-430D-D687-D203-84FE8F9CBAAF}"/>
                  </a:ext>
                </a:extLst>
              </p:cNvPr>
              <p:cNvSpPr/>
              <p:nvPr/>
            </p:nvSpPr>
            <p:spPr>
              <a:xfrm>
                <a:off x="1149089" y="4325715"/>
                <a:ext cx="635776" cy="177151"/>
              </a:xfrm>
              <a:custGeom>
                <a:avLst/>
                <a:gdLst>
                  <a:gd name="connsiteX0" fmla="*/ 610804 w 635776"/>
                  <a:gd name="connsiteY0" fmla="*/ 176552 h 177151"/>
                  <a:gd name="connsiteX1" fmla="*/ 16085 w 635776"/>
                  <a:gd name="connsiteY1" fmla="*/ 40654 h 177151"/>
                  <a:gd name="connsiteX2" fmla="*/ 363 w 635776"/>
                  <a:gd name="connsiteY2" fmla="*/ 16069 h 177151"/>
                  <a:gd name="connsiteX3" fmla="*/ 363 w 635776"/>
                  <a:gd name="connsiteY3" fmla="*/ 16069 h 177151"/>
                  <a:gd name="connsiteX4" fmla="*/ 24972 w 635776"/>
                  <a:gd name="connsiteY4" fmla="*/ 362 h 177151"/>
                  <a:gd name="connsiteX5" fmla="*/ 619691 w 635776"/>
                  <a:gd name="connsiteY5" fmla="*/ 136260 h 177151"/>
                  <a:gd name="connsiteX6" fmla="*/ 635413 w 635776"/>
                  <a:gd name="connsiteY6" fmla="*/ 160845 h 177151"/>
                  <a:gd name="connsiteX7" fmla="*/ 635413 w 635776"/>
                  <a:gd name="connsiteY7" fmla="*/ 160845 h 177151"/>
                  <a:gd name="connsiteX8" fmla="*/ 610804 w 635776"/>
                  <a:gd name="connsiteY8" fmla="*/ 176552 h 177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5776" h="177151">
                    <a:moveTo>
                      <a:pt x="610804" y="176552"/>
                    </a:moveTo>
                    <a:lnTo>
                      <a:pt x="16085" y="40654"/>
                    </a:lnTo>
                    <a:cubicBezTo>
                      <a:pt x="5148" y="37922"/>
                      <a:pt x="-1688" y="26996"/>
                      <a:pt x="363" y="16069"/>
                    </a:cubicBezTo>
                    <a:lnTo>
                      <a:pt x="363" y="16069"/>
                    </a:lnTo>
                    <a:cubicBezTo>
                      <a:pt x="3097" y="5143"/>
                      <a:pt x="14034" y="-1686"/>
                      <a:pt x="24972" y="362"/>
                    </a:cubicBezTo>
                    <a:lnTo>
                      <a:pt x="619691" y="136260"/>
                    </a:lnTo>
                    <a:cubicBezTo>
                      <a:pt x="630628" y="138992"/>
                      <a:pt x="637464" y="149918"/>
                      <a:pt x="635413" y="160845"/>
                    </a:cubicBezTo>
                    <a:lnTo>
                      <a:pt x="635413" y="160845"/>
                    </a:lnTo>
                    <a:cubicBezTo>
                      <a:pt x="633363" y="172454"/>
                      <a:pt x="621742" y="179283"/>
                      <a:pt x="610804" y="176552"/>
                    </a:cubicBezTo>
                    <a:close/>
                  </a:path>
                </a:pathLst>
              </a:custGeom>
              <a:solidFill>
                <a:srgbClr val="9E5AFF"/>
              </a:solidFill>
              <a:ln w="683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a:ea typeface="+mn-ea"/>
                </a:endParaRPr>
              </a:p>
            </p:txBody>
          </p:sp>
        </p:grpSp>
        <p:grpSp>
          <p:nvGrpSpPr>
            <p:cNvPr id="82" name="Graphic 4">
              <a:extLst>
                <a:ext uri="{FF2B5EF4-FFF2-40B4-BE49-F238E27FC236}">
                  <a16:creationId xmlns:a16="http://schemas.microsoft.com/office/drawing/2014/main" id="{082BA8B2-03E9-668F-FF09-7316D53FA880}"/>
                </a:ext>
              </a:extLst>
            </p:cNvPr>
            <p:cNvGrpSpPr/>
            <p:nvPr/>
          </p:nvGrpSpPr>
          <p:grpSpPr>
            <a:xfrm>
              <a:off x="1090985" y="4510099"/>
              <a:ext cx="652182" cy="247491"/>
              <a:chOff x="1090985" y="4510099"/>
              <a:chExt cx="652182" cy="247491"/>
            </a:xfrm>
            <a:solidFill>
              <a:srgbClr val="E6F0FF"/>
            </a:solidFill>
          </p:grpSpPr>
          <p:sp>
            <p:nvSpPr>
              <p:cNvPr id="86" name="Freeform: Shape 85">
                <a:extLst>
                  <a:ext uri="{FF2B5EF4-FFF2-40B4-BE49-F238E27FC236}">
                    <a16:creationId xmlns:a16="http://schemas.microsoft.com/office/drawing/2014/main" id="{1109D230-C680-1B38-B8C9-60B55C6D5C2C}"/>
                  </a:ext>
                </a:extLst>
              </p:cNvPr>
              <p:cNvSpPr/>
              <p:nvPr/>
            </p:nvSpPr>
            <p:spPr>
              <a:xfrm>
                <a:off x="1107391" y="4510099"/>
                <a:ext cx="635776" cy="176914"/>
              </a:xfrm>
              <a:custGeom>
                <a:avLst/>
                <a:gdLst>
                  <a:gd name="connsiteX0" fmla="*/ 610804 w 635776"/>
                  <a:gd name="connsiteY0" fmla="*/ 176552 h 176914"/>
                  <a:gd name="connsiteX1" fmla="*/ 16085 w 635776"/>
                  <a:gd name="connsiteY1" fmla="*/ 40654 h 176914"/>
                  <a:gd name="connsiteX2" fmla="*/ 363 w 635776"/>
                  <a:gd name="connsiteY2" fmla="*/ 16069 h 176914"/>
                  <a:gd name="connsiteX3" fmla="*/ 363 w 635776"/>
                  <a:gd name="connsiteY3" fmla="*/ 16069 h 176914"/>
                  <a:gd name="connsiteX4" fmla="*/ 24972 w 635776"/>
                  <a:gd name="connsiteY4" fmla="*/ 362 h 176914"/>
                  <a:gd name="connsiteX5" fmla="*/ 619691 w 635776"/>
                  <a:gd name="connsiteY5" fmla="*/ 136260 h 176914"/>
                  <a:gd name="connsiteX6" fmla="*/ 635413 w 635776"/>
                  <a:gd name="connsiteY6" fmla="*/ 160845 h 176914"/>
                  <a:gd name="connsiteX7" fmla="*/ 635413 w 635776"/>
                  <a:gd name="connsiteY7" fmla="*/ 160845 h 176914"/>
                  <a:gd name="connsiteX8" fmla="*/ 610804 w 635776"/>
                  <a:gd name="connsiteY8" fmla="*/ 176552 h 176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5776" h="176914">
                    <a:moveTo>
                      <a:pt x="610804" y="176552"/>
                    </a:moveTo>
                    <a:lnTo>
                      <a:pt x="16085" y="40654"/>
                    </a:lnTo>
                    <a:cubicBezTo>
                      <a:pt x="5148" y="37922"/>
                      <a:pt x="-1688" y="26996"/>
                      <a:pt x="363" y="16069"/>
                    </a:cubicBezTo>
                    <a:lnTo>
                      <a:pt x="363" y="16069"/>
                    </a:lnTo>
                    <a:cubicBezTo>
                      <a:pt x="3097" y="5143"/>
                      <a:pt x="14034" y="-1686"/>
                      <a:pt x="24972" y="362"/>
                    </a:cubicBezTo>
                    <a:lnTo>
                      <a:pt x="619691" y="136260"/>
                    </a:lnTo>
                    <a:cubicBezTo>
                      <a:pt x="630628" y="138992"/>
                      <a:pt x="637464" y="149918"/>
                      <a:pt x="635413" y="160845"/>
                    </a:cubicBezTo>
                    <a:lnTo>
                      <a:pt x="635413" y="160845"/>
                    </a:lnTo>
                    <a:cubicBezTo>
                      <a:pt x="632679" y="171772"/>
                      <a:pt x="621742" y="178601"/>
                      <a:pt x="610804" y="176552"/>
                    </a:cubicBezTo>
                    <a:close/>
                  </a:path>
                </a:pathLst>
              </a:custGeom>
              <a:solidFill>
                <a:srgbClr val="9E5AFF"/>
              </a:solidFill>
              <a:ln w="683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a:ea typeface="+mn-ea"/>
                </a:endParaRPr>
              </a:p>
            </p:txBody>
          </p:sp>
          <p:sp>
            <p:nvSpPr>
              <p:cNvPr id="87" name="Freeform: Shape 86">
                <a:extLst>
                  <a:ext uri="{FF2B5EF4-FFF2-40B4-BE49-F238E27FC236}">
                    <a16:creationId xmlns:a16="http://schemas.microsoft.com/office/drawing/2014/main" id="{E2F0C768-5C70-EF0E-642F-03086E5DE44F}"/>
                  </a:ext>
                </a:extLst>
              </p:cNvPr>
              <p:cNvSpPr/>
              <p:nvPr/>
            </p:nvSpPr>
            <p:spPr>
              <a:xfrm>
                <a:off x="1090985" y="4580439"/>
                <a:ext cx="635776" cy="177151"/>
              </a:xfrm>
              <a:custGeom>
                <a:avLst/>
                <a:gdLst>
                  <a:gd name="connsiteX0" fmla="*/ 610804 w 635776"/>
                  <a:gd name="connsiteY0" fmla="*/ 176552 h 177151"/>
                  <a:gd name="connsiteX1" fmla="*/ 16085 w 635776"/>
                  <a:gd name="connsiteY1" fmla="*/ 40654 h 177151"/>
                  <a:gd name="connsiteX2" fmla="*/ 363 w 635776"/>
                  <a:gd name="connsiteY2" fmla="*/ 16069 h 177151"/>
                  <a:gd name="connsiteX3" fmla="*/ 363 w 635776"/>
                  <a:gd name="connsiteY3" fmla="*/ 16069 h 177151"/>
                  <a:gd name="connsiteX4" fmla="*/ 24972 w 635776"/>
                  <a:gd name="connsiteY4" fmla="*/ 362 h 177151"/>
                  <a:gd name="connsiteX5" fmla="*/ 619691 w 635776"/>
                  <a:gd name="connsiteY5" fmla="*/ 136260 h 177151"/>
                  <a:gd name="connsiteX6" fmla="*/ 635413 w 635776"/>
                  <a:gd name="connsiteY6" fmla="*/ 160845 h 177151"/>
                  <a:gd name="connsiteX7" fmla="*/ 635413 w 635776"/>
                  <a:gd name="connsiteY7" fmla="*/ 160845 h 177151"/>
                  <a:gd name="connsiteX8" fmla="*/ 610804 w 635776"/>
                  <a:gd name="connsiteY8" fmla="*/ 176552 h 177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5776" h="177151">
                    <a:moveTo>
                      <a:pt x="610804" y="176552"/>
                    </a:moveTo>
                    <a:lnTo>
                      <a:pt x="16085" y="40654"/>
                    </a:lnTo>
                    <a:cubicBezTo>
                      <a:pt x="5148" y="37922"/>
                      <a:pt x="-1688" y="26996"/>
                      <a:pt x="363" y="16069"/>
                    </a:cubicBezTo>
                    <a:lnTo>
                      <a:pt x="363" y="16069"/>
                    </a:lnTo>
                    <a:cubicBezTo>
                      <a:pt x="3097" y="5143"/>
                      <a:pt x="14034" y="-1686"/>
                      <a:pt x="24972" y="362"/>
                    </a:cubicBezTo>
                    <a:lnTo>
                      <a:pt x="619691" y="136260"/>
                    </a:lnTo>
                    <a:cubicBezTo>
                      <a:pt x="630628" y="138992"/>
                      <a:pt x="637464" y="149918"/>
                      <a:pt x="635413" y="160845"/>
                    </a:cubicBezTo>
                    <a:lnTo>
                      <a:pt x="635413" y="160845"/>
                    </a:lnTo>
                    <a:cubicBezTo>
                      <a:pt x="632679" y="172454"/>
                      <a:pt x="621742" y="179283"/>
                      <a:pt x="610804" y="176552"/>
                    </a:cubicBezTo>
                    <a:close/>
                  </a:path>
                </a:pathLst>
              </a:custGeom>
              <a:solidFill>
                <a:srgbClr val="9E5AFF"/>
              </a:solidFill>
              <a:ln w="683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a:ea typeface="+mn-ea"/>
                </a:endParaRPr>
              </a:p>
            </p:txBody>
          </p:sp>
        </p:grpSp>
        <p:sp>
          <p:nvSpPr>
            <p:cNvPr id="83" name="Freeform: Shape 82">
              <a:extLst>
                <a:ext uri="{FF2B5EF4-FFF2-40B4-BE49-F238E27FC236}">
                  <a16:creationId xmlns:a16="http://schemas.microsoft.com/office/drawing/2014/main" id="{BE2E9D3D-FF30-8D45-5A17-6CDAB9402F0F}"/>
                </a:ext>
              </a:extLst>
            </p:cNvPr>
            <p:cNvSpPr/>
            <p:nvPr/>
          </p:nvSpPr>
          <p:spPr>
            <a:xfrm>
              <a:off x="1142743" y="3457396"/>
              <a:ext cx="209760" cy="112022"/>
            </a:xfrm>
            <a:custGeom>
              <a:avLst/>
              <a:gdLst>
                <a:gd name="connsiteX0" fmla="*/ 53193 w 209760"/>
                <a:gd name="connsiteY0" fmla="*/ 111340 h 112022"/>
                <a:gd name="connsiteX1" fmla="*/ 43623 w 209760"/>
                <a:gd name="connsiteY1" fmla="*/ 104510 h 112022"/>
                <a:gd name="connsiteX2" fmla="*/ 2608 w 209760"/>
                <a:gd name="connsiteY2" fmla="*/ 43732 h 112022"/>
                <a:gd name="connsiteX3" fmla="*/ 6709 w 209760"/>
                <a:gd name="connsiteY3" fmla="*/ 21879 h 112022"/>
                <a:gd name="connsiteX4" fmla="*/ 28584 w 209760"/>
                <a:gd name="connsiteY4" fmla="*/ 25976 h 112022"/>
                <a:gd name="connsiteX5" fmla="*/ 61396 w 209760"/>
                <a:gd name="connsiteY5" fmla="*/ 74463 h 112022"/>
                <a:gd name="connsiteX6" fmla="*/ 185809 w 209760"/>
                <a:gd name="connsiteY6" fmla="*/ 2075 h 112022"/>
                <a:gd name="connsiteX7" fmla="*/ 207683 w 209760"/>
                <a:gd name="connsiteY7" fmla="*/ 7538 h 112022"/>
                <a:gd name="connsiteX8" fmla="*/ 202215 w 209760"/>
                <a:gd name="connsiteY8" fmla="*/ 29391 h 112022"/>
                <a:gd name="connsiteX9" fmla="*/ 65498 w 209760"/>
                <a:gd name="connsiteY9" fmla="*/ 109291 h 112022"/>
                <a:gd name="connsiteX10" fmla="*/ 53193 w 209760"/>
                <a:gd name="connsiteY10" fmla="*/ 111340 h 112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9760" h="112022">
                  <a:moveTo>
                    <a:pt x="53193" y="111340"/>
                  </a:moveTo>
                  <a:cubicBezTo>
                    <a:pt x="49092" y="110657"/>
                    <a:pt x="45674" y="107925"/>
                    <a:pt x="43623" y="104510"/>
                  </a:cubicBezTo>
                  <a:lnTo>
                    <a:pt x="2608" y="43732"/>
                  </a:lnTo>
                  <a:cubicBezTo>
                    <a:pt x="-2177" y="36220"/>
                    <a:pt x="-126" y="26659"/>
                    <a:pt x="6709" y="21879"/>
                  </a:cubicBezTo>
                  <a:cubicBezTo>
                    <a:pt x="14229" y="17099"/>
                    <a:pt x="23799" y="19147"/>
                    <a:pt x="28584" y="25976"/>
                  </a:cubicBezTo>
                  <a:lnTo>
                    <a:pt x="61396" y="74463"/>
                  </a:lnTo>
                  <a:lnTo>
                    <a:pt x="185809" y="2075"/>
                  </a:lnTo>
                  <a:cubicBezTo>
                    <a:pt x="193328" y="-2023"/>
                    <a:pt x="202898" y="26"/>
                    <a:pt x="207683" y="7538"/>
                  </a:cubicBezTo>
                  <a:cubicBezTo>
                    <a:pt x="211785" y="15050"/>
                    <a:pt x="209734" y="24611"/>
                    <a:pt x="202215" y="29391"/>
                  </a:cubicBezTo>
                  <a:lnTo>
                    <a:pt x="65498" y="109291"/>
                  </a:lnTo>
                  <a:cubicBezTo>
                    <a:pt x="60713" y="112022"/>
                    <a:pt x="56611" y="112705"/>
                    <a:pt x="53193" y="111340"/>
                  </a:cubicBezTo>
                  <a:close/>
                </a:path>
              </a:pathLst>
            </a:custGeom>
            <a:solidFill>
              <a:srgbClr val="6800FF"/>
            </a:solidFill>
            <a:ln w="683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a:ea typeface="+mn-ea"/>
              </a:endParaRPr>
            </a:p>
          </p:txBody>
        </p:sp>
        <p:sp>
          <p:nvSpPr>
            <p:cNvPr id="84" name="Freeform: Shape 83">
              <a:extLst>
                <a:ext uri="{FF2B5EF4-FFF2-40B4-BE49-F238E27FC236}">
                  <a16:creationId xmlns:a16="http://schemas.microsoft.com/office/drawing/2014/main" id="{9E010990-9605-0222-4839-471E07070524}"/>
                </a:ext>
              </a:extLst>
            </p:cNvPr>
            <p:cNvSpPr/>
            <p:nvPr/>
          </p:nvSpPr>
          <p:spPr>
            <a:xfrm>
              <a:off x="1083271" y="3716900"/>
              <a:ext cx="209760" cy="111595"/>
            </a:xfrm>
            <a:custGeom>
              <a:avLst/>
              <a:gdLst>
                <a:gd name="connsiteX0" fmla="*/ 53193 w 209760"/>
                <a:gd name="connsiteY0" fmla="*/ 111340 h 111595"/>
                <a:gd name="connsiteX1" fmla="*/ 43623 w 209760"/>
                <a:gd name="connsiteY1" fmla="*/ 104510 h 111595"/>
                <a:gd name="connsiteX2" fmla="*/ 2608 w 209760"/>
                <a:gd name="connsiteY2" fmla="*/ 43732 h 111595"/>
                <a:gd name="connsiteX3" fmla="*/ 6709 w 209760"/>
                <a:gd name="connsiteY3" fmla="*/ 21879 h 111595"/>
                <a:gd name="connsiteX4" fmla="*/ 28584 w 209760"/>
                <a:gd name="connsiteY4" fmla="*/ 25976 h 111595"/>
                <a:gd name="connsiteX5" fmla="*/ 61396 w 209760"/>
                <a:gd name="connsiteY5" fmla="*/ 74463 h 111595"/>
                <a:gd name="connsiteX6" fmla="*/ 185809 w 209760"/>
                <a:gd name="connsiteY6" fmla="*/ 2075 h 111595"/>
                <a:gd name="connsiteX7" fmla="*/ 207683 w 209760"/>
                <a:gd name="connsiteY7" fmla="*/ 7538 h 111595"/>
                <a:gd name="connsiteX8" fmla="*/ 202215 w 209760"/>
                <a:gd name="connsiteY8" fmla="*/ 29391 h 111595"/>
                <a:gd name="connsiteX9" fmla="*/ 65498 w 209760"/>
                <a:gd name="connsiteY9" fmla="*/ 109291 h 111595"/>
                <a:gd name="connsiteX10" fmla="*/ 53193 w 209760"/>
                <a:gd name="connsiteY10" fmla="*/ 111340 h 11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9760" h="111595">
                  <a:moveTo>
                    <a:pt x="53193" y="111340"/>
                  </a:moveTo>
                  <a:cubicBezTo>
                    <a:pt x="49092" y="110657"/>
                    <a:pt x="45674" y="107925"/>
                    <a:pt x="43623" y="104510"/>
                  </a:cubicBezTo>
                  <a:lnTo>
                    <a:pt x="2608" y="43732"/>
                  </a:lnTo>
                  <a:cubicBezTo>
                    <a:pt x="-2177" y="36220"/>
                    <a:pt x="-126" y="26659"/>
                    <a:pt x="6709" y="21879"/>
                  </a:cubicBezTo>
                  <a:cubicBezTo>
                    <a:pt x="14229" y="17099"/>
                    <a:pt x="23799" y="19147"/>
                    <a:pt x="28584" y="25976"/>
                  </a:cubicBezTo>
                  <a:lnTo>
                    <a:pt x="61396" y="74463"/>
                  </a:lnTo>
                  <a:lnTo>
                    <a:pt x="185809" y="2075"/>
                  </a:lnTo>
                  <a:cubicBezTo>
                    <a:pt x="193328" y="-2023"/>
                    <a:pt x="202898" y="26"/>
                    <a:pt x="207683" y="7538"/>
                  </a:cubicBezTo>
                  <a:cubicBezTo>
                    <a:pt x="211785" y="15050"/>
                    <a:pt x="209734" y="24611"/>
                    <a:pt x="202215" y="29391"/>
                  </a:cubicBezTo>
                  <a:lnTo>
                    <a:pt x="65498" y="109291"/>
                  </a:lnTo>
                  <a:cubicBezTo>
                    <a:pt x="60713" y="111340"/>
                    <a:pt x="56611" y="112022"/>
                    <a:pt x="53193" y="111340"/>
                  </a:cubicBezTo>
                  <a:close/>
                </a:path>
              </a:pathLst>
            </a:custGeom>
            <a:solidFill>
              <a:srgbClr val="6800FF"/>
            </a:solidFill>
            <a:ln w="683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a:ea typeface="+mn-ea"/>
              </a:endParaRPr>
            </a:p>
          </p:txBody>
        </p:sp>
        <p:sp>
          <p:nvSpPr>
            <p:cNvPr id="85" name="Freeform: Shape 84">
              <a:extLst>
                <a:ext uri="{FF2B5EF4-FFF2-40B4-BE49-F238E27FC236}">
                  <a16:creationId xmlns:a16="http://schemas.microsoft.com/office/drawing/2014/main" id="{BB3820F0-F4E8-3227-BDFA-3CC819E35334}"/>
                </a:ext>
              </a:extLst>
            </p:cNvPr>
            <p:cNvSpPr/>
            <p:nvPr/>
          </p:nvSpPr>
          <p:spPr>
            <a:xfrm>
              <a:off x="1252311" y="3001151"/>
              <a:ext cx="684994" cy="348734"/>
            </a:xfrm>
            <a:custGeom>
              <a:avLst/>
              <a:gdLst>
                <a:gd name="connsiteX0" fmla="*/ 515102 w 684994"/>
                <a:gd name="connsiteY0" fmla="*/ 188572 h 348734"/>
                <a:gd name="connsiteX1" fmla="*/ 389323 w 684994"/>
                <a:gd name="connsiteY1" fmla="*/ 2822 h 348734"/>
                <a:gd name="connsiteX2" fmla="*/ 203387 w 684994"/>
                <a:gd name="connsiteY2" fmla="*/ 129160 h 348734"/>
                <a:gd name="connsiteX3" fmla="*/ 41378 w 684994"/>
                <a:gd name="connsiteY3" fmla="*/ 98429 h 348734"/>
                <a:gd name="connsiteX4" fmla="*/ 18136 w 684994"/>
                <a:gd name="connsiteY4" fmla="*/ 114136 h 348734"/>
                <a:gd name="connsiteX5" fmla="*/ 363 w 684994"/>
                <a:gd name="connsiteY5" fmla="*/ 205645 h 348734"/>
                <a:gd name="connsiteX6" fmla="*/ 16085 w 684994"/>
                <a:gd name="connsiteY6" fmla="*/ 228864 h 348734"/>
                <a:gd name="connsiteX7" fmla="*/ 643617 w 684994"/>
                <a:gd name="connsiteY7" fmla="*/ 348372 h 348734"/>
                <a:gd name="connsiteX8" fmla="*/ 666858 w 684994"/>
                <a:gd name="connsiteY8" fmla="*/ 332665 h 348734"/>
                <a:gd name="connsiteX9" fmla="*/ 684632 w 684994"/>
                <a:gd name="connsiteY9" fmla="*/ 241156 h 348734"/>
                <a:gd name="connsiteX10" fmla="*/ 668909 w 684994"/>
                <a:gd name="connsiteY10" fmla="*/ 217937 h 348734"/>
                <a:gd name="connsiteX11" fmla="*/ 515102 w 684994"/>
                <a:gd name="connsiteY11" fmla="*/ 188572 h 348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4994" h="348734">
                  <a:moveTo>
                    <a:pt x="515102" y="188572"/>
                  </a:moveTo>
                  <a:cubicBezTo>
                    <a:pt x="531508" y="102526"/>
                    <a:pt x="475454" y="19212"/>
                    <a:pt x="389323" y="2822"/>
                  </a:cubicBezTo>
                  <a:cubicBezTo>
                    <a:pt x="303191" y="-13568"/>
                    <a:pt x="219794" y="43114"/>
                    <a:pt x="203387" y="129160"/>
                  </a:cubicBezTo>
                  <a:lnTo>
                    <a:pt x="41378" y="98429"/>
                  </a:lnTo>
                  <a:cubicBezTo>
                    <a:pt x="30440" y="96380"/>
                    <a:pt x="20187" y="103209"/>
                    <a:pt x="18136" y="114136"/>
                  </a:cubicBezTo>
                  <a:lnTo>
                    <a:pt x="363" y="205645"/>
                  </a:lnTo>
                  <a:cubicBezTo>
                    <a:pt x="-1688" y="216571"/>
                    <a:pt x="5148" y="226815"/>
                    <a:pt x="16085" y="228864"/>
                  </a:cubicBezTo>
                  <a:lnTo>
                    <a:pt x="643617" y="348372"/>
                  </a:lnTo>
                  <a:cubicBezTo>
                    <a:pt x="654554" y="350421"/>
                    <a:pt x="664808" y="343592"/>
                    <a:pt x="666858" y="332665"/>
                  </a:cubicBezTo>
                  <a:lnTo>
                    <a:pt x="684632" y="241156"/>
                  </a:lnTo>
                  <a:cubicBezTo>
                    <a:pt x="686682" y="230230"/>
                    <a:pt x="679846" y="219986"/>
                    <a:pt x="668909" y="217937"/>
                  </a:cubicBezTo>
                  <a:lnTo>
                    <a:pt x="515102" y="188572"/>
                  </a:lnTo>
                  <a:close/>
                </a:path>
              </a:pathLst>
            </a:custGeom>
            <a:solidFill>
              <a:srgbClr val="9E5AFF"/>
            </a:solidFill>
            <a:ln w="683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black"/>
                </a:solidFill>
                <a:effectLst/>
                <a:uLnTx/>
                <a:uFillTx/>
                <a:latin typeface="Calibri"/>
                <a:ea typeface="+mn-ea"/>
              </a:endParaRPr>
            </a:p>
          </p:txBody>
        </p:sp>
      </p:grpSp>
      <p:graphicFrame>
        <p:nvGraphicFramePr>
          <p:cNvPr id="96" name="Table 95">
            <a:extLst>
              <a:ext uri="{FF2B5EF4-FFF2-40B4-BE49-F238E27FC236}">
                <a16:creationId xmlns:a16="http://schemas.microsoft.com/office/drawing/2014/main" id="{4850831C-5194-F929-B33D-DFB8FFBCA3FB}"/>
              </a:ext>
            </a:extLst>
          </p:cNvPr>
          <p:cNvGraphicFramePr>
            <a:graphicFrameLocks noGrp="1"/>
          </p:cNvGraphicFramePr>
          <p:nvPr>
            <p:extLst>
              <p:ext uri="{D42A27DB-BD31-4B8C-83A1-F6EECF244321}">
                <p14:modId xmlns:p14="http://schemas.microsoft.com/office/powerpoint/2010/main" val="2215040416"/>
              </p:ext>
            </p:extLst>
          </p:nvPr>
        </p:nvGraphicFramePr>
        <p:xfrm>
          <a:off x="6793488" y="2407127"/>
          <a:ext cx="7708280" cy="2801880"/>
        </p:xfrm>
        <a:graphic>
          <a:graphicData uri="http://schemas.openxmlformats.org/drawingml/2006/table">
            <a:tbl>
              <a:tblPr firstRow="1" bandRow="1"/>
              <a:tblGrid>
                <a:gridCol w="535102">
                  <a:extLst>
                    <a:ext uri="{9D8B030D-6E8A-4147-A177-3AD203B41FA5}">
                      <a16:colId xmlns:a16="http://schemas.microsoft.com/office/drawing/2014/main" val="270139617"/>
                    </a:ext>
                  </a:extLst>
                </a:gridCol>
                <a:gridCol w="7173178">
                  <a:extLst>
                    <a:ext uri="{9D8B030D-6E8A-4147-A177-3AD203B41FA5}">
                      <a16:colId xmlns:a16="http://schemas.microsoft.com/office/drawing/2014/main" val="3920221297"/>
                    </a:ext>
                  </a:extLst>
                </a:gridCol>
              </a:tblGrid>
              <a:tr h="505064">
                <a:tc gridSpan="2">
                  <a:txBody>
                    <a:bodyPr/>
                    <a:lstStyle>
                      <a:lvl1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1pPr>
                      <a:lvl2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2pPr>
                      <a:lvl3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3pPr>
                      <a:lvl4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4pPr>
                      <a:lvl5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5pPr>
                      <a:lvl6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6pPr>
                      <a:lvl7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7pPr>
                      <a:lvl8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8pPr>
                      <a:lvl9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9pPr>
                    </a:lstStyle>
                    <a:p>
                      <a:r>
                        <a:rPr lang="en-US" sz="2200" spc="300" noProof="0" dirty="0">
                          <a:solidFill>
                            <a:schemeClr val="tx1"/>
                          </a:solidFill>
                        </a:rPr>
                        <a:t>STRATEGIC BUSINESS &amp; TECHNOLOGY ROADMAPS</a:t>
                      </a:r>
                    </a:p>
                  </a:txBody>
                  <a:tcPr marL="147484" marR="147484" marT="73742" marB="73742">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6800FF"/>
                    </a:solidFill>
                  </a:tcPr>
                </a:tc>
                <a:tc hMerge="1">
                  <a:txBody>
                    <a:bodyPr/>
                    <a:lstStyle/>
                    <a:p>
                      <a:endParaRPr lang="en-US" sz="1300" spc="300"/>
                    </a:p>
                  </a:txBody>
                  <a:tcPr marL="73742" marR="73742" marT="36871" marB="36871">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977207694"/>
                  </a:ext>
                </a:extLst>
              </a:tr>
              <a:tr h="574204">
                <a:tc>
                  <a:txBody>
                    <a:bodyPr/>
                    <a:lstStyle>
                      <a:lvl1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9pPr>
                    </a:lstStyle>
                    <a:p>
                      <a:endParaRPr lang="en-US" sz="2800" noProof="0">
                        <a:solidFill>
                          <a:schemeClr val="bg1"/>
                        </a:solidFill>
                      </a:endParaRPr>
                    </a:p>
                  </a:txBody>
                  <a:tcPr marL="147484" marR="147484" marT="73742" marB="73742">
                    <a:lnL w="12700" cmpd="sng">
                      <a:noFill/>
                    </a:lnL>
                    <a:lnR w="12700" cmpd="sng">
                      <a:noFill/>
                    </a:lnR>
                    <a:lnT w="38100" cmpd="sng">
                      <a:noFill/>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9pPr>
                    </a:lstStyle>
                    <a:p>
                      <a:r>
                        <a:rPr lang="en-US" sz="2000" noProof="0" dirty="0">
                          <a:solidFill>
                            <a:schemeClr val="bg1"/>
                          </a:solidFill>
                        </a:rPr>
                        <a:t>Enterprise Digital Transformation Roadmap</a:t>
                      </a:r>
                    </a:p>
                  </a:txBody>
                  <a:tcPr marL="147484" marR="147484" marT="73742" marB="73742">
                    <a:lnL w="12700" cmpd="sng">
                      <a:noFill/>
                    </a:lnL>
                    <a:lnR w="12700" cmpd="sng">
                      <a:noFill/>
                    </a:lnR>
                    <a:lnT w="38100" cmpd="sng">
                      <a:noFill/>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259256234"/>
                  </a:ext>
                </a:extLst>
              </a:tr>
              <a:tr h="574204">
                <a:tc>
                  <a:txBody>
                    <a:bodyPr/>
                    <a:lstStyle>
                      <a:lvl1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9pPr>
                    </a:lstStyle>
                    <a:p>
                      <a:endParaRPr lang="en-US" sz="2800" noProof="0">
                        <a:solidFill>
                          <a:schemeClr val="bg1"/>
                        </a:solidFill>
                      </a:endParaRPr>
                    </a:p>
                  </a:txBody>
                  <a:tcPr marL="147484" marR="147484" marT="73742" marB="73742">
                    <a:lnL w="12700" cmpd="sng">
                      <a:noFill/>
                    </a:lnL>
                    <a:lnR w="12700" cmpd="sng">
                      <a:noFill/>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9pPr>
                    </a:lstStyle>
                    <a:p>
                      <a:r>
                        <a:rPr lang="en-US" sz="2000" noProof="0" dirty="0">
                          <a:solidFill>
                            <a:schemeClr val="bg1"/>
                          </a:solidFill>
                        </a:rPr>
                        <a:t>Technology Investment Strategy</a:t>
                      </a:r>
                    </a:p>
                  </a:txBody>
                  <a:tcPr marL="147484" marR="147484" marT="73742" marB="73742">
                    <a:lnL w="12700" cmpd="sng">
                      <a:noFill/>
                    </a:lnL>
                    <a:lnR w="12700" cmpd="sng">
                      <a:noFill/>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768764830"/>
                  </a:ext>
                </a:extLst>
              </a:tr>
              <a:tr h="574204">
                <a:tc>
                  <a:txBody>
                    <a:bodyPr/>
                    <a:lstStyle>
                      <a:lvl1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9pPr>
                    </a:lstStyle>
                    <a:p>
                      <a:endParaRPr lang="en-US" sz="2800" noProof="0">
                        <a:solidFill>
                          <a:schemeClr val="bg1"/>
                        </a:solidFill>
                      </a:endParaRPr>
                    </a:p>
                  </a:txBody>
                  <a:tcPr marL="147484" marR="147484" marT="73742" marB="73742">
                    <a:lnL w="12700" cmpd="sng">
                      <a:noFill/>
                    </a:lnL>
                    <a:lnR w="12700" cmpd="sng">
                      <a:noFill/>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9pPr>
                    </a:lstStyle>
                    <a:p>
                      <a:r>
                        <a:rPr lang="en-US" sz="2000" noProof="0" dirty="0">
                          <a:solidFill>
                            <a:schemeClr val="bg1"/>
                          </a:solidFill>
                        </a:rPr>
                        <a:t>Execution &amp; Implementation Plan</a:t>
                      </a:r>
                    </a:p>
                  </a:txBody>
                  <a:tcPr marL="147484" marR="147484" marT="73742" marB="73742">
                    <a:lnL w="12700" cmpd="sng">
                      <a:noFill/>
                    </a:lnL>
                    <a:lnR w="12700" cmpd="sng">
                      <a:noFill/>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493965771"/>
                  </a:ext>
                </a:extLst>
              </a:tr>
              <a:tr h="574204">
                <a:tc>
                  <a:txBody>
                    <a:bodyPr/>
                    <a:lstStyle>
                      <a:lvl1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9pPr>
                    </a:lstStyle>
                    <a:p>
                      <a:endParaRPr lang="en-US" sz="2800" noProof="0">
                        <a:solidFill>
                          <a:schemeClr val="bg1"/>
                        </a:solidFill>
                      </a:endParaRPr>
                    </a:p>
                  </a:txBody>
                  <a:tcPr marL="147484" marR="147484" marT="73742" marB="73742">
                    <a:lnL w="12700" cmpd="sng">
                      <a:noFill/>
                    </a:lnL>
                    <a:lnR w="12700" cmpd="sng">
                      <a:noFill/>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9pPr>
                    </a:lstStyle>
                    <a:p>
                      <a:r>
                        <a:rPr lang="en-US" sz="2000" noProof="0" dirty="0">
                          <a:solidFill>
                            <a:schemeClr val="bg1"/>
                          </a:solidFill>
                        </a:rPr>
                        <a:t>OKR &amp; Success Metrics Framework</a:t>
                      </a:r>
                    </a:p>
                  </a:txBody>
                  <a:tcPr marL="147484" marR="147484" marT="73742" marB="73742">
                    <a:lnL w="12700" cmpd="sng">
                      <a:noFill/>
                    </a:lnL>
                    <a:lnR w="12700" cmpd="sng">
                      <a:noFill/>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560737366"/>
                  </a:ext>
                </a:extLst>
              </a:tr>
            </a:tbl>
          </a:graphicData>
        </a:graphic>
      </p:graphicFrame>
      <p:sp>
        <p:nvSpPr>
          <p:cNvPr id="97" name="Rectangle 96">
            <a:extLst>
              <a:ext uri="{FF2B5EF4-FFF2-40B4-BE49-F238E27FC236}">
                <a16:creationId xmlns:a16="http://schemas.microsoft.com/office/drawing/2014/main" id="{01E55A55-D8C5-28FE-2892-AE7566857C24}"/>
              </a:ext>
            </a:extLst>
          </p:cNvPr>
          <p:cNvSpPr/>
          <p:nvPr/>
        </p:nvSpPr>
        <p:spPr>
          <a:xfrm>
            <a:off x="6884236" y="3059336"/>
            <a:ext cx="273050" cy="273050"/>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alibri"/>
              <a:ea typeface="+mn-ea"/>
              <a:cs typeface="+mn-cs"/>
            </a:endParaRPr>
          </a:p>
        </p:txBody>
      </p:sp>
      <p:sp>
        <p:nvSpPr>
          <p:cNvPr id="98" name="Rectangle 97">
            <a:extLst>
              <a:ext uri="{FF2B5EF4-FFF2-40B4-BE49-F238E27FC236}">
                <a16:creationId xmlns:a16="http://schemas.microsoft.com/office/drawing/2014/main" id="{7985B6B1-BFC6-2457-B40B-A8677EBB019D}"/>
              </a:ext>
            </a:extLst>
          </p:cNvPr>
          <p:cNvSpPr/>
          <p:nvPr/>
        </p:nvSpPr>
        <p:spPr>
          <a:xfrm>
            <a:off x="6884236" y="3624486"/>
            <a:ext cx="273050" cy="273050"/>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alibri"/>
              <a:ea typeface="+mn-ea"/>
              <a:cs typeface="+mn-cs"/>
            </a:endParaRPr>
          </a:p>
        </p:txBody>
      </p:sp>
      <p:sp>
        <p:nvSpPr>
          <p:cNvPr id="99" name="Rectangle 98">
            <a:extLst>
              <a:ext uri="{FF2B5EF4-FFF2-40B4-BE49-F238E27FC236}">
                <a16:creationId xmlns:a16="http://schemas.microsoft.com/office/drawing/2014/main" id="{CE8B438C-8FB2-29BC-A14D-B2AD404994A1}"/>
              </a:ext>
            </a:extLst>
          </p:cNvPr>
          <p:cNvSpPr/>
          <p:nvPr/>
        </p:nvSpPr>
        <p:spPr>
          <a:xfrm>
            <a:off x="6884236" y="4202336"/>
            <a:ext cx="273050" cy="273050"/>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alibri"/>
              <a:ea typeface="+mn-ea"/>
              <a:cs typeface="+mn-cs"/>
            </a:endParaRPr>
          </a:p>
        </p:txBody>
      </p:sp>
      <p:sp>
        <p:nvSpPr>
          <p:cNvPr id="100" name="Rectangle 99">
            <a:extLst>
              <a:ext uri="{FF2B5EF4-FFF2-40B4-BE49-F238E27FC236}">
                <a16:creationId xmlns:a16="http://schemas.microsoft.com/office/drawing/2014/main" id="{77F584CE-FECF-4E0C-4CC9-BE1D1470E451}"/>
              </a:ext>
            </a:extLst>
          </p:cNvPr>
          <p:cNvSpPr/>
          <p:nvPr/>
        </p:nvSpPr>
        <p:spPr>
          <a:xfrm>
            <a:off x="6884236" y="4780186"/>
            <a:ext cx="273050" cy="273050"/>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alibri"/>
              <a:ea typeface="+mn-ea"/>
              <a:cs typeface="+mn-cs"/>
            </a:endParaRPr>
          </a:p>
        </p:txBody>
      </p:sp>
      <p:graphicFrame>
        <p:nvGraphicFramePr>
          <p:cNvPr id="101" name="Table 100">
            <a:extLst>
              <a:ext uri="{FF2B5EF4-FFF2-40B4-BE49-F238E27FC236}">
                <a16:creationId xmlns:a16="http://schemas.microsoft.com/office/drawing/2014/main" id="{2D04D423-B7C0-FB1D-4B75-791AE19F61E0}"/>
              </a:ext>
            </a:extLst>
          </p:cNvPr>
          <p:cNvGraphicFramePr>
            <a:graphicFrameLocks noGrp="1"/>
          </p:cNvGraphicFramePr>
          <p:nvPr>
            <p:extLst>
              <p:ext uri="{D42A27DB-BD31-4B8C-83A1-F6EECF244321}">
                <p14:modId xmlns:p14="http://schemas.microsoft.com/office/powerpoint/2010/main" val="2798254897"/>
              </p:ext>
            </p:extLst>
          </p:nvPr>
        </p:nvGraphicFramePr>
        <p:xfrm>
          <a:off x="986973" y="6241266"/>
          <a:ext cx="7116018" cy="2149332"/>
        </p:xfrm>
        <a:graphic>
          <a:graphicData uri="http://schemas.openxmlformats.org/drawingml/2006/table">
            <a:tbl>
              <a:tblPr firstRow="1" bandRow="1"/>
              <a:tblGrid>
                <a:gridCol w="493985">
                  <a:extLst>
                    <a:ext uri="{9D8B030D-6E8A-4147-A177-3AD203B41FA5}">
                      <a16:colId xmlns:a16="http://schemas.microsoft.com/office/drawing/2014/main" val="270139617"/>
                    </a:ext>
                  </a:extLst>
                </a:gridCol>
                <a:gridCol w="6622033">
                  <a:extLst>
                    <a:ext uri="{9D8B030D-6E8A-4147-A177-3AD203B41FA5}">
                      <a16:colId xmlns:a16="http://schemas.microsoft.com/office/drawing/2014/main" val="3920221297"/>
                    </a:ext>
                  </a:extLst>
                </a:gridCol>
              </a:tblGrid>
              <a:tr h="505064">
                <a:tc gridSpan="2">
                  <a:txBody>
                    <a:bodyPr/>
                    <a:lstStyle>
                      <a:lvl1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1pPr>
                      <a:lvl2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2pPr>
                      <a:lvl3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3pPr>
                      <a:lvl4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4pPr>
                      <a:lvl5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5pPr>
                      <a:lvl6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6pPr>
                      <a:lvl7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7pPr>
                      <a:lvl8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8pPr>
                      <a:lvl9pPr marR="0" algn="l" rtl="0">
                        <a:lnSpc>
                          <a:spcPct val="100000"/>
                        </a:lnSpc>
                        <a:spcBef>
                          <a:spcPts val="0"/>
                        </a:spcBef>
                        <a:spcAft>
                          <a:spcPts val="0"/>
                        </a:spcAft>
                        <a:buClr>
                          <a:srgbClr val="000000"/>
                        </a:buClr>
                        <a:buFont typeface="Arial"/>
                        <a:defRPr sz="2800" b="1" i="0" u="none" strike="noStrike" cap="none">
                          <a:solidFill>
                            <a:schemeClr val="lt1"/>
                          </a:solidFill>
                          <a:latin typeface="Calibri"/>
                          <a:sym typeface="Arial"/>
                        </a:defRPr>
                      </a:lvl9pPr>
                    </a:lstStyle>
                    <a:p>
                      <a:r>
                        <a:rPr lang="en-US" sz="2200" spc="300" noProof="0">
                          <a:solidFill>
                            <a:schemeClr val="tx1"/>
                          </a:solidFill>
                        </a:rPr>
                        <a:t>BUSINESS AND TECHNOLOGY ARCHITECTURES PLANS AND IMPACT ANALYSIS</a:t>
                      </a:r>
                    </a:p>
                  </a:txBody>
                  <a:tcPr marL="147484" marR="147484" marT="73742" marB="73742">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6800FF"/>
                    </a:solidFill>
                  </a:tcPr>
                </a:tc>
                <a:tc hMerge="1">
                  <a:txBody>
                    <a:bodyPr/>
                    <a:lstStyle/>
                    <a:p>
                      <a:endParaRPr lang="en-US" sz="1300" spc="300"/>
                    </a:p>
                  </a:txBody>
                  <a:tcPr marL="73742" marR="73742" marT="36871" marB="36871">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977207694"/>
                  </a:ext>
                </a:extLst>
              </a:tr>
              <a:tr h="574204">
                <a:tc>
                  <a:txBody>
                    <a:bodyPr/>
                    <a:lstStyle>
                      <a:lvl1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9pPr>
                    </a:lstStyle>
                    <a:p>
                      <a:endParaRPr lang="en-US" sz="2800" noProof="0">
                        <a:solidFill>
                          <a:schemeClr val="bg1"/>
                        </a:solidFill>
                      </a:endParaRPr>
                    </a:p>
                  </a:txBody>
                  <a:tcPr marL="147484" marR="147484" marT="73742" marB="73742">
                    <a:lnL w="12700" cmpd="sng">
                      <a:noFill/>
                    </a:lnL>
                    <a:lnR w="12700" cmpd="sng">
                      <a:noFill/>
                    </a:lnR>
                    <a:lnT w="38100" cmpd="sng">
                      <a:noFill/>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9pPr>
                    </a:lstStyle>
                    <a:p>
                      <a:r>
                        <a:rPr lang="en-US" sz="2000" noProof="0">
                          <a:solidFill>
                            <a:schemeClr val="bg1"/>
                          </a:solidFill>
                        </a:rPr>
                        <a:t>Cross-Brand Technology Alignment Plan</a:t>
                      </a:r>
                    </a:p>
                  </a:txBody>
                  <a:tcPr marL="147484" marR="147484" marT="73742" marB="73742">
                    <a:lnL w="12700" cmpd="sng">
                      <a:noFill/>
                    </a:lnL>
                    <a:lnR w="12700" cmpd="sng">
                      <a:noFill/>
                    </a:lnR>
                    <a:lnT w="38100" cmpd="sng">
                      <a:noFill/>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259256234"/>
                  </a:ext>
                </a:extLst>
              </a:tr>
              <a:tr h="574204">
                <a:tc>
                  <a:txBody>
                    <a:bodyPr/>
                    <a:lstStyle>
                      <a:lvl1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9pPr>
                    </a:lstStyle>
                    <a:p>
                      <a:endParaRPr lang="en-US" sz="2800" noProof="0">
                        <a:solidFill>
                          <a:schemeClr val="bg1"/>
                        </a:solidFill>
                      </a:endParaRPr>
                    </a:p>
                  </a:txBody>
                  <a:tcPr marL="147484" marR="147484" marT="73742" marB="73742">
                    <a:lnL w="12700" cmpd="sng">
                      <a:noFill/>
                    </a:lnL>
                    <a:lnR w="12700" cmpd="sng">
                      <a:noFill/>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2800" b="0" i="0" u="none" strike="noStrike" cap="none">
                          <a:solidFill>
                            <a:schemeClr val="dk1"/>
                          </a:solidFill>
                          <a:latin typeface="Calibri"/>
                          <a:sym typeface="Arial"/>
                        </a:defRPr>
                      </a:lvl9pPr>
                    </a:lstStyle>
                    <a:p>
                      <a:r>
                        <a:rPr lang="en-US" sz="2000" noProof="0">
                          <a:solidFill>
                            <a:schemeClr val="bg1"/>
                          </a:solidFill>
                        </a:rPr>
                        <a:t>Impact analysis on existing Roadmaps or Technology Adoption Strategy</a:t>
                      </a:r>
                    </a:p>
                  </a:txBody>
                  <a:tcPr marL="147484" marR="147484" marT="73742" marB="73742">
                    <a:lnL w="12700" cmpd="sng">
                      <a:noFill/>
                    </a:lnL>
                    <a:lnR w="12700" cmpd="sng">
                      <a:noFill/>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768764830"/>
                  </a:ext>
                </a:extLst>
              </a:tr>
            </a:tbl>
          </a:graphicData>
        </a:graphic>
      </p:graphicFrame>
      <p:sp>
        <p:nvSpPr>
          <p:cNvPr id="102" name="Rectangle 101">
            <a:extLst>
              <a:ext uri="{FF2B5EF4-FFF2-40B4-BE49-F238E27FC236}">
                <a16:creationId xmlns:a16="http://schemas.microsoft.com/office/drawing/2014/main" id="{14E1057E-31EA-CB7E-35DC-A464D689D06D}"/>
              </a:ext>
            </a:extLst>
          </p:cNvPr>
          <p:cNvSpPr/>
          <p:nvPr/>
        </p:nvSpPr>
        <p:spPr>
          <a:xfrm>
            <a:off x="1077721" y="7220500"/>
            <a:ext cx="273050" cy="273050"/>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alibri"/>
              <a:ea typeface="+mn-ea"/>
              <a:cs typeface="+mn-cs"/>
            </a:endParaRPr>
          </a:p>
        </p:txBody>
      </p:sp>
      <p:sp>
        <p:nvSpPr>
          <p:cNvPr id="103" name="Rectangle 102">
            <a:extLst>
              <a:ext uri="{FF2B5EF4-FFF2-40B4-BE49-F238E27FC236}">
                <a16:creationId xmlns:a16="http://schemas.microsoft.com/office/drawing/2014/main" id="{75ADA860-47D1-B259-42D4-56B619584708}"/>
              </a:ext>
            </a:extLst>
          </p:cNvPr>
          <p:cNvSpPr/>
          <p:nvPr/>
        </p:nvSpPr>
        <p:spPr>
          <a:xfrm>
            <a:off x="1077721" y="7874550"/>
            <a:ext cx="273050" cy="273050"/>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alibri"/>
              <a:ea typeface="+mn-ea"/>
              <a:cs typeface="+mn-cs"/>
            </a:endParaRPr>
          </a:p>
        </p:txBody>
      </p:sp>
      <p:sp>
        <p:nvSpPr>
          <p:cNvPr id="104" name="Rectangle 103">
            <a:extLst>
              <a:ext uri="{FF2B5EF4-FFF2-40B4-BE49-F238E27FC236}">
                <a16:creationId xmlns:a16="http://schemas.microsoft.com/office/drawing/2014/main" id="{E94FC0D6-011A-82DB-EE62-F222A4F9D10F}"/>
              </a:ext>
            </a:extLst>
          </p:cNvPr>
          <p:cNvSpPr/>
          <p:nvPr/>
        </p:nvSpPr>
        <p:spPr>
          <a:xfrm>
            <a:off x="8904891" y="6893475"/>
            <a:ext cx="273050" cy="273050"/>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alibri"/>
              <a:ea typeface="+mn-ea"/>
              <a:cs typeface="+mn-cs"/>
            </a:endParaRPr>
          </a:p>
        </p:txBody>
      </p:sp>
      <p:sp>
        <p:nvSpPr>
          <p:cNvPr id="105" name="Rectangle 104">
            <a:extLst>
              <a:ext uri="{FF2B5EF4-FFF2-40B4-BE49-F238E27FC236}">
                <a16:creationId xmlns:a16="http://schemas.microsoft.com/office/drawing/2014/main" id="{79D2426D-B2F9-7779-6E02-EAE6149F4BE6}"/>
              </a:ext>
            </a:extLst>
          </p:cNvPr>
          <p:cNvSpPr/>
          <p:nvPr/>
        </p:nvSpPr>
        <p:spPr>
          <a:xfrm>
            <a:off x="8904891" y="7458625"/>
            <a:ext cx="273050" cy="273050"/>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alibri"/>
              <a:ea typeface="+mn-ea"/>
              <a:cs typeface="+mn-cs"/>
            </a:endParaRPr>
          </a:p>
        </p:txBody>
      </p:sp>
      <p:sp>
        <p:nvSpPr>
          <p:cNvPr id="106" name="Rectangle 105">
            <a:extLst>
              <a:ext uri="{FF2B5EF4-FFF2-40B4-BE49-F238E27FC236}">
                <a16:creationId xmlns:a16="http://schemas.microsoft.com/office/drawing/2014/main" id="{914504FB-20D7-61F6-367D-D0679DCAA620}"/>
              </a:ext>
            </a:extLst>
          </p:cNvPr>
          <p:cNvSpPr/>
          <p:nvPr/>
        </p:nvSpPr>
        <p:spPr>
          <a:xfrm>
            <a:off x="8904891" y="8036475"/>
            <a:ext cx="273050" cy="273050"/>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alibri"/>
              <a:ea typeface="+mn-ea"/>
              <a:cs typeface="+mn-cs"/>
            </a:endParaRPr>
          </a:p>
        </p:txBody>
      </p:sp>
      <p:sp>
        <p:nvSpPr>
          <p:cNvPr id="107" name="Rectangle 106">
            <a:extLst>
              <a:ext uri="{FF2B5EF4-FFF2-40B4-BE49-F238E27FC236}">
                <a16:creationId xmlns:a16="http://schemas.microsoft.com/office/drawing/2014/main" id="{4B958218-ED78-9F96-F6B9-F26F6056D46C}"/>
              </a:ext>
            </a:extLst>
          </p:cNvPr>
          <p:cNvSpPr/>
          <p:nvPr/>
        </p:nvSpPr>
        <p:spPr>
          <a:xfrm>
            <a:off x="8904891" y="8614325"/>
            <a:ext cx="273050" cy="273050"/>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alibri"/>
              <a:ea typeface="+mn-ea"/>
              <a:cs typeface="+mn-cs"/>
            </a:endParaRPr>
          </a:p>
        </p:txBody>
      </p:sp>
      <p:sp>
        <p:nvSpPr>
          <p:cNvPr id="108" name="Rectangle 107">
            <a:extLst>
              <a:ext uri="{FF2B5EF4-FFF2-40B4-BE49-F238E27FC236}">
                <a16:creationId xmlns:a16="http://schemas.microsoft.com/office/drawing/2014/main" id="{2EF40FC9-BCCC-0585-A50D-2D8BEF528AD9}"/>
              </a:ext>
            </a:extLst>
          </p:cNvPr>
          <p:cNvSpPr/>
          <p:nvPr/>
        </p:nvSpPr>
        <p:spPr>
          <a:xfrm>
            <a:off x="8904891" y="9192175"/>
            <a:ext cx="273050" cy="273050"/>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alibri"/>
              <a:ea typeface="+mn-ea"/>
              <a:cs typeface="+mn-cs"/>
            </a:endParaRPr>
          </a:p>
        </p:txBody>
      </p:sp>
      <p:grpSp>
        <p:nvGrpSpPr>
          <p:cNvPr id="13" name="Group 7">
            <a:extLst>
              <a:ext uri="{FF2B5EF4-FFF2-40B4-BE49-F238E27FC236}">
                <a16:creationId xmlns:a16="http://schemas.microsoft.com/office/drawing/2014/main" id="{4DEBB61C-5447-A7D7-A487-6622BA524FFF}"/>
              </a:ext>
            </a:extLst>
          </p:cNvPr>
          <p:cNvGrpSpPr/>
          <p:nvPr/>
        </p:nvGrpSpPr>
        <p:grpSpPr>
          <a:xfrm>
            <a:off x="4140211" y="1217018"/>
            <a:ext cx="612363" cy="56823"/>
            <a:chOff x="0" y="0"/>
            <a:chExt cx="1078484" cy="100076"/>
          </a:xfrm>
        </p:grpSpPr>
        <p:sp>
          <p:nvSpPr>
            <p:cNvPr id="12" name="Freeform 8">
              <a:extLst>
                <a:ext uri="{FF2B5EF4-FFF2-40B4-BE49-F238E27FC236}">
                  <a16:creationId xmlns:a16="http://schemas.microsoft.com/office/drawing/2014/main" id="{CA4CDB7D-7FB1-FC62-382A-F1727DFC3B87}"/>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spTree>
    <p:extLst>
      <p:ext uri="{BB962C8B-B14F-4D97-AF65-F5344CB8AC3E}">
        <p14:creationId xmlns:p14="http://schemas.microsoft.com/office/powerpoint/2010/main" val="13025927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E03126-11AC-CB9F-896C-3AF2EEB29A88}"/>
            </a:ext>
          </a:extLst>
        </p:cNvPr>
        <p:cNvGrpSpPr/>
        <p:nvPr/>
      </p:nvGrpSpPr>
      <p:grpSpPr>
        <a:xfrm>
          <a:off x="0" y="0"/>
          <a:ext cx="0" cy="0"/>
          <a:chOff x="0" y="0"/>
          <a:chExt cx="0" cy="0"/>
        </a:xfrm>
      </p:grpSpPr>
      <p:sp>
        <p:nvSpPr>
          <p:cNvPr id="4" name="Title 4">
            <a:extLst>
              <a:ext uri="{FF2B5EF4-FFF2-40B4-BE49-F238E27FC236}">
                <a16:creationId xmlns:a16="http://schemas.microsoft.com/office/drawing/2014/main" id="{322904DC-31E8-9B66-89A3-15AAEEB26DB7}"/>
              </a:ext>
            </a:extLst>
          </p:cNvPr>
          <p:cNvSpPr>
            <a:spLocks noGrp="1"/>
          </p:cNvSpPr>
          <p:nvPr>
            <p:ph type="title"/>
          </p:nvPr>
        </p:nvSpPr>
        <p:spPr>
          <a:xfrm>
            <a:off x="1230100" y="3009200"/>
            <a:ext cx="6692400" cy="2964600"/>
          </a:xfrm>
        </p:spPr>
        <p:txBody>
          <a:bodyPr/>
          <a:lstStyle/>
          <a:p>
            <a:r>
              <a:rPr lang="en-US" sz="4400" noProof="0">
                <a:latin typeface="Montserrat Bold"/>
              </a:rPr>
              <a:t>ADVISORY SERVICES</a:t>
            </a:r>
            <a:br>
              <a:rPr lang="en-US" sz="4400" noProof="0">
                <a:latin typeface="Montserrat Bold"/>
              </a:rPr>
            </a:br>
            <a:br>
              <a:rPr lang="en-US" sz="4400" noProof="0">
                <a:latin typeface="Montserrat Bold"/>
              </a:rPr>
            </a:br>
            <a:r>
              <a:rPr lang="en-US" sz="4400" noProof="0">
                <a:latin typeface="Montserrat Bold"/>
              </a:rPr>
              <a:t>BDD – Business Driven Design</a:t>
            </a:r>
          </a:p>
        </p:txBody>
      </p:sp>
    </p:spTree>
    <p:extLst>
      <p:ext uri="{BB962C8B-B14F-4D97-AF65-F5344CB8AC3E}">
        <p14:creationId xmlns:p14="http://schemas.microsoft.com/office/powerpoint/2010/main" val="22306909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28B874-C0DA-8C06-5E7E-5A2C1D05C191}"/>
            </a:ext>
          </a:extLst>
        </p:cNvPr>
        <p:cNvGrpSpPr/>
        <p:nvPr/>
      </p:nvGrpSpPr>
      <p:grpSpPr>
        <a:xfrm>
          <a:off x="0" y="0"/>
          <a:ext cx="0" cy="0"/>
          <a:chOff x="0" y="0"/>
          <a:chExt cx="0" cy="0"/>
        </a:xfrm>
      </p:grpSpPr>
      <p:sp>
        <p:nvSpPr>
          <p:cNvPr id="5" name="Title 1">
            <a:extLst>
              <a:ext uri="{FF2B5EF4-FFF2-40B4-BE49-F238E27FC236}">
                <a16:creationId xmlns:a16="http://schemas.microsoft.com/office/drawing/2014/main" id="{B60D4137-ABC2-D468-3AA7-7FD6D3B68C61}"/>
              </a:ext>
            </a:extLst>
          </p:cNvPr>
          <p:cNvSpPr>
            <a:spLocks noGrp="1"/>
          </p:cNvSpPr>
          <p:nvPr>
            <p:ph type="title" idx="4294967295"/>
          </p:nvPr>
        </p:nvSpPr>
        <p:spPr>
          <a:xfrm>
            <a:off x="1080599" y="1042450"/>
            <a:ext cx="11063455" cy="1145400"/>
          </a:xfrm>
        </p:spPr>
        <p:txBody>
          <a:bodyPr/>
          <a:lstStyle/>
          <a:p>
            <a:r>
              <a:rPr lang="en-US" sz="4000">
                <a:solidFill>
                  <a:srgbClr val="000000"/>
                </a:solidFill>
                <a:ea typeface="+mn-ea"/>
                <a:cs typeface="+mn-cs"/>
                <a:sym typeface="Montserrat Medium"/>
              </a:rPr>
              <a:t>Business Driven Design</a:t>
            </a:r>
            <a:br>
              <a:rPr lang="en-US" sz="4000" b="0" i="0" u="none" strike="noStrike" kern="1200" cap="none" spc="0" normalizeH="0" baseline="0" noProof="0">
                <a:ln>
                  <a:noFill/>
                </a:ln>
                <a:effectLst/>
                <a:uLnTx/>
                <a:uFillTx/>
                <a:latin typeface="Montserrat Bold"/>
                <a:ea typeface="+mn-ea"/>
                <a:cs typeface="+mn-cs"/>
              </a:rPr>
            </a:br>
            <a:r>
              <a:rPr lang="en-US" sz="2400" b="1" noProof="0">
                <a:solidFill>
                  <a:srgbClr val="6800FF"/>
                </a:solidFill>
                <a:latin typeface="Montserrat Light"/>
                <a:ea typeface="+mn-lt"/>
                <a:cs typeface="+mn-lt"/>
              </a:rPr>
              <a:t>Using design thinking principles and a human-centric approach to create new strategies and efficient business models </a:t>
            </a:r>
            <a:r>
              <a:rPr kumimoji="0" lang="en-US" sz="2400" i="1" u="none" strike="noStrike" kern="1200" cap="none" spc="0" normalizeH="0" baseline="0" noProof="0">
                <a:ln>
                  <a:noFill/>
                </a:ln>
                <a:solidFill>
                  <a:srgbClr val="6800FF"/>
                </a:solidFill>
                <a:effectLst/>
                <a:uLnTx/>
                <a:uFillTx/>
                <a:latin typeface="Montserrat Light"/>
                <a:ea typeface="+mn-ea"/>
                <a:cs typeface="+mn-cs"/>
              </a:rPr>
              <a:t>  </a:t>
            </a:r>
            <a:endParaRPr lang="en-US" sz="2800" i="1" noProof="0">
              <a:latin typeface="Montserrat Light"/>
            </a:endParaRPr>
          </a:p>
        </p:txBody>
      </p:sp>
      <p:grpSp>
        <p:nvGrpSpPr>
          <p:cNvPr id="6" name="Group 5">
            <a:extLst>
              <a:ext uri="{FF2B5EF4-FFF2-40B4-BE49-F238E27FC236}">
                <a16:creationId xmlns:a16="http://schemas.microsoft.com/office/drawing/2014/main" id="{CC47F164-EE09-29F7-872C-B7AB24E10A40}"/>
              </a:ext>
            </a:extLst>
          </p:cNvPr>
          <p:cNvGrpSpPr/>
          <p:nvPr/>
        </p:nvGrpSpPr>
        <p:grpSpPr>
          <a:xfrm rot="5400000">
            <a:off x="13379502" y="2800952"/>
            <a:ext cx="2923636" cy="2923636"/>
            <a:chOff x="0" y="0"/>
            <a:chExt cx="812800" cy="812800"/>
          </a:xfrm>
        </p:grpSpPr>
        <p:sp>
          <p:nvSpPr>
            <p:cNvPr id="7" name="Freeform 6">
              <a:extLst>
                <a:ext uri="{FF2B5EF4-FFF2-40B4-BE49-F238E27FC236}">
                  <a16:creationId xmlns:a16="http://schemas.microsoft.com/office/drawing/2014/main" id="{3F580F55-6A35-C444-B2EA-42446734C54E}"/>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2C34">
                <a:alpha val="60000"/>
              </a:srgbClr>
            </a:solidFill>
            <a:ln cap="sq">
              <a:noFill/>
              <a:prstDash val="solid"/>
              <a:miter/>
            </a:ln>
          </p:spPr>
          <p:txBody>
            <a:bodyPr/>
            <a:lstStyle/>
            <a:p>
              <a:endParaRPr lang="en-US" noProof="0"/>
            </a:p>
          </p:txBody>
        </p:sp>
        <p:sp>
          <p:nvSpPr>
            <p:cNvPr id="8" name="TextBox 7">
              <a:extLst>
                <a:ext uri="{FF2B5EF4-FFF2-40B4-BE49-F238E27FC236}">
                  <a16:creationId xmlns:a16="http://schemas.microsoft.com/office/drawing/2014/main" id="{5179FA7E-8EA0-E4B6-687A-0A8B29EAA34D}"/>
                </a:ext>
              </a:extLst>
            </p:cNvPr>
            <p:cNvSpPr txBox="1"/>
            <p:nvPr/>
          </p:nvSpPr>
          <p:spPr>
            <a:xfrm>
              <a:off x="76200" y="57150"/>
              <a:ext cx="660400" cy="679450"/>
            </a:xfrm>
            <a:prstGeom prst="rect">
              <a:avLst/>
            </a:prstGeom>
          </p:spPr>
          <p:txBody>
            <a:bodyPr lIns="50800" tIns="50800" rIns="50800" bIns="50800" rtlCol="0" anchor="ctr"/>
            <a:lstStyle/>
            <a:p>
              <a:pPr algn="ctr">
                <a:lnSpc>
                  <a:spcPts val="2199"/>
                </a:lnSpc>
              </a:pPr>
              <a:endParaRPr lang="en-US" noProof="0"/>
            </a:p>
          </p:txBody>
        </p:sp>
      </p:grpSp>
      <p:grpSp>
        <p:nvGrpSpPr>
          <p:cNvPr id="9" name="Group 8">
            <a:extLst>
              <a:ext uri="{FF2B5EF4-FFF2-40B4-BE49-F238E27FC236}">
                <a16:creationId xmlns:a16="http://schemas.microsoft.com/office/drawing/2014/main" id="{AA5CA284-85E5-FE20-756E-F4A44227A042}"/>
              </a:ext>
            </a:extLst>
          </p:cNvPr>
          <p:cNvGrpSpPr/>
          <p:nvPr/>
        </p:nvGrpSpPr>
        <p:grpSpPr>
          <a:xfrm rot="5400000">
            <a:off x="11721911" y="1692466"/>
            <a:ext cx="2923636" cy="2923636"/>
            <a:chOff x="0" y="0"/>
            <a:chExt cx="812800" cy="812800"/>
          </a:xfrm>
        </p:grpSpPr>
        <p:sp>
          <p:nvSpPr>
            <p:cNvPr id="10" name="Freeform 9">
              <a:extLst>
                <a:ext uri="{FF2B5EF4-FFF2-40B4-BE49-F238E27FC236}">
                  <a16:creationId xmlns:a16="http://schemas.microsoft.com/office/drawing/2014/main" id="{BAD1FB28-3BB2-2D99-21C7-000369CBBB04}"/>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B01C7F">
                <a:alpha val="69804"/>
              </a:srgbClr>
            </a:solidFill>
            <a:ln cap="sq">
              <a:noFill/>
              <a:prstDash val="solid"/>
              <a:miter/>
            </a:ln>
          </p:spPr>
          <p:txBody>
            <a:bodyPr/>
            <a:lstStyle/>
            <a:p>
              <a:endParaRPr lang="en-US" noProof="0"/>
            </a:p>
          </p:txBody>
        </p:sp>
        <p:sp>
          <p:nvSpPr>
            <p:cNvPr id="11" name="TextBox 10">
              <a:extLst>
                <a:ext uri="{FF2B5EF4-FFF2-40B4-BE49-F238E27FC236}">
                  <a16:creationId xmlns:a16="http://schemas.microsoft.com/office/drawing/2014/main" id="{218814C8-2A3C-48E2-0948-934B7270D0D5}"/>
                </a:ext>
              </a:extLst>
            </p:cNvPr>
            <p:cNvSpPr txBox="1"/>
            <p:nvPr/>
          </p:nvSpPr>
          <p:spPr>
            <a:xfrm>
              <a:off x="76200" y="57150"/>
              <a:ext cx="660400" cy="679450"/>
            </a:xfrm>
            <a:prstGeom prst="rect">
              <a:avLst/>
            </a:prstGeom>
          </p:spPr>
          <p:txBody>
            <a:bodyPr lIns="50800" tIns="50800" rIns="50800" bIns="50800" rtlCol="0" anchor="ctr"/>
            <a:lstStyle/>
            <a:p>
              <a:pPr algn="ctr">
                <a:lnSpc>
                  <a:spcPts val="2199"/>
                </a:lnSpc>
              </a:pPr>
              <a:endParaRPr lang="en-US" noProof="0"/>
            </a:p>
          </p:txBody>
        </p:sp>
      </p:grpSp>
      <p:grpSp>
        <p:nvGrpSpPr>
          <p:cNvPr id="12" name="Group 11">
            <a:extLst>
              <a:ext uri="{FF2B5EF4-FFF2-40B4-BE49-F238E27FC236}">
                <a16:creationId xmlns:a16="http://schemas.microsoft.com/office/drawing/2014/main" id="{EC527493-56EE-1DEE-BE6E-1FF2533565A4}"/>
              </a:ext>
            </a:extLst>
          </p:cNvPr>
          <p:cNvGrpSpPr/>
          <p:nvPr/>
        </p:nvGrpSpPr>
        <p:grpSpPr>
          <a:xfrm rot="5400000">
            <a:off x="11721911" y="3909439"/>
            <a:ext cx="2923636" cy="2923636"/>
            <a:chOff x="0" y="0"/>
            <a:chExt cx="812800" cy="812800"/>
          </a:xfrm>
        </p:grpSpPr>
        <p:sp>
          <p:nvSpPr>
            <p:cNvPr id="13" name="Freeform 12">
              <a:extLst>
                <a:ext uri="{FF2B5EF4-FFF2-40B4-BE49-F238E27FC236}">
                  <a16:creationId xmlns:a16="http://schemas.microsoft.com/office/drawing/2014/main" id="{268EBB84-26F2-A1BD-35B9-F7A50F3E821D}"/>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6800FF">
                <a:alpha val="60000"/>
              </a:srgbClr>
            </a:solidFill>
            <a:ln cap="sq">
              <a:noFill/>
              <a:prstDash val="solid"/>
              <a:miter/>
            </a:ln>
          </p:spPr>
          <p:txBody>
            <a:bodyPr/>
            <a:lstStyle/>
            <a:p>
              <a:endParaRPr lang="en-US" noProof="0"/>
            </a:p>
          </p:txBody>
        </p:sp>
        <p:sp>
          <p:nvSpPr>
            <p:cNvPr id="14" name="TextBox 13">
              <a:extLst>
                <a:ext uri="{FF2B5EF4-FFF2-40B4-BE49-F238E27FC236}">
                  <a16:creationId xmlns:a16="http://schemas.microsoft.com/office/drawing/2014/main" id="{8170B253-D59A-66B1-A8EF-3C11F2ACBE00}"/>
                </a:ext>
              </a:extLst>
            </p:cNvPr>
            <p:cNvSpPr txBox="1"/>
            <p:nvPr/>
          </p:nvSpPr>
          <p:spPr>
            <a:xfrm>
              <a:off x="76200" y="57150"/>
              <a:ext cx="660400" cy="679450"/>
            </a:xfrm>
            <a:prstGeom prst="rect">
              <a:avLst/>
            </a:prstGeom>
          </p:spPr>
          <p:txBody>
            <a:bodyPr lIns="50800" tIns="50800" rIns="50800" bIns="50800" rtlCol="0" anchor="ctr"/>
            <a:lstStyle/>
            <a:p>
              <a:pPr algn="ctr">
                <a:lnSpc>
                  <a:spcPts val="2199"/>
                </a:lnSpc>
              </a:pPr>
              <a:endParaRPr lang="en-US" noProof="0"/>
            </a:p>
          </p:txBody>
        </p:sp>
      </p:grpSp>
      <p:sp>
        <p:nvSpPr>
          <p:cNvPr id="15" name="Freeform 14">
            <a:extLst>
              <a:ext uri="{FF2B5EF4-FFF2-40B4-BE49-F238E27FC236}">
                <a16:creationId xmlns:a16="http://schemas.microsoft.com/office/drawing/2014/main" id="{C5B1274D-19DF-B0B5-C8E6-5EF080AF31B0}"/>
              </a:ext>
            </a:extLst>
          </p:cNvPr>
          <p:cNvSpPr/>
          <p:nvPr/>
        </p:nvSpPr>
        <p:spPr>
          <a:xfrm>
            <a:off x="13168928" y="3768652"/>
            <a:ext cx="1063541" cy="929218"/>
          </a:xfrm>
          <a:custGeom>
            <a:avLst/>
            <a:gdLst/>
            <a:ahLst/>
            <a:cxnLst/>
            <a:rect l="l" t="t" r="r" b="b"/>
            <a:pathLst>
              <a:path w="1035999" h="915447">
                <a:moveTo>
                  <a:pt x="0" y="0"/>
                </a:moveTo>
                <a:lnTo>
                  <a:pt x="1035999" y="0"/>
                </a:lnTo>
                <a:lnTo>
                  <a:pt x="1035999" y="915446"/>
                </a:lnTo>
                <a:lnTo>
                  <a:pt x="0" y="915446"/>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en-US" noProof="0"/>
          </a:p>
        </p:txBody>
      </p:sp>
      <p:sp>
        <p:nvSpPr>
          <p:cNvPr id="16" name="Freeform 15">
            <a:extLst>
              <a:ext uri="{FF2B5EF4-FFF2-40B4-BE49-F238E27FC236}">
                <a16:creationId xmlns:a16="http://schemas.microsoft.com/office/drawing/2014/main" id="{BB56405F-FB4E-17C6-B6BD-B26BEBAD36D3}"/>
              </a:ext>
            </a:extLst>
          </p:cNvPr>
          <p:cNvSpPr/>
          <p:nvPr/>
        </p:nvSpPr>
        <p:spPr>
          <a:xfrm rot="8220000">
            <a:off x="13602002" y="2692568"/>
            <a:ext cx="1999805" cy="732917"/>
          </a:xfrm>
          <a:custGeom>
            <a:avLst/>
            <a:gdLst/>
            <a:ahLst/>
            <a:cxnLst/>
            <a:rect l="l" t="t" r="r" b="b"/>
            <a:pathLst>
              <a:path w="1765697" h="498809">
                <a:moveTo>
                  <a:pt x="0" y="0"/>
                </a:moveTo>
                <a:lnTo>
                  <a:pt x="1765696" y="0"/>
                </a:lnTo>
                <a:lnTo>
                  <a:pt x="1765696" y="498810"/>
                </a:lnTo>
                <a:lnTo>
                  <a:pt x="0" y="498810"/>
                </a:lnTo>
                <a:lnTo>
                  <a:pt x="0" y="0"/>
                </a:lnTo>
                <a:close/>
              </a:path>
            </a:pathLst>
          </a:custGeom>
          <a:blipFill>
            <a:blip r:embed="rId4">
              <a:extLst>
                <a:ext uri="{96DAC541-7B7A-43D3-8B79-37D633B846F1}">
                  <asvg:svgBlip xmlns:asvg="http://schemas.microsoft.com/office/drawing/2016/SVG/main" r:embed="rId5"/>
                </a:ext>
              </a:extLst>
            </a:blip>
            <a:stretch>
              <a:fillRect/>
            </a:stretch>
          </a:blipFill>
          <a:ln cap="sq">
            <a:noFill/>
            <a:prstDash val="solid"/>
            <a:miter/>
          </a:ln>
        </p:spPr>
        <p:txBody>
          <a:bodyPr/>
          <a:lstStyle/>
          <a:p>
            <a:endParaRPr lang="en-US" noProof="0"/>
          </a:p>
        </p:txBody>
      </p:sp>
      <p:sp>
        <p:nvSpPr>
          <p:cNvPr id="17" name="TextBox 21">
            <a:extLst>
              <a:ext uri="{FF2B5EF4-FFF2-40B4-BE49-F238E27FC236}">
                <a16:creationId xmlns:a16="http://schemas.microsoft.com/office/drawing/2014/main" id="{CB1920A9-C25F-1B7F-1EBC-8BC5832C7C7E}"/>
              </a:ext>
            </a:extLst>
          </p:cNvPr>
          <p:cNvSpPr txBox="1"/>
          <p:nvPr/>
        </p:nvSpPr>
        <p:spPr>
          <a:xfrm>
            <a:off x="11959855" y="2593494"/>
            <a:ext cx="2117114" cy="355290"/>
          </a:xfrm>
          <a:prstGeom prst="rect">
            <a:avLst/>
          </a:prstGeom>
        </p:spPr>
        <p:txBody>
          <a:bodyPr wrap="square" lIns="0" tIns="0" rIns="0" bIns="0" rtlCol="0" anchor="t">
            <a:spAutoFit/>
          </a:bodyPr>
          <a:lstStyle/>
          <a:p>
            <a:pPr algn="ctr">
              <a:lnSpc>
                <a:spcPts val="3002"/>
              </a:lnSpc>
              <a:spcBef>
                <a:spcPct val="0"/>
              </a:spcBef>
            </a:pPr>
            <a:r>
              <a:rPr lang="en-US" sz="2000" i="1" u="sng" noProof="0">
                <a:solidFill>
                  <a:srgbClr val="FFFFFF"/>
                </a:solidFill>
                <a:latin typeface="Montserrat Medium"/>
                <a:sym typeface="Montserrat Italics"/>
              </a:rPr>
              <a:t>Human-centric</a:t>
            </a:r>
            <a:endParaRPr lang="en-US" sz="2000" noProof="0"/>
          </a:p>
        </p:txBody>
      </p:sp>
      <p:sp>
        <p:nvSpPr>
          <p:cNvPr id="18" name="TextBox 22">
            <a:extLst>
              <a:ext uri="{FF2B5EF4-FFF2-40B4-BE49-F238E27FC236}">
                <a16:creationId xmlns:a16="http://schemas.microsoft.com/office/drawing/2014/main" id="{2D2F11EE-93A0-5F20-8FAA-A276410F309F}"/>
              </a:ext>
            </a:extLst>
          </p:cNvPr>
          <p:cNvSpPr txBox="1"/>
          <p:nvPr/>
        </p:nvSpPr>
        <p:spPr>
          <a:xfrm>
            <a:off x="15318236" y="2355096"/>
            <a:ext cx="2244825" cy="480950"/>
          </a:xfrm>
          <a:prstGeom prst="rect">
            <a:avLst/>
          </a:prstGeom>
        </p:spPr>
        <p:txBody>
          <a:bodyPr wrap="square" lIns="0" tIns="0" rIns="0" bIns="0" rtlCol="0" anchor="t">
            <a:spAutoFit/>
          </a:bodyPr>
          <a:lstStyle/>
          <a:p>
            <a:pPr algn="ctr">
              <a:lnSpc>
                <a:spcPts val="4003"/>
              </a:lnSpc>
              <a:spcBef>
                <a:spcPct val="0"/>
              </a:spcBef>
            </a:pPr>
            <a:r>
              <a:rPr lang="en-US" sz="2600" b="1" noProof="0">
                <a:solidFill>
                  <a:srgbClr val="000000"/>
                </a:solidFill>
                <a:latin typeface="Montserrat Bold"/>
                <a:sym typeface="Montserrat Bold"/>
              </a:rPr>
              <a:t>Outcomes</a:t>
            </a:r>
            <a:endParaRPr lang="en-US" noProof="0"/>
          </a:p>
        </p:txBody>
      </p:sp>
      <p:grpSp>
        <p:nvGrpSpPr>
          <p:cNvPr id="19" name="Group 23">
            <a:extLst>
              <a:ext uri="{FF2B5EF4-FFF2-40B4-BE49-F238E27FC236}">
                <a16:creationId xmlns:a16="http://schemas.microsoft.com/office/drawing/2014/main" id="{6B3F053E-BC21-0C69-E096-B3B46D3F5B46}"/>
              </a:ext>
            </a:extLst>
          </p:cNvPr>
          <p:cNvGrpSpPr/>
          <p:nvPr/>
        </p:nvGrpSpPr>
        <p:grpSpPr>
          <a:xfrm>
            <a:off x="10925747" y="7259953"/>
            <a:ext cx="1845868" cy="1794784"/>
            <a:chOff x="-100264" y="0"/>
            <a:chExt cx="2461157" cy="2393048"/>
          </a:xfrm>
        </p:grpSpPr>
        <p:sp>
          <p:nvSpPr>
            <p:cNvPr id="20" name="Freeform 24">
              <a:extLst>
                <a:ext uri="{FF2B5EF4-FFF2-40B4-BE49-F238E27FC236}">
                  <a16:creationId xmlns:a16="http://schemas.microsoft.com/office/drawing/2014/main" id="{37922C94-5427-79EE-B974-3DF9676CA269}"/>
                </a:ext>
              </a:extLst>
            </p:cNvPr>
            <p:cNvSpPr/>
            <p:nvPr/>
          </p:nvSpPr>
          <p:spPr>
            <a:xfrm>
              <a:off x="378134" y="0"/>
              <a:ext cx="1444205" cy="1444205"/>
            </a:xfrm>
            <a:custGeom>
              <a:avLst/>
              <a:gdLst/>
              <a:ahLst/>
              <a:cxnLst/>
              <a:rect l="l" t="t" r="r" b="b"/>
              <a:pathLst>
                <a:path w="1444205" h="1444205">
                  <a:moveTo>
                    <a:pt x="0" y="0"/>
                  </a:moveTo>
                  <a:lnTo>
                    <a:pt x="1444205" y="0"/>
                  </a:lnTo>
                  <a:lnTo>
                    <a:pt x="1444205" y="1444205"/>
                  </a:lnTo>
                  <a:lnTo>
                    <a:pt x="0" y="1444205"/>
                  </a:lnTo>
                  <a:lnTo>
                    <a:pt x="0" y="0"/>
                  </a:lnTo>
                  <a:close/>
                </a:path>
              </a:pathLst>
            </a:custGeom>
            <a:blipFill>
              <a:blip r:embed="rId6"/>
              <a:stretch>
                <a:fillRect/>
              </a:stretch>
            </a:blipFill>
          </p:spPr>
          <p:txBody>
            <a:bodyPr/>
            <a:lstStyle/>
            <a:p>
              <a:endParaRPr lang="en-US" noProof="0"/>
            </a:p>
          </p:txBody>
        </p:sp>
        <p:sp>
          <p:nvSpPr>
            <p:cNvPr id="21" name="TextBox 25">
              <a:extLst>
                <a:ext uri="{FF2B5EF4-FFF2-40B4-BE49-F238E27FC236}">
                  <a16:creationId xmlns:a16="http://schemas.microsoft.com/office/drawing/2014/main" id="{1303D726-CD10-D7CD-BC27-D28375A3AE00}"/>
                </a:ext>
              </a:extLst>
            </p:cNvPr>
            <p:cNvSpPr txBox="1"/>
            <p:nvPr/>
          </p:nvSpPr>
          <p:spPr>
            <a:xfrm>
              <a:off x="-100264" y="1531272"/>
              <a:ext cx="2461157" cy="861776"/>
            </a:xfrm>
            <a:prstGeom prst="rect">
              <a:avLst/>
            </a:prstGeom>
          </p:spPr>
          <p:txBody>
            <a:bodyPr wrap="square" lIns="0" tIns="0" rIns="0" bIns="0" rtlCol="0" anchor="t">
              <a:spAutoFit/>
            </a:bodyPr>
            <a:lstStyle/>
            <a:p>
              <a:pPr algn="ctr"/>
              <a:r>
                <a:rPr lang="en-US" sz="2100" b="1" noProof="0">
                  <a:solidFill>
                    <a:srgbClr val="000000"/>
                  </a:solidFill>
                  <a:latin typeface="Montserrat Bold"/>
                  <a:ea typeface="+mn-lt"/>
                  <a:cs typeface="+mn-lt"/>
                  <a:sym typeface="Montserrat Bold"/>
                </a:rPr>
                <a:t>Integrative perspective</a:t>
              </a:r>
              <a:endParaRPr lang="en-US" noProof="0">
                <a:ea typeface="Calibri"/>
                <a:cs typeface="Calibri"/>
              </a:endParaRPr>
            </a:p>
          </p:txBody>
        </p:sp>
      </p:grpSp>
      <p:grpSp>
        <p:nvGrpSpPr>
          <p:cNvPr id="22" name="Group 26">
            <a:extLst>
              <a:ext uri="{FF2B5EF4-FFF2-40B4-BE49-F238E27FC236}">
                <a16:creationId xmlns:a16="http://schemas.microsoft.com/office/drawing/2014/main" id="{17736B51-E5C2-3F3B-00CF-0D5DD684AD6D}"/>
              </a:ext>
            </a:extLst>
          </p:cNvPr>
          <p:cNvGrpSpPr/>
          <p:nvPr/>
        </p:nvGrpSpPr>
        <p:grpSpPr>
          <a:xfrm>
            <a:off x="13152821" y="7286372"/>
            <a:ext cx="1485573" cy="1741947"/>
            <a:chOff x="-101600" y="0"/>
            <a:chExt cx="1980763" cy="2322595"/>
          </a:xfrm>
        </p:grpSpPr>
        <p:sp>
          <p:nvSpPr>
            <p:cNvPr id="23" name="Freeform 27">
              <a:extLst>
                <a:ext uri="{FF2B5EF4-FFF2-40B4-BE49-F238E27FC236}">
                  <a16:creationId xmlns:a16="http://schemas.microsoft.com/office/drawing/2014/main" id="{02738C38-455D-AB7E-AFE8-C78A70C74D61}"/>
                </a:ext>
              </a:extLst>
            </p:cNvPr>
            <p:cNvSpPr/>
            <p:nvPr/>
          </p:nvSpPr>
          <p:spPr>
            <a:xfrm>
              <a:off x="217347" y="0"/>
              <a:ext cx="1302229" cy="1302229"/>
            </a:xfrm>
            <a:custGeom>
              <a:avLst/>
              <a:gdLst/>
              <a:ahLst/>
              <a:cxnLst/>
              <a:rect l="l" t="t" r="r" b="b"/>
              <a:pathLst>
                <a:path w="1302229" h="1302229">
                  <a:moveTo>
                    <a:pt x="0" y="0"/>
                  </a:moveTo>
                  <a:lnTo>
                    <a:pt x="1302229" y="0"/>
                  </a:lnTo>
                  <a:lnTo>
                    <a:pt x="1302229" y="1302229"/>
                  </a:lnTo>
                  <a:lnTo>
                    <a:pt x="0" y="1302229"/>
                  </a:lnTo>
                  <a:lnTo>
                    <a:pt x="0" y="0"/>
                  </a:lnTo>
                  <a:close/>
                </a:path>
              </a:pathLst>
            </a:custGeom>
            <a:blipFill>
              <a:blip r:embed="rId7"/>
              <a:stretch>
                <a:fillRect/>
              </a:stretch>
            </a:blipFill>
          </p:spPr>
          <p:txBody>
            <a:bodyPr/>
            <a:lstStyle/>
            <a:p>
              <a:endParaRPr lang="en-US" noProof="0"/>
            </a:p>
          </p:txBody>
        </p:sp>
        <p:sp>
          <p:nvSpPr>
            <p:cNvPr id="24" name="TextBox 28">
              <a:extLst>
                <a:ext uri="{FF2B5EF4-FFF2-40B4-BE49-F238E27FC236}">
                  <a16:creationId xmlns:a16="http://schemas.microsoft.com/office/drawing/2014/main" id="{DD937A09-56E7-6F82-12CA-615DF7C8A9A4}"/>
                </a:ext>
              </a:extLst>
            </p:cNvPr>
            <p:cNvSpPr txBox="1"/>
            <p:nvPr/>
          </p:nvSpPr>
          <p:spPr>
            <a:xfrm>
              <a:off x="-101600" y="1460821"/>
              <a:ext cx="1980763" cy="861774"/>
            </a:xfrm>
            <a:prstGeom prst="rect">
              <a:avLst/>
            </a:prstGeom>
          </p:spPr>
          <p:txBody>
            <a:bodyPr wrap="square" lIns="0" tIns="0" rIns="0" bIns="0" rtlCol="0" anchor="t">
              <a:spAutoFit/>
            </a:bodyPr>
            <a:lstStyle/>
            <a:p>
              <a:pPr algn="ctr"/>
              <a:r>
                <a:rPr lang="en-US" sz="2100" b="1" noProof="0">
                  <a:solidFill>
                    <a:srgbClr val="000000"/>
                  </a:solidFill>
                  <a:latin typeface="Montserrat Bold"/>
                  <a:ea typeface="+mn-lt"/>
                  <a:cs typeface="+mn-lt"/>
                  <a:sym typeface="Montserrat Bold"/>
                </a:rPr>
                <a:t>unified vision</a:t>
              </a:r>
              <a:endParaRPr lang="en-US" noProof="0"/>
            </a:p>
          </p:txBody>
        </p:sp>
      </p:grpSp>
      <p:grpSp>
        <p:nvGrpSpPr>
          <p:cNvPr id="25" name="Agrupar 15">
            <a:extLst>
              <a:ext uri="{FF2B5EF4-FFF2-40B4-BE49-F238E27FC236}">
                <a16:creationId xmlns:a16="http://schemas.microsoft.com/office/drawing/2014/main" id="{BD0EDE88-EAF2-C8A5-125F-1207933A478B}"/>
              </a:ext>
            </a:extLst>
          </p:cNvPr>
          <p:cNvGrpSpPr/>
          <p:nvPr/>
        </p:nvGrpSpPr>
        <p:grpSpPr>
          <a:xfrm>
            <a:off x="15062285" y="7288375"/>
            <a:ext cx="1623439" cy="1737941"/>
            <a:chOff x="14075973" y="6914002"/>
            <a:chExt cx="1623439" cy="1737941"/>
          </a:xfrm>
        </p:grpSpPr>
        <p:sp>
          <p:nvSpPr>
            <p:cNvPr id="26" name="Freeform 32">
              <a:extLst>
                <a:ext uri="{FF2B5EF4-FFF2-40B4-BE49-F238E27FC236}">
                  <a16:creationId xmlns:a16="http://schemas.microsoft.com/office/drawing/2014/main" id="{4FE43721-BD69-2734-D5D2-BF404481FAB9}"/>
                </a:ext>
              </a:extLst>
            </p:cNvPr>
            <p:cNvSpPr/>
            <p:nvPr/>
          </p:nvSpPr>
          <p:spPr>
            <a:xfrm>
              <a:off x="14284146" y="6914002"/>
              <a:ext cx="1083154" cy="1083154"/>
            </a:xfrm>
            <a:custGeom>
              <a:avLst/>
              <a:gdLst/>
              <a:ahLst/>
              <a:cxnLst/>
              <a:rect l="l" t="t" r="r" b="b"/>
              <a:pathLst>
                <a:path w="1083154" h="1083154">
                  <a:moveTo>
                    <a:pt x="0" y="0"/>
                  </a:moveTo>
                  <a:lnTo>
                    <a:pt x="1083154" y="0"/>
                  </a:lnTo>
                  <a:lnTo>
                    <a:pt x="1083154" y="1083154"/>
                  </a:lnTo>
                  <a:lnTo>
                    <a:pt x="0" y="1083154"/>
                  </a:lnTo>
                  <a:lnTo>
                    <a:pt x="0" y="0"/>
                  </a:lnTo>
                  <a:close/>
                </a:path>
              </a:pathLst>
            </a:custGeom>
            <a:blipFill>
              <a:blip r:embed="rId8"/>
              <a:stretch>
                <a:fillRect/>
              </a:stretch>
            </a:blipFill>
          </p:spPr>
          <p:txBody>
            <a:bodyPr/>
            <a:lstStyle/>
            <a:p>
              <a:endParaRPr lang="en-US" noProof="0"/>
            </a:p>
          </p:txBody>
        </p:sp>
        <p:sp>
          <p:nvSpPr>
            <p:cNvPr id="27" name="TextBox 33">
              <a:extLst>
                <a:ext uri="{FF2B5EF4-FFF2-40B4-BE49-F238E27FC236}">
                  <a16:creationId xmlns:a16="http://schemas.microsoft.com/office/drawing/2014/main" id="{71E7EBFE-6D17-8DEA-15DF-D8C50FD3C7C8}"/>
                </a:ext>
              </a:extLst>
            </p:cNvPr>
            <p:cNvSpPr txBox="1"/>
            <p:nvPr/>
          </p:nvSpPr>
          <p:spPr>
            <a:xfrm>
              <a:off x="14075973" y="8005612"/>
              <a:ext cx="1623439" cy="646331"/>
            </a:xfrm>
            <a:prstGeom prst="rect">
              <a:avLst/>
            </a:prstGeom>
          </p:spPr>
          <p:txBody>
            <a:bodyPr wrap="square" lIns="0" tIns="0" rIns="0" bIns="0" rtlCol="0" anchor="t">
              <a:spAutoFit/>
            </a:bodyPr>
            <a:lstStyle/>
            <a:p>
              <a:pPr algn="ctr"/>
              <a:r>
                <a:rPr lang="en-US" sz="2100" b="1" noProof="0">
                  <a:solidFill>
                    <a:srgbClr val="000000"/>
                  </a:solidFill>
                  <a:latin typeface="Montserrat Bold"/>
                  <a:ea typeface="+mn-lt"/>
                  <a:cs typeface="+mn-lt"/>
                  <a:sym typeface="Montserrat Bold"/>
                </a:rPr>
                <a:t>Prototypes and Tests </a:t>
              </a:r>
              <a:endParaRPr lang="en-US" noProof="0"/>
            </a:p>
          </p:txBody>
        </p:sp>
      </p:grpSp>
      <p:sp>
        <p:nvSpPr>
          <p:cNvPr id="28" name="TextBox 34">
            <a:extLst>
              <a:ext uri="{FF2B5EF4-FFF2-40B4-BE49-F238E27FC236}">
                <a16:creationId xmlns:a16="http://schemas.microsoft.com/office/drawing/2014/main" id="{E4665353-E6B5-4ED1-F0CB-AD12B0AAAA3E}"/>
              </a:ext>
            </a:extLst>
          </p:cNvPr>
          <p:cNvSpPr txBox="1"/>
          <p:nvPr/>
        </p:nvSpPr>
        <p:spPr>
          <a:xfrm>
            <a:off x="12058707" y="5366414"/>
            <a:ext cx="1912527" cy="355290"/>
          </a:xfrm>
          <a:prstGeom prst="rect">
            <a:avLst/>
          </a:prstGeom>
        </p:spPr>
        <p:txBody>
          <a:bodyPr wrap="square" lIns="0" tIns="0" rIns="0" bIns="0" rtlCol="0" anchor="t">
            <a:spAutoFit/>
          </a:bodyPr>
          <a:lstStyle/>
          <a:p>
            <a:pPr algn="ctr">
              <a:lnSpc>
                <a:spcPts val="3002"/>
              </a:lnSpc>
              <a:spcBef>
                <a:spcPct val="0"/>
              </a:spcBef>
            </a:pPr>
            <a:r>
              <a:rPr lang="en-US" sz="2000" i="1" u="sng" noProof="0">
                <a:solidFill>
                  <a:srgbClr val="FFFFFF"/>
                </a:solidFill>
                <a:latin typeface="Montserrat Medium"/>
                <a:ea typeface="+mn-lt"/>
                <a:cs typeface="+mn-lt"/>
                <a:sym typeface="Montserrat Italics"/>
              </a:rPr>
              <a:t>Feasibility</a:t>
            </a:r>
            <a:endParaRPr lang="en-US" sz="2000" noProof="0"/>
          </a:p>
        </p:txBody>
      </p:sp>
      <p:sp>
        <p:nvSpPr>
          <p:cNvPr id="29" name="TextBox 35">
            <a:extLst>
              <a:ext uri="{FF2B5EF4-FFF2-40B4-BE49-F238E27FC236}">
                <a16:creationId xmlns:a16="http://schemas.microsoft.com/office/drawing/2014/main" id="{A8F69855-4517-BFD5-D2E0-F0AA8D6DAC06}"/>
              </a:ext>
            </a:extLst>
          </p:cNvPr>
          <p:cNvSpPr txBox="1"/>
          <p:nvPr/>
        </p:nvSpPr>
        <p:spPr>
          <a:xfrm>
            <a:off x="14479333" y="3886940"/>
            <a:ext cx="1457083" cy="355290"/>
          </a:xfrm>
          <a:prstGeom prst="rect">
            <a:avLst/>
          </a:prstGeom>
        </p:spPr>
        <p:txBody>
          <a:bodyPr wrap="square" lIns="0" tIns="0" rIns="0" bIns="0" rtlCol="0" anchor="t">
            <a:spAutoFit/>
          </a:bodyPr>
          <a:lstStyle/>
          <a:p>
            <a:pPr algn="ctr">
              <a:lnSpc>
                <a:spcPts val="3002"/>
              </a:lnSpc>
              <a:spcBef>
                <a:spcPct val="0"/>
              </a:spcBef>
            </a:pPr>
            <a:r>
              <a:rPr lang="en-US" sz="2000" i="1" u="sng" noProof="0">
                <a:solidFill>
                  <a:srgbClr val="FFFFFF"/>
                </a:solidFill>
                <a:latin typeface="Montserrat Medium"/>
                <a:ea typeface="+mn-lt"/>
                <a:cs typeface="+mn-lt"/>
                <a:sym typeface="Montserrat Italics"/>
              </a:rPr>
              <a:t>Viability</a:t>
            </a:r>
            <a:endParaRPr lang="en-US" sz="2000" noProof="0"/>
          </a:p>
        </p:txBody>
      </p:sp>
      <p:sp>
        <p:nvSpPr>
          <p:cNvPr id="30" name="TextBox 19">
            <a:extLst>
              <a:ext uri="{FF2B5EF4-FFF2-40B4-BE49-F238E27FC236}">
                <a16:creationId xmlns:a16="http://schemas.microsoft.com/office/drawing/2014/main" id="{0EBD13F0-B85C-175E-54DB-4642EBA694D9}"/>
              </a:ext>
            </a:extLst>
          </p:cNvPr>
          <p:cNvSpPr txBox="1"/>
          <p:nvPr/>
        </p:nvSpPr>
        <p:spPr>
          <a:xfrm>
            <a:off x="1080599" y="3263357"/>
            <a:ext cx="9531258" cy="5690276"/>
          </a:xfrm>
          <a:prstGeom prst="rect">
            <a:avLst/>
          </a:prstGeom>
        </p:spPr>
        <p:txBody>
          <a:bodyPr wrap="square" lIns="0" tIns="0" rIns="0" bIns="0" rtlCol="0" anchor="t">
            <a:spAutoFit/>
          </a:bodyPr>
          <a:lstStyle/>
          <a:p>
            <a:r>
              <a:rPr lang="en-US" sz="2800" noProof="0">
                <a:solidFill>
                  <a:srgbClr val="000000"/>
                </a:solidFill>
                <a:latin typeface="Montserrat" panose="00000500000000000000" pitchFamily="2" charset="0"/>
                <a:ea typeface="+mn-lt"/>
                <a:cs typeface="+mn-lt"/>
                <a:sym typeface="Montserrat Light"/>
              </a:rPr>
              <a:t>Understanding that the business environment is extremely competitive and dynamic, Qintess has developed an </a:t>
            </a:r>
            <a:r>
              <a:rPr lang="en-US" sz="2800" b="1" noProof="0">
                <a:solidFill>
                  <a:srgbClr val="000000"/>
                </a:solidFill>
                <a:latin typeface="Montserrat" panose="00000500000000000000" pitchFamily="2" charset="0"/>
                <a:ea typeface="+mn-lt"/>
                <a:cs typeface="+mn-lt"/>
                <a:sym typeface="Montserrat Light"/>
              </a:rPr>
              <a:t>approach focused on creating new products, services and business models</a:t>
            </a:r>
            <a:r>
              <a:rPr lang="en-US" sz="2800" noProof="0">
                <a:solidFill>
                  <a:srgbClr val="000000"/>
                </a:solidFill>
                <a:latin typeface="Montserrat" panose="00000500000000000000" pitchFamily="2" charset="0"/>
                <a:ea typeface="+mn-lt"/>
                <a:cs typeface="+mn-lt"/>
                <a:sym typeface="Montserrat Light"/>
              </a:rPr>
              <a:t>. </a:t>
            </a:r>
            <a:endParaRPr lang="en-US" sz="2400" noProof="0">
              <a:latin typeface="Montserrat" panose="00000500000000000000" pitchFamily="2" charset="0"/>
            </a:endParaRPr>
          </a:p>
          <a:p>
            <a:endParaRPr lang="en-US" sz="2400" noProof="0">
              <a:latin typeface="Montserrat" panose="00000500000000000000" pitchFamily="2" charset="0"/>
            </a:endParaRPr>
          </a:p>
          <a:p>
            <a:pPr>
              <a:lnSpc>
                <a:spcPts val="2699"/>
              </a:lnSpc>
            </a:pPr>
            <a:r>
              <a:rPr lang="en-US" sz="2800" noProof="0">
                <a:solidFill>
                  <a:srgbClr val="000000"/>
                </a:solidFill>
                <a:latin typeface="Montserrat" panose="00000500000000000000" pitchFamily="2" charset="0"/>
                <a:ea typeface="+mn-lt"/>
                <a:cs typeface="+mn-lt"/>
                <a:sym typeface="Montserrat Light"/>
              </a:rPr>
              <a:t>We combine our </a:t>
            </a:r>
            <a:r>
              <a:rPr lang="en-US" sz="2800" b="1" noProof="0">
                <a:solidFill>
                  <a:srgbClr val="000000"/>
                </a:solidFill>
                <a:latin typeface="Montserrat" panose="00000500000000000000" pitchFamily="2" charset="0"/>
                <a:ea typeface="+mn-lt"/>
                <a:cs typeface="+mn-lt"/>
                <a:sym typeface="Montserrat Light"/>
              </a:rPr>
              <a:t>expertise in the world of business, innovation and design thinking</a:t>
            </a:r>
            <a:r>
              <a:rPr lang="en-US" sz="2800" noProof="0">
                <a:solidFill>
                  <a:srgbClr val="000000"/>
                </a:solidFill>
                <a:latin typeface="Montserrat" panose="00000500000000000000" pitchFamily="2" charset="0"/>
                <a:ea typeface="+mn-lt"/>
                <a:cs typeface="+mn-lt"/>
                <a:sym typeface="Montserrat Light"/>
              </a:rPr>
              <a:t> to build a methodology focused on our clients, without losing sight of 3 main concepts: </a:t>
            </a:r>
          </a:p>
          <a:p>
            <a:pPr>
              <a:lnSpc>
                <a:spcPts val="2699"/>
              </a:lnSpc>
            </a:pPr>
            <a:endParaRPr lang="en-US" sz="2800" b="1" noProof="0">
              <a:solidFill>
                <a:srgbClr val="000000"/>
              </a:solidFill>
              <a:latin typeface="Montserrat" panose="00000500000000000000" pitchFamily="2" charset="0"/>
              <a:ea typeface="+mn-lt"/>
              <a:cs typeface="+mn-lt"/>
            </a:endParaRPr>
          </a:p>
          <a:p>
            <a:pPr marL="285750" indent="-285750">
              <a:lnSpc>
                <a:spcPct val="150000"/>
              </a:lnSpc>
              <a:buFont typeface="Arial"/>
              <a:buChar char="•"/>
            </a:pPr>
            <a:r>
              <a:rPr lang="en-US" sz="2800" b="1" noProof="0">
                <a:solidFill>
                  <a:srgbClr val="6800FF"/>
                </a:solidFill>
                <a:latin typeface="Montserrat" panose="00000500000000000000" pitchFamily="2" charset="0"/>
                <a:ea typeface="+mn-lt"/>
                <a:cs typeface="+mn-lt"/>
                <a:sym typeface="Montserrat Light"/>
              </a:rPr>
              <a:t>Human-centricity</a:t>
            </a:r>
            <a:endParaRPr lang="en-US" sz="2800" b="1" noProof="0">
              <a:solidFill>
                <a:srgbClr val="6800FF"/>
              </a:solidFill>
              <a:latin typeface="Montserrat" panose="00000500000000000000" pitchFamily="2" charset="0"/>
              <a:ea typeface="+mn-lt"/>
              <a:cs typeface="+mn-lt"/>
            </a:endParaRPr>
          </a:p>
          <a:p>
            <a:pPr marL="285750" indent="-285750">
              <a:lnSpc>
                <a:spcPct val="150000"/>
              </a:lnSpc>
              <a:buFont typeface="Arial"/>
              <a:buChar char="•"/>
            </a:pPr>
            <a:r>
              <a:rPr lang="en-US" sz="2800" b="1" noProof="0">
                <a:solidFill>
                  <a:srgbClr val="6800FF"/>
                </a:solidFill>
                <a:latin typeface="Montserrat" panose="00000500000000000000" pitchFamily="2" charset="0"/>
                <a:ea typeface="+mn-lt"/>
                <a:cs typeface="+mn-lt"/>
                <a:sym typeface="Montserrat Light"/>
              </a:rPr>
              <a:t>Viability</a:t>
            </a:r>
            <a:endParaRPr lang="en-US" sz="2800" b="1" noProof="0">
              <a:solidFill>
                <a:srgbClr val="6800FF"/>
              </a:solidFill>
              <a:latin typeface="Montserrat" panose="00000500000000000000" pitchFamily="2" charset="0"/>
              <a:ea typeface="+mn-lt"/>
              <a:cs typeface="+mn-lt"/>
            </a:endParaRPr>
          </a:p>
          <a:p>
            <a:pPr marL="285750" indent="-285750">
              <a:lnSpc>
                <a:spcPct val="150000"/>
              </a:lnSpc>
              <a:buFont typeface="Arial"/>
              <a:buChar char="•"/>
            </a:pPr>
            <a:r>
              <a:rPr lang="en-US" sz="2800" b="1" noProof="0">
                <a:solidFill>
                  <a:srgbClr val="6800FF"/>
                </a:solidFill>
                <a:latin typeface="Montserrat" panose="00000500000000000000" pitchFamily="2" charset="0"/>
                <a:ea typeface="+mn-lt"/>
                <a:cs typeface="+mn-lt"/>
                <a:sym typeface="Montserrat Light"/>
              </a:rPr>
              <a:t>Feasibility</a:t>
            </a:r>
            <a:endParaRPr lang="en-US" sz="2800" b="1" noProof="0">
              <a:solidFill>
                <a:srgbClr val="6800FF"/>
              </a:solidFill>
              <a:latin typeface="Montserrat" panose="00000500000000000000" pitchFamily="2" charset="0"/>
              <a:ea typeface="+mn-lt"/>
              <a:cs typeface="+mn-lt"/>
            </a:endParaRPr>
          </a:p>
        </p:txBody>
      </p:sp>
      <p:grpSp>
        <p:nvGrpSpPr>
          <p:cNvPr id="32" name="Group 7">
            <a:extLst>
              <a:ext uri="{FF2B5EF4-FFF2-40B4-BE49-F238E27FC236}">
                <a16:creationId xmlns:a16="http://schemas.microsoft.com/office/drawing/2014/main" id="{920EBB44-05C9-00FB-5FAF-7B164D89D154}"/>
              </a:ext>
            </a:extLst>
          </p:cNvPr>
          <p:cNvGrpSpPr/>
          <p:nvPr/>
        </p:nvGrpSpPr>
        <p:grpSpPr>
          <a:xfrm>
            <a:off x="7482401" y="1549790"/>
            <a:ext cx="612363" cy="56823"/>
            <a:chOff x="0" y="0"/>
            <a:chExt cx="1078484" cy="100076"/>
          </a:xfrm>
        </p:grpSpPr>
        <p:sp>
          <p:nvSpPr>
            <p:cNvPr id="31" name="Freeform 8">
              <a:extLst>
                <a:ext uri="{FF2B5EF4-FFF2-40B4-BE49-F238E27FC236}">
                  <a16:creationId xmlns:a16="http://schemas.microsoft.com/office/drawing/2014/main" id="{5766E2B8-0B48-25D8-EBC1-27385B0522ED}"/>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spTree>
    <p:extLst>
      <p:ext uri="{BB962C8B-B14F-4D97-AF65-F5344CB8AC3E}">
        <p14:creationId xmlns:p14="http://schemas.microsoft.com/office/powerpoint/2010/main" val="13204531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C51E8E7-C63B-A41D-CD5C-FC8F9FD2C247}"/>
              </a:ext>
            </a:extLst>
          </p:cNvPr>
          <p:cNvSpPr>
            <a:spLocks noGrp="1"/>
          </p:cNvSpPr>
          <p:nvPr>
            <p:ph type="title" idx="4294967295"/>
          </p:nvPr>
        </p:nvSpPr>
        <p:spPr>
          <a:xfrm>
            <a:off x="1080599" y="1042449"/>
            <a:ext cx="15561160" cy="560677"/>
          </a:xfrm>
        </p:spPr>
        <p:txBody>
          <a:bodyPr/>
          <a:lstStyle/>
          <a:p>
            <a:r>
              <a:rPr lang="en-US" sz="4000">
                <a:solidFill>
                  <a:srgbClr val="000000"/>
                </a:solidFill>
                <a:ea typeface="+mn-lt"/>
                <a:cs typeface="+mn-lt"/>
                <a:sym typeface="Montserrat Medium"/>
              </a:rPr>
              <a:t>Why invest in Business Driven Design</a:t>
            </a:r>
            <a:r>
              <a:rPr lang="en-US" sz="4000" b="1" noProof="0">
                <a:solidFill>
                  <a:srgbClr val="000000"/>
                </a:solidFill>
                <a:ea typeface="+mn-lt"/>
                <a:cs typeface="+mn-lt"/>
                <a:sym typeface="Montserrat Medium"/>
              </a:rPr>
              <a:t>?</a:t>
            </a:r>
            <a:br>
              <a:rPr lang="en-US" sz="2800" b="0" kern="1200" noProof="0">
                <a:latin typeface="Montserrat Bold"/>
                <a:ea typeface="+mn-ea"/>
                <a:cs typeface="+mn-cs"/>
              </a:rPr>
            </a:br>
            <a:r>
              <a:rPr lang="en-US" sz="2400" noProof="0">
                <a:solidFill>
                  <a:srgbClr val="6800FF"/>
                </a:solidFill>
                <a:latin typeface="Montserrat Light"/>
                <a:ea typeface="+mn-lt"/>
                <a:cs typeface="+mn-lt"/>
              </a:rPr>
              <a:t>Shaping a compelling brand and a solid business model, keeping your company </a:t>
            </a:r>
            <a:r>
              <a:rPr lang="en-US" sz="2400" i="1" noProof="0">
                <a:solidFill>
                  <a:srgbClr val="6800FF"/>
                </a:solidFill>
                <a:latin typeface="Montserrat Light"/>
                <a:ea typeface="+mn-lt"/>
                <a:cs typeface="+mn-lt"/>
              </a:rPr>
              <a:t>human-focused</a:t>
            </a:r>
            <a:r>
              <a:rPr lang="en-US" sz="2400" noProof="0">
                <a:solidFill>
                  <a:srgbClr val="6800FF"/>
                </a:solidFill>
                <a:latin typeface="Montserrat Light"/>
                <a:ea typeface="+mn-lt"/>
                <a:cs typeface="+mn-lt"/>
              </a:rPr>
              <a:t> and </a:t>
            </a:r>
            <a:r>
              <a:rPr lang="en-US" sz="2400" i="1" noProof="0">
                <a:solidFill>
                  <a:srgbClr val="6800FF"/>
                </a:solidFill>
                <a:latin typeface="Montserrat Light"/>
                <a:ea typeface="+mn-lt"/>
                <a:cs typeface="+mn-lt"/>
              </a:rPr>
              <a:t>future-ready</a:t>
            </a:r>
            <a:r>
              <a:rPr lang="en-US" sz="2400" noProof="0">
                <a:solidFill>
                  <a:srgbClr val="6800FF"/>
                </a:solidFill>
                <a:latin typeface="Montserrat Light"/>
                <a:ea typeface="+mn-lt"/>
                <a:cs typeface="+mn-lt"/>
              </a:rPr>
              <a:t>. Beyond Customer Impact, business design also drives internal efficiency and adaptability. It empowers teams to work collaboratively, break silos, and iterate quickly in response to change</a:t>
            </a:r>
            <a:endParaRPr lang="en-US" sz="2800" noProof="0">
              <a:solidFill>
                <a:srgbClr val="6800FF"/>
              </a:solidFill>
              <a:latin typeface="Montserrat Light"/>
              <a:ea typeface="+mn-lt"/>
              <a:cs typeface="+mn-lt"/>
            </a:endParaRPr>
          </a:p>
        </p:txBody>
      </p:sp>
      <p:sp>
        <p:nvSpPr>
          <p:cNvPr id="6" name="TextBox 5">
            <a:extLst>
              <a:ext uri="{FF2B5EF4-FFF2-40B4-BE49-F238E27FC236}">
                <a16:creationId xmlns:a16="http://schemas.microsoft.com/office/drawing/2014/main" id="{620088DF-B652-CBCB-3E46-C028F17F4608}"/>
              </a:ext>
            </a:extLst>
          </p:cNvPr>
          <p:cNvSpPr txBox="1"/>
          <p:nvPr/>
        </p:nvSpPr>
        <p:spPr>
          <a:xfrm>
            <a:off x="11444732" y="3949719"/>
            <a:ext cx="5729061" cy="5083828"/>
          </a:xfrm>
          <a:prstGeom prst="rect">
            <a:avLst/>
          </a:prstGeom>
        </p:spPr>
        <p:txBody>
          <a:bodyPr wrap="square" lIns="0" tIns="0" rIns="0" bIns="0" rtlCol="0" anchor="t">
            <a:spAutoFit/>
          </a:bodyPr>
          <a:lstStyle/>
          <a:p>
            <a:pPr lvl="1">
              <a:lnSpc>
                <a:spcPts val="2249"/>
              </a:lnSpc>
            </a:pPr>
            <a:r>
              <a:rPr lang="en-US" sz="2400" b="1" noProof="0">
                <a:latin typeface="Montserrat Bold"/>
                <a:ea typeface="+mn-lt"/>
                <a:cs typeface="+mn-lt"/>
                <a:sym typeface="Montserrat Bold"/>
              </a:rPr>
              <a:t>Deeper Customer Understanding</a:t>
            </a:r>
            <a:endParaRPr lang="en-US" sz="2400" b="1" noProof="0">
              <a:latin typeface="Montserrat Bold"/>
              <a:ea typeface="+mn-lt"/>
              <a:cs typeface="+mn-lt"/>
            </a:endParaRPr>
          </a:p>
          <a:p>
            <a:pPr>
              <a:lnSpc>
                <a:spcPts val="2249"/>
              </a:lnSpc>
            </a:pPr>
            <a:r>
              <a:rPr lang="en-US" sz="2200" noProof="0">
                <a:latin typeface="Montserrat Light"/>
                <a:ea typeface="+mn-lt"/>
                <a:cs typeface="+mn-lt"/>
                <a:sym typeface="Montserrat Bold"/>
              </a:rPr>
              <a:t>Leverage</a:t>
            </a:r>
            <a:r>
              <a:rPr lang="en-US" sz="2200" noProof="0">
                <a:latin typeface="Montserrat Light"/>
                <a:ea typeface="+mn-lt"/>
                <a:cs typeface="+mn-lt"/>
                <a:sym typeface="Montserrat Light"/>
              </a:rPr>
              <a:t> data and strategic insights to help you truly understand your audience, creating more personalized experiences that align with their needs.</a:t>
            </a:r>
            <a:endParaRPr lang="en-US" sz="2200" noProof="0">
              <a:ea typeface="+mn-lt"/>
            </a:endParaRPr>
          </a:p>
          <a:p>
            <a:pPr>
              <a:lnSpc>
                <a:spcPts val="2249"/>
              </a:lnSpc>
            </a:pPr>
            <a:endParaRPr lang="en-US" sz="2400" b="1" noProof="0">
              <a:latin typeface="Montserrat Bold"/>
              <a:ea typeface="+mn-lt"/>
              <a:cs typeface="+mn-lt"/>
              <a:sym typeface="Montserrat Bold"/>
            </a:endParaRPr>
          </a:p>
          <a:p>
            <a:pPr>
              <a:lnSpc>
                <a:spcPts val="2249"/>
              </a:lnSpc>
            </a:pPr>
            <a:r>
              <a:rPr lang="en-US" sz="2400" b="1" noProof="0">
                <a:latin typeface="Montserrat Bold"/>
                <a:ea typeface="+mn-lt"/>
                <a:cs typeface="+mn-lt"/>
                <a:sym typeface="Montserrat Bold"/>
              </a:rPr>
              <a:t>Growth Strategy Support</a:t>
            </a:r>
            <a:endParaRPr lang="en-US" sz="2400" b="1" noProof="0">
              <a:latin typeface="Montserrat Bold"/>
              <a:ea typeface="Montserrat Bold"/>
              <a:cs typeface="Montserrat Bold"/>
            </a:endParaRPr>
          </a:p>
          <a:p>
            <a:pPr>
              <a:lnSpc>
                <a:spcPts val="2249"/>
              </a:lnSpc>
            </a:pPr>
            <a:r>
              <a:rPr lang="en-US" sz="2200" noProof="0">
                <a:latin typeface="Montserrat Light"/>
                <a:ea typeface="+mn-lt"/>
                <a:cs typeface="+mn-lt"/>
                <a:sym typeface="Montserrat Light"/>
              </a:rPr>
              <a:t>Develop smart, sustainable strategies to help your company grow with strength—preserving your identity while scaling in a structured way.</a:t>
            </a:r>
            <a:endParaRPr lang="en-US" sz="2200" noProof="0">
              <a:ea typeface="+mn-lt"/>
            </a:endParaRPr>
          </a:p>
          <a:p>
            <a:pPr>
              <a:lnSpc>
                <a:spcPts val="2249"/>
              </a:lnSpc>
            </a:pPr>
            <a:endParaRPr lang="en-US" sz="2400" b="1" noProof="0">
              <a:latin typeface="Montserrat Bold"/>
              <a:ea typeface="+mn-lt"/>
              <a:cs typeface="+mn-lt"/>
              <a:sym typeface="Montserrat Bold"/>
            </a:endParaRPr>
          </a:p>
          <a:p>
            <a:pPr>
              <a:lnSpc>
                <a:spcPts val="2249"/>
              </a:lnSpc>
            </a:pPr>
            <a:r>
              <a:rPr lang="en-US" sz="2400" b="1" noProof="0">
                <a:latin typeface="Montserrat Bold"/>
                <a:ea typeface="+mn-lt"/>
                <a:cs typeface="+mn-lt"/>
                <a:sym typeface="Montserrat Bold"/>
              </a:rPr>
              <a:t>Business Model Evaluation</a:t>
            </a:r>
            <a:endParaRPr lang="en-US" sz="2400" b="1" noProof="0">
              <a:latin typeface="Montserrat Bold"/>
              <a:ea typeface="Montserrat Bold"/>
              <a:cs typeface="Montserrat Bold"/>
            </a:endParaRPr>
          </a:p>
          <a:p>
            <a:pPr>
              <a:lnSpc>
                <a:spcPts val="2249"/>
              </a:lnSpc>
            </a:pPr>
            <a:r>
              <a:rPr lang="en-US" sz="2200" noProof="0">
                <a:latin typeface="Montserrat Light"/>
                <a:ea typeface="+mn-lt"/>
                <a:cs typeface="+mn-lt"/>
                <a:sym typeface="Montserrat Light"/>
              </a:rPr>
              <a:t>We support you in validating and refining your business model, ensuring it is financially sustainable, competitive, and aligned with market demands.</a:t>
            </a:r>
            <a:endParaRPr lang="en-US" sz="2200" noProof="0"/>
          </a:p>
          <a:p>
            <a:pPr algn="l">
              <a:lnSpc>
                <a:spcPts val="2249"/>
              </a:lnSpc>
            </a:pPr>
            <a:endParaRPr lang="en-US" sz="2400" noProof="0">
              <a:latin typeface="Montserrat Light"/>
              <a:ea typeface="Montserrat Light"/>
              <a:cs typeface="Montserrat Light"/>
            </a:endParaRPr>
          </a:p>
        </p:txBody>
      </p:sp>
      <p:sp>
        <p:nvSpPr>
          <p:cNvPr id="7" name="TextBox 9">
            <a:extLst>
              <a:ext uri="{FF2B5EF4-FFF2-40B4-BE49-F238E27FC236}">
                <a16:creationId xmlns:a16="http://schemas.microsoft.com/office/drawing/2014/main" id="{9C587677-7C91-6A73-3D3A-475DE126DC0B}"/>
              </a:ext>
            </a:extLst>
          </p:cNvPr>
          <p:cNvSpPr txBox="1"/>
          <p:nvPr/>
        </p:nvSpPr>
        <p:spPr>
          <a:xfrm>
            <a:off x="2926520" y="3945308"/>
            <a:ext cx="6494882" cy="5082610"/>
          </a:xfrm>
          <a:prstGeom prst="rect">
            <a:avLst/>
          </a:prstGeom>
        </p:spPr>
        <p:txBody>
          <a:bodyPr wrap="square" lIns="0" tIns="0" rIns="0" bIns="0" rtlCol="0" anchor="t">
            <a:spAutoFit/>
          </a:bodyPr>
          <a:lstStyle/>
          <a:p>
            <a:pPr>
              <a:lnSpc>
                <a:spcPts val="2249"/>
              </a:lnSpc>
            </a:pPr>
            <a:r>
              <a:rPr lang="en-US" sz="2400" b="1" noProof="0">
                <a:solidFill>
                  <a:srgbClr val="000000"/>
                </a:solidFill>
                <a:latin typeface="Montserrat Bold"/>
                <a:ea typeface="+mn-lt"/>
                <a:cs typeface="+mn-lt"/>
                <a:sym typeface="Montserrat Bold"/>
              </a:rPr>
              <a:t>Brand repositioning </a:t>
            </a:r>
            <a:endParaRPr lang="en-US" sz="2400" b="1" noProof="0">
              <a:solidFill>
                <a:srgbClr val="000000"/>
              </a:solidFill>
              <a:latin typeface="Montserrat Bold"/>
              <a:ea typeface="Montserrat Bold"/>
              <a:cs typeface="Montserrat Bold"/>
            </a:endParaRPr>
          </a:p>
          <a:p>
            <a:pPr>
              <a:lnSpc>
                <a:spcPts val="2249"/>
              </a:lnSpc>
            </a:pPr>
            <a:r>
              <a:rPr lang="en-US" sz="2200" noProof="0">
                <a:solidFill>
                  <a:srgbClr val="000000"/>
                </a:solidFill>
                <a:latin typeface="Montserrat Light"/>
                <a:ea typeface="+mn-lt"/>
                <a:cs typeface="+mn-lt"/>
                <a:sym typeface="Montserrat"/>
              </a:rPr>
              <a:t>We help you revitalize your brand by crafting an authentic and engaging identity that strengthens your connection with your audience and sets your business apart in the market.</a:t>
            </a:r>
            <a:endParaRPr lang="en-US" sz="2200" noProof="0">
              <a:ea typeface="+mn-lt"/>
            </a:endParaRPr>
          </a:p>
          <a:p>
            <a:pPr>
              <a:lnSpc>
                <a:spcPts val="2249"/>
              </a:lnSpc>
            </a:pPr>
            <a:endParaRPr lang="en-US" sz="2400" b="1" noProof="0">
              <a:solidFill>
                <a:srgbClr val="000000"/>
              </a:solidFill>
              <a:latin typeface="Montserrat Bold"/>
              <a:ea typeface="+mn-lt"/>
              <a:cs typeface="+mn-lt"/>
              <a:sym typeface="Montserrat Bold"/>
            </a:endParaRPr>
          </a:p>
          <a:p>
            <a:pPr>
              <a:lnSpc>
                <a:spcPts val="2249"/>
              </a:lnSpc>
            </a:pPr>
            <a:r>
              <a:rPr lang="en-US" sz="2400" b="1" noProof="0">
                <a:solidFill>
                  <a:srgbClr val="000000"/>
                </a:solidFill>
                <a:latin typeface="Montserrat Bold"/>
                <a:ea typeface="+mn-lt"/>
                <a:cs typeface="+mn-lt"/>
                <a:sym typeface="Montserrat Bold"/>
              </a:rPr>
              <a:t>Foster innovation </a:t>
            </a:r>
            <a:endParaRPr lang="en-US" sz="2400" b="1" noProof="0">
              <a:solidFill>
                <a:srgbClr val="000000"/>
              </a:solidFill>
              <a:latin typeface="Montserrat Bold"/>
              <a:ea typeface="Montserrat Bold"/>
              <a:cs typeface="Montserrat Bold"/>
            </a:endParaRPr>
          </a:p>
          <a:p>
            <a:pPr>
              <a:lnSpc>
                <a:spcPts val="2249"/>
              </a:lnSpc>
            </a:pPr>
            <a:r>
              <a:rPr lang="en-US" sz="2200" noProof="0">
                <a:solidFill>
                  <a:srgbClr val="000000"/>
                </a:solidFill>
                <a:latin typeface="Montserrat Light"/>
                <a:ea typeface="+mn-lt"/>
                <a:cs typeface="+mn-lt"/>
                <a:sym typeface="Montserrat"/>
              </a:rPr>
              <a:t>We work side by side with you to create an environment that fosters creativity, fuels experimentation, and transforms great ideas into innovative, competitive solutions.</a:t>
            </a:r>
            <a:endParaRPr lang="en-US" sz="2200" noProof="0">
              <a:ea typeface="+mn-lt"/>
              <a:sym typeface="Montserrat"/>
            </a:endParaRPr>
          </a:p>
          <a:p>
            <a:pPr>
              <a:lnSpc>
                <a:spcPts val="2249"/>
              </a:lnSpc>
            </a:pPr>
            <a:endParaRPr lang="en-US" sz="2400" b="1" noProof="0">
              <a:solidFill>
                <a:srgbClr val="000000"/>
              </a:solidFill>
              <a:latin typeface="Montserrat Bold"/>
              <a:ea typeface="+mn-lt"/>
              <a:cs typeface="+mn-lt"/>
              <a:sym typeface="Montserrat"/>
            </a:endParaRPr>
          </a:p>
          <a:p>
            <a:pPr>
              <a:lnSpc>
                <a:spcPts val="2249"/>
              </a:lnSpc>
            </a:pPr>
            <a:r>
              <a:rPr lang="en-US" sz="2400" b="1" noProof="0">
                <a:solidFill>
                  <a:srgbClr val="000000"/>
                </a:solidFill>
                <a:latin typeface="Montserrat Bold"/>
                <a:ea typeface="+mn-lt"/>
                <a:cs typeface="+mn-lt"/>
              </a:rPr>
              <a:t>Boost efficiency and productivity </a:t>
            </a:r>
            <a:endParaRPr lang="en-US" sz="2400" noProof="0">
              <a:solidFill>
                <a:srgbClr val="000000"/>
              </a:solidFill>
              <a:latin typeface="Montserrat Bold"/>
            </a:endParaRPr>
          </a:p>
          <a:p>
            <a:pPr>
              <a:lnSpc>
                <a:spcPts val="2249"/>
              </a:lnSpc>
            </a:pPr>
            <a:r>
              <a:rPr lang="en-US" sz="2200" noProof="0">
                <a:solidFill>
                  <a:srgbClr val="000000"/>
                </a:solidFill>
                <a:latin typeface="Montserrat Light"/>
                <a:ea typeface="+mn-lt"/>
                <a:cs typeface="+mn-lt"/>
              </a:rPr>
              <a:t>Identify and eliminate bottlenecks in your processes, simplifying complexity and implementing improvements that make your team more agile and productive.</a:t>
            </a:r>
            <a:endParaRPr lang="en-US" sz="2200" noProof="0"/>
          </a:p>
        </p:txBody>
      </p:sp>
      <p:pic>
        <p:nvPicPr>
          <p:cNvPr id="8" name="Imagem 23" descr="Ícone&#10;&#10;O conteúdo gerado por IA pode estar incorreto.">
            <a:extLst>
              <a:ext uri="{FF2B5EF4-FFF2-40B4-BE49-F238E27FC236}">
                <a16:creationId xmlns:a16="http://schemas.microsoft.com/office/drawing/2014/main" id="{D2232558-22BF-7C87-B65F-497CC3C187C0}"/>
              </a:ext>
            </a:extLst>
          </p:cNvPr>
          <p:cNvPicPr>
            <a:picLocks noChangeAspect="1"/>
          </p:cNvPicPr>
          <p:nvPr/>
        </p:nvPicPr>
        <p:blipFill>
          <a:blip r:embed="rId2"/>
          <a:stretch>
            <a:fillRect/>
          </a:stretch>
        </p:blipFill>
        <p:spPr>
          <a:xfrm>
            <a:off x="1264419" y="4178984"/>
            <a:ext cx="1378620" cy="1037725"/>
          </a:xfrm>
          <a:prstGeom prst="rect">
            <a:avLst/>
          </a:prstGeom>
        </p:spPr>
      </p:pic>
      <p:pic>
        <p:nvPicPr>
          <p:cNvPr id="9" name="Imagem 25" descr="Ícone&#10;&#10;O conteúdo gerado por IA pode estar incorreto.">
            <a:extLst>
              <a:ext uri="{FF2B5EF4-FFF2-40B4-BE49-F238E27FC236}">
                <a16:creationId xmlns:a16="http://schemas.microsoft.com/office/drawing/2014/main" id="{F5F3828E-0887-2DA1-8014-CB5B058A7121}"/>
              </a:ext>
            </a:extLst>
          </p:cNvPr>
          <p:cNvPicPr>
            <a:picLocks noChangeAspect="1"/>
          </p:cNvPicPr>
          <p:nvPr/>
        </p:nvPicPr>
        <p:blipFill>
          <a:blip r:embed="rId3"/>
          <a:stretch>
            <a:fillRect/>
          </a:stretch>
        </p:blipFill>
        <p:spPr>
          <a:xfrm>
            <a:off x="1264419" y="6031811"/>
            <a:ext cx="1393659" cy="1037725"/>
          </a:xfrm>
          <a:prstGeom prst="rect">
            <a:avLst/>
          </a:prstGeom>
        </p:spPr>
      </p:pic>
      <p:pic>
        <p:nvPicPr>
          <p:cNvPr id="10" name="Imagem 27" descr="Uma imagem contendo Forma&#10;&#10;O conteúdo gerado por IA pode estar incorreto.">
            <a:extLst>
              <a:ext uri="{FF2B5EF4-FFF2-40B4-BE49-F238E27FC236}">
                <a16:creationId xmlns:a16="http://schemas.microsoft.com/office/drawing/2014/main" id="{89767BE2-241C-CCD9-E8B3-0011853D3E30}"/>
              </a:ext>
            </a:extLst>
          </p:cNvPr>
          <p:cNvPicPr>
            <a:picLocks noChangeAspect="1"/>
          </p:cNvPicPr>
          <p:nvPr/>
        </p:nvPicPr>
        <p:blipFill>
          <a:blip r:embed="rId4"/>
          <a:stretch>
            <a:fillRect/>
          </a:stretch>
        </p:blipFill>
        <p:spPr>
          <a:xfrm>
            <a:off x="1264419" y="7576419"/>
            <a:ext cx="1393659" cy="1037725"/>
          </a:xfrm>
          <a:prstGeom prst="rect">
            <a:avLst/>
          </a:prstGeom>
        </p:spPr>
      </p:pic>
      <p:pic>
        <p:nvPicPr>
          <p:cNvPr id="11" name="Imagem 29" descr="Ícone&#10;&#10;O conteúdo gerado por IA pode estar incorreto.">
            <a:extLst>
              <a:ext uri="{FF2B5EF4-FFF2-40B4-BE49-F238E27FC236}">
                <a16:creationId xmlns:a16="http://schemas.microsoft.com/office/drawing/2014/main" id="{DD4E3578-BA38-073C-9E68-8E66C5A4AB35}"/>
              </a:ext>
            </a:extLst>
          </p:cNvPr>
          <p:cNvPicPr>
            <a:picLocks noChangeAspect="1"/>
          </p:cNvPicPr>
          <p:nvPr/>
        </p:nvPicPr>
        <p:blipFill>
          <a:blip r:embed="rId5"/>
          <a:stretch>
            <a:fillRect/>
          </a:stretch>
        </p:blipFill>
        <p:spPr>
          <a:xfrm>
            <a:off x="9791800" y="4267734"/>
            <a:ext cx="1378620" cy="1037725"/>
          </a:xfrm>
          <a:prstGeom prst="rect">
            <a:avLst/>
          </a:prstGeom>
        </p:spPr>
      </p:pic>
      <p:pic>
        <p:nvPicPr>
          <p:cNvPr id="12" name="Imagem 31" descr="Uma imagem contendo Diagrama&#10;&#10;O conteúdo gerado por IA pode estar incorreto.">
            <a:extLst>
              <a:ext uri="{FF2B5EF4-FFF2-40B4-BE49-F238E27FC236}">
                <a16:creationId xmlns:a16="http://schemas.microsoft.com/office/drawing/2014/main" id="{E5F488FA-F412-4D54-6D04-8919DC55BF38}"/>
              </a:ext>
            </a:extLst>
          </p:cNvPr>
          <p:cNvPicPr>
            <a:picLocks noChangeAspect="1"/>
          </p:cNvPicPr>
          <p:nvPr/>
        </p:nvPicPr>
        <p:blipFill>
          <a:blip r:embed="rId6"/>
          <a:stretch>
            <a:fillRect/>
          </a:stretch>
        </p:blipFill>
        <p:spPr>
          <a:xfrm>
            <a:off x="9784281" y="7515210"/>
            <a:ext cx="1393659" cy="1037725"/>
          </a:xfrm>
          <a:prstGeom prst="rect">
            <a:avLst/>
          </a:prstGeom>
        </p:spPr>
      </p:pic>
      <p:pic>
        <p:nvPicPr>
          <p:cNvPr id="13" name="Imagem 33" descr="Ícone&#10;&#10;O conteúdo gerado por IA pode estar incorreto.">
            <a:extLst>
              <a:ext uri="{FF2B5EF4-FFF2-40B4-BE49-F238E27FC236}">
                <a16:creationId xmlns:a16="http://schemas.microsoft.com/office/drawing/2014/main" id="{BC4CF9FB-C694-C63F-9B96-03BB86D7E703}"/>
              </a:ext>
            </a:extLst>
          </p:cNvPr>
          <p:cNvPicPr>
            <a:picLocks noChangeAspect="1"/>
          </p:cNvPicPr>
          <p:nvPr/>
        </p:nvPicPr>
        <p:blipFill>
          <a:blip r:embed="rId7"/>
          <a:stretch>
            <a:fillRect/>
          </a:stretch>
        </p:blipFill>
        <p:spPr>
          <a:xfrm>
            <a:off x="9784281" y="5846880"/>
            <a:ext cx="1393659" cy="1037725"/>
          </a:xfrm>
          <a:prstGeom prst="rect">
            <a:avLst/>
          </a:prstGeom>
        </p:spPr>
      </p:pic>
      <p:grpSp>
        <p:nvGrpSpPr>
          <p:cNvPr id="4" name="Group 7">
            <a:extLst>
              <a:ext uri="{FF2B5EF4-FFF2-40B4-BE49-F238E27FC236}">
                <a16:creationId xmlns:a16="http://schemas.microsoft.com/office/drawing/2014/main" id="{6A6DC7E1-84EE-5009-3079-9F12B31AE66C}"/>
              </a:ext>
            </a:extLst>
          </p:cNvPr>
          <p:cNvGrpSpPr/>
          <p:nvPr/>
        </p:nvGrpSpPr>
        <p:grpSpPr>
          <a:xfrm>
            <a:off x="11562477" y="1549790"/>
            <a:ext cx="612363" cy="56823"/>
            <a:chOff x="0" y="0"/>
            <a:chExt cx="1078484" cy="100076"/>
          </a:xfrm>
        </p:grpSpPr>
        <p:sp>
          <p:nvSpPr>
            <p:cNvPr id="3" name="Freeform 8">
              <a:extLst>
                <a:ext uri="{FF2B5EF4-FFF2-40B4-BE49-F238E27FC236}">
                  <a16:creationId xmlns:a16="http://schemas.microsoft.com/office/drawing/2014/main" id="{C313B220-2227-4B97-95FA-EA964E0319C7}"/>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spTree>
    <p:extLst>
      <p:ext uri="{BB962C8B-B14F-4D97-AF65-F5344CB8AC3E}">
        <p14:creationId xmlns:p14="http://schemas.microsoft.com/office/powerpoint/2010/main" val="33733296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79B0DA-D71E-1A10-7922-9D9B0D1A7F8E}"/>
              </a:ext>
            </a:extLst>
          </p:cNvPr>
          <p:cNvSpPr>
            <a:spLocks noGrp="1"/>
          </p:cNvSpPr>
          <p:nvPr>
            <p:ph type="title" idx="4294967295"/>
          </p:nvPr>
        </p:nvSpPr>
        <p:spPr>
          <a:xfrm>
            <a:off x="1028700" y="658031"/>
            <a:ext cx="16608025" cy="1145400"/>
          </a:xfrm>
        </p:spPr>
        <p:txBody>
          <a:bodyPr/>
          <a:lstStyle/>
          <a:p>
            <a:r>
              <a:rPr lang="en-US" sz="4000">
                <a:solidFill>
                  <a:srgbClr val="000000"/>
                </a:solidFill>
                <a:ea typeface="+mn-lt"/>
                <a:cs typeface="+mn-lt"/>
                <a:sym typeface="Montserrat Medium"/>
              </a:rPr>
              <a:t>How does Business Driven Design works</a:t>
            </a:r>
            <a:r>
              <a:rPr lang="en-US" sz="4000" b="1" noProof="0">
                <a:solidFill>
                  <a:srgbClr val="000000"/>
                </a:solidFill>
                <a:ea typeface="+mn-lt"/>
                <a:cs typeface="+mn-lt"/>
                <a:sym typeface="Montserrat Medium"/>
              </a:rPr>
              <a:t>?</a:t>
            </a:r>
            <a:br>
              <a:rPr lang="en-US" sz="4000" b="1" noProof="0">
                <a:latin typeface="Montserrat" panose="00000500000000000000" pitchFamily="2" charset="0"/>
                <a:ea typeface="+mn-lt"/>
                <a:cs typeface="+mn-lt"/>
              </a:rPr>
            </a:br>
            <a:r>
              <a:rPr lang="en-US" sz="2400" b="0" noProof="0">
                <a:solidFill>
                  <a:srgbClr val="6816FF"/>
                </a:solidFill>
                <a:ea typeface="+mn-lt"/>
                <a:cs typeface="+mn-lt"/>
                <a:sym typeface="Montserrat Medium"/>
              </a:rPr>
              <a:t>4 dimensions where change must take place for organizations to develop an ecosystem that allows them to react quickly to human needs, delivering high-quality digital experiences at scale.</a:t>
            </a:r>
            <a:endParaRPr lang="en-US" sz="2800" b="0" noProof="0">
              <a:solidFill>
                <a:srgbClr val="6816FF"/>
              </a:solidFill>
            </a:endParaRPr>
          </a:p>
        </p:txBody>
      </p:sp>
      <p:grpSp>
        <p:nvGrpSpPr>
          <p:cNvPr id="5" name="Group 45">
            <a:extLst>
              <a:ext uri="{FF2B5EF4-FFF2-40B4-BE49-F238E27FC236}">
                <a16:creationId xmlns:a16="http://schemas.microsoft.com/office/drawing/2014/main" id="{9758E7BD-17A1-F904-14F2-486051929C62}"/>
              </a:ext>
            </a:extLst>
          </p:cNvPr>
          <p:cNvGrpSpPr/>
          <p:nvPr/>
        </p:nvGrpSpPr>
        <p:grpSpPr>
          <a:xfrm>
            <a:off x="2170479" y="3395744"/>
            <a:ext cx="2966475" cy="482386"/>
            <a:chOff x="2170479" y="3239925"/>
            <a:chExt cx="781294" cy="127049"/>
          </a:xfrm>
        </p:grpSpPr>
        <p:sp>
          <p:nvSpPr>
            <p:cNvPr id="6" name="Freeform 46">
              <a:extLst>
                <a:ext uri="{FF2B5EF4-FFF2-40B4-BE49-F238E27FC236}">
                  <a16:creationId xmlns:a16="http://schemas.microsoft.com/office/drawing/2014/main" id="{5C88F9BF-41AB-2CC0-51F0-1AB6F0F2F15F}"/>
                </a:ext>
              </a:extLst>
            </p:cNvPr>
            <p:cNvSpPr/>
            <p:nvPr/>
          </p:nvSpPr>
          <p:spPr>
            <a:xfrm>
              <a:off x="2170479" y="3354225"/>
              <a:ext cx="781294" cy="12749"/>
            </a:xfrm>
            <a:custGeom>
              <a:avLst/>
              <a:gdLst/>
              <a:ahLst/>
              <a:cxnLst/>
              <a:rect l="l" t="t" r="r" b="b"/>
              <a:pathLst>
                <a:path w="781294" h="12749">
                  <a:moveTo>
                    <a:pt x="6374" y="0"/>
                  </a:moveTo>
                  <a:lnTo>
                    <a:pt x="774919" y="0"/>
                  </a:lnTo>
                  <a:cubicBezTo>
                    <a:pt x="776610" y="0"/>
                    <a:pt x="778231" y="672"/>
                    <a:pt x="779427" y="1867"/>
                  </a:cubicBezTo>
                  <a:cubicBezTo>
                    <a:pt x="780622" y="3062"/>
                    <a:pt x="781294" y="4684"/>
                    <a:pt x="781294" y="6374"/>
                  </a:cubicBezTo>
                  <a:lnTo>
                    <a:pt x="781294" y="6374"/>
                  </a:lnTo>
                  <a:cubicBezTo>
                    <a:pt x="781294" y="9895"/>
                    <a:pt x="778440" y="12749"/>
                    <a:pt x="774919" y="12749"/>
                  </a:cubicBezTo>
                  <a:lnTo>
                    <a:pt x="6374" y="12749"/>
                  </a:lnTo>
                  <a:cubicBezTo>
                    <a:pt x="2854" y="12749"/>
                    <a:pt x="0" y="9895"/>
                    <a:pt x="0" y="6374"/>
                  </a:cubicBezTo>
                  <a:lnTo>
                    <a:pt x="0" y="6374"/>
                  </a:lnTo>
                  <a:cubicBezTo>
                    <a:pt x="0" y="2854"/>
                    <a:pt x="2854" y="0"/>
                    <a:pt x="6374" y="0"/>
                  </a:cubicBezTo>
                  <a:close/>
                </a:path>
              </a:pathLst>
            </a:custGeom>
            <a:gradFill rotWithShape="1">
              <a:gsLst>
                <a:gs pos="0">
                  <a:srgbClr val="FF2C34">
                    <a:alpha val="100000"/>
                  </a:srgbClr>
                </a:gs>
                <a:gs pos="100000">
                  <a:srgbClr val="6800FF">
                    <a:alpha val="100000"/>
                  </a:srgbClr>
                </a:gs>
              </a:gsLst>
              <a:lin ang="2700006"/>
            </a:gradFill>
          </p:spPr>
          <p:txBody>
            <a:bodyPr/>
            <a:lstStyle/>
            <a:p>
              <a:endParaRPr lang="en-US" noProof="0"/>
            </a:p>
          </p:txBody>
        </p:sp>
        <p:sp>
          <p:nvSpPr>
            <p:cNvPr id="7" name="TextBox 47">
              <a:extLst>
                <a:ext uri="{FF2B5EF4-FFF2-40B4-BE49-F238E27FC236}">
                  <a16:creationId xmlns:a16="http://schemas.microsoft.com/office/drawing/2014/main" id="{F35BDE7F-3C60-031C-D534-3C74D11EB398}"/>
                </a:ext>
              </a:extLst>
            </p:cNvPr>
            <p:cNvSpPr txBox="1"/>
            <p:nvPr/>
          </p:nvSpPr>
          <p:spPr>
            <a:xfrm>
              <a:off x="2170479" y="3239925"/>
              <a:ext cx="781294" cy="127049"/>
            </a:xfrm>
            <a:prstGeom prst="rect">
              <a:avLst/>
            </a:prstGeom>
          </p:spPr>
          <p:txBody>
            <a:bodyPr lIns="50800" tIns="50800" rIns="50800" bIns="508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940"/>
                </a:lnSpc>
              </a:pPr>
              <a:endParaRPr lang="en-US" noProof="0"/>
            </a:p>
          </p:txBody>
        </p:sp>
      </p:grpSp>
      <p:grpSp>
        <p:nvGrpSpPr>
          <p:cNvPr id="8" name="Group 48">
            <a:extLst>
              <a:ext uri="{FF2B5EF4-FFF2-40B4-BE49-F238E27FC236}">
                <a16:creationId xmlns:a16="http://schemas.microsoft.com/office/drawing/2014/main" id="{A123C35E-E739-F525-F68D-794CABBFB556}"/>
              </a:ext>
            </a:extLst>
          </p:cNvPr>
          <p:cNvGrpSpPr/>
          <p:nvPr/>
        </p:nvGrpSpPr>
        <p:grpSpPr>
          <a:xfrm>
            <a:off x="6269208" y="3395744"/>
            <a:ext cx="2966475" cy="482386"/>
            <a:chOff x="6269208" y="3239925"/>
            <a:chExt cx="781294" cy="127049"/>
          </a:xfrm>
        </p:grpSpPr>
        <p:sp>
          <p:nvSpPr>
            <p:cNvPr id="9" name="Freeform 49">
              <a:extLst>
                <a:ext uri="{FF2B5EF4-FFF2-40B4-BE49-F238E27FC236}">
                  <a16:creationId xmlns:a16="http://schemas.microsoft.com/office/drawing/2014/main" id="{05B9DC63-7CF1-6218-FE88-6EA900F601DB}"/>
                </a:ext>
              </a:extLst>
            </p:cNvPr>
            <p:cNvSpPr/>
            <p:nvPr/>
          </p:nvSpPr>
          <p:spPr>
            <a:xfrm>
              <a:off x="6269208" y="3354225"/>
              <a:ext cx="781294" cy="12749"/>
            </a:xfrm>
            <a:custGeom>
              <a:avLst/>
              <a:gdLst/>
              <a:ahLst/>
              <a:cxnLst/>
              <a:rect l="l" t="t" r="r" b="b"/>
              <a:pathLst>
                <a:path w="781294" h="12749">
                  <a:moveTo>
                    <a:pt x="6374" y="0"/>
                  </a:moveTo>
                  <a:lnTo>
                    <a:pt x="774919" y="0"/>
                  </a:lnTo>
                  <a:cubicBezTo>
                    <a:pt x="776610" y="0"/>
                    <a:pt x="778231" y="672"/>
                    <a:pt x="779427" y="1867"/>
                  </a:cubicBezTo>
                  <a:cubicBezTo>
                    <a:pt x="780622" y="3062"/>
                    <a:pt x="781294" y="4684"/>
                    <a:pt x="781294" y="6374"/>
                  </a:cubicBezTo>
                  <a:lnTo>
                    <a:pt x="781294" y="6374"/>
                  </a:lnTo>
                  <a:cubicBezTo>
                    <a:pt x="781294" y="9895"/>
                    <a:pt x="778440" y="12749"/>
                    <a:pt x="774919" y="12749"/>
                  </a:cubicBezTo>
                  <a:lnTo>
                    <a:pt x="6374" y="12749"/>
                  </a:lnTo>
                  <a:cubicBezTo>
                    <a:pt x="2854" y="12749"/>
                    <a:pt x="0" y="9895"/>
                    <a:pt x="0" y="6374"/>
                  </a:cubicBezTo>
                  <a:lnTo>
                    <a:pt x="0" y="6374"/>
                  </a:lnTo>
                  <a:cubicBezTo>
                    <a:pt x="0" y="2854"/>
                    <a:pt x="2854" y="0"/>
                    <a:pt x="6374" y="0"/>
                  </a:cubicBezTo>
                  <a:close/>
                </a:path>
              </a:pathLst>
            </a:custGeom>
            <a:gradFill rotWithShape="1">
              <a:gsLst>
                <a:gs pos="0">
                  <a:srgbClr val="FF2C34">
                    <a:alpha val="100000"/>
                  </a:srgbClr>
                </a:gs>
                <a:gs pos="100000">
                  <a:srgbClr val="6800FF">
                    <a:alpha val="100000"/>
                  </a:srgbClr>
                </a:gs>
              </a:gsLst>
              <a:lin ang="2700006"/>
            </a:gradFill>
          </p:spPr>
          <p:txBody>
            <a:bodyPr/>
            <a:lstStyle/>
            <a:p>
              <a:endParaRPr lang="en-US" noProof="0"/>
            </a:p>
          </p:txBody>
        </p:sp>
        <p:sp>
          <p:nvSpPr>
            <p:cNvPr id="10" name="TextBox 50">
              <a:extLst>
                <a:ext uri="{FF2B5EF4-FFF2-40B4-BE49-F238E27FC236}">
                  <a16:creationId xmlns:a16="http://schemas.microsoft.com/office/drawing/2014/main" id="{0E664331-239E-0BDE-9B86-431EC77D8D73}"/>
                </a:ext>
              </a:extLst>
            </p:cNvPr>
            <p:cNvSpPr txBox="1"/>
            <p:nvPr/>
          </p:nvSpPr>
          <p:spPr>
            <a:xfrm>
              <a:off x="6269208" y="3239925"/>
              <a:ext cx="781294" cy="127049"/>
            </a:xfrm>
            <a:prstGeom prst="rect">
              <a:avLst/>
            </a:prstGeom>
          </p:spPr>
          <p:txBody>
            <a:bodyPr lIns="50800" tIns="50800" rIns="50800" bIns="508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940"/>
                </a:lnSpc>
              </a:pPr>
              <a:endParaRPr lang="en-US" noProof="0"/>
            </a:p>
          </p:txBody>
        </p:sp>
      </p:grpSp>
      <p:grpSp>
        <p:nvGrpSpPr>
          <p:cNvPr id="11" name="Group 51">
            <a:extLst>
              <a:ext uri="{FF2B5EF4-FFF2-40B4-BE49-F238E27FC236}">
                <a16:creationId xmlns:a16="http://schemas.microsoft.com/office/drawing/2014/main" id="{45E5AA68-6C42-3620-6158-5ABE0A0C6425}"/>
              </a:ext>
            </a:extLst>
          </p:cNvPr>
          <p:cNvGrpSpPr/>
          <p:nvPr/>
        </p:nvGrpSpPr>
        <p:grpSpPr>
          <a:xfrm>
            <a:off x="10386987" y="3395744"/>
            <a:ext cx="2966475" cy="482386"/>
            <a:chOff x="10386987" y="3239925"/>
            <a:chExt cx="781294" cy="127049"/>
          </a:xfrm>
        </p:grpSpPr>
        <p:sp>
          <p:nvSpPr>
            <p:cNvPr id="12" name="Freeform 52">
              <a:extLst>
                <a:ext uri="{FF2B5EF4-FFF2-40B4-BE49-F238E27FC236}">
                  <a16:creationId xmlns:a16="http://schemas.microsoft.com/office/drawing/2014/main" id="{3A078651-51C7-6A6C-6E37-DCF16A9EA1FF}"/>
                </a:ext>
              </a:extLst>
            </p:cNvPr>
            <p:cNvSpPr/>
            <p:nvPr/>
          </p:nvSpPr>
          <p:spPr>
            <a:xfrm>
              <a:off x="10386987" y="3354225"/>
              <a:ext cx="781294" cy="12749"/>
            </a:xfrm>
            <a:custGeom>
              <a:avLst/>
              <a:gdLst/>
              <a:ahLst/>
              <a:cxnLst/>
              <a:rect l="l" t="t" r="r" b="b"/>
              <a:pathLst>
                <a:path w="781294" h="12749">
                  <a:moveTo>
                    <a:pt x="6374" y="0"/>
                  </a:moveTo>
                  <a:lnTo>
                    <a:pt x="774919" y="0"/>
                  </a:lnTo>
                  <a:cubicBezTo>
                    <a:pt x="776610" y="0"/>
                    <a:pt x="778231" y="672"/>
                    <a:pt x="779427" y="1867"/>
                  </a:cubicBezTo>
                  <a:cubicBezTo>
                    <a:pt x="780622" y="3062"/>
                    <a:pt x="781294" y="4684"/>
                    <a:pt x="781294" y="6374"/>
                  </a:cubicBezTo>
                  <a:lnTo>
                    <a:pt x="781294" y="6374"/>
                  </a:lnTo>
                  <a:cubicBezTo>
                    <a:pt x="781294" y="9895"/>
                    <a:pt x="778440" y="12749"/>
                    <a:pt x="774919" y="12749"/>
                  </a:cubicBezTo>
                  <a:lnTo>
                    <a:pt x="6374" y="12749"/>
                  </a:lnTo>
                  <a:cubicBezTo>
                    <a:pt x="2854" y="12749"/>
                    <a:pt x="0" y="9895"/>
                    <a:pt x="0" y="6374"/>
                  </a:cubicBezTo>
                  <a:lnTo>
                    <a:pt x="0" y="6374"/>
                  </a:lnTo>
                  <a:cubicBezTo>
                    <a:pt x="0" y="2854"/>
                    <a:pt x="2854" y="0"/>
                    <a:pt x="6374" y="0"/>
                  </a:cubicBezTo>
                  <a:close/>
                </a:path>
              </a:pathLst>
            </a:custGeom>
            <a:gradFill rotWithShape="1">
              <a:gsLst>
                <a:gs pos="0">
                  <a:srgbClr val="FF2C34">
                    <a:alpha val="100000"/>
                  </a:srgbClr>
                </a:gs>
                <a:gs pos="100000">
                  <a:srgbClr val="6800FF">
                    <a:alpha val="100000"/>
                  </a:srgbClr>
                </a:gs>
              </a:gsLst>
              <a:lin ang="2700006"/>
            </a:gradFill>
          </p:spPr>
          <p:txBody>
            <a:bodyPr/>
            <a:lstStyle/>
            <a:p>
              <a:endParaRPr lang="en-US" noProof="0"/>
            </a:p>
          </p:txBody>
        </p:sp>
        <p:sp>
          <p:nvSpPr>
            <p:cNvPr id="13" name="TextBox 53">
              <a:extLst>
                <a:ext uri="{FF2B5EF4-FFF2-40B4-BE49-F238E27FC236}">
                  <a16:creationId xmlns:a16="http://schemas.microsoft.com/office/drawing/2014/main" id="{ED0516D4-FAF6-F81B-7E8C-E1B63AC60ACB}"/>
                </a:ext>
              </a:extLst>
            </p:cNvPr>
            <p:cNvSpPr txBox="1"/>
            <p:nvPr/>
          </p:nvSpPr>
          <p:spPr>
            <a:xfrm>
              <a:off x="10386987" y="3239925"/>
              <a:ext cx="781294" cy="127049"/>
            </a:xfrm>
            <a:prstGeom prst="rect">
              <a:avLst/>
            </a:prstGeom>
          </p:spPr>
          <p:txBody>
            <a:bodyPr lIns="50800" tIns="50800" rIns="50800" bIns="508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940"/>
                </a:lnSpc>
              </a:pPr>
              <a:endParaRPr lang="en-US" noProof="0"/>
            </a:p>
          </p:txBody>
        </p:sp>
      </p:grpSp>
      <p:grpSp>
        <p:nvGrpSpPr>
          <p:cNvPr id="14" name="Group 54">
            <a:extLst>
              <a:ext uri="{FF2B5EF4-FFF2-40B4-BE49-F238E27FC236}">
                <a16:creationId xmlns:a16="http://schemas.microsoft.com/office/drawing/2014/main" id="{097DA4FD-D86A-5C2F-56FD-F68AEAAEA796}"/>
              </a:ext>
            </a:extLst>
          </p:cNvPr>
          <p:cNvGrpSpPr/>
          <p:nvPr/>
        </p:nvGrpSpPr>
        <p:grpSpPr>
          <a:xfrm>
            <a:off x="14486937" y="3395744"/>
            <a:ext cx="2966475" cy="482386"/>
            <a:chOff x="14486937" y="3239925"/>
            <a:chExt cx="781294" cy="127049"/>
          </a:xfrm>
        </p:grpSpPr>
        <p:sp>
          <p:nvSpPr>
            <p:cNvPr id="15" name="Freeform 55">
              <a:extLst>
                <a:ext uri="{FF2B5EF4-FFF2-40B4-BE49-F238E27FC236}">
                  <a16:creationId xmlns:a16="http://schemas.microsoft.com/office/drawing/2014/main" id="{ADEFE480-1412-B288-7C04-48CD320578EA}"/>
                </a:ext>
              </a:extLst>
            </p:cNvPr>
            <p:cNvSpPr/>
            <p:nvPr/>
          </p:nvSpPr>
          <p:spPr>
            <a:xfrm>
              <a:off x="14486937" y="3354225"/>
              <a:ext cx="781294" cy="12749"/>
            </a:xfrm>
            <a:custGeom>
              <a:avLst/>
              <a:gdLst/>
              <a:ahLst/>
              <a:cxnLst/>
              <a:rect l="l" t="t" r="r" b="b"/>
              <a:pathLst>
                <a:path w="781294" h="12749">
                  <a:moveTo>
                    <a:pt x="6374" y="0"/>
                  </a:moveTo>
                  <a:lnTo>
                    <a:pt x="774919" y="0"/>
                  </a:lnTo>
                  <a:cubicBezTo>
                    <a:pt x="776610" y="0"/>
                    <a:pt x="778231" y="672"/>
                    <a:pt x="779427" y="1867"/>
                  </a:cubicBezTo>
                  <a:cubicBezTo>
                    <a:pt x="780622" y="3062"/>
                    <a:pt x="781294" y="4684"/>
                    <a:pt x="781294" y="6374"/>
                  </a:cubicBezTo>
                  <a:lnTo>
                    <a:pt x="781294" y="6374"/>
                  </a:lnTo>
                  <a:cubicBezTo>
                    <a:pt x="781294" y="9895"/>
                    <a:pt x="778440" y="12749"/>
                    <a:pt x="774919" y="12749"/>
                  </a:cubicBezTo>
                  <a:lnTo>
                    <a:pt x="6374" y="12749"/>
                  </a:lnTo>
                  <a:cubicBezTo>
                    <a:pt x="2854" y="12749"/>
                    <a:pt x="0" y="9895"/>
                    <a:pt x="0" y="6374"/>
                  </a:cubicBezTo>
                  <a:lnTo>
                    <a:pt x="0" y="6374"/>
                  </a:lnTo>
                  <a:cubicBezTo>
                    <a:pt x="0" y="2854"/>
                    <a:pt x="2854" y="0"/>
                    <a:pt x="6374" y="0"/>
                  </a:cubicBezTo>
                  <a:close/>
                </a:path>
              </a:pathLst>
            </a:custGeom>
            <a:gradFill rotWithShape="1">
              <a:gsLst>
                <a:gs pos="0">
                  <a:srgbClr val="FF2C34">
                    <a:alpha val="100000"/>
                  </a:srgbClr>
                </a:gs>
                <a:gs pos="100000">
                  <a:srgbClr val="6800FF">
                    <a:alpha val="100000"/>
                  </a:srgbClr>
                </a:gs>
              </a:gsLst>
              <a:lin ang="2700006"/>
            </a:gradFill>
          </p:spPr>
          <p:txBody>
            <a:bodyPr/>
            <a:lstStyle/>
            <a:p>
              <a:endParaRPr lang="en-US" noProof="0"/>
            </a:p>
          </p:txBody>
        </p:sp>
        <p:sp>
          <p:nvSpPr>
            <p:cNvPr id="16" name="TextBox 56">
              <a:extLst>
                <a:ext uri="{FF2B5EF4-FFF2-40B4-BE49-F238E27FC236}">
                  <a16:creationId xmlns:a16="http://schemas.microsoft.com/office/drawing/2014/main" id="{06D4311A-A627-A47B-DD51-51BBF6343F37}"/>
                </a:ext>
              </a:extLst>
            </p:cNvPr>
            <p:cNvSpPr txBox="1"/>
            <p:nvPr/>
          </p:nvSpPr>
          <p:spPr>
            <a:xfrm>
              <a:off x="14486937" y="3239925"/>
              <a:ext cx="781294" cy="127049"/>
            </a:xfrm>
            <a:prstGeom prst="rect">
              <a:avLst/>
            </a:prstGeom>
          </p:spPr>
          <p:txBody>
            <a:bodyPr lIns="50800" tIns="50800" rIns="50800" bIns="508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940"/>
                </a:lnSpc>
              </a:pPr>
              <a:endParaRPr lang="en-US" noProof="0"/>
            </a:p>
          </p:txBody>
        </p:sp>
      </p:grpSp>
      <p:grpSp>
        <p:nvGrpSpPr>
          <p:cNvPr id="17" name="Group 16">
            <a:extLst>
              <a:ext uri="{FF2B5EF4-FFF2-40B4-BE49-F238E27FC236}">
                <a16:creationId xmlns:a16="http://schemas.microsoft.com/office/drawing/2014/main" id="{A5C37CA7-F179-4B49-378F-58B07FCB5597}"/>
              </a:ext>
            </a:extLst>
          </p:cNvPr>
          <p:cNvGrpSpPr/>
          <p:nvPr/>
        </p:nvGrpSpPr>
        <p:grpSpPr>
          <a:xfrm>
            <a:off x="1604352" y="3083373"/>
            <a:ext cx="3086100" cy="681539"/>
            <a:chOff x="1604352" y="2607885"/>
            <a:chExt cx="812800" cy="179500"/>
          </a:xfrm>
        </p:grpSpPr>
        <p:sp>
          <p:nvSpPr>
            <p:cNvPr id="18" name="Freeform 6">
              <a:extLst>
                <a:ext uri="{FF2B5EF4-FFF2-40B4-BE49-F238E27FC236}">
                  <a16:creationId xmlns:a16="http://schemas.microsoft.com/office/drawing/2014/main" id="{4C4F88FA-C95E-F47B-3231-3E90C72273DB}"/>
                </a:ext>
              </a:extLst>
            </p:cNvPr>
            <p:cNvSpPr/>
            <p:nvPr/>
          </p:nvSpPr>
          <p:spPr>
            <a:xfrm>
              <a:off x="1604352" y="2607885"/>
              <a:ext cx="812800" cy="179500"/>
            </a:xfrm>
            <a:custGeom>
              <a:avLst/>
              <a:gdLst/>
              <a:ahLst/>
              <a:cxnLst/>
              <a:rect l="l" t="t" r="r" b="b"/>
              <a:pathLst>
                <a:path w="812800" h="179500">
                  <a:moveTo>
                    <a:pt x="89750" y="0"/>
                  </a:moveTo>
                  <a:lnTo>
                    <a:pt x="723050" y="0"/>
                  </a:lnTo>
                  <a:cubicBezTo>
                    <a:pt x="746853" y="0"/>
                    <a:pt x="769681" y="9456"/>
                    <a:pt x="786513" y="26287"/>
                  </a:cubicBezTo>
                  <a:cubicBezTo>
                    <a:pt x="803344" y="43119"/>
                    <a:pt x="812800" y="65947"/>
                    <a:pt x="812800" y="89750"/>
                  </a:cubicBezTo>
                  <a:lnTo>
                    <a:pt x="812800" y="89750"/>
                  </a:lnTo>
                  <a:cubicBezTo>
                    <a:pt x="812800" y="113553"/>
                    <a:pt x="803344" y="136381"/>
                    <a:pt x="786513" y="153213"/>
                  </a:cubicBezTo>
                  <a:cubicBezTo>
                    <a:pt x="769681" y="170044"/>
                    <a:pt x="746853" y="179500"/>
                    <a:pt x="723050" y="179500"/>
                  </a:cubicBezTo>
                  <a:lnTo>
                    <a:pt x="89750" y="179500"/>
                  </a:lnTo>
                  <a:cubicBezTo>
                    <a:pt x="65947" y="179500"/>
                    <a:pt x="43119" y="170044"/>
                    <a:pt x="26287" y="153213"/>
                  </a:cubicBezTo>
                  <a:cubicBezTo>
                    <a:pt x="9456" y="136381"/>
                    <a:pt x="0" y="113553"/>
                    <a:pt x="0" y="89750"/>
                  </a:cubicBezTo>
                  <a:lnTo>
                    <a:pt x="0" y="89750"/>
                  </a:lnTo>
                  <a:cubicBezTo>
                    <a:pt x="0" y="65947"/>
                    <a:pt x="9456" y="43119"/>
                    <a:pt x="26287" y="26287"/>
                  </a:cubicBezTo>
                  <a:cubicBezTo>
                    <a:pt x="43119" y="9456"/>
                    <a:pt x="65947" y="0"/>
                    <a:pt x="89750" y="0"/>
                  </a:cubicBezTo>
                  <a:close/>
                </a:path>
              </a:pathLst>
            </a:custGeom>
            <a:solidFill>
              <a:srgbClr val="6800FF"/>
            </a:solidFill>
          </p:spPr>
          <p:txBody>
            <a:bodyPr/>
            <a:lstStyle/>
            <a:p>
              <a:endParaRPr lang="en-US" noProof="0"/>
            </a:p>
          </p:txBody>
        </p:sp>
        <p:sp>
          <p:nvSpPr>
            <p:cNvPr id="19" name="TextBox 7">
              <a:extLst>
                <a:ext uri="{FF2B5EF4-FFF2-40B4-BE49-F238E27FC236}">
                  <a16:creationId xmlns:a16="http://schemas.microsoft.com/office/drawing/2014/main" id="{4BEE2FF5-7107-50AA-A48E-0531161E1901}"/>
                </a:ext>
              </a:extLst>
            </p:cNvPr>
            <p:cNvSpPr txBox="1"/>
            <p:nvPr/>
          </p:nvSpPr>
          <p:spPr>
            <a:xfrm>
              <a:off x="1604352" y="2607885"/>
              <a:ext cx="812800" cy="179500"/>
            </a:xfrm>
            <a:prstGeom prst="rect">
              <a:avLst/>
            </a:prstGeom>
          </p:spPr>
          <p:txBody>
            <a:bodyPr lIns="50800" tIns="50800" rIns="50800" bIns="508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759"/>
                </a:lnSpc>
              </a:pPr>
              <a:r>
                <a:rPr lang="en-US" sz="2250" b="1" noProof="0">
                  <a:solidFill>
                    <a:srgbClr val="FFFFFF"/>
                  </a:solidFill>
                  <a:latin typeface="Montserrat Bold"/>
                  <a:ea typeface="+mn-lt"/>
                  <a:cs typeface="+mn-lt"/>
                  <a:sym typeface="Montserrat Bold"/>
                </a:rPr>
                <a:t>Immersion</a:t>
              </a:r>
              <a:endParaRPr lang="en-US" noProof="0"/>
            </a:p>
          </p:txBody>
        </p:sp>
      </p:grpSp>
      <p:grpSp>
        <p:nvGrpSpPr>
          <p:cNvPr id="20" name="Group 8">
            <a:extLst>
              <a:ext uri="{FF2B5EF4-FFF2-40B4-BE49-F238E27FC236}">
                <a16:creationId xmlns:a16="http://schemas.microsoft.com/office/drawing/2014/main" id="{8E0AAFCE-F3B2-C01F-6065-9C5C51486234}"/>
              </a:ext>
            </a:extLst>
          </p:cNvPr>
          <p:cNvGrpSpPr/>
          <p:nvPr/>
        </p:nvGrpSpPr>
        <p:grpSpPr>
          <a:xfrm>
            <a:off x="5665855" y="3083373"/>
            <a:ext cx="3086100" cy="681539"/>
            <a:chOff x="5665855" y="2607885"/>
            <a:chExt cx="812800" cy="179500"/>
          </a:xfrm>
        </p:grpSpPr>
        <p:sp>
          <p:nvSpPr>
            <p:cNvPr id="21" name="Freeform 9">
              <a:extLst>
                <a:ext uri="{FF2B5EF4-FFF2-40B4-BE49-F238E27FC236}">
                  <a16:creationId xmlns:a16="http://schemas.microsoft.com/office/drawing/2014/main" id="{8E3A6071-8E81-57EF-97AD-1D6BA2046D9B}"/>
                </a:ext>
              </a:extLst>
            </p:cNvPr>
            <p:cNvSpPr/>
            <p:nvPr/>
          </p:nvSpPr>
          <p:spPr>
            <a:xfrm>
              <a:off x="5665855" y="2607885"/>
              <a:ext cx="812800" cy="179500"/>
            </a:xfrm>
            <a:custGeom>
              <a:avLst/>
              <a:gdLst/>
              <a:ahLst/>
              <a:cxnLst/>
              <a:rect l="l" t="t" r="r" b="b"/>
              <a:pathLst>
                <a:path w="812800" h="179500">
                  <a:moveTo>
                    <a:pt x="89750" y="0"/>
                  </a:moveTo>
                  <a:lnTo>
                    <a:pt x="723050" y="0"/>
                  </a:lnTo>
                  <a:cubicBezTo>
                    <a:pt x="746853" y="0"/>
                    <a:pt x="769681" y="9456"/>
                    <a:pt x="786513" y="26287"/>
                  </a:cubicBezTo>
                  <a:cubicBezTo>
                    <a:pt x="803344" y="43119"/>
                    <a:pt x="812800" y="65947"/>
                    <a:pt x="812800" y="89750"/>
                  </a:cubicBezTo>
                  <a:lnTo>
                    <a:pt x="812800" y="89750"/>
                  </a:lnTo>
                  <a:cubicBezTo>
                    <a:pt x="812800" y="113553"/>
                    <a:pt x="803344" y="136381"/>
                    <a:pt x="786513" y="153213"/>
                  </a:cubicBezTo>
                  <a:cubicBezTo>
                    <a:pt x="769681" y="170044"/>
                    <a:pt x="746853" y="179500"/>
                    <a:pt x="723050" y="179500"/>
                  </a:cubicBezTo>
                  <a:lnTo>
                    <a:pt x="89750" y="179500"/>
                  </a:lnTo>
                  <a:cubicBezTo>
                    <a:pt x="65947" y="179500"/>
                    <a:pt x="43119" y="170044"/>
                    <a:pt x="26287" y="153213"/>
                  </a:cubicBezTo>
                  <a:cubicBezTo>
                    <a:pt x="9456" y="136381"/>
                    <a:pt x="0" y="113553"/>
                    <a:pt x="0" y="89750"/>
                  </a:cubicBezTo>
                  <a:lnTo>
                    <a:pt x="0" y="89750"/>
                  </a:lnTo>
                  <a:cubicBezTo>
                    <a:pt x="0" y="65947"/>
                    <a:pt x="9456" y="43119"/>
                    <a:pt x="26287" y="26287"/>
                  </a:cubicBezTo>
                  <a:cubicBezTo>
                    <a:pt x="43119" y="9456"/>
                    <a:pt x="65947" y="0"/>
                    <a:pt x="89750" y="0"/>
                  </a:cubicBezTo>
                  <a:close/>
                </a:path>
              </a:pathLst>
            </a:custGeom>
            <a:solidFill>
              <a:srgbClr val="6800FF"/>
            </a:solidFill>
          </p:spPr>
          <p:txBody>
            <a:bodyPr/>
            <a:lstStyle/>
            <a:p>
              <a:endParaRPr lang="en-US" noProof="0"/>
            </a:p>
          </p:txBody>
        </p:sp>
        <p:sp>
          <p:nvSpPr>
            <p:cNvPr id="22" name="TextBox 10">
              <a:extLst>
                <a:ext uri="{FF2B5EF4-FFF2-40B4-BE49-F238E27FC236}">
                  <a16:creationId xmlns:a16="http://schemas.microsoft.com/office/drawing/2014/main" id="{9379159D-C61F-22E6-31A8-56B1E6677876}"/>
                </a:ext>
              </a:extLst>
            </p:cNvPr>
            <p:cNvSpPr txBox="1"/>
            <p:nvPr/>
          </p:nvSpPr>
          <p:spPr>
            <a:xfrm>
              <a:off x="5665855" y="2607885"/>
              <a:ext cx="812800" cy="179500"/>
            </a:xfrm>
            <a:prstGeom prst="rect">
              <a:avLst/>
            </a:prstGeom>
          </p:spPr>
          <p:txBody>
            <a:bodyPr lIns="50800" tIns="50800" rIns="50800" bIns="508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759"/>
                </a:lnSpc>
              </a:pPr>
              <a:r>
                <a:rPr lang="en-US" sz="2250" b="1" noProof="0">
                  <a:solidFill>
                    <a:srgbClr val="FFFFFF"/>
                  </a:solidFill>
                  <a:latin typeface="Montserrat Bold"/>
                  <a:ea typeface="+mn-lt"/>
                  <a:cs typeface="+mn-lt"/>
                  <a:sym typeface="Montserrat Bold"/>
                </a:rPr>
                <a:t>Diagnosis</a:t>
              </a:r>
              <a:endParaRPr lang="en-US" noProof="0"/>
            </a:p>
          </p:txBody>
        </p:sp>
      </p:grpSp>
      <p:grpSp>
        <p:nvGrpSpPr>
          <p:cNvPr id="23" name="Group 11">
            <a:extLst>
              <a:ext uri="{FF2B5EF4-FFF2-40B4-BE49-F238E27FC236}">
                <a16:creationId xmlns:a16="http://schemas.microsoft.com/office/drawing/2014/main" id="{6F6A7190-D79A-9A02-2A34-9B62780B54CE}"/>
              </a:ext>
            </a:extLst>
          </p:cNvPr>
          <p:cNvGrpSpPr/>
          <p:nvPr/>
        </p:nvGrpSpPr>
        <p:grpSpPr>
          <a:xfrm>
            <a:off x="9820860" y="3083373"/>
            <a:ext cx="3086100" cy="681539"/>
            <a:chOff x="9820860" y="2607885"/>
            <a:chExt cx="812800" cy="179500"/>
          </a:xfrm>
        </p:grpSpPr>
        <p:sp>
          <p:nvSpPr>
            <p:cNvPr id="24" name="Freeform 12">
              <a:extLst>
                <a:ext uri="{FF2B5EF4-FFF2-40B4-BE49-F238E27FC236}">
                  <a16:creationId xmlns:a16="http://schemas.microsoft.com/office/drawing/2014/main" id="{2FDA7F58-0046-B59C-35C9-5AF597465F80}"/>
                </a:ext>
              </a:extLst>
            </p:cNvPr>
            <p:cNvSpPr/>
            <p:nvPr/>
          </p:nvSpPr>
          <p:spPr>
            <a:xfrm>
              <a:off x="9820860" y="2607885"/>
              <a:ext cx="812800" cy="179500"/>
            </a:xfrm>
            <a:custGeom>
              <a:avLst/>
              <a:gdLst/>
              <a:ahLst/>
              <a:cxnLst/>
              <a:rect l="l" t="t" r="r" b="b"/>
              <a:pathLst>
                <a:path w="812800" h="179500">
                  <a:moveTo>
                    <a:pt x="89750" y="0"/>
                  </a:moveTo>
                  <a:lnTo>
                    <a:pt x="723050" y="0"/>
                  </a:lnTo>
                  <a:cubicBezTo>
                    <a:pt x="746853" y="0"/>
                    <a:pt x="769681" y="9456"/>
                    <a:pt x="786513" y="26287"/>
                  </a:cubicBezTo>
                  <a:cubicBezTo>
                    <a:pt x="803344" y="43119"/>
                    <a:pt x="812800" y="65947"/>
                    <a:pt x="812800" y="89750"/>
                  </a:cubicBezTo>
                  <a:lnTo>
                    <a:pt x="812800" y="89750"/>
                  </a:lnTo>
                  <a:cubicBezTo>
                    <a:pt x="812800" y="113553"/>
                    <a:pt x="803344" y="136381"/>
                    <a:pt x="786513" y="153213"/>
                  </a:cubicBezTo>
                  <a:cubicBezTo>
                    <a:pt x="769681" y="170044"/>
                    <a:pt x="746853" y="179500"/>
                    <a:pt x="723050" y="179500"/>
                  </a:cubicBezTo>
                  <a:lnTo>
                    <a:pt x="89750" y="179500"/>
                  </a:lnTo>
                  <a:cubicBezTo>
                    <a:pt x="65947" y="179500"/>
                    <a:pt x="43119" y="170044"/>
                    <a:pt x="26287" y="153213"/>
                  </a:cubicBezTo>
                  <a:cubicBezTo>
                    <a:pt x="9456" y="136381"/>
                    <a:pt x="0" y="113553"/>
                    <a:pt x="0" y="89750"/>
                  </a:cubicBezTo>
                  <a:lnTo>
                    <a:pt x="0" y="89750"/>
                  </a:lnTo>
                  <a:cubicBezTo>
                    <a:pt x="0" y="65947"/>
                    <a:pt x="9456" y="43119"/>
                    <a:pt x="26287" y="26287"/>
                  </a:cubicBezTo>
                  <a:cubicBezTo>
                    <a:pt x="43119" y="9456"/>
                    <a:pt x="65947" y="0"/>
                    <a:pt x="89750" y="0"/>
                  </a:cubicBezTo>
                  <a:close/>
                </a:path>
              </a:pathLst>
            </a:custGeom>
            <a:solidFill>
              <a:srgbClr val="6800FF"/>
            </a:solidFill>
          </p:spPr>
          <p:txBody>
            <a:bodyPr/>
            <a:lstStyle/>
            <a:p>
              <a:endParaRPr lang="en-US" noProof="0"/>
            </a:p>
          </p:txBody>
        </p:sp>
        <p:sp>
          <p:nvSpPr>
            <p:cNvPr id="25" name="TextBox 13">
              <a:extLst>
                <a:ext uri="{FF2B5EF4-FFF2-40B4-BE49-F238E27FC236}">
                  <a16:creationId xmlns:a16="http://schemas.microsoft.com/office/drawing/2014/main" id="{AAD5E2CD-6877-7954-3FDC-7A5F5DC46416}"/>
                </a:ext>
              </a:extLst>
            </p:cNvPr>
            <p:cNvSpPr txBox="1"/>
            <p:nvPr/>
          </p:nvSpPr>
          <p:spPr>
            <a:xfrm>
              <a:off x="9820860" y="2607885"/>
              <a:ext cx="812800" cy="179500"/>
            </a:xfrm>
            <a:prstGeom prst="rect">
              <a:avLst/>
            </a:prstGeom>
          </p:spPr>
          <p:txBody>
            <a:bodyPr lIns="50800" tIns="50800" rIns="50800" bIns="508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759"/>
                </a:lnSpc>
              </a:pPr>
              <a:r>
                <a:rPr lang="en-US" sz="2250" b="1" noProof="0">
                  <a:solidFill>
                    <a:srgbClr val="FFFFFF"/>
                  </a:solidFill>
                  <a:latin typeface="Montserrat Bold"/>
                  <a:ea typeface="Montserrat Bold"/>
                  <a:cs typeface="Montserrat Bold"/>
                  <a:sym typeface="Montserrat Bold"/>
                </a:rPr>
                <a:t>Co-creation</a:t>
              </a:r>
              <a:endParaRPr lang="en-US" sz="2250" b="1" noProof="0">
                <a:solidFill>
                  <a:srgbClr val="FFFFFF"/>
                </a:solidFill>
                <a:latin typeface="Montserrat Bold"/>
                <a:ea typeface="Montserrat Bold"/>
                <a:cs typeface="Montserrat Bold"/>
              </a:endParaRPr>
            </a:p>
          </p:txBody>
        </p:sp>
      </p:grpSp>
      <p:grpSp>
        <p:nvGrpSpPr>
          <p:cNvPr id="29" name="Group 17">
            <a:extLst>
              <a:ext uri="{FF2B5EF4-FFF2-40B4-BE49-F238E27FC236}">
                <a16:creationId xmlns:a16="http://schemas.microsoft.com/office/drawing/2014/main" id="{85B64263-FF2A-92BA-5897-F1E8C38D28E3}"/>
              </a:ext>
            </a:extLst>
          </p:cNvPr>
          <p:cNvGrpSpPr/>
          <p:nvPr/>
        </p:nvGrpSpPr>
        <p:grpSpPr>
          <a:xfrm>
            <a:off x="13929115" y="3083373"/>
            <a:ext cx="3086100" cy="681539"/>
            <a:chOff x="13929115" y="2607885"/>
            <a:chExt cx="812800" cy="179500"/>
          </a:xfrm>
        </p:grpSpPr>
        <p:sp>
          <p:nvSpPr>
            <p:cNvPr id="30" name="Freeform 18">
              <a:extLst>
                <a:ext uri="{FF2B5EF4-FFF2-40B4-BE49-F238E27FC236}">
                  <a16:creationId xmlns:a16="http://schemas.microsoft.com/office/drawing/2014/main" id="{3A36EEC4-27A8-05F0-FD94-97A5249EC046}"/>
                </a:ext>
              </a:extLst>
            </p:cNvPr>
            <p:cNvSpPr/>
            <p:nvPr/>
          </p:nvSpPr>
          <p:spPr>
            <a:xfrm>
              <a:off x="13929115" y="2607885"/>
              <a:ext cx="812800" cy="179500"/>
            </a:xfrm>
            <a:custGeom>
              <a:avLst/>
              <a:gdLst/>
              <a:ahLst/>
              <a:cxnLst/>
              <a:rect l="l" t="t" r="r" b="b"/>
              <a:pathLst>
                <a:path w="812800" h="179500">
                  <a:moveTo>
                    <a:pt x="89750" y="0"/>
                  </a:moveTo>
                  <a:lnTo>
                    <a:pt x="723050" y="0"/>
                  </a:lnTo>
                  <a:cubicBezTo>
                    <a:pt x="746853" y="0"/>
                    <a:pt x="769681" y="9456"/>
                    <a:pt x="786513" y="26287"/>
                  </a:cubicBezTo>
                  <a:cubicBezTo>
                    <a:pt x="803344" y="43119"/>
                    <a:pt x="812800" y="65947"/>
                    <a:pt x="812800" y="89750"/>
                  </a:cubicBezTo>
                  <a:lnTo>
                    <a:pt x="812800" y="89750"/>
                  </a:lnTo>
                  <a:cubicBezTo>
                    <a:pt x="812800" y="113553"/>
                    <a:pt x="803344" y="136381"/>
                    <a:pt x="786513" y="153213"/>
                  </a:cubicBezTo>
                  <a:cubicBezTo>
                    <a:pt x="769681" y="170044"/>
                    <a:pt x="746853" y="179500"/>
                    <a:pt x="723050" y="179500"/>
                  </a:cubicBezTo>
                  <a:lnTo>
                    <a:pt x="89750" y="179500"/>
                  </a:lnTo>
                  <a:cubicBezTo>
                    <a:pt x="65947" y="179500"/>
                    <a:pt x="43119" y="170044"/>
                    <a:pt x="26287" y="153213"/>
                  </a:cubicBezTo>
                  <a:cubicBezTo>
                    <a:pt x="9456" y="136381"/>
                    <a:pt x="0" y="113553"/>
                    <a:pt x="0" y="89750"/>
                  </a:cubicBezTo>
                  <a:lnTo>
                    <a:pt x="0" y="89750"/>
                  </a:lnTo>
                  <a:cubicBezTo>
                    <a:pt x="0" y="65947"/>
                    <a:pt x="9456" y="43119"/>
                    <a:pt x="26287" y="26287"/>
                  </a:cubicBezTo>
                  <a:cubicBezTo>
                    <a:pt x="43119" y="9456"/>
                    <a:pt x="65947" y="0"/>
                    <a:pt x="89750" y="0"/>
                  </a:cubicBezTo>
                  <a:close/>
                </a:path>
              </a:pathLst>
            </a:custGeom>
            <a:solidFill>
              <a:srgbClr val="6800FF"/>
            </a:solidFill>
          </p:spPr>
          <p:txBody>
            <a:bodyPr/>
            <a:lstStyle/>
            <a:p>
              <a:endParaRPr lang="en-US" noProof="0"/>
            </a:p>
          </p:txBody>
        </p:sp>
        <p:sp>
          <p:nvSpPr>
            <p:cNvPr id="31" name="TextBox 19">
              <a:extLst>
                <a:ext uri="{FF2B5EF4-FFF2-40B4-BE49-F238E27FC236}">
                  <a16:creationId xmlns:a16="http://schemas.microsoft.com/office/drawing/2014/main" id="{20A8C591-613D-209B-948A-0A58A67DAC83}"/>
                </a:ext>
              </a:extLst>
            </p:cNvPr>
            <p:cNvSpPr txBox="1"/>
            <p:nvPr/>
          </p:nvSpPr>
          <p:spPr>
            <a:xfrm>
              <a:off x="13929115" y="2607885"/>
              <a:ext cx="812800" cy="179500"/>
            </a:xfrm>
            <a:prstGeom prst="rect">
              <a:avLst/>
            </a:prstGeom>
          </p:spPr>
          <p:txBody>
            <a:bodyPr lIns="50800" tIns="50800" rIns="50800" bIns="508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759"/>
                </a:lnSpc>
              </a:pPr>
              <a:r>
                <a:rPr lang="en-US" sz="2250" b="1" noProof="0">
                  <a:solidFill>
                    <a:srgbClr val="FFFFFF"/>
                  </a:solidFill>
                  <a:latin typeface="Montserrat Bold"/>
                  <a:sym typeface="Montserrat Bold"/>
                </a:rPr>
                <a:t>Final Report</a:t>
              </a:r>
              <a:endParaRPr lang="en-US" noProof="0"/>
            </a:p>
          </p:txBody>
        </p:sp>
      </p:grpSp>
      <p:grpSp>
        <p:nvGrpSpPr>
          <p:cNvPr id="32" name="Group 20">
            <a:extLst>
              <a:ext uri="{FF2B5EF4-FFF2-40B4-BE49-F238E27FC236}">
                <a16:creationId xmlns:a16="http://schemas.microsoft.com/office/drawing/2014/main" id="{61AD0701-C7BC-C330-6242-B562132CAA96}"/>
              </a:ext>
            </a:extLst>
          </p:cNvPr>
          <p:cNvGrpSpPr/>
          <p:nvPr/>
        </p:nvGrpSpPr>
        <p:grpSpPr>
          <a:xfrm>
            <a:off x="1028700" y="2681198"/>
            <a:ext cx="1151304" cy="1312609"/>
            <a:chOff x="1028700" y="2157933"/>
            <a:chExt cx="1535072" cy="1750144"/>
          </a:xfrm>
        </p:grpSpPr>
        <p:grpSp>
          <p:nvGrpSpPr>
            <p:cNvPr id="33" name="Group 21">
              <a:extLst>
                <a:ext uri="{FF2B5EF4-FFF2-40B4-BE49-F238E27FC236}">
                  <a16:creationId xmlns:a16="http://schemas.microsoft.com/office/drawing/2014/main" id="{E2E4897A-6D5F-8290-AF8F-6DC27E500681}"/>
                </a:ext>
              </a:extLst>
            </p:cNvPr>
            <p:cNvGrpSpPr/>
            <p:nvPr/>
          </p:nvGrpSpPr>
          <p:grpSpPr>
            <a:xfrm>
              <a:off x="1028700" y="2301048"/>
              <a:ext cx="1535072" cy="1607029"/>
              <a:chOff x="1028700" y="2334903"/>
              <a:chExt cx="812800" cy="850900"/>
            </a:xfrm>
          </p:grpSpPr>
          <p:sp>
            <p:nvSpPr>
              <p:cNvPr id="35" name="Freeform 22">
                <a:extLst>
                  <a:ext uri="{FF2B5EF4-FFF2-40B4-BE49-F238E27FC236}">
                    <a16:creationId xmlns:a16="http://schemas.microsoft.com/office/drawing/2014/main" id="{BD08CCDB-AE26-F295-01D5-C724E5F8FB0D}"/>
                  </a:ext>
                </a:extLst>
              </p:cNvPr>
              <p:cNvSpPr/>
              <p:nvPr/>
            </p:nvSpPr>
            <p:spPr>
              <a:xfrm>
                <a:off x="1028700" y="2373003"/>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6800FF"/>
              </a:solidFill>
            </p:spPr>
            <p:txBody>
              <a:bodyPr/>
              <a:lstStyle/>
              <a:p>
                <a:endParaRPr lang="en-US" noProof="0"/>
              </a:p>
            </p:txBody>
          </p:sp>
          <p:sp>
            <p:nvSpPr>
              <p:cNvPr id="36" name="TextBox 23">
                <a:extLst>
                  <a:ext uri="{FF2B5EF4-FFF2-40B4-BE49-F238E27FC236}">
                    <a16:creationId xmlns:a16="http://schemas.microsoft.com/office/drawing/2014/main" id="{6ADE6817-CAE8-5BC9-EBE5-B5704B77BC12}"/>
                  </a:ext>
                </a:extLst>
              </p:cNvPr>
              <p:cNvSpPr txBox="1"/>
              <p:nvPr/>
            </p:nvSpPr>
            <p:spPr>
              <a:xfrm>
                <a:off x="1104900" y="2334903"/>
                <a:ext cx="660400" cy="774700"/>
              </a:xfrm>
              <a:prstGeom prst="rect">
                <a:avLst/>
              </a:prstGeom>
            </p:spPr>
            <p:txBody>
              <a:bodyPr lIns="50800" tIns="50800" rIns="50800" bIns="508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940"/>
                  </a:lnSpc>
                </a:pPr>
                <a:endParaRPr lang="en-US" noProof="0"/>
              </a:p>
            </p:txBody>
          </p:sp>
        </p:grpSp>
        <p:sp>
          <p:nvSpPr>
            <p:cNvPr id="34" name="TextBox 24">
              <a:extLst>
                <a:ext uri="{FF2B5EF4-FFF2-40B4-BE49-F238E27FC236}">
                  <a16:creationId xmlns:a16="http://schemas.microsoft.com/office/drawing/2014/main" id="{DE0E156B-8EFA-EC1B-A5E1-FC6F4EAD1DF6}"/>
                </a:ext>
              </a:extLst>
            </p:cNvPr>
            <p:cNvSpPr txBox="1"/>
            <p:nvPr/>
          </p:nvSpPr>
          <p:spPr>
            <a:xfrm>
              <a:off x="1607026" y="2157933"/>
              <a:ext cx="378420" cy="1555637"/>
            </a:xfrm>
            <a:prstGeom prst="rect">
              <a:avLst/>
            </a:prstGeom>
          </p:spPr>
          <p:txBody>
            <a:bodyPr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11171"/>
                </a:lnSpc>
                <a:spcBef>
                  <a:spcPct val="0"/>
                </a:spcBef>
              </a:pPr>
              <a:r>
                <a:rPr lang="en-US" sz="5699" b="1" i="1" noProof="0">
                  <a:solidFill>
                    <a:srgbClr val="FFFFFF"/>
                  </a:solidFill>
                  <a:latin typeface="Montserrat Bold Italics"/>
                  <a:ea typeface="Montserrat Bold Italics"/>
                  <a:cs typeface="Montserrat Bold Italics"/>
                  <a:sym typeface="Montserrat Bold Italics"/>
                </a:rPr>
                <a:t>1</a:t>
              </a:r>
            </a:p>
          </p:txBody>
        </p:sp>
      </p:grpSp>
      <p:grpSp>
        <p:nvGrpSpPr>
          <p:cNvPr id="37" name="Group 25">
            <a:extLst>
              <a:ext uri="{FF2B5EF4-FFF2-40B4-BE49-F238E27FC236}">
                <a16:creationId xmlns:a16="http://schemas.microsoft.com/office/drawing/2014/main" id="{C9B94A45-320F-1E59-359D-D69D7F93A375}"/>
              </a:ext>
            </a:extLst>
          </p:cNvPr>
          <p:cNvGrpSpPr/>
          <p:nvPr/>
        </p:nvGrpSpPr>
        <p:grpSpPr>
          <a:xfrm>
            <a:off x="5136954" y="2681198"/>
            <a:ext cx="1151304" cy="1312609"/>
            <a:chOff x="5136954" y="2157933"/>
            <a:chExt cx="1535072" cy="1750144"/>
          </a:xfrm>
        </p:grpSpPr>
        <p:grpSp>
          <p:nvGrpSpPr>
            <p:cNvPr id="38" name="Group 26">
              <a:extLst>
                <a:ext uri="{FF2B5EF4-FFF2-40B4-BE49-F238E27FC236}">
                  <a16:creationId xmlns:a16="http://schemas.microsoft.com/office/drawing/2014/main" id="{D13BF225-F011-282B-3774-FC05897BB5FF}"/>
                </a:ext>
              </a:extLst>
            </p:cNvPr>
            <p:cNvGrpSpPr/>
            <p:nvPr/>
          </p:nvGrpSpPr>
          <p:grpSpPr>
            <a:xfrm>
              <a:off x="5136954" y="2301048"/>
              <a:ext cx="1535072" cy="1607029"/>
              <a:chOff x="5136954" y="2334903"/>
              <a:chExt cx="812800" cy="850900"/>
            </a:xfrm>
          </p:grpSpPr>
          <p:sp>
            <p:nvSpPr>
              <p:cNvPr id="40" name="Freeform 27">
                <a:extLst>
                  <a:ext uri="{FF2B5EF4-FFF2-40B4-BE49-F238E27FC236}">
                    <a16:creationId xmlns:a16="http://schemas.microsoft.com/office/drawing/2014/main" id="{890A258E-16EE-C08E-0454-3022E2CD84A3}"/>
                  </a:ext>
                </a:extLst>
              </p:cNvPr>
              <p:cNvSpPr/>
              <p:nvPr/>
            </p:nvSpPr>
            <p:spPr>
              <a:xfrm>
                <a:off x="5136954" y="2373003"/>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6800FF"/>
              </a:solidFill>
            </p:spPr>
            <p:txBody>
              <a:bodyPr/>
              <a:lstStyle/>
              <a:p>
                <a:endParaRPr lang="en-US" noProof="0"/>
              </a:p>
            </p:txBody>
          </p:sp>
          <p:sp>
            <p:nvSpPr>
              <p:cNvPr id="41" name="TextBox 28">
                <a:extLst>
                  <a:ext uri="{FF2B5EF4-FFF2-40B4-BE49-F238E27FC236}">
                    <a16:creationId xmlns:a16="http://schemas.microsoft.com/office/drawing/2014/main" id="{1267A54D-E1C6-E56C-E59C-3E7178FEEFB0}"/>
                  </a:ext>
                </a:extLst>
              </p:cNvPr>
              <p:cNvSpPr txBox="1"/>
              <p:nvPr/>
            </p:nvSpPr>
            <p:spPr>
              <a:xfrm>
                <a:off x="5213154" y="2334903"/>
                <a:ext cx="660400" cy="774700"/>
              </a:xfrm>
              <a:prstGeom prst="rect">
                <a:avLst/>
              </a:prstGeom>
            </p:spPr>
            <p:txBody>
              <a:bodyPr lIns="50800" tIns="50800" rIns="50800" bIns="508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940"/>
                  </a:lnSpc>
                </a:pPr>
                <a:endParaRPr lang="en-US" noProof="0"/>
              </a:p>
            </p:txBody>
          </p:sp>
        </p:grpSp>
        <p:sp>
          <p:nvSpPr>
            <p:cNvPr id="39" name="TextBox 29">
              <a:extLst>
                <a:ext uri="{FF2B5EF4-FFF2-40B4-BE49-F238E27FC236}">
                  <a16:creationId xmlns:a16="http://schemas.microsoft.com/office/drawing/2014/main" id="{816F4F95-7199-9A96-6DFD-5F83D0A1F90D}"/>
                </a:ext>
              </a:extLst>
            </p:cNvPr>
            <p:cNvSpPr txBox="1"/>
            <p:nvPr/>
          </p:nvSpPr>
          <p:spPr>
            <a:xfrm>
              <a:off x="5619732" y="2157933"/>
              <a:ext cx="569516" cy="1555637"/>
            </a:xfrm>
            <a:prstGeom prst="rect">
              <a:avLst/>
            </a:prstGeom>
          </p:spPr>
          <p:txBody>
            <a:bodyPr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11171"/>
                </a:lnSpc>
                <a:spcBef>
                  <a:spcPct val="0"/>
                </a:spcBef>
              </a:pPr>
              <a:r>
                <a:rPr lang="en-US" sz="5699" b="1" i="1" noProof="0">
                  <a:solidFill>
                    <a:srgbClr val="FFFFFF"/>
                  </a:solidFill>
                  <a:latin typeface="Montserrat Bold Italics"/>
                  <a:ea typeface="Montserrat Bold Italics"/>
                  <a:cs typeface="Montserrat Bold Italics"/>
                  <a:sym typeface="Montserrat Bold Italics"/>
                </a:rPr>
                <a:t>2</a:t>
              </a:r>
            </a:p>
          </p:txBody>
        </p:sp>
      </p:grpSp>
      <p:grpSp>
        <p:nvGrpSpPr>
          <p:cNvPr id="42" name="Group 30">
            <a:extLst>
              <a:ext uri="{FF2B5EF4-FFF2-40B4-BE49-F238E27FC236}">
                <a16:creationId xmlns:a16="http://schemas.microsoft.com/office/drawing/2014/main" id="{8D1CAF22-DA35-3614-F6EC-993240F7CD78}"/>
              </a:ext>
            </a:extLst>
          </p:cNvPr>
          <p:cNvGrpSpPr/>
          <p:nvPr/>
        </p:nvGrpSpPr>
        <p:grpSpPr>
          <a:xfrm>
            <a:off x="9245208" y="2681198"/>
            <a:ext cx="1151304" cy="1312609"/>
            <a:chOff x="9245208" y="2157933"/>
            <a:chExt cx="1535072" cy="1750144"/>
          </a:xfrm>
        </p:grpSpPr>
        <p:grpSp>
          <p:nvGrpSpPr>
            <p:cNvPr id="43" name="Group 31">
              <a:extLst>
                <a:ext uri="{FF2B5EF4-FFF2-40B4-BE49-F238E27FC236}">
                  <a16:creationId xmlns:a16="http://schemas.microsoft.com/office/drawing/2014/main" id="{15667B57-6CAA-CBB1-232C-CA9220B317C6}"/>
                </a:ext>
              </a:extLst>
            </p:cNvPr>
            <p:cNvGrpSpPr/>
            <p:nvPr/>
          </p:nvGrpSpPr>
          <p:grpSpPr>
            <a:xfrm>
              <a:off x="9245208" y="2301048"/>
              <a:ext cx="1535072" cy="1607029"/>
              <a:chOff x="9245208" y="2334903"/>
              <a:chExt cx="812800" cy="850900"/>
            </a:xfrm>
          </p:grpSpPr>
          <p:sp>
            <p:nvSpPr>
              <p:cNvPr id="45" name="Freeform 32">
                <a:extLst>
                  <a:ext uri="{FF2B5EF4-FFF2-40B4-BE49-F238E27FC236}">
                    <a16:creationId xmlns:a16="http://schemas.microsoft.com/office/drawing/2014/main" id="{709C85D5-B9C0-6655-E481-0EE082F1C5D6}"/>
                  </a:ext>
                </a:extLst>
              </p:cNvPr>
              <p:cNvSpPr/>
              <p:nvPr/>
            </p:nvSpPr>
            <p:spPr>
              <a:xfrm>
                <a:off x="9245208" y="2373003"/>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6800FF"/>
              </a:solidFill>
            </p:spPr>
            <p:txBody>
              <a:bodyPr/>
              <a:lstStyle/>
              <a:p>
                <a:endParaRPr lang="en-US" noProof="0"/>
              </a:p>
            </p:txBody>
          </p:sp>
          <p:sp>
            <p:nvSpPr>
              <p:cNvPr id="46" name="TextBox 33">
                <a:extLst>
                  <a:ext uri="{FF2B5EF4-FFF2-40B4-BE49-F238E27FC236}">
                    <a16:creationId xmlns:a16="http://schemas.microsoft.com/office/drawing/2014/main" id="{2B4129B4-8725-C8B5-2157-B00BE9F9F777}"/>
                  </a:ext>
                </a:extLst>
              </p:cNvPr>
              <p:cNvSpPr txBox="1"/>
              <p:nvPr/>
            </p:nvSpPr>
            <p:spPr>
              <a:xfrm>
                <a:off x="9321408" y="2334903"/>
                <a:ext cx="660400" cy="774700"/>
              </a:xfrm>
              <a:prstGeom prst="rect">
                <a:avLst/>
              </a:prstGeom>
            </p:spPr>
            <p:txBody>
              <a:bodyPr lIns="50800" tIns="50800" rIns="50800" bIns="508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940"/>
                  </a:lnSpc>
                </a:pPr>
                <a:endParaRPr lang="en-US" noProof="0"/>
              </a:p>
            </p:txBody>
          </p:sp>
        </p:grpSp>
        <p:sp>
          <p:nvSpPr>
            <p:cNvPr id="44" name="TextBox 34">
              <a:extLst>
                <a:ext uri="{FF2B5EF4-FFF2-40B4-BE49-F238E27FC236}">
                  <a16:creationId xmlns:a16="http://schemas.microsoft.com/office/drawing/2014/main" id="{C3A49570-972B-FC9F-1B6E-90B79C0762A8}"/>
                </a:ext>
              </a:extLst>
            </p:cNvPr>
            <p:cNvSpPr txBox="1"/>
            <p:nvPr/>
          </p:nvSpPr>
          <p:spPr>
            <a:xfrm>
              <a:off x="9726994" y="2157933"/>
              <a:ext cx="571500" cy="1555637"/>
            </a:xfrm>
            <a:prstGeom prst="rect">
              <a:avLst/>
            </a:prstGeom>
          </p:spPr>
          <p:txBody>
            <a:bodyPr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11171"/>
                </a:lnSpc>
                <a:spcBef>
                  <a:spcPct val="0"/>
                </a:spcBef>
              </a:pPr>
              <a:r>
                <a:rPr lang="en-US" sz="5699" b="1" i="1" noProof="0">
                  <a:solidFill>
                    <a:srgbClr val="FFFFFF"/>
                  </a:solidFill>
                  <a:latin typeface="Montserrat Bold Italics"/>
                  <a:ea typeface="Montserrat Bold Italics"/>
                  <a:cs typeface="Montserrat Bold Italics"/>
                  <a:sym typeface="Montserrat Bold Italics"/>
                </a:rPr>
                <a:t>3</a:t>
              </a:r>
            </a:p>
          </p:txBody>
        </p:sp>
      </p:grpSp>
      <p:sp>
        <p:nvSpPr>
          <p:cNvPr id="47" name="AutoShape 35">
            <a:extLst>
              <a:ext uri="{FF2B5EF4-FFF2-40B4-BE49-F238E27FC236}">
                <a16:creationId xmlns:a16="http://schemas.microsoft.com/office/drawing/2014/main" id="{F3A582F3-906F-A1C5-32D1-AB09F0A21C67}"/>
              </a:ext>
            </a:extLst>
          </p:cNvPr>
          <p:cNvSpPr/>
          <p:nvPr/>
        </p:nvSpPr>
        <p:spPr>
          <a:xfrm flipH="1">
            <a:off x="1047750" y="4075938"/>
            <a:ext cx="0" cy="5342056"/>
          </a:xfrm>
          <a:prstGeom prst="line">
            <a:avLst/>
          </a:prstGeom>
          <a:ln w="19050" cap="flat">
            <a:gradFill>
              <a:gsLst>
                <a:gs pos="0">
                  <a:srgbClr val="FF2C34">
                    <a:alpha val="100000"/>
                  </a:srgbClr>
                </a:gs>
                <a:gs pos="100000">
                  <a:srgbClr val="6800FF">
                    <a:alpha val="100000"/>
                  </a:srgbClr>
                </a:gs>
              </a:gsLst>
              <a:lin ang="2700006"/>
            </a:gradFill>
            <a:prstDash val="sysDot"/>
            <a:headEnd type="none" w="sm" len="sm"/>
            <a:tailEnd type="none" w="sm" len="sm"/>
          </a:ln>
        </p:spPr>
        <p:txBody>
          <a:bodyPr/>
          <a:lstStyle/>
          <a:p>
            <a:endParaRPr lang="en-US" noProof="0"/>
          </a:p>
        </p:txBody>
      </p:sp>
      <p:sp>
        <p:nvSpPr>
          <p:cNvPr id="48" name="AutoShape 36">
            <a:extLst>
              <a:ext uri="{FF2B5EF4-FFF2-40B4-BE49-F238E27FC236}">
                <a16:creationId xmlns:a16="http://schemas.microsoft.com/office/drawing/2014/main" id="{4C702EDD-980B-0C16-E732-1EECC85A0565}"/>
              </a:ext>
            </a:extLst>
          </p:cNvPr>
          <p:cNvSpPr/>
          <p:nvPr/>
        </p:nvSpPr>
        <p:spPr>
          <a:xfrm>
            <a:off x="5146479" y="4075938"/>
            <a:ext cx="0" cy="5342056"/>
          </a:xfrm>
          <a:prstGeom prst="line">
            <a:avLst/>
          </a:prstGeom>
          <a:ln w="19050" cap="flat">
            <a:gradFill>
              <a:gsLst>
                <a:gs pos="0">
                  <a:srgbClr val="FF2C34">
                    <a:alpha val="100000"/>
                  </a:srgbClr>
                </a:gs>
                <a:gs pos="100000">
                  <a:srgbClr val="6800FF">
                    <a:alpha val="100000"/>
                  </a:srgbClr>
                </a:gs>
              </a:gsLst>
              <a:lin ang="2700006"/>
            </a:gradFill>
            <a:prstDash val="sysDot"/>
            <a:headEnd type="none" w="sm" len="sm"/>
            <a:tailEnd type="none" w="sm" len="sm"/>
          </a:ln>
        </p:spPr>
        <p:txBody>
          <a:bodyPr/>
          <a:lstStyle/>
          <a:p>
            <a:endParaRPr lang="en-US" noProof="0"/>
          </a:p>
        </p:txBody>
      </p:sp>
      <p:sp>
        <p:nvSpPr>
          <p:cNvPr id="49" name="AutoShape 37">
            <a:extLst>
              <a:ext uri="{FF2B5EF4-FFF2-40B4-BE49-F238E27FC236}">
                <a16:creationId xmlns:a16="http://schemas.microsoft.com/office/drawing/2014/main" id="{AB099287-F10A-312F-B6E4-D1187C308A57}"/>
              </a:ext>
            </a:extLst>
          </p:cNvPr>
          <p:cNvSpPr/>
          <p:nvPr/>
        </p:nvSpPr>
        <p:spPr>
          <a:xfrm>
            <a:off x="9235683" y="4075938"/>
            <a:ext cx="0" cy="5342056"/>
          </a:xfrm>
          <a:prstGeom prst="line">
            <a:avLst/>
          </a:prstGeom>
          <a:ln w="19050" cap="flat">
            <a:gradFill>
              <a:gsLst>
                <a:gs pos="0">
                  <a:srgbClr val="FF2C34">
                    <a:alpha val="100000"/>
                  </a:srgbClr>
                </a:gs>
                <a:gs pos="100000">
                  <a:srgbClr val="6800FF">
                    <a:alpha val="100000"/>
                  </a:srgbClr>
                </a:gs>
              </a:gsLst>
              <a:lin ang="2700006"/>
            </a:gradFill>
            <a:prstDash val="sysDot"/>
            <a:headEnd type="none" w="sm" len="sm"/>
            <a:tailEnd type="none" w="sm" len="sm"/>
          </a:ln>
        </p:spPr>
        <p:txBody>
          <a:bodyPr/>
          <a:lstStyle/>
          <a:p>
            <a:endParaRPr lang="en-US" noProof="0"/>
          </a:p>
        </p:txBody>
      </p:sp>
      <p:sp>
        <p:nvSpPr>
          <p:cNvPr id="50" name="AutoShape 38">
            <a:extLst>
              <a:ext uri="{FF2B5EF4-FFF2-40B4-BE49-F238E27FC236}">
                <a16:creationId xmlns:a16="http://schemas.microsoft.com/office/drawing/2014/main" id="{F4AF6CA1-E535-FCA6-12B6-04FC6EDB7CB6}"/>
              </a:ext>
            </a:extLst>
          </p:cNvPr>
          <p:cNvSpPr/>
          <p:nvPr/>
        </p:nvSpPr>
        <p:spPr>
          <a:xfrm>
            <a:off x="13362987" y="4075938"/>
            <a:ext cx="0" cy="5342056"/>
          </a:xfrm>
          <a:prstGeom prst="line">
            <a:avLst/>
          </a:prstGeom>
          <a:ln w="19050" cap="flat">
            <a:gradFill>
              <a:gsLst>
                <a:gs pos="0">
                  <a:srgbClr val="FF2C34">
                    <a:alpha val="100000"/>
                  </a:srgbClr>
                </a:gs>
                <a:gs pos="100000">
                  <a:srgbClr val="6800FF">
                    <a:alpha val="100000"/>
                  </a:srgbClr>
                </a:gs>
              </a:gsLst>
              <a:lin ang="2700006"/>
            </a:gradFill>
            <a:prstDash val="sysDot"/>
            <a:headEnd type="none" w="sm" len="sm"/>
            <a:tailEnd type="none" w="sm" len="sm"/>
          </a:ln>
        </p:spPr>
        <p:txBody>
          <a:bodyPr/>
          <a:lstStyle/>
          <a:p>
            <a:endParaRPr lang="en-US" noProof="0"/>
          </a:p>
        </p:txBody>
      </p:sp>
      <p:grpSp>
        <p:nvGrpSpPr>
          <p:cNvPr id="51" name="Group 39">
            <a:extLst>
              <a:ext uri="{FF2B5EF4-FFF2-40B4-BE49-F238E27FC236}">
                <a16:creationId xmlns:a16="http://schemas.microsoft.com/office/drawing/2014/main" id="{5E65181C-6E4E-D718-1027-99F6DA9EE890}"/>
              </a:ext>
            </a:extLst>
          </p:cNvPr>
          <p:cNvGrpSpPr/>
          <p:nvPr/>
        </p:nvGrpSpPr>
        <p:grpSpPr>
          <a:xfrm>
            <a:off x="845388" y="4060540"/>
            <a:ext cx="16608025" cy="529805"/>
            <a:chOff x="845388" y="3585052"/>
            <a:chExt cx="4374130" cy="139537"/>
          </a:xfrm>
        </p:grpSpPr>
        <p:sp>
          <p:nvSpPr>
            <p:cNvPr id="52" name="Freeform 40">
              <a:extLst>
                <a:ext uri="{FF2B5EF4-FFF2-40B4-BE49-F238E27FC236}">
                  <a16:creationId xmlns:a16="http://schemas.microsoft.com/office/drawing/2014/main" id="{3AC2548D-37BC-679B-CEBF-A7D4DAE92C69}"/>
                </a:ext>
              </a:extLst>
            </p:cNvPr>
            <p:cNvSpPr/>
            <p:nvPr/>
          </p:nvSpPr>
          <p:spPr>
            <a:xfrm>
              <a:off x="845388" y="3585052"/>
              <a:ext cx="4374130" cy="139537"/>
            </a:xfrm>
            <a:custGeom>
              <a:avLst/>
              <a:gdLst/>
              <a:ahLst/>
              <a:cxnLst/>
              <a:rect l="l" t="t" r="r" b="b"/>
              <a:pathLst>
                <a:path w="4374130" h="139537">
                  <a:moveTo>
                    <a:pt x="23774" y="0"/>
                  </a:moveTo>
                  <a:lnTo>
                    <a:pt x="4350356" y="0"/>
                  </a:lnTo>
                  <a:cubicBezTo>
                    <a:pt x="4363486" y="0"/>
                    <a:pt x="4374130" y="10644"/>
                    <a:pt x="4374130" y="23774"/>
                  </a:cubicBezTo>
                  <a:lnTo>
                    <a:pt x="4374130" y="115763"/>
                  </a:lnTo>
                  <a:cubicBezTo>
                    <a:pt x="4374130" y="128893"/>
                    <a:pt x="4363486" y="139537"/>
                    <a:pt x="4350356" y="139537"/>
                  </a:cubicBezTo>
                  <a:lnTo>
                    <a:pt x="23774" y="139537"/>
                  </a:lnTo>
                  <a:cubicBezTo>
                    <a:pt x="10644" y="139537"/>
                    <a:pt x="0" y="128893"/>
                    <a:pt x="0" y="115763"/>
                  </a:cubicBezTo>
                  <a:lnTo>
                    <a:pt x="0" y="23774"/>
                  </a:lnTo>
                  <a:cubicBezTo>
                    <a:pt x="0" y="10644"/>
                    <a:pt x="10644" y="0"/>
                    <a:pt x="23774" y="0"/>
                  </a:cubicBezTo>
                  <a:close/>
                </a:path>
              </a:pathLst>
            </a:custGeom>
            <a:solidFill>
              <a:srgbClr val="A466FF"/>
            </a:solidFill>
          </p:spPr>
          <p:txBody>
            <a:bodyPr/>
            <a:lstStyle/>
            <a:p>
              <a:endParaRPr lang="en-US" noProof="0"/>
            </a:p>
          </p:txBody>
        </p:sp>
        <p:sp>
          <p:nvSpPr>
            <p:cNvPr id="53" name="TextBox 41">
              <a:extLst>
                <a:ext uri="{FF2B5EF4-FFF2-40B4-BE49-F238E27FC236}">
                  <a16:creationId xmlns:a16="http://schemas.microsoft.com/office/drawing/2014/main" id="{1EE630B4-D113-3FC2-9B8B-98EF7693952B}"/>
                </a:ext>
              </a:extLst>
            </p:cNvPr>
            <p:cNvSpPr txBox="1"/>
            <p:nvPr/>
          </p:nvSpPr>
          <p:spPr>
            <a:xfrm>
              <a:off x="845388" y="3585052"/>
              <a:ext cx="4374130" cy="139537"/>
            </a:xfrm>
            <a:prstGeom prst="rect">
              <a:avLst/>
            </a:prstGeom>
          </p:spPr>
          <p:txBody>
            <a:bodyPr lIns="50800" tIns="50800" rIns="50800" bIns="508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ts val="2759"/>
                </a:lnSpc>
              </a:pPr>
              <a:r>
                <a:rPr lang="en-US" sz="2299" b="1" noProof="0">
                  <a:solidFill>
                    <a:srgbClr val="FFFFFF"/>
                  </a:solidFill>
                  <a:latin typeface="Montserrat Bold"/>
                  <a:ea typeface="Montserrat Bold"/>
                  <a:cs typeface="Montserrat Bold"/>
                  <a:sym typeface="Montserrat Bold"/>
                </a:rPr>
                <a:t>         INPUTS</a:t>
              </a:r>
            </a:p>
          </p:txBody>
        </p:sp>
      </p:grpSp>
      <p:grpSp>
        <p:nvGrpSpPr>
          <p:cNvPr id="54" name="Group 42">
            <a:extLst>
              <a:ext uri="{FF2B5EF4-FFF2-40B4-BE49-F238E27FC236}">
                <a16:creationId xmlns:a16="http://schemas.microsoft.com/office/drawing/2014/main" id="{5B4F7586-46D6-32C5-1F09-33BA2E9CA8ED}"/>
              </a:ext>
            </a:extLst>
          </p:cNvPr>
          <p:cNvGrpSpPr/>
          <p:nvPr/>
        </p:nvGrpSpPr>
        <p:grpSpPr>
          <a:xfrm>
            <a:off x="845388" y="6675885"/>
            <a:ext cx="16608025" cy="529805"/>
            <a:chOff x="845388" y="6200397"/>
            <a:chExt cx="4374130" cy="139537"/>
          </a:xfrm>
        </p:grpSpPr>
        <p:sp>
          <p:nvSpPr>
            <p:cNvPr id="55" name="Freeform 43">
              <a:extLst>
                <a:ext uri="{FF2B5EF4-FFF2-40B4-BE49-F238E27FC236}">
                  <a16:creationId xmlns:a16="http://schemas.microsoft.com/office/drawing/2014/main" id="{B962797A-87FD-2A99-0AD0-87C146991DB1}"/>
                </a:ext>
              </a:extLst>
            </p:cNvPr>
            <p:cNvSpPr/>
            <p:nvPr/>
          </p:nvSpPr>
          <p:spPr>
            <a:xfrm>
              <a:off x="845388" y="6200397"/>
              <a:ext cx="4374130" cy="139537"/>
            </a:xfrm>
            <a:custGeom>
              <a:avLst/>
              <a:gdLst/>
              <a:ahLst/>
              <a:cxnLst/>
              <a:rect l="l" t="t" r="r" b="b"/>
              <a:pathLst>
                <a:path w="4374130" h="139537">
                  <a:moveTo>
                    <a:pt x="23774" y="0"/>
                  </a:moveTo>
                  <a:lnTo>
                    <a:pt x="4350356" y="0"/>
                  </a:lnTo>
                  <a:cubicBezTo>
                    <a:pt x="4363486" y="0"/>
                    <a:pt x="4374130" y="10644"/>
                    <a:pt x="4374130" y="23774"/>
                  </a:cubicBezTo>
                  <a:lnTo>
                    <a:pt x="4374130" y="115763"/>
                  </a:lnTo>
                  <a:cubicBezTo>
                    <a:pt x="4374130" y="128893"/>
                    <a:pt x="4363486" y="139537"/>
                    <a:pt x="4350356" y="139537"/>
                  </a:cubicBezTo>
                  <a:lnTo>
                    <a:pt x="23774" y="139537"/>
                  </a:lnTo>
                  <a:cubicBezTo>
                    <a:pt x="10644" y="139537"/>
                    <a:pt x="0" y="128893"/>
                    <a:pt x="0" y="115763"/>
                  </a:cubicBezTo>
                  <a:lnTo>
                    <a:pt x="0" y="23774"/>
                  </a:lnTo>
                  <a:cubicBezTo>
                    <a:pt x="0" y="10644"/>
                    <a:pt x="10644" y="0"/>
                    <a:pt x="23774" y="0"/>
                  </a:cubicBezTo>
                  <a:close/>
                </a:path>
              </a:pathLst>
            </a:custGeom>
            <a:solidFill>
              <a:srgbClr val="A466FF"/>
            </a:solidFill>
          </p:spPr>
          <p:txBody>
            <a:bodyPr/>
            <a:lstStyle/>
            <a:p>
              <a:endParaRPr lang="en-US" noProof="0"/>
            </a:p>
          </p:txBody>
        </p:sp>
        <p:sp>
          <p:nvSpPr>
            <p:cNvPr id="56" name="TextBox 55">
              <a:extLst>
                <a:ext uri="{FF2B5EF4-FFF2-40B4-BE49-F238E27FC236}">
                  <a16:creationId xmlns:a16="http://schemas.microsoft.com/office/drawing/2014/main" id="{2077A0F8-B17E-256A-59D7-75D69FCA9D1F}"/>
                </a:ext>
              </a:extLst>
            </p:cNvPr>
            <p:cNvSpPr txBox="1"/>
            <p:nvPr/>
          </p:nvSpPr>
          <p:spPr>
            <a:xfrm>
              <a:off x="845388" y="6200397"/>
              <a:ext cx="4374130" cy="139537"/>
            </a:xfrm>
            <a:prstGeom prst="rect">
              <a:avLst/>
            </a:prstGeom>
          </p:spPr>
          <p:txBody>
            <a:bodyPr lIns="50800" tIns="50800" rIns="50800" bIns="508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ts val="2759"/>
                </a:lnSpc>
              </a:pPr>
              <a:r>
                <a:rPr lang="en-US" sz="2299" b="1" noProof="0">
                  <a:solidFill>
                    <a:srgbClr val="FFFFFF"/>
                  </a:solidFill>
                  <a:latin typeface="Montserrat Bold"/>
                  <a:ea typeface="Montserrat Bold"/>
                  <a:cs typeface="Montserrat Bold"/>
                  <a:sym typeface="Montserrat Bold"/>
                </a:rPr>
                <a:t>         OUTPUTS</a:t>
              </a:r>
            </a:p>
          </p:txBody>
        </p:sp>
      </p:grpSp>
      <p:sp>
        <p:nvSpPr>
          <p:cNvPr id="57" name="TextBox 62">
            <a:extLst>
              <a:ext uri="{FF2B5EF4-FFF2-40B4-BE49-F238E27FC236}">
                <a16:creationId xmlns:a16="http://schemas.microsoft.com/office/drawing/2014/main" id="{4A56C1B8-E228-193D-4E3A-9C54D5EC6605}"/>
              </a:ext>
            </a:extLst>
          </p:cNvPr>
          <p:cNvSpPr txBox="1"/>
          <p:nvPr/>
        </p:nvSpPr>
        <p:spPr>
          <a:xfrm>
            <a:off x="1194832" y="4733220"/>
            <a:ext cx="3676036" cy="1846659"/>
          </a:xfrm>
          <a:prstGeom prst="rect">
            <a:avLst/>
          </a:prstGeom>
        </p:spPr>
        <p:txBody>
          <a:bodyPr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4805" indent="-172085">
              <a:buFont typeface="Arial"/>
              <a:buChar char="•"/>
            </a:pPr>
            <a:r>
              <a:rPr lang="en-US" sz="2000" noProof="0">
                <a:solidFill>
                  <a:srgbClr val="000000"/>
                </a:solidFill>
                <a:latin typeface="Montserrat"/>
                <a:ea typeface="+mn-lt"/>
                <a:cs typeface="+mn-lt"/>
                <a:sym typeface="Montserrat"/>
              </a:rPr>
              <a:t>Market research</a:t>
            </a:r>
            <a:endParaRPr lang="en-US" sz="2800" noProof="0">
              <a:solidFill>
                <a:srgbClr val="000000"/>
              </a:solidFill>
              <a:latin typeface="Montserrat"/>
              <a:ea typeface="+mn-lt"/>
              <a:cs typeface="+mn-lt"/>
              <a:sym typeface="Montserrat"/>
            </a:endParaRPr>
          </a:p>
          <a:p>
            <a:pPr marL="344805" indent="-172085">
              <a:buFont typeface="Arial"/>
              <a:buChar char="•"/>
            </a:pPr>
            <a:r>
              <a:rPr lang="en-US" sz="2000" noProof="0">
                <a:solidFill>
                  <a:srgbClr val="000000"/>
                </a:solidFill>
                <a:latin typeface="Montserrat"/>
                <a:ea typeface="+mn-lt"/>
                <a:cs typeface="+mn-lt"/>
                <a:sym typeface="Montserrat"/>
              </a:rPr>
              <a:t>Internal process study</a:t>
            </a:r>
            <a:endParaRPr lang="en-US" sz="2800" noProof="0">
              <a:solidFill>
                <a:srgbClr val="000000"/>
              </a:solidFill>
              <a:latin typeface="Montserrat"/>
              <a:ea typeface="+mn-lt"/>
              <a:cs typeface="+mn-lt"/>
              <a:sym typeface="Montserrat"/>
            </a:endParaRPr>
          </a:p>
          <a:p>
            <a:pPr marL="344805" indent="-172085">
              <a:buFont typeface="Arial"/>
              <a:buChar char="•"/>
            </a:pPr>
            <a:r>
              <a:rPr lang="en-US" sz="2000" noProof="0">
                <a:solidFill>
                  <a:srgbClr val="000000"/>
                </a:solidFill>
                <a:latin typeface="Montserrat"/>
                <a:ea typeface="+mn-lt"/>
                <a:cs typeface="+mn-lt"/>
                <a:sym typeface="Montserrat"/>
              </a:rPr>
              <a:t>Product study</a:t>
            </a:r>
            <a:endParaRPr lang="en-US" sz="2800" noProof="0">
              <a:latin typeface="Montserrat"/>
              <a:ea typeface="Calibri"/>
              <a:cs typeface="Calibri"/>
            </a:endParaRPr>
          </a:p>
          <a:p>
            <a:pPr marL="344805" lvl="1" indent="-172085">
              <a:lnSpc>
                <a:spcPts val="2399"/>
              </a:lnSpc>
              <a:buFont typeface="Arial"/>
              <a:buChar char="•"/>
            </a:pPr>
            <a:r>
              <a:rPr lang="en-US" sz="2000" noProof="0">
                <a:solidFill>
                  <a:srgbClr val="000000"/>
                </a:solidFill>
                <a:latin typeface="Montserrat"/>
                <a:ea typeface="+mn-lt"/>
                <a:cs typeface="+mn-lt"/>
                <a:sym typeface="Montserrat"/>
              </a:rPr>
              <a:t>Flow mapping</a:t>
            </a:r>
            <a:endParaRPr lang="en-US" sz="2800" noProof="0">
              <a:solidFill>
                <a:srgbClr val="000000"/>
              </a:solidFill>
              <a:latin typeface="Montserrat"/>
              <a:ea typeface="+mn-lt"/>
              <a:cs typeface="+mn-lt"/>
              <a:sym typeface="Montserrat"/>
            </a:endParaRPr>
          </a:p>
          <a:p>
            <a:pPr marL="344805" lvl="1" indent="-172085">
              <a:lnSpc>
                <a:spcPts val="2399"/>
              </a:lnSpc>
              <a:buFont typeface="Arial"/>
              <a:buChar char="•"/>
            </a:pPr>
            <a:r>
              <a:rPr lang="en-US" sz="2000" noProof="0">
                <a:solidFill>
                  <a:srgbClr val="000000"/>
                </a:solidFill>
                <a:latin typeface="Montserrat"/>
                <a:ea typeface="+mn-lt"/>
                <a:cs typeface="+mn-lt"/>
                <a:sym typeface="Montserrat"/>
              </a:rPr>
              <a:t>Pain points survey</a:t>
            </a:r>
            <a:endParaRPr lang="en-US" sz="2800" noProof="0">
              <a:latin typeface="Montserrat"/>
            </a:endParaRPr>
          </a:p>
          <a:p>
            <a:pPr algn="l">
              <a:lnSpc>
                <a:spcPts val="2399"/>
              </a:lnSpc>
            </a:pPr>
            <a:endParaRPr lang="en-US" sz="2000" noProof="0">
              <a:solidFill>
                <a:srgbClr val="000000"/>
              </a:solidFill>
              <a:latin typeface="Montserrat"/>
              <a:ea typeface="Montserrat"/>
              <a:cs typeface="Montserrat"/>
              <a:sym typeface="Montserrat"/>
            </a:endParaRPr>
          </a:p>
        </p:txBody>
      </p:sp>
      <p:sp>
        <p:nvSpPr>
          <p:cNvPr id="58" name="TextBox 63">
            <a:extLst>
              <a:ext uri="{FF2B5EF4-FFF2-40B4-BE49-F238E27FC236}">
                <a16:creationId xmlns:a16="http://schemas.microsoft.com/office/drawing/2014/main" id="{37EEC63F-D9A3-FCAF-5CFE-19169705E617}"/>
              </a:ext>
            </a:extLst>
          </p:cNvPr>
          <p:cNvSpPr txBox="1"/>
          <p:nvPr/>
        </p:nvSpPr>
        <p:spPr>
          <a:xfrm>
            <a:off x="1194832" y="7316848"/>
            <a:ext cx="3808772" cy="1846659"/>
          </a:xfrm>
          <a:prstGeom prst="rect">
            <a:avLst/>
          </a:prstGeom>
        </p:spPr>
        <p:txBody>
          <a:bodyPr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4805" lvl="1" indent="-172085">
              <a:lnSpc>
                <a:spcPts val="2399"/>
              </a:lnSpc>
              <a:buFont typeface="Arial"/>
              <a:buChar char="•"/>
            </a:pPr>
            <a:r>
              <a:rPr lang="en-US" sz="2000" noProof="0">
                <a:solidFill>
                  <a:srgbClr val="000000"/>
                </a:solidFill>
                <a:latin typeface="Montserrat"/>
                <a:ea typeface="+mn-lt"/>
                <a:cs typeface="+mn-lt"/>
                <a:sym typeface="Montserrat"/>
              </a:rPr>
              <a:t>Information and inputs for correct diagnosis</a:t>
            </a:r>
            <a:endParaRPr lang="en-US" sz="2800" noProof="0">
              <a:solidFill>
                <a:srgbClr val="000000"/>
              </a:solidFill>
              <a:latin typeface="Montserrat"/>
              <a:ea typeface="+mn-lt"/>
              <a:cs typeface="+mn-lt"/>
              <a:sym typeface="Montserrat"/>
            </a:endParaRPr>
          </a:p>
          <a:p>
            <a:pPr marL="344805" lvl="1" indent="-172085">
              <a:lnSpc>
                <a:spcPts val="2399"/>
              </a:lnSpc>
              <a:buFont typeface="Arial"/>
              <a:buChar char="•"/>
            </a:pPr>
            <a:r>
              <a:rPr lang="en-US" sz="2000" noProof="0">
                <a:solidFill>
                  <a:srgbClr val="000000"/>
                </a:solidFill>
                <a:latin typeface="Montserrat"/>
                <a:ea typeface="+mn-lt"/>
                <a:cs typeface="+mn-lt"/>
                <a:sym typeface="Montserrat"/>
              </a:rPr>
              <a:t>Understanding the contexts</a:t>
            </a:r>
            <a:endParaRPr lang="en-US" sz="2800" noProof="0">
              <a:solidFill>
                <a:srgbClr val="000000"/>
              </a:solidFill>
              <a:latin typeface="Montserrat"/>
              <a:ea typeface="+mn-lt"/>
              <a:cs typeface="+mn-lt"/>
              <a:sym typeface="Montserrat"/>
            </a:endParaRPr>
          </a:p>
          <a:p>
            <a:pPr marL="344805" lvl="1" indent="-172085">
              <a:lnSpc>
                <a:spcPts val="2399"/>
              </a:lnSpc>
              <a:buFont typeface="Arial"/>
              <a:buChar char="•"/>
            </a:pPr>
            <a:r>
              <a:rPr lang="en-US" sz="2000" noProof="0">
                <a:solidFill>
                  <a:srgbClr val="000000"/>
                </a:solidFill>
                <a:latin typeface="Montserrat"/>
                <a:ea typeface="+mn-lt"/>
                <a:cs typeface="+mn-lt"/>
                <a:sym typeface="Montserrat"/>
              </a:rPr>
              <a:t> Defined objectives</a:t>
            </a:r>
            <a:endParaRPr lang="en-US" sz="2800" noProof="0">
              <a:latin typeface="Montserrat"/>
              <a:ea typeface="Calibri"/>
              <a:cs typeface="Calibri"/>
            </a:endParaRPr>
          </a:p>
          <a:p>
            <a:pPr algn="l">
              <a:lnSpc>
                <a:spcPts val="2399"/>
              </a:lnSpc>
            </a:pPr>
            <a:endParaRPr lang="en-US" sz="2000" noProof="0">
              <a:solidFill>
                <a:srgbClr val="000000"/>
              </a:solidFill>
              <a:latin typeface="Montserrat"/>
              <a:ea typeface="Montserrat"/>
              <a:cs typeface="Montserrat"/>
              <a:sym typeface="Montserrat"/>
            </a:endParaRPr>
          </a:p>
        </p:txBody>
      </p:sp>
      <p:sp>
        <p:nvSpPr>
          <p:cNvPr id="59" name="TextBox 64">
            <a:extLst>
              <a:ext uri="{FF2B5EF4-FFF2-40B4-BE49-F238E27FC236}">
                <a16:creationId xmlns:a16="http://schemas.microsoft.com/office/drawing/2014/main" id="{13CD98A8-1681-65A1-5A48-7B0E505250E1}"/>
              </a:ext>
            </a:extLst>
          </p:cNvPr>
          <p:cNvSpPr txBox="1"/>
          <p:nvPr/>
        </p:nvSpPr>
        <p:spPr>
          <a:xfrm>
            <a:off x="5291784" y="7316848"/>
            <a:ext cx="3801024" cy="1231106"/>
          </a:xfrm>
          <a:prstGeom prst="rect">
            <a:avLst/>
          </a:prstGeom>
        </p:spPr>
        <p:txBody>
          <a:bodyPr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4805" lvl="1" indent="-172085">
              <a:lnSpc>
                <a:spcPts val="2399"/>
              </a:lnSpc>
              <a:buFont typeface="Arial"/>
              <a:buChar char="•"/>
            </a:pPr>
            <a:r>
              <a:rPr lang="en-US" sz="2000" noProof="0">
                <a:solidFill>
                  <a:srgbClr val="000000"/>
                </a:solidFill>
                <a:latin typeface="Montserrat"/>
                <a:ea typeface="+mn-lt"/>
                <a:cs typeface="+mn-lt"/>
                <a:sym typeface="Montserrat"/>
              </a:rPr>
              <a:t>List of personas</a:t>
            </a:r>
            <a:endParaRPr lang="en-US" sz="2800" noProof="0">
              <a:solidFill>
                <a:srgbClr val="000000"/>
              </a:solidFill>
              <a:latin typeface="Montserrat"/>
              <a:ea typeface="+mn-lt"/>
              <a:cs typeface="+mn-lt"/>
              <a:sym typeface="Montserrat"/>
            </a:endParaRPr>
          </a:p>
          <a:p>
            <a:pPr marL="344805" lvl="1" indent="-172085">
              <a:lnSpc>
                <a:spcPts val="2399"/>
              </a:lnSpc>
              <a:buFont typeface="Arial"/>
              <a:buChar char="•"/>
            </a:pPr>
            <a:r>
              <a:rPr lang="en-US" sz="2000" noProof="0">
                <a:solidFill>
                  <a:srgbClr val="000000"/>
                </a:solidFill>
                <a:latin typeface="Montserrat"/>
                <a:ea typeface="+mn-lt"/>
                <a:cs typeface="+mn-lt"/>
                <a:sym typeface="Montserrat"/>
              </a:rPr>
              <a:t>Hypotheses of solutions for testing</a:t>
            </a:r>
            <a:endParaRPr lang="en-US" sz="2800" noProof="0">
              <a:latin typeface="Montserrat"/>
              <a:ea typeface="Calibri"/>
              <a:cs typeface="Calibri"/>
            </a:endParaRPr>
          </a:p>
          <a:p>
            <a:pPr algn="l">
              <a:lnSpc>
                <a:spcPts val="2399"/>
              </a:lnSpc>
            </a:pPr>
            <a:endParaRPr lang="en-US" sz="2000" noProof="0">
              <a:solidFill>
                <a:srgbClr val="000000"/>
              </a:solidFill>
              <a:latin typeface="Montserrat"/>
              <a:ea typeface="Montserrat"/>
              <a:cs typeface="Montserrat"/>
              <a:sym typeface="Montserrat"/>
            </a:endParaRPr>
          </a:p>
        </p:txBody>
      </p:sp>
      <p:sp>
        <p:nvSpPr>
          <p:cNvPr id="60" name="TextBox 65">
            <a:extLst>
              <a:ext uri="{FF2B5EF4-FFF2-40B4-BE49-F238E27FC236}">
                <a16:creationId xmlns:a16="http://schemas.microsoft.com/office/drawing/2014/main" id="{73A8DDB8-3D26-1636-3D28-15EF1424F55C}"/>
              </a:ext>
            </a:extLst>
          </p:cNvPr>
          <p:cNvSpPr txBox="1"/>
          <p:nvPr/>
        </p:nvSpPr>
        <p:spPr>
          <a:xfrm>
            <a:off x="9380988" y="7316848"/>
            <a:ext cx="3676036" cy="923330"/>
          </a:xfrm>
          <a:prstGeom prst="rect">
            <a:avLst/>
          </a:prstGeom>
        </p:spPr>
        <p:txBody>
          <a:bodyPr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4805" lvl="1" indent="-172085">
              <a:lnSpc>
                <a:spcPts val="2399"/>
              </a:lnSpc>
              <a:buFont typeface="Arial"/>
              <a:buChar char="•"/>
            </a:pPr>
            <a:r>
              <a:rPr lang="en-US" sz="2000" noProof="0">
                <a:solidFill>
                  <a:srgbClr val="000000"/>
                </a:solidFill>
                <a:latin typeface="Montserrat"/>
                <a:ea typeface="+mn-lt"/>
                <a:cs typeface="+mn-lt"/>
                <a:sym typeface="Montserrat"/>
              </a:rPr>
              <a:t>Solutions Tested</a:t>
            </a:r>
            <a:endParaRPr lang="en-US" sz="2800" noProof="0">
              <a:solidFill>
                <a:srgbClr val="000000"/>
              </a:solidFill>
              <a:latin typeface="Calibri"/>
              <a:ea typeface="+mn-lt"/>
              <a:cs typeface="+mn-lt"/>
              <a:sym typeface="Montserrat"/>
            </a:endParaRPr>
          </a:p>
          <a:p>
            <a:pPr marL="344805" lvl="1" indent="-172085">
              <a:lnSpc>
                <a:spcPts val="2399"/>
              </a:lnSpc>
              <a:buFont typeface="Arial"/>
              <a:buChar char="•"/>
            </a:pPr>
            <a:r>
              <a:rPr lang="en-US" sz="2000" noProof="0">
                <a:solidFill>
                  <a:srgbClr val="000000"/>
                </a:solidFill>
                <a:latin typeface="Montserrat"/>
                <a:ea typeface="+mn-lt"/>
                <a:cs typeface="+mn-lt"/>
                <a:sym typeface="Montserrat"/>
              </a:rPr>
              <a:t>Refinement</a:t>
            </a:r>
            <a:endParaRPr lang="en-US" sz="2800" noProof="0">
              <a:ea typeface="Calibri"/>
              <a:cs typeface="Calibri"/>
            </a:endParaRPr>
          </a:p>
          <a:p>
            <a:pPr algn="l">
              <a:lnSpc>
                <a:spcPts val="2399"/>
              </a:lnSpc>
            </a:pPr>
            <a:endParaRPr lang="en-US" sz="2000" noProof="0">
              <a:solidFill>
                <a:srgbClr val="000000"/>
              </a:solidFill>
              <a:latin typeface="Montserrat"/>
              <a:ea typeface="Montserrat"/>
              <a:cs typeface="Montserrat"/>
              <a:sym typeface="Montserrat"/>
            </a:endParaRPr>
          </a:p>
        </p:txBody>
      </p:sp>
      <p:sp>
        <p:nvSpPr>
          <p:cNvPr id="61" name="TextBox 66">
            <a:extLst>
              <a:ext uri="{FF2B5EF4-FFF2-40B4-BE49-F238E27FC236}">
                <a16:creationId xmlns:a16="http://schemas.microsoft.com/office/drawing/2014/main" id="{F4EDC035-04A1-8EFD-E553-E06DF6449631}"/>
              </a:ext>
            </a:extLst>
          </p:cNvPr>
          <p:cNvSpPr txBox="1"/>
          <p:nvPr/>
        </p:nvSpPr>
        <p:spPr>
          <a:xfrm>
            <a:off x="5291784" y="4733220"/>
            <a:ext cx="3801024" cy="1538883"/>
          </a:xfrm>
          <a:prstGeom prst="rect">
            <a:avLst/>
          </a:prstGeom>
        </p:spPr>
        <p:txBody>
          <a:bodyPr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4805" lvl="1" indent="-172085">
              <a:lnSpc>
                <a:spcPts val="2399"/>
              </a:lnSpc>
              <a:buFont typeface="Arial"/>
              <a:buChar char="•"/>
            </a:pPr>
            <a:r>
              <a:rPr lang="en-US" sz="2000" noProof="0">
                <a:solidFill>
                  <a:srgbClr val="000000"/>
                </a:solidFill>
                <a:latin typeface="Montserrat"/>
                <a:ea typeface="+mn-lt"/>
                <a:cs typeface="+mn-lt"/>
                <a:sym typeface="Montserrat"/>
              </a:rPr>
              <a:t>Analysis of the collected material</a:t>
            </a:r>
            <a:endParaRPr lang="en-US" sz="2800" noProof="0">
              <a:solidFill>
                <a:srgbClr val="000000"/>
              </a:solidFill>
              <a:latin typeface="Montserrat"/>
              <a:ea typeface="+mn-lt"/>
              <a:cs typeface="+mn-lt"/>
              <a:sym typeface="Montserrat"/>
            </a:endParaRPr>
          </a:p>
          <a:p>
            <a:pPr marL="344805" lvl="1" indent="-172085">
              <a:lnSpc>
                <a:spcPts val="2399"/>
              </a:lnSpc>
              <a:buFont typeface="Arial"/>
              <a:buChar char="•"/>
            </a:pPr>
            <a:r>
              <a:rPr lang="en-US" sz="2000" noProof="0">
                <a:solidFill>
                  <a:srgbClr val="000000"/>
                </a:solidFill>
                <a:latin typeface="Montserrat"/>
                <a:ea typeface="+mn-lt"/>
                <a:cs typeface="+mn-lt"/>
                <a:sym typeface="Montserrat"/>
              </a:rPr>
              <a:t>Definition of personas</a:t>
            </a:r>
            <a:endParaRPr lang="en-US" sz="2800" noProof="0">
              <a:solidFill>
                <a:srgbClr val="000000"/>
              </a:solidFill>
              <a:latin typeface="Montserrat"/>
              <a:ea typeface="+mn-lt"/>
              <a:cs typeface="+mn-lt"/>
              <a:sym typeface="Montserrat"/>
            </a:endParaRPr>
          </a:p>
          <a:p>
            <a:pPr marL="344805" lvl="1" indent="-172085">
              <a:lnSpc>
                <a:spcPts val="2399"/>
              </a:lnSpc>
              <a:buFont typeface="Arial"/>
              <a:buChar char="•"/>
            </a:pPr>
            <a:r>
              <a:rPr lang="en-US" sz="2000" noProof="0">
                <a:solidFill>
                  <a:srgbClr val="000000"/>
                </a:solidFill>
                <a:latin typeface="Montserrat"/>
                <a:ea typeface="+mn-lt"/>
                <a:cs typeface="+mn-lt"/>
                <a:sym typeface="Montserrat"/>
              </a:rPr>
              <a:t>Creation of hypotheses</a:t>
            </a:r>
            <a:endParaRPr lang="en-US" sz="2800" noProof="0">
              <a:latin typeface="Montserrat"/>
              <a:ea typeface="Calibri"/>
              <a:cs typeface="Calibri"/>
            </a:endParaRPr>
          </a:p>
          <a:p>
            <a:pPr algn="l">
              <a:lnSpc>
                <a:spcPts val="2399"/>
              </a:lnSpc>
            </a:pPr>
            <a:endParaRPr lang="en-US" sz="2000" noProof="0">
              <a:solidFill>
                <a:srgbClr val="000000"/>
              </a:solidFill>
              <a:latin typeface="Montserrat"/>
              <a:ea typeface="Montserrat"/>
              <a:cs typeface="Montserrat"/>
              <a:sym typeface="Montserrat"/>
            </a:endParaRPr>
          </a:p>
        </p:txBody>
      </p:sp>
      <p:sp>
        <p:nvSpPr>
          <p:cNvPr id="62" name="TextBox 67">
            <a:extLst>
              <a:ext uri="{FF2B5EF4-FFF2-40B4-BE49-F238E27FC236}">
                <a16:creationId xmlns:a16="http://schemas.microsoft.com/office/drawing/2014/main" id="{E886E5A6-FF34-E808-3F5B-815DFBD142BC}"/>
              </a:ext>
            </a:extLst>
          </p:cNvPr>
          <p:cNvSpPr txBox="1"/>
          <p:nvPr/>
        </p:nvSpPr>
        <p:spPr>
          <a:xfrm>
            <a:off x="9339425" y="4733220"/>
            <a:ext cx="3717599" cy="1231106"/>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4805" lvl="1" indent="-172085">
              <a:lnSpc>
                <a:spcPts val="2399"/>
              </a:lnSpc>
              <a:buFont typeface="Arial"/>
              <a:buChar char="•"/>
            </a:pPr>
            <a:r>
              <a:rPr lang="en-US" sz="2000" noProof="0">
                <a:solidFill>
                  <a:srgbClr val="000000"/>
                </a:solidFill>
                <a:latin typeface="Montserrat"/>
                <a:ea typeface="+mn-lt"/>
                <a:cs typeface="+mn-lt"/>
                <a:sym typeface="Montserrat"/>
              </a:rPr>
              <a:t>Solution Ideation</a:t>
            </a:r>
            <a:endParaRPr lang="en-US" sz="2800" noProof="0">
              <a:solidFill>
                <a:srgbClr val="000000"/>
              </a:solidFill>
              <a:latin typeface="Calibri"/>
              <a:ea typeface="+mn-lt"/>
              <a:cs typeface="+mn-lt"/>
              <a:sym typeface="Montserrat"/>
            </a:endParaRPr>
          </a:p>
          <a:p>
            <a:pPr marL="344805" lvl="1" indent="-172085">
              <a:lnSpc>
                <a:spcPts val="2399"/>
              </a:lnSpc>
              <a:buFont typeface="Arial"/>
              <a:buChar char="•"/>
            </a:pPr>
            <a:r>
              <a:rPr lang="en-US" sz="2000" noProof="0">
                <a:solidFill>
                  <a:srgbClr val="000000"/>
                </a:solidFill>
                <a:latin typeface="Montserrat"/>
                <a:ea typeface="+mn-lt"/>
                <a:cs typeface="+mn-lt"/>
                <a:sym typeface="Montserrat"/>
              </a:rPr>
              <a:t>Proof of Concepts</a:t>
            </a:r>
            <a:endParaRPr lang="en-US" sz="2800" noProof="0">
              <a:solidFill>
                <a:srgbClr val="000000"/>
              </a:solidFill>
              <a:latin typeface="Calibri"/>
              <a:ea typeface="+mn-lt"/>
              <a:cs typeface="+mn-lt"/>
              <a:sym typeface="Montserrat"/>
            </a:endParaRPr>
          </a:p>
          <a:p>
            <a:pPr marL="344805" lvl="1" indent="-172085">
              <a:lnSpc>
                <a:spcPts val="2399"/>
              </a:lnSpc>
              <a:buFont typeface="Arial"/>
              <a:buChar char="•"/>
            </a:pPr>
            <a:r>
              <a:rPr lang="en-US" sz="2000" noProof="0">
                <a:solidFill>
                  <a:srgbClr val="000000"/>
                </a:solidFill>
                <a:latin typeface="Montserrat"/>
                <a:ea typeface="+mn-lt"/>
                <a:cs typeface="+mn-lt"/>
                <a:sym typeface="Montserrat"/>
              </a:rPr>
              <a:t>Testing</a:t>
            </a:r>
            <a:endParaRPr lang="en-US" sz="2800" noProof="0">
              <a:solidFill>
                <a:srgbClr val="000000"/>
              </a:solidFill>
              <a:latin typeface="Calibri"/>
              <a:ea typeface="+mn-lt"/>
              <a:cs typeface="+mn-lt"/>
              <a:sym typeface="Montserrat"/>
            </a:endParaRPr>
          </a:p>
          <a:p>
            <a:pPr marL="344805" lvl="1" indent="-172085">
              <a:lnSpc>
                <a:spcPts val="2399"/>
              </a:lnSpc>
              <a:buFont typeface="Arial"/>
              <a:buChar char="•"/>
            </a:pPr>
            <a:r>
              <a:rPr lang="en-US" sz="2000" noProof="0">
                <a:solidFill>
                  <a:srgbClr val="000000"/>
                </a:solidFill>
                <a:latin typeface="Montserrat"/>
                <a:ea typeface="+mn-lt"/>
                <a:cs typeface="+mn-lt"/>
                <a:sym typeface="Montserrat"/>
              </a:rPr>
              <a:t>Refinement</a:t>
            </a:r>
            <a:endParaRPr lang="en-US" sz="2800" noProof="0">
              <a:latin typeface="Calibri"/>
              <a:ea typeface="Calibri"/>
              <a:cs typeface="Calibri"/>
            </a:endParaRPr>
          </a:p>
        </p:txBody>
      </p:sp>
      <p:sp>
        <p:nvSpPr>
          <p:cNvPr id="63" name="TextBox 68">
            <a:extLst>
              <a:ext uri="{FF2B5EF4-FFF2-40B4-BE49-F238E27FC236}">
                <a16:creationId xmlns:a16="http://schemas.microsoft.com/office/drawing/2014/main" id="{F1E7080F-D1E7-154C-6CEF-2FD46F81A996}"/>
              </a:ext>
            </a:extLst>
          </p:cNvPr>
          <p:cNvSpPr txBox="1"/>
          <p:nvPr/>
        </p:nvSpPr>
        <p:spPr>
          <a:xfrm>
            <a:off x="13486726" y="4625390"/>
            <a:ext cx="3528488" cy="923330"/>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4805" lvl="1" indent="-172085">
              <a:lnSpc>
                <a:spcPts val="2399"/>
              </a:lnSpc>
              <a:buFont typeface="Arial"/>
              <a:buChar char="•"/>
            </a:pPr>
            <a:r>
              <a:rPr lang="en-US" sz="2000" noProof="0">
                <a:solidFill>
                  <a:srgbClr val="000000"/>
                </a:solidFill>
                <a:latin typeface="Montserrat"/>
                <a:ea typeface="+mn-lt"/>
                <a:cs typeface="+mn-lt"/>
                <a:sym typeface="Montserrat"/>
              </a:rPr>
              <a:t>Final report </a:t>
            </a:r>
            <a:endParaRPr lang="en-US" sz="2800" noProof="0">
              <a:solidFill>
                <a:srgbClr val="000000"/>
              </a:solidFill>
              <a:latin typeface="Calibri"/>
              <a:ea typeface="+mn-lt"/>
              <a:cs typeface="+mn-lt"/>
              <a:sym typeface="Montserrat"/>
            </a:endParaRPr>
          </a:p>
          <a:p>
            <a:pPr marL="344805" lvl="1" indent="-172085">
              <a:lnSpc>
                <a:spcPts val="2399"/>
              </a:lnSpc>
              <a:buFont typeface="Arial"/>
              <a:buChar char="•"/>
            </a:pPr>
            <a:r>
              <a:rPr lang="en-US" sz="2000" noProof="0">
                <a:solidFill>
                  <a:srgbClr val="000000"/>
                </a:solidFill>
                <a:latin typeface="Montserrat"/>
                <a:ea typeface="+mn-lt"/>
                <a:cs typeface="+mn-lt"/>
                <a:sym typeface="Montserrat"/>
              </a:rPr>
              <a:t>Action plan </a:t>
            </a:r>
            <a:endParaRPr lang="en-US" sz="2800" noProof="0">
              <a:solidFill>
                <a:srgbClr val="000000"/>
              </a:solidFill>
              <a:latin typeface="Calibri"/>
              <a:ea typeface="+mn-lt"/>
              <a:cs typeface="+mn-lt"/>
            </a:endParaRPr>
          </a:p>
          <a:p>
            <a:pPr marL="344805" lvl="1" indent="-172085">
              <a:lnSpc>
                <a:spcPts val="2399"/>
              </a:lnSpc>
              <a:buFont typeface="Arial"/>
              <a:buChar char="•"/>
            </a:pPr>
            <a:r>
              <a:rPr lang="en-US" sz="2000" noProof="0">
                <a:solidFill>
                  <a:srgbClr val="000000"/>
                </a:solidFill>
                <a:latin typeface="Montserrat"/>
                <a:ea typeface="+mn-lt"/>
                <a:cs typeface="+mn-lt"/>
                <a:sym typeface="Montserrat"/>
              </a:rPr>
              <a:t>Success metrics</a:t>
            </a:r>
            <a:endParaRPr lang="en-US" sz="2800" noProof="0">
              <a:latin typeface="Calibri"/>
              <a:ea typeface="+mn-lt"/>
              <a:cs typeface="+mn-lt"/>
            </a:endParaRPr>
          </a:p>
        </p:txBody>
      </p:sp>
      <p:sp>
        <p:nvSpPr>
          <p:cNvPr id="64" name="TextBox 69">
            <a:extLst>
              <a:ext uri="{FF2B5EF4-FFF2-40B4-BE49-F238E27FC236}">
                <a16:creationId xmlns:a16="http://schemas.microsoft.com/office/drawing/2014/main" id="{FB7CA8D6-EF65-3A5D-BDC4-7C4E068BC7B4}"/>
              </a:ext>
            </a:extLst>
          </p:cNvPr>
          <p:cNvSpPr txBox="1"/>
          <p:nvPr/>
        </p:nvSpPr>
        <p:spPr>
          <a:xfrm>
            <a:off x="13445662" y="7316848"/>
            <a:ext cx="4025551" cy="1538883"/>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4805" indent="-172085">
              <a:buFont typeface="Arial"/>
              <a:buChar char="•"/>
            </a:pPr>
            <a:r>
              <a:rPr lang="en-US" sz="2000" noProof="0">
                <a:solidFill>
                  <a:srgbClr val="000000"/>
                </a:solidFill>
                <a:latin typeface="Montserrat"/>
                <a:ea typeface="+mn-lt"/>
                <a:cs typeface="+mn-lt"/>
                <a:sym typeface="Montserrat"/>
              </a:rPr>
              <a:t>Presentation of all collected and constructed material</a:t>
            </a:r>
            <a:endParaRPr lang="en-US" sz="2000" noProof="0">
              <a:latin typeface="Calibri"/>
              <a:ea typeface="+mn-lt"/>
              <a:cs typeface="+mn-lt"/>
            </a:endParaRPr>
          </a:p>
          <a:p>
            <a:pPr marL="344805" lvl="1" indent="-172085">
              <a:buFont typeface="Arial"/>
              <a:buChar char="•"/>
            </a:pPr>
            <a:r>
              <a:rPr lang="en-US" sz="2000" noProof="0">
                <a:solidFill>
                  <a:srgbClr val="000000"/>
                </a:solidFill>
                <a:latin typeface="Montserrat"/>
                <a:ea typeface="+mn-lt"/>
                <a:cs typeface="+mn-lt"/>
                <a:sym typeface="Montserrat"/>
              </a:rPr>
              <a:t>Action plan steps defined</a:t>
            </a:r>
            <a:endParaRPr lang="en-US" sz="2800" noProof="0"/>
          </a:p>
          <a:p>
            <a:pPr marL="344805" lvl="1" indent="-172085">
              <a:lnSpc>
                <a:spcPts val="2399"/>
              </a:lnSpc>
              <a:buFont typeface="Arial"/>
              <a:buChar char="•"/>
            </a:pPr>
            <a:r>
              <a:rPr lang="en-US" sz="2000" noProof="0">
                <a:solidFill>
                  <a:srgbClr val="000000"/>
                </a:solidFill>
                <a:latin typeface="Montserrat"/>
                <a:ea typeface="+mn-lt"/>
                <a:cs typeface="+mn-lt"/>
                <a:sym typeface="Montserrat"/>
              </a:rPr>
              <a:t>Specific metrics for the project</a:t>
            </a:r>
            <a:endParaRPr lang="en-US" sz="2800" noProof="0"/>
          </a:p>
        </p:txBody>
      </p:sp>
      <p:grpSp>
        <p:nvGrpSpPr>
          <p:cNvPr id="66" name="Group 30">
            <a:extLst>
              <a:ext uri="{FF2B5EF4-FFF2-40B4-BE49-F238E27FC236}">
                <a16:creationId xmlns:a16="http://schemas.microsoft.com/office/drawing/2014/main" id="{F1A703FE-A54A-CEC0-E7AD-521AFECF7D8C}"/>
              </a:ext>
            </a:extLst>
          </p:cNvPr>
          <p:cNvGrpSpPr/>
          <p:nvPr/>
        </p:nvGrpSpPr>
        <p:grpSpPr>
          <a:xfrm>
            <a:off x="13342889" y="2681198"/>
            <a:ext cx="1151304" cy="1312609"/>
            <a:chOff x="9245208" y="2157933"/>
            <a:chExt cx="1535072" cy="1750143"/>
          </a:xfrm>
        </p:grpSpPr>
        <p:grpSp>
          <p:nvGrpSpPr>
            <p:cNvPr id="67" name="Group 31">
              <a:extLst>
                <a:ext uri="{FF2B5EF4-FFF2-40B4-BE49-F238E27FC236}">
                  <a16:creationId xmlns:a16="http://schemas.microsoft.com/office/drawing/2014/main" id="{C9DD258E-1055-C5FB-794A-2F3CB98BC4E2}"/>
                </a:ext>
              </a:extLst>
            </p:cNvPr>
            <p:cNvGrpSpPr/>
            <p:nvPr/>
          </p:nvGrpSpPr>
          <p:grpSpPr>
            <a:xfrm>
              <a:off x="9245208" y="2301046"/>
              <a:ext cx="1535072" cy="1607030"/>
              <a:chOff x="9245208" y="2334903"/>
              <a:chExt cx="812800" cy="850901"/>
            </a:xfrm>
          </p:grpSpPr>
          <p:sp>
            <p:nvSpPr>
              <p:cNvPr id="69" name="Freeform 32">
                <a:extLst>
                  <a:ext uri="{FF2B5EF4-FFF2-40B4-BE49-F238E27FC236}">
                    <a16:creationId xmlns:a16="http://schemas.microsoft.com/office/drawing/2014/main" id="{34166EB0-7206-9CCF-A291-BB952D531949}"/>
                  </a:ext>
                </a:extLst>
              </p:cNvPr>
              <p:cNvSpPr/>
              <p:nvPr/>
            </p:nvSpPr>
            <p:spPr>
              <a:xfrm>
                <a:off x="9245208" y="2373004"/>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6800FF"/>
              </a:solidFill>
            </p:spPr>
            <p:txBody>
              <a:bodyPr/>
              <a:lstStyle/>
              <a:p>
                <a:endParaRPr lang="en-US" noProof="0"/>
              </a:p>
            </p:txBody>
          </p:sp>
          <p:sp>
            <p:nvSpPr>
              <p:cNvPr id="70" name="TextBox 33">
                <a:extLst>
                  <a:ext uri="{FF2B5EF4-FFF2-40B4-BE49-F238E27FC236}">
                    <a16:creationId xmlns:a16="http://schemas.microsoft.com/office/drawing/2014/main" id="{C221B4F4-48AC-3BCB-290A-3E9BB08B4B39}"/>
                  </a:ext>
                </a:extLst>
              </p:cNvPr>
              <p:cNvSpPr txBox="1"/>
              <p:nvPr/>
            </p:nvSpPr>
            <p:spPr>
              <a:xfrm>
                <a:off x="9321408" y="2334903"/>
                <a:ext cx="660400" cy="774700"/>
              </a:xfrm>
              <a:prstGeom prst="rect">
                <a:avLst/>
              </a:prstGeom>
            </p:spPr>
            <p:txBody>
              <a:bodyPr lIns="50800" tIns="50800" rIns="50800" bIns="508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940"/>
                  </a:lnSpc>
                </a:pPr>
                <a:endParaRPr lang="en-US" noProof="0"/>
              </a:p>
            </p:txBody>
          </p:sp>
        </p:grpSp>
        <p:sp>
          <p:nvSpPr>
            <p:cNvPr id="68" name="TextBox 34">
              <a:extLst>
                <a:ext uri="{FF2B5EF4-FFF2-40B4-BE49-F238E27FC236}">
                  <a16:creationId xmlns:a16="http://schemas.microsoft.com/office/drawing/2014/main" id="{025FA045-2533-7557-C35E-C3FD3188286A}"/>
                </a:ext>
              </a:extLst>
            </p:cNvPr>
            <p:cNvSpPr txBox="1"/>
            <p:nvPr/>
          </p:nvSpPr>
          <p:spPr>
            <a:xfrm>
              <a:off x="9726995" y="2157933"/>
              <a:ext cx="571500" cy="1658059"/>
            </a:xfrm>
            <a:prstGeom prst="rect">
              <a:avLst/>
            </a:prstGeom>
          </p:spPr>
          <p:txBody>
            <a:bodyPr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11171"/>
                </a:lnSpc>
                <a:spcBef>
                  <a:spcPct val="0"/>
                </a:spcBef>
              </a:pPr>
              <a:r>
                <a:rPr lang="en-US" sz="5699" b="1" i="1" noProof="0">
                  <a:solidFill>
                    <a:srgbClr val="FFFFFF"/>
                  </a:solidFill>
                  <a:latin typeface="Montserrat Bold Italics"/>
                  <a:ea typeface="Montserrat Bold Italics"/>
                  <a:cs typeface="Montserrat Bold Italics"/>
                  <a:sym typeface="Montserrat Bold Italics"/>
                </a:rPr>
                <a:t>4</a:t>
              </a:r>
            </a:p>
          </p:txBody>
        </p:sp>
      </p:grpSp>
      <p:grpSp>
        <p:nvGrpSpPr>
          <p:cNvPr id="26" name="Group 7">
            <a:extLst>
              <a:ext uri="{FF2B5EF4-FFF2-40B4-BE49-F238E27FC236}">
                <a16:creationId xmlns:a16="http://schemas.microsoft.com/office/drawing/2014/main" id="{2BECF5F4-CC80-8FB0-715C-080B7B654CBB}"/>
              </a:ext>
            </a:extLst>
          </p:cNvPr>
          <p:cNvGrpSpPr/>
          <p:nvPr/>
        </p:nvGrpSpPr>
        <p:grpSpPr>
          <a:xfrm>
            <a:off x="12300363" y="1173613"/>
            <a:ext cx="612363" cy="56823"/>
            <a:chOff x="0" y="0"/>
            <a:chExt cx="1078484" cy="100076"/>
          </a:xfrm>
        </p:grpSpPr>
        <p:sp>
          <p:nvSpPr>
            <p:cNvPr id="4" name="Freeform 8">
              <a:extLst>
                <a:ext uri="{FF2B5EF4-FFF2-40B4-BE49-F238E27FC236}">
                  <a16:creationId xmlns:a16="http://schemas.microsoft.com/office/drawing/2014/main" id="{A71C9A9B-6981-2039-154B-92B77B5D9EEB}"/>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spTree>
    <p:extLst>
      <p:ext uri="{BB962C8B-B14F-4D97-AF65-F5344CB8AC3E}">
        <p14:creationId xmlns:p14="http://schemas.microsoft.com/office/powerpoint/2010/main" val="37300110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CC5C77-E3AB-E526-2866-851F55BD190D}"/>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AADC07D3-4DC0-F29F-9286-95FABE7908DC}"/>
              </a:ext>
            </a:extLst>
          </p:cNvPr>
          <p:cNvSpPr>
            <a:spLocks noGrp="1"/>
          </p:cNvSpPr>
          <p:nvPr>
            <p:ph type="title"/>
          </p:nvPr>
        </p:nvSpPr>
        <p:spPr/>
        <p:txBody>
          <a:bodyPr/>
          <a:lstStyle/>
          <a:p>
            <a:r>
              <a:rPr lang="en-US" sz="4400" noProof="0">
                <a:latin typeface="Montserrat Bold"/>
              </a:rPr>
              <a:t>DATA SECURE SENTINEL</a:t>
            </a:r>
          </a:p>
        </p:txBody>
      </p:sp>
      <p:sp>
        <p:nvSpPr>
          <p:cNvPr id="3" name="Retângulo: Cantos Arredondados 11">
            <a:extLst>
              <a:ext uri="{FF2B5EF4-FFF2-40B4-BE49-F238E27FC236}">
                <a16:creationId xmlns:a16="http://schemas.microsoft.com/office/drawing/2014/main" id="{796921F4-1CE7-BC07-A47F-2560A72F98F2}"/>
              </a:ext>
            </a:extLst>
          </p:cNvPr>
          <p:cNvSpPr/>
          <p:nvPr/>
        </p:nvSpPr>
        <p:spPr>
          <a:xfrm>
            <a:off x="-1891866" y="7848179"/>
            <a:ext cx="6109697" cy="1385272"/>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7D43FF"/>
                </a:solidFill>
                <a:effectLst/>
                <a:uLnTx/>
                <a:uFillTx/>
                <a:latin typeface="Montserrat" panose="00000500000000000000" pitchFamily="2" charset="0"/>
              </a:rPr>
              <a:t>           POWERED BY</a:t>
            </a:r>
          </a:p>
        </p:txBody>
      </p:sp>
      <p:pic>
        <p:nvPicPr>
          <p:cNvPr id="4" name="Google Shape;59;p13">
            <a:extLst>
              <a:ext uri="{FF2B5EF4-FFF2-40B4-BE49-F238E27FC236}">
                <a16:creationId xmlns:a16="http://schemas.microsoft.com/office/drawing/2014/main" id="{D7E2B9CC-A8D1-91CC-8B0C-B1D8D74E0826}"/>
              </a:ext>
            </a:extLst>
          </p:cNvPr>
          <p:cNvPicPr preferRelativeResize="0"/>
          <p:nvPr/>
        </p:nvPicPr>
        <p:blipFill rotWithShape="1">
          <a:blip r:embed="rId2">
            <a:alphaModFix/>
          </a:blip>
          <a:srcRect t="59" b="49"/>
          <a:stretch/>
        </p:blipFill>
        <p:spPr>
          <a:xfrm>
            <a:off x="4470554" y="8460113"/>
            <a:ext cx="698400" cy="295200"/>
          </a:xfrm>
          <a:prstGeom prst="rect">
            <a:avLst/>
          </a:prstGeom>
          <a:noFill/>
          <a:ln>
            <a:noFill/>
          </a:ln>
        </p:spPr>
      </p:pic>
      <p:sp>
        <p:nvSpPr>
          <p:cNvPr id="6" name="Google Shape;58;p13">
            <a:extLst>
              <a:ext uri="{FF2B5EF4-FFF2-40B4-BE49-F238E27FC236}">
                <a16:creationId xmlns:a16="http://schemas.microsoft.com/office/drawing/2014/main" id="{3ED0477A-06F8-CC70-D574-6F35CB285F95}"/>
              </a:ext>
            </a:extLst>
          </p:cNvPr>
          <p:cNvSpPr txBox="1"/>
          <p:nvPr/>
        </p:nvSpPr>
        <p:spPr>
          <a:xfrm>
            <a:off x="5357287" y="8195886"/>
            <a:ext cx="2270379" cy="823653"/>
          </a:xfrm>
          <a:prstGeom prst="rect">
            <a:avLst/>
          </a:prstGeom>
          <a:noFill/>
          <a:ln>
            <a:noFill/>
          </a:ln>
        </p:spPr>
        <p:txBody>
          <a:bodyPr spcFirstLastPara="1" wrap="square" lIns="91425" tIns="45700" rIns="91425" bIns="45700" anchor="ctr" anchorCtr="0">
            <a:normAutofit/>
          </a:bodyPr>
          <a:lstStyle/>
          <a:p>
            <a:pPr marL="0" marR="0" lvl="0" indent="0" algn="l" rtl="0">
              <a:lnSpc>
                <a:spcPct val="90000"/>
              </a:lnSpc>
              <a:spcBef>
                <a:spcPts val="0"/>
              </a:spcBef>
              <a:spcAft>
                <a:spcPts val="0"/>
              </a:spcAft>
              <a:buClr>
                <a:srgbClr val="000000"/>
              </a:buClr>
              <a:buSzPts val="1500"/>
              <a:buFont typeface="Arial"/>
              <a:buNone/>
            </a:pPr>
            <a:r>
              <a:rPr lang="en" sz="2800" b="1" i="0" u="none" strike="noStrike" cap="none">
                <a:solidFill>
                  <a:srgbClr val="FFFFFF"/>
                </a:solidFill>
                <a:latin typeface="Montserrat" panose="00000500000000000000" pitchFamily="2" charset="0"/>
                <a:ea typeface="Proxima Nova"/>
                <a:cs typeface="Proxima Nova"/>
                <a:sym typeface="Proxima Nova"/>
              </a:rPr>
              <a:t>XQMSG.co</a:t>
            </a:r>
            <a:endParaRPr sz="2800" b="1" i="0" u="none" strike="noStrike" cap="none">
              <a:solidFill>
                <a:srgbClr val="FFFFFF"/>
              </a:solidFill>
              <a:latin typeface="Montserrat" panose="00000500000000000000" pitchFamily="2" charset="0"/>
              <a:ea typeface="Proxima Nova"/>
              <a:cs typeface="Proxima Nova"/>
              <a:sym typeface="Proxima Nova"/>
            </a:endParaRPr>
          </a:p>
        </p:txBody>
      </p:sp>
    </p:spTree>
    <p:extLst>
      <p:ext uri="{BB962C8B-B14F-4D97-AF65-F5344CB8AC3E}">
        <p14:creationId xmlns:p14="http://schemas.microsoft.com/office/powerpoint/2010/main" val="35327811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m 5" descr="Diagrama, Esquemático&#10;&#10;O conteúdo gerado por IA pode estar incorreto.">
            <a:extLst>
              <a:ext uri="{FF2B5EF4-FFF2-40B4-BE49-F238E27FC236}">
                <a16:creationId xmlns:a16="http://schemas.microsoft.com/office/drawing/2014/main" id="{AC93F58E-81E5-8E80-6342-D8C3061BAF8E}"/>
              </a:ext>
            </a:extLst>
          </p:cNvPr>
          <p:cNvPicPr>
            <a:picLocks noChangeAspect="1"/>
          </p:cNvPicPr>
          <p:nvPr/>
        </p:nvPicPr>
        <p:blipFill>
          <a:blip r:embed="rId2">
            <a:extLst>
              <a:ext uri="{28A0092B-C50C-407E-A947-70E740481C1C}">
                <a14:useLocalDpi xmlns:a14="http://schemas.microsoft.com/office/drawing/2010/main" val="0"/>
              </a:ext>
            </a:extLst>
          </a:blip>
          <a:srcRect r="7517" b="82346"/>
          <a:stretch/>
        </p:blipFill>
        <p:spPr>
          <a:xfrm>
            <a:off x="392708" y="274658"/>
            <a:ext cx="9631649" cy="1750086"/>
          </a:xfrm>
          <a:prstGeom prst="rect">
            <a:avLst/>
          </a:prstGeom>
        </p:spPr>
      </p:pic>
      <p:pic>
        <p:nvPicPr>
          <p:cNvPr id="2" name="Imagem 5" descr="Diagrama, Esquemático&#10;&#10;O conteúdo gerado por IA pode estar incorreto.">
            <a:extLst>
              <a:ext uri="{FF2B5EF4-FFF2-40B4-BE49-F238E27FC236}">
                <a16:creationId xmlns:a16="http://schemas.microsoft.com/office/drawing/2014/main" id="{3E1A85CF-9455-70AE-991D-504C63CA3216}"/>
              </a:ext>
            </a:extLst>
          </p:cNvPr>
          <p:cNvPicPr>
            <a:picLocks noChangeAspect="1"/>
          </p:cNvPicPr>
          <p:nvPr/>
        </p:nvPicPr>
        <p:blipFill>
          <a:blip r:embed="rId2">
            <a:extLst>
              <a:ext uri="{28A0092B-C50C-407E-A947-70E740481C1C}">
                <a14:useLocalDpi xmlns:a14="http://schemas.microsoft.com/office/drawing/2010/main" val="0"/>
              </a:ext>
            </a:extLst>
          </a:blip>
          <a:srcRect l="2059" t="19354" r="2614" b="2353"/>
          <a:stretch/>
        </p:blipFill>
        <p:spPr>
          <a:xfrm>
            <a:off x="4307774" y="2250827"/>
            <a:ext cx="9927772" cy="7761515"/>
          </a:xfrm>
          <a:prstGeom prst="rect">
            <a:avLst/>
          </a:prstGeom>
        </p:spPr>
      </p:pic>
    </p:spTree>
    <p:extLst>
      <p:ext uri="{BB962C8B-B14F-4D97-AF65-F5344CB8AC3E}">
        <p14:creationId xmlns:p14="http://schemas.microsoft.com/office/powerpoint/2010/main" val="171319044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315"/>
        <p:cNvGrpSpPr/>
        <p:nvPr/>
      </p:nvGrpSpPr>
      <p:grpSpPr>
        <a:xfrm>
          <a:off x="0" y="0"/>
          <a:ext cx="0" cy="0"/>
          <a:chOff x="0" y="0"/>
          <a:chExt cx="0" cy="0"/>
        </a:xfrm>
      </p:grpSpPr>
      <p:cxnSp>
        <p:nvCxnSpPr>
          <p:cNvPr id="346" name="Google Shape;346;p65"/>
          <p:cNvCxnSpPr/>
          <p:nvPr/>
        </p:nvCxnSpPr>
        <p:spPr>
          <a:xfrm>
            <a:off x="9191358" y="2798559"/>
            <a:ext cx="0" cy="6048000"/>
          </a:xfrm>
          <a:prstGeom prst="straightConnector1">
            <a:avLst/>
          </a:prstGeom>
          <a:noFill/>
          <a:ln w="9525" cap="flat" cmpd="sng">
            <a:solidFill>
              <a:srgbClr val="6800FF"/>
            </a:solidFill>
            <a:prstDash val="solid"/>
            <a:round/>
            <a:headEnd type="none" w="med" len="med"/>
            <a:tailEnd type="none" w="med" len="med"/>
          </a:ln>
        </p:spPr>
      </p:cxnSp>
      <p:sp>
        <p:nvSpPr>
          <p:cNvPr id="6" name="Rectangle 5">
            <a:extLst>
              <a:ext uri="{FF2B5EF4-FFF2-40B4-BE49-F238E27FC236}">
                <a16:creationId xmlns:a16="http://schemas.microsoft.com/office/drawing/2014/main" id="{4EFC17CE-9F0B-C207-D3AC-7BAEC47D0B71}"/>
              </a:ext>
            </a:extLst>
          </p:cNvPr>
          <p:cNvSpPr/>
          <p:nvPr/>
        </p:nvSpPr>
        <p:spPr>
          <a:xfrm>
            <a:off x="1239201" y="2778778"/>
            <a:ext cx="7672565" cy="2483178"/>
          </a:xfrm>
          <a:prstGeom prst="rect">
            <a:avLst/>
          </a:prstGeom>
          <a:noFill/>
          <a:ln w="12700">
            <a:noFill/>
          </a:ln>
        </p:spPr>
        <p:style>
          <a:lnRef idx="2">
            <a:schemeClr val="accent5">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108000"/>
          <a:lstStyle/>
          <a:p>
            <a:endParaRPr lang="en-US" sz="2400" noProof="0">
              <a:solidFill>
                <a:schemeClr val="bg1"/>
              </a:solidFill>
              <a:latin typeface="Montserrat" panose="00000500000000000000" pitchFamily="2" charset="0"/>
            </a:endParaRPr>
          </a:p>
        </p:txBody>
      </p:sp>
      <p:sp>
        <p:nvSpPr>
          <p:cNvPr id="7" name="TextBox 6">
            <a:extLst>
              <a:ext uri="{FF2B5EF4-FFF2-40B4-BE49-F238E27FC236}">
                <a16:creationId xmlns:a16="http://schemas.microsoft.com/office/drawing/2014/main" id="{6FF76AD8-17B3-A31B-1BEC-6D67BA987A75}"/>
              </a:ext>
            </a:extLst>
          </p:cNvPr>
          <p:cNvSpPr txBox="1"/>
          <p:nvPr/>
        </p:nvSpPr>
        <p:spPr>
          <a:xfrm>
            <a:off x="1239201" y="2778778"/>
            <a:ext cx="7672565" cy="2483178"/>
          </a:xfrm>
          <a:prstGeom prst="rect">
            <a:avLst/>
          </a:prstGeom>
          <a:noFill/>
          <a:ln w="12700">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08000" tIns="53340" rIns="53340" bIns="53340" numCol="1" spcCol="1270" anchor="t" anchorCtr="0">
            <a:noAutofit/>
          </a:bodyPr>
          <a:lstStyle/>
          <a:p>
            <a:pPr defTabSz="622300">
              <a:lnSpc>
                <a:spcPct val="90000"/>
              </a:lnSpc>
              <a:spcBef>
                <a:spcPct val="0"/>
              </a:spcBef>
              <a:spcAft>
                <a:spcPct val="35000"/>
              </a:spcAft>
            </a:pPr>
            <a:r>
              <a:rPr lang="en-US" sz="2400" b="1" noProof="0">
                <a:solidFill>
                  <a:srgbClr val="6800FF"/>
                </a:solidFill>
                <a:latin typeface="Montserrat"/>
                <a:ea typeface="Roboto"/>
                <a:cs typeface="Roboto"/>
                <a:sym typeface="Roboto"/>
              </a:rPr>
              <a:t>Organizations Lack Awareness of Their Data and Access Permissions</a:t>
            </a:r>
          </a:p>
          <a:p>
            <a:pPr marL="0" lvl="0" indent="0" algn="l" defTabSz="622300">
              <a:lnSpc>
                <a:spcPct val="90000"/>
              </a:lnSpc>
              <a:spcBef>
                <a:spcPct val="0"/>
              </a:spcBef>
              <a:spcAft>
                <a:spcPct val="35000"/>
              </a:spcAft>
              <a:buNone/>
            </a:pPr>
            <a:endParaRPr lang="en-US" sz="1800" b="1" kern="1200" noProof="0">
              <a:solidFill>
                <a:srgbClr val="6800FF"/>
              </a:solidFill>
              <a:latin typeface="Montserrat" panose="00000500000000000000" pitchFamily="2" charset="0"/>
            </a:endParaRPr>
          </a:p>
          <a:p>
            <a:pPr marL="285750" lvl="0" indent="-285750" algn="l" defTabSz="622300">
              <a:lnSpc>
                <a:spcPct val="90000"/>
              </a:lnSpc>
              <a:spcAft>
                <a:spcPts val="1600"/>
              </a:spcAft>
              <a:buFont typeface="Arial" panose="020B0604020202020204" pitchFamily="34" charset="0"/>
              <a:buChar char="•"/>
            </a:pPr>
            <a:r>
              <a:rPr lang="en-US" sz="1800" kern="1200" noProof="0">
                <a:solidFill>
                  <a:schemeClr val="bg1"/>
                </a:solidFill>
                <a:latin typeface="Montserrat Medium"/>
              </a:rPr>
              <a:t>Most organizations don’t know </a:t>
            </a:r>
            <a:r>
              <a:rPr lang="en-US" sz="1800" b="1" kern="1200" noProof="0">
                <a:solidFill>
                  <a:schemeClr val="bg1"/>
                </a:solidFill>
                <a:latin typeface="Montserrat Medium"/>
              </a:rPr>
              <a:t>what data they have</a:t>
            </a:r>
            <a:r>
              <a:rPr lang="en-US" sz="1800" kern="1200" noProof="0">
                <a:solidFill>
                  <a:schemeClr val="bg1"/>
                </a:solidFill>
                <a:latin typeface="Montserrat Medium"/>
              </a:rPr>
              <a:t> or </a:t>
            </a:r>
            <a:r>
              <a:rPr lang="en-US" sz="1800" b="1" kern="1200" noProof="0">
                <a:solidFill>
                  <a:schemeClr val="bg1"/>
                </a:solidFill>
                <a:latin typeface="Montserrat Medium"/>
              </a:rPr>
              <a:t>who should be accessing it</a:t>
            </a:r>
          </a:p>
          <a:p>
            <a:pPr marL="285750" lvl="0" indent="-285750" algn="l" defTabSz="622300">
              <a:lnSpc>
                <a:spcPct val="90000"/>
              </a:lnSpc>
              <a:spcAft>
                <a:spcPts val="1600"/>
              </a:spcAft>
              <a:buFont typeface="Arial" panose="020B0604020202020204" pitchFamily="34" charset="0"/>
              <a:buChar char="•"/>
            </a:pPr>
            <a:r>
              <a:rPr lang="en-US" sz="1800" b="1" kern="1200" noProof="0">
                <a:solidFill>
                  <a:schemeClr val="bg1"/>
                </a:solidFill>
                <a:latin typeface="Montserrat Medium"/>
              </a:rPr>
              <a:t>Cost of non-compliance and penalties</a:t>
            </a:r>
            <a:r>
              <a:rPr lang="en-US" sz="1800" kern="1200" noProof="0">
                <a:solidFill>
                  <a:schemeClr val="bg1"/>
                </a:solidFill>
                <a:latin typeface="Montserrat Medium"/>
              </a:rPr>
              <a:t> can be high and put at risk the future of any organization </a:t>
            </a:r>
          </a:p>
        </p:txBody>
      </p:sp>
      <p:sp>
        <p:nvSpPr>
          <p:cNvPr id="9" name="Rectangle 8">
            <a:extLst>
              <a:ext uri="{FF2B5EF4-FFF2-40B4-BE49-F238E27FC236}">
                <a16:creationId xmlns:a16="http://schemas.microsoft.com/office/drawing/2014/main" id="{17FC578F-4AFE-E341-D8E8-18B15AD67FA3}"/>
              </a:ext>
            </a:extLst>
          </p:cNvPr>
          <p:cNvSpPr/>
          <p:nvPr/>
        </p:nvSpPr>
        <p:spPr>
          <a:xfrm>
            <a:off x="1239201" y="5687124"/>
            <a:ext cx="7672565" cy="2727972"/>
          </a:xfrm>
          <a:prstGeom prst="rect">
            <a:avLst/>
          </a:prstGeom>
          <a:noFill/>
          <a:ln w="12700">
            <a:noFill/>
          </a:ln>
        </p:spPr>
        <p:style>
          <a:lnRef idx="2">
            <a:schemeClr val="accent5">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108000"/>
          <a:lstStyle/>
          <a:p>
            <a:endParaRPr lang="en-US" sz="2400" noProof="0">
              <a:solidFill>
                <a:schemeClr val="bg1"/>
              </a:solidFill>
              <a:latin typeface="Montserrat" panose="00000500000000000000" pitchFamily="2" charset="0"/>
            </a:endParaRPr>
          </a:p>
        </p:txBody>
      </p:sp>
      <p:sp>
        <p:nvSpPr>
          <p:cNvPr id="10" name="TextBox 9">
            <a:extLst>
              <a:ext uri="{FF2B5EF4-FFF2-40B4-BE49-F238E27FC236}">
                <a16:creationId xmlns:a16="http://schemas.microsoft.com/office/drawing/2014/main" id="{E8A810F1-EC9C-7590-0549-2AA1CDBA7EDD}"/>
              </a:ext>
            </a:extLst>
          </p:cNvPr>
          <p:cNvSpPr txBox="1"/>
          <p:nvPr/>
        </p:nvSpPr>
        <p:spPr>
          <a:xfrm>
            <a:off x="1239201" y="5687124"/>
            <a:ext cx="7672565" cy="2727972"/>
          </a:xfrm>
          <a:prstGeom prst="rect">
            <a:avLst/>
          </a:prstGeom>
          <a:noFill/>
          <a:ln w="12700">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08000" tIns="53340" rIns="53340" bIns="53340" numCol="1" spcCol="1270" anchor="t" anchorCtr="0">
            <a:noAutofit/>
          </a:bodyPr>
          <a:lstStyle/>
          <a:p>
            <a:pPr defTabSz="622300">
              <a:lnSpc>
                <a:spcPct val="90000"/>
              </a:lnSpc>
              <a:spcBef>
                <a:spcPct val="0"/>
              </a:spcBef>
              <a:spcAft>
                <a:spcPct val="35000"/>
              </a:spcAft>
            </a:pPr>
            <a:r>
              <a:rPr lang="en-US" sz="2400" b="1" noProof="0">
                <a:solidFill>
                  <a:srgbClr val="6800FF"/>
                </a:solidFill>
                <a:latin typeface="Montserrat"/>
                <a:ea typeface="Roboto"/>
                <a:cs typeface="Roboto"/>
                <a:sym typeface="Roboto"/>
              </a:rPr>
              <a:t>Organizations Can Not Control Where Their Data is Accessed</a:t>
            </a:r>
          </a:p>
          <a:p>
            <a:pPr marL="0" lvl="0" indent="0" algn="l" defTabSz="622300">
              <a:lnSpc>
                <a:spcPct val="90000"/>
              </a:lnSpc>
              <a:spcAft>
                <a:spcPts val="1600"/>
              </a:spcAft>
              <a:buNone/>
            </a:pPr>
            <a:endParaRPr lang="en-US" sz="1800" b="1" kern="1200" noProof="0">
              <a:solidFill>
                <a:srgbClr val="6800FF"/>
              </a:solidFill>
              <a:latin typeface="Montserrat" panose="00000500000000000000" pitchFamily="2" charset="0"/>
            </a:endParaRPr>
          </a:p>
          <a:p>
            <a:pPr marL="285750" indent="-285750" defTabSz="622300">
              <a:lnSpc>
                <a:spcPct val="90000"/>
              </a:lnSpc>
              <a:spcAft>
                <a:spcPts val="1600"/>
              </a:spcAft>
              <a:buFont typeface="Arial" panose="020B0604020202020204" pitchFamily="34" charset="0"/>
              <a:buChar char="•"/>
            </a:pPr>
            <a:r>
              <a:rPr lang="en-US" sz="1800" b="1" kern="1200" noProof="0">
                <a:solidFill>
                  <a:schemeClr val="bg1"/>
                </a:solidFill>
                <a:latin typeface="Montserrat Medium"/>
              </a:rPr>
              <a:t>Data shared or exfiltrated has to geo access control</a:t>
            </a:r>
            <a:r>
              <a:rPr lang="en-US" sz="1800" kern="1200" noProof="0">
                <a:solidFill>
                  <a:schemeClr val="bg1"/>
                </a:solidFill>
                <a:latin typeface="Montserrat Medium"/>
              </a:rPr>
              <a:t> at the edge.</a:t>
            </a:r>
          </a:p>
          <a:p>
            <a:pPr marL="285750" indent="-285750" defTabSz="622300">
              <a:lnSpc>
                <a:spcPct val="90000"/>
              </a:lnSpc>
              <a:spcAft>
                <a:spcPts val="1600"/>
              </a:spcAft>
              <a:buFont typeface="Arial" panose="020B0604020202020204" pitchFamily="34" charset="0"/>
              <a:buChar char="•"/>
            </a:pPr>
            <a:r>
              <a:rPr lang="en-US" sz="1800" b="1" kern="1200" noProof="0">
                <a:solidFill>
                  <a:schemeClr val="bg1"/>
                </a:solidFill>
                <a:latin typeface="Montserrat Medium"/>
              </a:rPr>
              <a:t>Many organizations reported breaches</a:t>
            </a:r>
            <a:r>
              <a:rPr lang="en-US" sz="1800" kern="1200" noProof="0">
                <a:solidFill>
                  <a:schemeClr val="bg1"/>
                </a:solidFill>
                <a:latin typeface="Montserrat Medium"/>
              </a:rPr>
              <a:t> in the last 3 years</a:t>
            </a:r>
          </a:p>
        </p:txBody>
      </p:sp>
      <p:sp>
        <p:nvSpPr>
          <p:cNvPr id="3" name="TextBox 2">
            <a:extLst>
              <a:ext uri="{FF2B5EF4-FFF2-40B4-BE49-F238E27FC236}">
                <a16:creationId xmlns:a16="http://schemas.microsoft.com/office/drawing/2014/main" id="{5D3DEF99-7F86-C008-6262-F0C1C189DC34}"/>
              </a:ext>
            </a:extLst>
          </p:cNvPr>
          <p:cNvSpPr txBox="1"/>
          <p:nvPr/>
        </p:nvSpPr>
        <p:spPr>
          <a:xfrm>
            <a:off x="9617627" y="2778778"/>
            <a:ext cx="7700903" cy="2483178"/>
          </a:xfrm>
          <a:prstGeom prst="rect">
            <a:avLst/>
          </a:prstGeom>
          <a:noFill/>
          <a:ln w="12700">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08000" tIns="53340" rIns="53340" bIns="53340" numCol="1" spcCol="1270" anchor="t" anchorCtr="0">
            <a:noAutofit/>
          </a:bodyPr>
          <a:lstStyle/>
          <a:p>
            <a:pPr defTabSz="622300">
              <a:lnSpc>
                <a:spcPct val="90000"/>
              </a:lnSpc>
              <a:spcBef>
                <a:spcPct val="0"/>
              </a:spcBef>
              <a:spcAft>
                <a:spcPct val="35000"/>
              </a:spcAft>
            </a:pPr>
            <a:r>
              <a:rPr lang="en-US" sz="2400" b="1" noProof="0">
                <a:solidFill>
                  <a:srgbClr val="6800FF"/>
                </a:solidFill>
                <a:latin typeface="Montserrat"/>
                <a:ea typeface="Roboto"/>
                <a:cs typeface="Roboto"/>
                <a:sym typeface="Roboto"/>
              </a:rPr>
              <a:t>No Control of Stolen or Shared Files</a:t>
            </a:r>
          </a:p>
          <a:p>
            <a:pPr marL="0" lvl="0" indent="0" algn="l" defTabSz="622300">
              <a:lnSpc>
                <a:spcPct val="90000"/>
              </a:lnSpc>
              <a:spcBef>
                <a:spcPct val="0"/>
              </a:spcBef>
              <a:spcAft>
                <a:spcPct val="35000"/>
              </a:spcAft>
              <a:buNone/>
            </a:pPr>
            <a:endParaRPr lang="en-US" sz="1800" b="1" kern="1200" noProof="0">
              <a:solidFill>
                <a:srgbClr val="6800FF"/>
              </a:solidFill>
              <a:latin typeface="Montserrat" panose="00000500000000000000" pitchFamily="2" charset="0"/>
            </a:endParaRPr>
          </a:p>
          <a:p>
            <a:pPr marL="285750" lvl="0" indent="-285750" algn="l" defTabSz="622300">
              <a:lnSpc>
                <a:spcPct val="90000"/>
              </a:lnSpc>
              <a:spcAft>
                <a:spcPts val="1600"/>
              </a:spcAft>
              <a:buFont typeface="Arial" panose="020B0604020202020204" pitchFamily="34" charset="0"/>
              <a:buChar char="•"/>
            </a:pPr>
            <a:r>
              <a:rPr lang="en-US" sz="1800" kern="1200" noProof="0">
                <a:solidFill>
                  <a:schemeClr val="bg1"/>
                </a:solidFill>
                <a:latin typeface="Montserrat Medium"/>
              </a:rPr>
              <a:t>When data is stolen or shared </a:t>
            </a:r>
            <a:r>
              <a:rPr lang="en-US" sz="1800" b="1" kern="1200" noProof="0">
                <a:solidFill>
                  <a:schemeClr val="bg1"/>
                </a:solidFill>
                <a:latin typeface="Montserrat Medium"/>
              </a:rPr>
              <a:t>there is no record or control over who, where, and when data is accessed</a:t>
            </a:r>
            <a:r>
              <a:rPr lang="en-US" sz="1800" kern="1200" noProof="0">
                <a:solidFill>
                  <a:schemeClr val="bg1"/>
                </a:solidFill>
                <a:latin typeface="Montserrat Medium"/>
              </a:rPr>
              <a:t>, leaving the organization </a:t>
            </a:r>
            <a:r>
              <a:rPr lang="en-US" sz="1800" b="1" kern="1200" noProof="0">
                <a:solidFill>
                  <a:schemeClr val="bg1"/>
                </a:solidFill>
                <a:latin typeface="Montserrat Medium"/>
              </a:rPr>
              <a:t>open to indefinite extortion, IP loss and fines</a:t>
            </a:r>
            <a:r>
              <a:rPr lang="en-US" sz="1800" kern="1200" noProof="0">
                <a:solidFill>
                  <a:schemeClr val="bg1"/>
                </a:solidFill>
                <a:latin typeface="Montserrat Medium"/>
              </a:rPr>
              <a:t>.</a:t>
            </a:r>
          </a:p>
          <a:p>
            <a:pPr marL="285750" lvl="0" indent="-285750" algn="l" defTabSz="622300">
              <a:lnSpc>
                <a:spcPct val="90000"/>
              </a:lnSpc>
              <a:spcAft>
                <a:spcPts val="1600"/>
              </a:spcAft>
              <a:buFont typeface="Arial" panose="020B0604020202020204" pitchFamily="34" charset="0"/>
              <a:buChar char="•"/>
            </a:pPr>
            <a:r>
              <a:rPr lang="en-US" sz="1800" kern="1200" noProof="0">
                <a:solidFill>
                  <a:schemeClr val="bg1"/>
                </a:solidFill>
                <a:latin typeface="Montserrat Medium"/>
              </a:rPr>
              <a:t>$4.2M is an average total cost of a data breach in USA</a:t>
            </a:r>
          </a:p>
        </p:txBody>
      </p:sp>
      <p:sp>
        <p:nvSpPr>
          <p:cNvPr id="4" name="TextBox 3">
            <a:extLst>
              <a:ext uri="{FF2B5EF4-FFF2-40B4-BE49-F238E27FC236}">
                <a16:creationId xmlns:a16="http://schemas.microsoft.com/office/drawing/2014/main" id="{1D8F1F76-2906-2D8D-200F-D94FDB39E359}"/>
              </a:ext>
            </a:extLst>
          </p:cNvPr>
          <p:cNvSpPr txBox="1"/>
          <p:nvPr/>
        </p:nvSpPr>
        <p:spPr>
          <a:xfrm>
            <a:off x="9617627" y="5687124"/>
            <a:ext cx="7672565" cy="2727972"/>
          </a:xfrm>
          <a:prstGeom prst="rect">
            <a:avLst/>
          </a:prstGeom>
          <a:noFill/>
          <a:ln w="12700">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08000" tIns="53340" rIns="53340" bIns="53340" numCol="1" spcCol="1270" anchor="t" anchorCtr="0">
            <a:noAutofit/>
          </a:bodyPr>
          <a:lstStyle/>
          <a:p>
            <a:pPr defTabSz="622300">
              <a:lnSpc>
                <a:spcPct val="90000"/>
              </a:lnSpc>
              <a:spcBef>
                <a:spcPct val="0"/>
              </a:spcBef>
              <a:spcAft>
                <a:spcPct val="35000"/>
              </a:spcAft>
            </a:pPr>
            <a:r>
              <a:rPr lang="en-US" sz="2400" b="1" noProof="0">
                <a:solidFill>
                  <a:srgbClr val="6800FF"/>
                </a:solidFill>
                <a:latin typeface="Montserrat"/>
                <a:ea typeface="Roboto"/>
                <a:cs typeface="Roboto"/>
                <a:sym typeface="Roboto"/>
              </a:rPr>
              <a:t>Governance &amp; Compliance Complexity Slows Business</a:t>
            </a:r>
          </a:p>
          <a:p>
            <a:pPr defTabSz="622300">
              <a:lnSpc>
                <a:spcPct val="90000"/>
              </a:lnSpc>
              <a:spcBef>
                <a:spcPct val="0"/>
              </a:spcBef>
              <a:spcAft>
                <a:spcPct val="35000"/>
              </a:spcAft>
            </a:pPr>
            <a:endParaRPr lang="en-US" sz="1800" b="1" kern="1200" noProof="0">
              <a:solidFill>
                <a:srgbClr val="6800FF"/>
              </a:solidFill>
              <a:latin typeface="Montserrat Medium" panose="00000600000000000000" pitchFamily="2" charset="0"/>
            </a:endParaRPr>
          </a:p>
          <a:p>
            <a:pPr marL="285750" lvl="0" indent="-285750" algn="l" defTabSz="622300">
              <a:lnSpc>
                <a:spcPct val="90000"/>
              </a:lnSpc>
              <a:spcBef>
                <a:spcPct val="0"/>
              </a:spcBef>
              <a:spcAft>
                <a:spcPct val="35000"/>
              </a:spcAft>
              <a:buFont typeface="Arial" panose="020B0604020202020204" pitchFamily="34" charset="0"/>
              <a:buChar char="•"/>
            </a:pPr>
            <a:r>
              <a:rPr lang="en-US" sz="1800" kern="1200" noProof="0">
                <a:solidFill>
                  <a:schemeClr val="bg1"/>
                </a:solidFill>
                <a:latin typeface="Montserrat Medium" panose="00000600000000000000" pitchFamily="2" charset="0"/>
              </a:rPr>
              <a:t>When </a:t>
            </a:r>
            <a:r>
              <a:rPr lang="en-US" sz="1800" b="1" kern="1200" noProof="0">
                <a:solidFill>
                  <a:schemeClr val="bg1"/>
                </a:solidFill>
                <a:latin typeface="Montserrat Medium" panose="00000600000000000000" pitchFamily="2" charset="0"/>
              </a:rPr>
              <a:t>data is moved or shared to a new environment</a:t>
            </a:r>
            <a:r>
              <a:rPr lang="en-US" sz="1800" kern="1200" noProof="0">
                <a:solidFill>
                  <a:schemeClr val="bg1"/>
                </a:solidFill>
                <a:latin typeface="Montserrat Medium" panose="00000600000000000000" pitchFamily="2" charset="0"/>
              </a:rPr>
              <a:t>, it </a:t>
            </a:r>
            <a:r>
              <a:rPr lang="en-US" sz="1800" b="1" kern="1200" noProof="0">
                <a:solidFill>
                  <a:schemeClr val="bg1"/>
                </a:solidFill>
                <a:latin typeface="Montserrat Medium" panose="00000600000000000000" pitchFamily="2" charset="0"/>
              </a:rPr>
              <a:t>loses</a:t>
            </a:r>
            <a:r>
              <a:rPr lang="en-US" sz="1800" kern="1200" noProof="0">
                <a:solidFill>
                  <a:schemeClr val="bg1"/>
                </a:solidFill>
                <a:latin typeface="Montserrat Medium" panose="00000600000000000000" pitchFamily="2" charset="0"/>
              </a:rPr>
              <a:t> its protective </a:t>
            </a:r>
            <a:r>
              <a:rPr lang="en-US" sz="1800" b="1" kern="1200" noProof="0">
                <a:solidFill>
                  <a:schemeClr val="bg1"/>
                </a:solidFill>
                <a:latin typeface="Montserrat Medium" panose="00000600000000000000" pitchFamily="2" charset="0"/>
              </a:rPr>
              <a:t>security</a:t>
            </a:r>
            <a:r>
              <a:rPr lang="en-US" sz="1800" kern="1200" noProof="0">
                <a:solidFill>
                  <a:schemeClr val="bg1"/>
                </a:solidFill>
                <a:latin typeface="Montserrat Medium" panose="00000600000000000000" pitchFamily="2" charset="0"/>
              </a:rPr>
              <a:t> measures </a:t>
            </a:r>
            <a:r>
              <a:rPr lang="en-US" sz="1800" b="1" kern="1200" noProof="0">
                <a:solidFill>
                  <a:schemeClr val="bg1"/>
                </a:solidFill>
                <a:latin typeface="Montserrat Medium" panose="00000600000000000000" pitchFamily="2" charset="0"/>
              </a:rPr>
              <a:t>and can’t be monitored</a:t>
            </a:r>
            <a:r>
              <a:rPr lang="en-US" sz="1800" kern="1200" noProof="0">
                <a:solidFill>
                  <a:schemeClr val="bg1"/>
                </a:solidFill>
                <a:latin typeface="Montserrat Medium" panose="00000600000000000000" pitchFamily="2" charset="0"/>
              </a:rPr>
              <a:t>.</a:t>
            </a:r>
          </a:p>
        </p:txBody>
      </p:sp>
      <p:sp>
        <p:nvSpPr>
          <p:cNvPr id="12" name="Title 1">
            <a:extLst>
              <a:ext uri="{FF2B5EF4-FFF2-40B4-BE49-F238E27FC236}">
                <a16:creationId xmlns:a16="http://schemas.microsoft.com/office/drawing/2014/main" id="{4E674DFE-7090-DCAD-9FB8-2819A7C947A3}"/>
              </a:ext>
            </a:extLst>
          </p:cNvPr>
          <p:cNvSpPr txBox="1">
            <a:spLocks/>
          </p:cNvSpPr>
          <p:nvPr/>
        </p:nvSpPr>
        <p:spPr>
          <a:xfrm>
            <a:off x="1080599" y="1042450"/>
            <a:ext cx="16359503" cy="11454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222222"/>
              </a:buClr>
              <a:buSzPts val="2000"/>
              <a:buFont typeface="Montserrat"/>
              <a:buNone/>
              <a:defRPr sz="4000" b="1" i="0" u="none" strike="noStrike" cap="none">
                <a:solidFill>
                  <a:srgbClr val="222222"/>
                </a:solidFill>
                <a:latin typeface="Montserrat"/>
                <a:ea typeface="Montserrat"/>
                <a:cs typeface="Montserrat"/>
                <a:sym typeface="Montserrat"/>
              </a:defRPr>
            </a:lvl1pPr>
            <a:lvl2pPr marR="0" lvl="1"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2pPr>
            <a:lvl3pPr marR="0" lvl="2"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3pPr>
            <a:lvl4pPr marR="0" lvl="3"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4pPr>
            <a:lvl5pPr marR="0" lvl="4"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5pPr>
            <a:lvl6pPr marR="0" lvl="5"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6pPr>
            <a:lvl7pPr marR="0" lvl="6"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7pPr>
            <a:lvl8pPr marR="0" lvl="7"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8pPr>
            <a:lvl9pPr marR="0" lvl="8" algn="l" rtl="0">
              <a:lnSpc>
                <a:spcPct val="100000"/>
              </a:lnSpc>
              <a:spcBef>
                <a:spcPts val="0"/>
              </a:spcBef>
              <a:spcAft>
                <a:spcPts val="0"/>
              </a:spcAft>
              <a:buClr>
                <a:srgbClr val="222222"/>
              </a:buClr>
              <a:buSzPts val="2000"/>
              <a:buFont typeface="Montserrat"/>
              <a:buNone/>
              <a:defRPr sz="2000" b="1" i="0" u="none" strike="noStrike" cap="none">
                <a:solidFill>
                  <a:srgbClr val="222222"/>
                </a:solidFill>
                <a:latin typeface="Montserrat"/>
                <a:ea typeface="Montserrat"/>
                <a:cs typeface="Montserrat"/>
                <a:sym typeface="Montserrat"/>
              </a:defRPr>
            </a:lvl9pPr>
          </a:lstStyle>
          <a:p>
            <a:r>
              <a:rPr lang="en-US">
                <a:latin typeface="Montserrat Bold"/>
              </a:rPr>
              <a:t>Data</a:t>
            </a:r>
            <a:r>
              <a:rPr lang="en-US" noProof="0">
                <a:latin typeface="Montserrat Bold"/>
              </a:rPr>
              <a:t> </a:t>
            </a:r>
            <a:r>
              <a:rPr lang="en-US">
                <a:latin typeface="Montserrat Bold"/>
              </a:rPr>
              <a:t>sovereignty</a:t>
            </a:r>
            <a:r>
              <a:rPr lang="en-US" noProof="0">
                <a:latin typeface="Montserrat Bold"/>
              </a:rPr>
              <a:t> </a:t>
            </a:r>
            <a:r>
              <a:rPr lang="en-US">
                <a:latin typeface="Montserrat Bold"/>
              </a:rPr>
              <a:t>&amp; security</a:t>
            </a:r>
            <a:r>
              <a:rPr lang="en-US" noProof="0">
                <a:latin typeface="Montserrat Bold"/>
              </a:rPr>
              <a:t> – </a:t>
            </a:r>
            <a:r>
              <a:rPr lang="en-US">
                <a:latin typeface="Montserrat Bold"/>
              </a:rPr>
              <a:t>Why does it matter</a:t>
            </a:r>
            <a:r>
              <a:rPr lang="en-US" noProof="0">
                <a:latin typeface="Montserrat Bold"/>
              </a:rPr>
              <a:t>?</a:t>
            </a:r>
            <a:br>
              <a:rPr lang="en-US" b="0" kern="1200" noProof="0">
                <a:latin typeface="Montserrat Bold"/>
                <a:ea typeface="+mn-ea"/>
                <a:cs typeface="+mn-cs"/>
              </a:rPr>
            </a:br>
            <a:r>
              <a:rPr lang="en-US" sz="2800" noProof="0">
                <a:solidFill>
                  <a:srgbClr val="6800FF"/>
                </a:solidFill>
                <a:latin typeface="Montserrat Light"/>
                <a:ea typeface="+mn-lt"/>
                <a:cs typeface="+mn-lt"/>
              </a:rPr>
              <a:t>Loss of Data Control is the Greatest Obstacle to Cyber Security and Sovereignty Compliance</a:t>
            </a:r>
          </a:p>
        </p:txBody>
      </p:sp>
      <p:grpSp>
        <p:nvGrpSpPr>
          <p:cNvPr id="8" name="Group 7">
            <a:extLst>
              <a:ext uri="{FF2B5EF4-FFF2-40B4-BE49-F238E27FC236}">
                <a16:creationId xmlns:a16="http://schemas.microsoft.com/office/drawing/2014/main" id="{D86B1A45-88BA-FBF4-A805-A5C2ED85EFCF}"/>
              </a:ext>
            </a:extLst>
          </p:cNvPr>
          <p:cNvGrpSpPr/>
          <p:nvPr/>
        </p:nvGrpSpPr>
        <p:grpSpPr>
          <a:xfrm>
            <a:off x="14571895" y="1549790"/>
            <a:ext cx="612363" cy="56823"/>
            <a:chOff x="0" y="0"/>
            <a:chExt cx="1078484" cy="100076"/>
          </a:xfrm>
        </p:grpSpPr>
        <p:sp>
          <p:nvSpPr>
            <p:cNvPr id="5" name="Freeform 8">
              <a:extLst>
                <a:ext uri="{FF2B5EF4-FFF2-40B4-BE49-F238E27FC236}">
                  <a16:creationId xmlns:a16="http://schemas.microsoft.com/office/drawing/2014/main" id="{35478F49-5101-BB14-169B-93B179196C3D}"/>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ángulo 3">
            <a:extLst>
              <a:ext uri="{FF2B5EF4-FFF2-40B4-BE49-F238E27FC236}">
                <a16:creationId xmlns:a16="http://schemas.microsoft.com/office/drawing/2014/main" id="{B3DF00DD-924E-3071-EA25-105BE49183FF}"/>
              </a:ext>
            </a:extLst>
          </p:cNvPr>
          <p:cNvSpPr/>
          <p:nvPr/>
        </p:nvSpPr>
        <p:spPr>
          <a:xfrm>
            <a:off x="0" y="0"/>
            <a:ext cx="7470184" cy="10311756"/>
          </a:xfrm>
          <a:prstGeom prst="rect">
            <a:avLst/>
          </a:prstGeom>
          <a:solidFill>
            <a:srgbClr val="6800FF"/>
          </a:solidFill>
          <a:ln>
            <a:noFill/>
          </a:ln>
          <a:effectLst/>
        </p:spPr>
        <p:txBody>
          <a:bodyPr rtlCol="0" anchor="ctr"/>
          <a:lstStyle/>
          <a:p>
            <a:pPr marL="0" marR="0" lvl="0" indent="0" algn="ctr" defTabSz="18288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prstClr val="white"/>
              </a:solidFill>
              <a:effectLst/>
              <a:uLnTx/>
              <a:uFillTx/>
              <a:latin typeface="Arial"/>
              <a:ea typeface="+mn-ea"/>
              <a:cs typeface="+mn-cs"/>
            </a:endParaRPr>
          </a:p>
        </p:txBody>
      </p:sp>
      <p:sp>
        <p:nvSpPr>
          <p:cNvPr id="8" name="CaixaDeTexto 45">
            <a:extLst>
              <a:ext uri="{FF2B5EF4-FFF2-40B4-BE49-F238E27FC236}">
                <a16:creationId xmlns:a16="http://schemas.microsoft.com/office/drawing/2014/main" id="{1830DCA1-C4B6-AFB4-DB0E-31863B18D1CC}"/>
              </a:ext>
            </a:extLst>
          </p:cNvPr>
          <p:cNvSpPr txBox="1"/>
          <p:nvPr/>
        </p:nvSpPr>
        <p:spPr>
          <a:xfrm>
            <a:off x="691865" y="1796123"/>
            <a:ext cx="6380922" cy="59093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1828800"/>
            <a:r>
              <a:rPr lang="en-US" sz="5400" b="1" noProof="0">
                <a:solidFill>
                  <a:prstClr val="white"/>
                </a:solidFill>
                <a:latin typeface="Montserrat Bold"/>
              </a:rPr>
              <a:t>Furthermore, there are several compelling reasons why companies must prioritize </a:t>
            </a:r>
            <a:r>
              <a:rPr lang="en-US" sz="5400" b="1" noProof="0">
                <a:solidFill>
                  <a:srgbClr val="6800FF"/>
                </a:solidFill>
                <a:highlight>
                  <a:srgbClr val="FFFFFF"/>
                </a:highlight>
                <a:latin typeface="Montserrat Bold"/>
              </a:rPr>
              <a:t>data protection</a:t>
            </a:r>
            <a:endParaRPr lang="en-US" sz="5400" noProof="0">
              <a:solidFill>
                <a:srgbClr val="6800FF"/>
              </a:solidFill>
              <a:highlight>
                <a:srgbClr val="FFFFFF"/>
              </a:highlight>
              <a:latin typeface="Montserrat Bold"/>
            </a:endParaRPr>
          </a:p>
        </p:txBody>
      </p:sp>
      <p:sp>
        <p:nvSpPr>
          <p:cNvPr id="9" name="Rectangle à coins arrondis 52">
            <a:extLst>
              <a:ext uri="{FF2B5EF4-FFF2-40B4-BE49-F238E27FC236}">
                <a16:creationId xmlns:a16="http://schemas.microsoft.com/office/drawing/2014/main" id="{A116D8B9-9464-A8A9-4512-ACD3CA9ACEAE}"/>
              </a:ext>
            </a:extLst>
          </p:cNvPr>
          <p:cNvSpPr/>
          <p:nvPr/>
        </p:nvSpPr>
        <p:spPr>
          <a:xfrm>
            <a:off x="8456283" y="2423015"/>
            <a:ext cx="2764561" cy="1353942"/>
          </a:xfrm>
          <a:prstGeom prst="roundRect">
            <a:avLst/>
          </a:prstGeom>
          <a:noFill/>
          <a:ln w="25400" cap="flat" cmpd="sng" algn="ctr">
            <a:solidFill>
              <a:srgbClr val="6800FF"/>
            </a:solidFill>
            <a:prstDash val="solid"/>
          </a:ln>
          <a:effectLst/>
        </p:spPr>
        <p:txBody>
          <a:bodyPr lIns="0" tIns="0" rIns="0" bIns="0" anchor="ctr" anchorCtr="0"/>
          <a:lstStyle/>
          <a:p>
            <a:pPr algn="ctr">
              <a:defRPr/>
            </a:pPr>
            <a:r>
              <a:rPr lang="en-US" sz="1800" b="1" noProof="0">
                <a:solidFill>
                  <a:srgbClr val="6800FF"/>
                </a:solidFill>
                <a:latin typeface="Montserrat"/>
                <a:ea typeface="+mn-ea"/>
              </a:rPr>
              <a:t>Legal and Regulatory Compliance</a:t>
            </a:r>
            <a:endParaRPr lang="en-US" noProof="0">
              <a:ea typeface="+mn-ea"/>
            </a:endParaRPr>
          </a:p>
        </p:txBody>
      </p:sp>
      <p:sp>
        <p:nvSpPr>
          <p:cNvPr id="10" name="Rectangle à coins arrondis 52">
            <a:extLst>
              <a:ext uri="{FF2B5EF4-FFF2-40B4-BE49-F238E27FC236}">
                <a16:creationId xmlns:a16="http://schemas.microsoft.com/office/drawing/2014/main" id="{82E7118A-393E-9AA3-127D-B4D0FB6586DA}"/>
              </a:ext>
            </a:extLst>
          </p:cNvPr>
          <p:cNvSpPr/>
          <p:nvPr/>
        </p:nvSpPr>
        <p:spPr>
          <a:xfrm>
            <a:off x="11545217" y="2423015"/>
            <a:ext cx="2764561" cy="1353942"/>
          </a:xfrm>
          <a:prstGeom prst="roundRect">
            <a:avLst/>
          </a:prstGeom>
          <a:noFill/>
          <a:ln w="25400" cap="flat" cmpd="sng" algn="ctr">
            <a:solidFill>
              <a:srgbClr val="6800FF"/>
            </a:solidFill>
            <a:prstDash val="solid"/>
          </a:ln>
          <a:effectLst/>
        </p:spPr>
        <p:txBody>
          <a:bodyPr lIns="0" tIns="0" rIns="0" bIns="0" anchor="ctr" anchorCtr="0"/>
          <a:lstStyle/>
          <a:p>
            <a:pPr algn="ctr">
              <a:defRPr/>
            </a:pPr>
            <a:r>
              <a:rPr lang="en-US" sz="1800" b="1" noProof="0">
                <a:solidFill>
                  <a:srgbClr val="6800FF"/>
                </a:solidFill>
                <a:latin typeface="Montserrat"/>
                <a:ea typeface="+mn-ea"/>
              </a:rPr>
              <a:t>Reputation </a:t>
            </a:r>
            <a:endParaRPr lang="en-US" noProof="0">
              <a:ea typeface="+mn-ea"/>
            </a:endParaRPr>
          </a:p>
          <a:p>
            <a:pPr algn="ctr">
              <a:defRPr/>
            </a:pPr>
            <a:r>
              <a:rPr lang="en-US" sz="1800" b="1" noProof="0">
                <a:solidFill>
                  <a:srgbClr val="6800FF"/>
                </a:solidFill>
                <a:latin typeface="Montserrat"/>
                <a:ea typeface="+mn-ea"/>
              </a:rPr>
              <a:t>and Trust</a:t>
            </a:r>
            <a:endParaRPr lang="en-US" noProof="0">
              <a:ea typeface="+mn-ea"/>
            </a:endParaRPr>
          </a:p>
        </p:txBody>
      </p:sp>
      <p:sp>
        <p:nvSpPr>
          <p:cNvPr id="11" name="Rectangle à coins arrondis 52">
            <a:extLst>
              <a:ext uri="{FF2B5EF4-FFF2-40B4-BE49-F238E27FC236}">
                <a16:creationId xmlns:a16="http://schemas.microsoft.com/office/drawing/2014/main" id="{ECFD09B6-CF95-CAFE-CC1B-79F3755227EE}"/>
              </a:ext>
            </a:extLst>
          </p:cNvPr>
          <p:cNvSpPr/>
          <p:nvPr/>
        </p:nvSpPr>
        <p:spPr>
          <a:xfrm>
            <a:off x="14634151" y="2423015"/>
            <a:ext cx="2764561" cy="1353942"/>
          </a:xfrm>
          <a:prstGeom prst="roundRect">
            <a:avLst/>
          </a:prstGeom>
          <a:noFill/>
          <a:ln w="25400" cap="flat" cmpd="sng" algn="ctr">
            <a:solidFill>
              <a:srgbClr val="6800FF"/>
            </a:solidFill>
            <a:prstDash val="solid"/>
          </a:ln>
          <a:effectLst/>
        </p:spPr>
        <p:txBody>
          <a:bodyPr lIns="0" tIns="0" rIns="0" bIns="0" anchor="ctr" anchorCtr="0"/>
          <a:lstStyle/>
          <a:p>
            <a:pPr algn="ctr">
              <a:defRPr/>
            </a:pPr>
            <a:r>
              <a:rPr lang="en-US" sz="1800" b="1" noProof="0">
                <a:solidFill>
                  <a:srgbClr val="6800FF"/>
                </a:solidFill>
                <a:latin typeface="Montserrat"/>
                <a:ea typeface="+mn-ea"/>
              </a:rPr>
              <a:t>Financial Consequences</a:t>
            </a:r>
            <a:endParaRPr lang="en-US" noProof="0">
              <a:ea typeface="+mn-ea"/>
            </a:endParaRPr>
          </a:p>
        </p:txBody>
      </p:sp>
      <p:sp>
        <p:nvSpPr>
          <p:cNvPr id="12" name="Rectangle à coins arrondis 52">
            <a:extLst>
              <a:ext uri="{FF2B5EF4-FFF2-40B4-BE49-F238E27FC236}">
                <a16:creationId xmlns:a16="http://schemas.microsoft.com/office/drawing/2014/main" id="{CC6EA15B-070C-D304-C458-FDFE3C5D1373}"/>
              </a:ext>
            </a:extLst>
          </p:cNvPr>
          <p:cNvSpPr/>
          <p:nvPr/>
        </p:nvSpPr>
        <p:spPr>
          <a:xfrm>
            <a:off x="8484622" y="4161131"/>
            <a:ext cx="2764561" cy="1353942"/>
          </a:xfrm>
          <a:prstGeom prst="roundRect">
            <a:avLst/>
          </a:prstGeom>
          <a:noFill/>
          <a:ln w="25400" cap="flat" cmpd="sng" algn="ctr">
            <a:solidFill>
              <a:srgbClr val="6800FF"/>
            </a:solidFill>
            <a:prstDash val="solid"/>
          </a:ln>
          <a:effectLst/>
        </p:spPr>
        <p:txBody>
          <a:bodyPr lIns="0" tIns="0" rIns="0" bIns="0" anchor="ctr" anchorCtr="0"/>
          <a:lstStyle/>
          <a:p>
            <a:pPr algn="ctr">
              <a:defRPr/>
            </a:pPr>
            <a:r>
              <a:rPr lang="en-US" sz="1800" b="1" noProof="0">
                <a:solidFill>
                  <a:srgbClr val="6800FF"/>
                </a:solidFill>
                <a:latin typeface="Montserrat"/>
                <a:ea typeface="+mn-ea"/>
              </a:rPr>
              <a:t>Intellectual Property Protection</a:t>
            </a:r>
            <a:endParaRPr lang="en-US" noProof="0">
              <a:ea typeface="+mn-ea"/>
            </a:endParaRPr>
          </a:p>
        </p:txBody>
      </p:sp>
      <p:sp>
        <p:nvSpPr>
          <p:cNvPr id="13" name="Rectangle à coins arrondis 52">
            <a:extLst>
              <a:ext uri="{FF2B5EF4-FFF2-40B4-BE49-F238E27FC236}">
                <a16:creationId xmlns:a16="http://schemas.microsoft.com/office/drawing/2014/main" id="{4FDDC000-D626-24CC-219C-B45D31722C97}"/>
              </a:ext>
            </a:extLst>
          </p:cNvPr>
          <p:cNvSpPr/>
          <p:nvPr/>
        </p:nvSpPr>
        <p:spPr>
          <a:xfrm>
            <a:off x="11573556" y="4161131"/>
            <a:ext cx="2764561" cy="1353942"/>
          </a:xfrm>
          <a:prstGeom prst="roundRect">
            <a:avLst/>
          </a:prstGeom>
          <a:noFill/>
          <a:ln w="25400" cap="flat" cmpd="sng" algn="ctr">
            <a:solidFill>
              <a:srgbClr val="6800FF"/>
            </a:solidFill>
            <a:prstDash val="solid"/>
          </a:ln>
          <a:effectLst/>
        </p:spPr>
        <p:txBody>
          <a:bodyPr lIns="0" tIns="0" rIns="0" bIns="0" anchor="ctr" anchorCtr="0"/>
          <a:lstStyle/>
          <a:p>
            <a:pPr algn="ctr">
              <a:defRPr/>
            </a:pPr>
            <a:r>
              <a:rPr lang="en-US" sz="1800" b="1" noProof="0">
                <a:solidFill>
                  <a:srgbClr val="6800FF"/>
                </a:solidFill>
                <a:latin typeface="Montserrat"/>
                <a:ea typeface="+mn-ea"/>
              </a:rPr>
              <a:t>Ransomware</a:t>
            </a:r>
            <a:endParaRPr lang="en-US" noProof="0">
              <a:ea typeface="+mn-ea"/>
            </a:endParaRPr>
          </a:p>
          <a:p>
            <a:pPr algn="ctr">
              <a:defRPr/>
            </a:pPr>
            <a:r>
              <a:rPr lang="en-US" sz="1800" b="1" noProof="0">
                <a:solidFill>
                  <a:srgbClr val="6800FF"/>
                </a:solidFill>
                <a:latin typeface="Montserrat"/>
                <a:ea typeface="+mn-ea"/>
              </a:rPr>
              <a:t>Extortion</a:t>
            </a:r>
            <a:endParaRPr lang="en-US" noProof="0">
              <a:ea typeface="+mn-ea"/>
            </a:endParaRPr>
          </a:p>
        </p:txBody>
      </p:sp>
      <p:sp>
        <p:nvSpPr>
          <p:cNvPr id="14" name="Rectangle à coins arrondis 52">
            <a:extLst>
              <a:ext uri="{FF2B5EF4-FFF2-40B4-BE49-F238E27FC236}">
                <a16:creationId xmlns:a16="http://schemas.microsoft.com/office/drawing/2014/main" id="{A17C4D9D-E57E-AF05-1B4E-82A20BC2F19F}"/>
              </a:ext>
            </a:extLst>
          </p:cNvPr>
          <p:cNvSpPr/>
          <p:nvPr/>
        </p:nvSpPr>
        <p:spPr>
          <a:xfrm>
            <a:off x="14662490" y="4161131"/>
            <a:ext cx="2764561" cy="1353942"/>
          </a:xfrm>
          <a:prstGeom prst="roundRect">
            <a:avLst/>
          </a:prstGeom>
          <a:noFill/>
          <a:ln w="25400" cap="flat" cmpd="sng" algn="ctr">
            <a:solidFill>
              <a:srgbClr val="6800FF"/>
            </a:solidFill>
            <a:prstDash val="solid"/>
          </a:ln>
          <a:effectLst/>
        </p:spPr>
        <p:txBody>
          <a:bodyPr lIns="0" tIns="0" rIns="0" bIns="0" anchor="ctr" anchorCtr="0"/>
          <a:lstStyle/>
          <a:p>
            <a:pPr algn="ctr">
              <a:defRPr/>
            </a:pPr>
            <a:r>
              <a:rPr lang="en-US" sz="1800" b="1" noProof="0">
                <a:solidFill>
                  <a:srgbClr val="6800FF"/>
                </a:solidFill>
                <a:latin typeface="Montserrat"/>
                <a:ea typeface="+mn-ea"/>
              </a:rPr>
              <a:t>National</a:t>
            </a:r>
          </a:p>
          <a:p>
            <a:pPr algn="ctr">
              <a:defRPr/>
            </a:pPr>
            <a:r>
              <a:rPr lang="en-US" sz="1800" b="1" noProof="0">
                <a:solidFill>
                  <a:srgbClr val="6800FF"/>
                </a:solidFill>
                <a:latin typeface="Montserrat"/>
                <a:ea typeface="+mn-ea"/>
              </a:rPr>
              <a:t>Security</a:t>
            </a:r>
          </a:p>
        </p:txBody>
      </p:sp>
      <p:sp>
        <p:nvSpPr>
          <p:cNvPr id="15" name="Rectangle à coins arrondis 52">
            <a:extLst>
              <a:ext uri="{FF2B5EF4-FFF2-40B4-BE49-F238E27FC236}">
                <a16:creationId xmlns:a16="http://schemas.microsoft.com/office/drawing/2014/main" id="{1A805F73-CD78-A1B5-0945-6B71FA4DE9DC}"/>
              </a:ext>
            </a:extLst>
          </p:cNvPr>
          <p:cNvSpPr/>
          <p:nvPr/>
        </p:nvSpPr>
        <p:spPr>
          <a:xfrm>
            <a:off x="8494068" y="5880354"/>
            <a:ext cx="2764561" cy="1353942"/>
          </a:xfrm>
          <a:prstGeom prst="roundRect">
            <a:avLst/>
          </a:prstGeom>
          <a:noFill/>
          <a:ln w="25400" cap="flat" cmpd="sng" algn="ctr">
            <a:solidFill>
              <a:srgbClr val="6800FF"/>
            </a:solidFill>
            <a:prstDash val="solid"/>
          </a:ln>
          <a:effectLst/>
        </p:spPr>
        <p:txBody>
          <a:bodyPr lIns="0" tIns="0" rIns="0" bIns="0" anchor="ctr" anchorCtr="0"/>
          <a:lstStyle/>
          <a:p>
            <a:pPr algn="ctr">
              <a:defRPr/>
            </a:pPr>
            <a:r>
              <a:rPr lang="en-US" sz="1800" b="1" noProof="0">
                <a:solidFill>
                  <a:srgbClr val="6800FF"/>
                </a:solidFill>
                <a:latin typeface="Montserrat"/>
                <a:ea typeface="+mn-ea"/>
              </a:rPr>
              <a:t>Employee Data Protection</a:t>
            </a:r>
            <a:endParaRPr lang="en-US" noProof="0">
              <a:ea typeface="+mn-ea"/>
            </a:endParaRPr>
          </a:p>
        </p:txBody>
      </p:sp>
      <p:sp>
        <p:nvSpPr>
          <p:cNvPr id="16" name="Rectangle à coins arrondis 52">
            <a:extLst>
              <a:ext uri="{FF2B5EF4-FFF2-40B4-BE49-F238E27FC236}">
                <a16:creationId xmlns:a16="http://schemas.microsoft.com/office/drawing/2014/main" id="{EC9ADBF1-030D-0F47-7AB3-3636F0301130}"/>
              </a:ext>
            </a:extLst>
          </p:cNvPr>
          <p:cNvSpPr/>
          <p:nvPr/>
        </p:nvSpPr>
        <p:spPr>
          <a:xfrm>
            <a:off x="11583002" y="5880354"/>
            <a:ext cx="2764561" cy="1353942"/>
          </a:xfrm>
          <a:prstGeom prst="roundRect">
            <a:avLst/>
          </a:prstGeom>
          <a:noFill/>
          <a:ln w="25400" cap="flat" cmpd="sng" algn="ctr">
            <a:solidFill>
              <a:srgbClr val="6800FF"/>
            </a:solidFill>
            <a:prstDash val="solid"/>
          </a:ln>
          <a:effectLst/>
        </p:spPr>
        <p:txBody>
          <a:bodyPr lIns="0" tIns="0" rIns="0" bIns="0" anchor="ctr" anchorCtr="0"/>
          <a:lstStyle/>
          <a:p>
            <a:pPr algn="ctr">
              <a:defRPr/>
            </a:pPr>
            <a:r>
              <a:rPr lang="en-US" sz="1800" b="1" noProof="0">
                <a:solidFill>
                  <a:srgbClr val="6800FF"/>
                </a:solidFill>
                <a:latin typeface="Montserrat"/>
                <a:ea typeface="+mn-ea"/>
              </a:rPr>
              <a:t>Cybercrime prevention</a:t>
            </a:r>
            <a:endParaRPr lang="en-US" noProof="0">
              <a:ea typeface="+mn-ea"/>
            </a:endParaRPr>
          </a:p>
        </p:txBody>
      </p:sp>
      <p:sp>
        <p:nvSpPr>
          <p:cNvPr id="17" name="Rectangle à coins arrondis 52">
            <a:extLst>
              <a:ext uri="{FF2B5EF4-FFF2-40B4-BE49-F238E27FC236}">
                <a16:creationId xmlns:a16="http://schemas.microsoft.com/office/drawing/2014/main" id="{66C8FD8E-D39F-B7B0-873F-B884D84C2185}"/>
              </a:ext>
            </a:extLst>
          </p:cNvPr>
          <p:cNvSpPr/>
          <p:nvPr/>
        </p:nvSpPr>
        <p:spPr>
          <a:xfrm>
            <a:off x="14671936" y="5880354"/>
            <a:ext cx="2764561" cy="1353942"/>
          </a:xfrm>
          <a:prstGeom prst="roundRect">
            <a:avLst/>
          </a:prstGeom>
          <a:noFill/>
          <a:ln w="25400" cap="flat" cmpd="sng" algn="ctr">
            <a:solidFill>
              <a:srgbClr val="6800FF"/>
            </a:solidFill>
            <a:prstDash val="solid"/>
          </a:ln>
          <a:effectLst/>
        </p:spPr>
        <p:txBody>
          <a:bodyPr lIns="0" tIns="0" rIns="0" bIns="0" anchor="ctr" anchorCtr="0"/>
          <a:lstStyle/>
          <a:p>
            <a:pPr algn="ctr">
              <a:defRPr/>
            </a:pPr>
            <a:r>
              <a:rPr lang="en-US" sz="1800" b="1" noProof="0">
                <a:solidFill>
                  <a:srgbClr val="6800FF"/>
                </a:solidFill>
                <a:latin typeface="Montserrat"/>
                <a:ea typeface="+mn-ea"/>
              </a:rPr>
              <a:t>Data Breaches</a:t>
            </a:r>
            <a:endParaRPr lang="en-US" noProof="0">
              <a:ea typeface="+mn-ea"/>
            </a:endParaRPr>
          </a:p>
        </p:txBody>
      </p:sp>
      <p:sp>
        <p:nvSpPr>
          <p:cNvPr id="18" name="Rectangle à coins arrondis 52">
            <a:extLst>
              <a:ext uri="{FF2B5EF4-FFF2-40B4-BE49-F238E27FC236}">
                <a16:creationId xmlns:a16="http://schemas.microsoft.com/office/drawing/2014/main" id="{A17ED719-B0CF-5608-8451-8DC450BF1C9A}"/>
              </a:ext>
            </a:extLst>
          </p:cNvPr>
          <p:cNvSpPr/>
          <p:nvPr/>
        </p:nvSpPr>
        <p:spPr>
          <a:xfrm>
            <a:off x="11583002" y="7618469"/>
            <a:ext cx="2764561" cy="1353942"/>
          </a:xfrm>
          <a:prstGeom prst="roundRect">
            <a:avLst/>
          </a:prstGeom>
          <a:noFill/>
          <a:ln w="25400" cap="flat" cmpd="sng" algn="ctr">
            <a:solidFill>
              <a:srgbClr val="6800FF"/>
            </a:solidFill>
            <a:prstDash val="solid"/>
          </a:ln>
          <a:effectLst/>
        </p:spPr>
        <p:txBody>
          <a:bodyPr lIns="0" tIns="0" rIns="0" bIns="0" anchor="ctr" anchorCtr="0"/>
          <a:lstStyle/>
          <a:p>
            <a:pPr algn="ctr">
              <a:defRPr/>
            </a:pPr>
            <a:r>
              <a:rPr lang="en-US" sz="1800" b="1" noProof="0">
                <a:solidFill>
                  <a:srgbClr val="6800FF"/>
                </a:solidFill>
                <a:latin typeface="Montserrat"/>
                <a:ea typeface="+mn-ea"/>
              </a:rPr>
              <a:t>Ethical </a:t>
            </a:r>
            <a:endParaRPr lang="en-US" noProof="0">
              <a:ea typeface="+mn-ea"/>
            </a:endParaRPr>
          </a:p>
          <a:p>
            <a:pPr algn="ctr">
              <a:defRPr/>
            </a:pPr>
            <a:r>
              <a:rPr lang="en-US" sz="1800" b="1" noProof="0">
                <a:solidFill>
                  <a:srgbClr val="6800FF"/>
                </a:solidFill>
                <a:latin typeface="Montserrat"/>
                <a:ea typeface="+mn-ea"/>
              </a:rPr>
              <a:t>Considerations</a:t>
            </a:r>
            <a:endParaRPr lang="en-US" noProof="0">
              <a:ea typeface="+mn-ea"/>
            </a:endParaRPr>
          </a:p>
        </p:txBody>
      </p:sp>
      <p:sp>
        <p:nvSpPr>
          <p:cNvPr id="20" name="TextBox 4">
            <a:extLst>
              <a:ext uri="{FF2B5EF4-FFF2-40B4-BE49-F238E27FC236}">
                <a16:creationId xmlns:a16="http://schemas.microsoft.com/office/drawing/2014/main" id="{9CA6D905-513A-BE21-EDEA-010CB32A335F}"/>
              </a:ext>
            </a:extLst>
          </p:cNvPr>
          <p:cNvSpPr txBox="1"/>
          <p:nvPr/>
        </p:nvSpPr>
        <p:spPr>
          <a:xfrm>
            <a:off x="719138" y="9348789"/>
            <a:ext cx="3255318" cy="336054"/>
          </a:xfrm>
          <a:prstGeom prst="rect">
            <a:avLst/>
          </a:prstGeom>
        </p:spPr>
        <p:txBody>
          <a:bodyPr wrap="square" lIns="0" tIns="0" rIns="0" bIns="0" rtlCol="0" anchor="t">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nSpc>
                <a:spcPts val="2940"/>
              </a:lnSpc>
            </a:pPr>
            <a:r>
              <a:rPr lang="en-US" sz="1500" noProof="0">
                <a:solidFill>
                  <a:srgbClr val="FFFFFF"/>
                </a:solidFill>
                <a:latin typeface="Montserrat"/>
                <a:ea typeface="Montserrat"/>
                <a:cs typeface="Montserrat"/>
                <a:sym typeface="Montserrat"/>
              </a:rPr>
              <a:t>accelerate your essence</a:t>
            </a:r>
            <a:endParaRPr lang="en-US" sz="1500" noProof="0">
              <a:solidFill>
                <a:srgbClr val="FFFFFF"/>
              </a:solidFill>
              <a:latin typeface="Montserrat"/>
              <a:ea typeface="Montserrat"/>
              <a:cs typeface="Montserrat"/>
            </a:endParaRPr>
          </a:p>
        </p:txBody>
      </p:sp>
    </p:spTree>
    <p:extLst>
      <p:ext uri="{BB962C8B-B14F-4D97-AF65-F5344CB8AC3E}">
        <p14:creationId xmlns:p14="http://schemas.microsoft.com/office/powerpoint/2010/main" val="21679691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Shape 315">
          <a:extLst>
            <a:ext uri="{FF2B5EF4-FFF2-40B4-BE49-F238E27FC236}">
              <a16:creationId xmlns:a16="http://schemas.microsoft.com/office/drawing/2014/main" id="{5203B1DF-FD3F-E2AA-EDFA-B1CDC5FCEDAB}"/>
            </a:ext>
          </a:extLst>
        </p:cNvPr>
        <p:cNvGrpSpPr/>
        <p:nvPr/>
      </p:nvGrpSpPr>
      <p:grpSpPr>
        <a:xfrm>
          <a:off x="0" y="0"/>
          <a:ext cx="0" cy="0"/>
          <a:chOff x="0" y="0"/>
          <a:chExt cx="0" cy="0"/>
        </a:xfrm>
      </p:grpSpPr>
      <p:cxnSp>
        <p:nvCxnSpPr>
          <p:cNvPr id="346" name="Google Shape;346;p65">
            <a:extLst>
              <a:ext uri="{FF2B5EF4-FFF2-40B4-BE49-F238E27FC236}">
                <a16:creationId xmlns:a16="http://schemas.microsoft.com/office/drawing/2014/main" id="{A8BACF9B-43C1-66D2-934F-A19D6F8CDC8A}"/>
              </a:ext>
            </a:extLst>
          </p:cNvPr>
          <p:cNvCxnSpPr>
            <a:cxnSpLocks/>
          </p:cNvCxnSpPr>
          <p:nvPr/>
        </p:nvCxnSpPr>
        <p:spPr>
          <a:xfrm>
            <a:off x="9144000" y="2431635"/>
            <a:ext cx="0" cy="5220000"/>
          </a:xfrm>
          <a:prstGeom prst="straightConnector1">
            <a:avLst/>
          </a:prstGeom>
          <a:noFill/>
          <a:ln w="9525" cap="flat" cmpd="sng">
            <a:solidFill>
              <a:srgbClr val="6800FF"/>
            </a:solidFill>
            <a:prstDash val="solid"/>
            <a:round/>
            <a:headEnd type="none" w="med" len="med"/>
            <a:tailEnd type="none" w="med" len="med"/>
          </a:ln>
        </p:spPr>
      </p:cxnSp>
      <p:sp>
        <p:nvSpPr>
          <p:cNvPr id="2" name="Title 1">
            <a:extLst>
              <a:ext uri="{FF2B5EF4-FFF2-40B4-BE49-F238E27FC236}">
                <a16:creationId xmlns:a16="http://schemas.microsoft.com/office/drawing/2014/main" id="{940CE7F2-33C4-5880-4496-7A4C6BBFD7A1}"/>
              </a:ext>
            </a:extLst>
          </p:cNvPr>
          <p:cNvSpPr>
            <a:spLocks noGrp="1"/>
          </p:cNvSpPr>
          <p:nvPr>
            <p:ph type="title" idx="4294967295"/>
          </p:nvPr>
        </p:nvSpPr>
        <p:spPr>
          <a:xfrm>
            <a:off x="1080599" y="1042450"/>
            <a:ext cx="14496397" cy="1145400"/>
          </a:xfrm>
        </p:spPr>
        <p:txBody>
          <a:bodyPr/>
          <a:lstStyle/>
          <a:p>
            <a:r>
              <a:rPr lang="en-US" sz="4000">
                <a:solidFill>
                  <a:schemeClr val="bg1"/>
                </a:solidFill>
                <a:latin typeface="Montserrat Bold"/>
              </a:rPr>
              <a:t>Recurring</a:t>
            </a:r>
            <a:r>
              <a:rPr lang="en-US" sz="4000" noProof="0">
                <a:solidFill>
                  <a:schemeClr val="bg1"/>
                </a:solidFill>
                <a:latin typeface="Montserrat Bold"/>
              </a:rPr>
              <a:t> </a:t>
            </a:r>
            <a:r>
              <a:rPr lang="en-US" sz="4000">
                <a:solidFill>
                  <a:schemeClr val="bg1"/>
                </a:solidFill>
                <a:latin typeface="Montserrat Bold"/>
              </a:rPr>
              <a:t>business impacting challenges</a:t>
            </a:r>
            <a:endParaRPr lang="en-US" sz="4000" noProof="0">
              <a:solidFill>
                <a:schemeClr val="bg1"/>
              </a:solidFill>
              <a:latin typeface="Montserrat Bold"/>
            </a:endParaRPr>
          </a:p>
        </p:txBody>
      </p:sp>
      <p:grpSp>
        <p:nvGrpSpPr>
          <p:cNvPr id="5" name="Group 4">
            <a:extLst>
              <a:ext uri="{FF2B5EF4-FFF2-40B4-BE49-F238E27FC236}">
                <a16:creationId xmlns:a16="http://schemas.microsoft.com/office/drawing/2014/main" id="{985B5419-EDB7-4459-F42C-69440980A8EE}"/>
              </a:ext>
            </a:extLst>
          </p:cNvPr>
          <p:cNvGrpSpPr/>
          <p:nvPr/>
        </p:nvGrpSpPr>
        <p:grpSpPr>
          <a:xfrm>
            <a:off x="1239201" y="2318213"/>
            <a:ext cx="7672565" cy="5164412"/>
            <a:chOff x="3401" y="-1282101"/>
            <a:chExt cx="2876368" cy="3536039"/>
          </a:xfrm>
          <a:noFill/>
        </p:grpSpPr>
        <p:sp>
          <p:nvSpPr>
            <p:cNvPr id="6" name="Rectangle 5">
              <a:extLst>
                <a:ext uri="{FF2B5EF4-FFF2-40B4-BE49-F238E27FC236}">
                  <a16:creationId xmlns:a16="http://schemas.microsoft.com/office/drawing/2014/main" id="{585D918D-0ADA-58E1-9EE0-655A2195DFAE}"/>
                </a:ext>
              </a:extLst>
            </p:cNvPr>
            <p:cNvSpPr/>
            <p:nvPr/>
          </p:nvSpPr>
          <p:spPr>
            <a:xfrm>
              <a:off x="3401" y="2764"/>
              <a:ext cx="2876368" cy="1492692"/>
            </a:xfrm>
            <a:prstGeom prst="rect">
              <a:avLst/>
            </a:prstGeom>
            <a:grpFill/>
            <a:ln w="12700">
              <a:noFill/>
            </a:ln>
          </p:spPr>
          <p:style>
            <a:lnRef idx="2">
              <a:schemeClr val="accent5">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108000"/>
            <a:lstStyle/>
            <a:p>
              <a:endParaRPr lang="en-US" sz="2000" noProof="0">
                <a:solidFill>
                  <a:schemeClr val="bg1"/>
                </a:solidFill>
                <a:latin typeface="Montserrat" panose="00000500000000000000" pitchFamily="2" charset="0"/>
              </a:endParaRPr>
            </a:p>
          </p:txBody>
        </p:sp>
        <p:sp>
          <p:nvSpPr>
            <p:cNvPr id="7" name="TextBox 6">
              <a:extLst>
                <a:ext uri="{FF2B5EF4-FFF2-40B4-BE49-F238E27FC236}">
                  <a16:creationId xmlns:a16="http://schemas.microsoft.com/office/drawing/2014/main" id="{667CF8C4-1BD4-AF93-031A-4B01D2A1A7DD}"/>
                </a:ext>
              </a:extLst>
            </p:cNvPr>
            <p:cNvSpPr txBox="1"/>
            <p:nvPr/>
          </p:nvSpPr>
          <p:spPr>
            <a:xfrm>
              <a:off x="3401" y="-1282101"/>
              <a:ext cx="2876368" cy="3536039"/>
            </a:xfrm>
            <a:prstGeom prst="rect">
              <a:avLst/>
            </a:prstGeom>
            <a:grpFill/>
            <a:ln w="12700">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08000" tIns="53340" rIns="53340" bIns="53340" numCol="1" spcCol="1270" anchor="t" anchorCtr="0">
              <a:noAutofit/>
            </a:bodyPr>
            <a:lstStyle/>
            <a:p>
              <a:pPr defTabSz="622300">
                <a:lnSpc>
                  <a:spcPct val="90000"/>
                </a:lnSpc>
                <a:spcBef>
                  <a:spcPct val="0"/>
                </a:spcBef>
                <a:spcAft>
                  <a:spcPct val="35000"/>
                </a:spcAft>
              </a:pPr>
              <a:r>
                <a:rPr lang="en-US" sz="3200" b="1" noProof="0">
                  <a:solidFill>
                    <a:srgbClr val="6800FF"/>
                  </a:solidFill>
                  <a:latin typeface="Montserrat"/>
                  <a:ea typeface="Roboto"/>
                  <a:cs typeface="Roboto"/>
                  <a:sym typeface="Roboto"/>
                </a:rPr>
                <a:t>Security Challenges</a:t>
              </a:r>
            </a:p>
            <a:p>
              <a:pPr marL="0" lvl="0" indent="0" algn="l" defTabSz="622300">
                <a:lnSpc>
                  <a:spcPct val="90000"/>
                </a:lnSpc>
                <a:spcBef>
                  <a:spcPct val="0"/>
                </a:spcBef>
                <a:spcAft>
                  <a:spcPct val="35000"/>
                </a:spcAft>
                <a:buNone/>
              </a:pPr>
              <a:endParaRPr lang="en-US" sz="2400" b="1" kern="1200" noProof="0">
                <a:solidFill>
                  <a:schemeClr val="tx1"/>
                </a:solidFill>
                <a:latin typeface="Montserrat Medium"/>
              </a:endParaRPr>
            </a:p>
            <a:p>
              <a:pPr marL="285750" lvl="0" indent="-285750" algn="l" defTabSz="622300">
                <a:spcAft>
                  <a:spcPts val="1600"/>
                </a:spcAft>
                <a:buFont typeface="Arial" panose="020B0604020202020204" pitchFamily="34" charset="0"/>
                <a:buChar char="•"/>
              </a:pPr>
              <a:r>
                <a:rPr lang="en-US" sz="2400" kern="1200" noProof="0">
                  <a:solidFill>
                    <a:schemeClr val="bg1"/>
                  </a:solidFill>
                  <a:latin typeface="Montserrat Medium"/>
                </a:rPr>
                <a:t>Tracking Compliance : Comply with recent chain of custody requirements </a:t>
              </a:r>
            </a:p>
            <a:p>
              <a:pPr marL="285750" lvl="0" indent="-285750" algn="l" defTabSz="622300">
                <a:spcAft>
                  <a:spcPts val="1600"/>
                </a:spcAft>
                <a:buFont typeface="Arial" panose="020B0604020202020204" pitchFamily="34" charset="0"/>
                <a:buChar char="•"/>
              </a:pPr>
              <a:r>
                <a:rPr lang="en-US" sz="2400" kern="1200" noProof="0">
                  <a:solidFill>
                    <a:schemeClr val="bg1"/>
                  </a:solidFill>
                  <a:latin typeface="Montserrat Medium"/>
                </a:rPr>
                <a:t>Secure on Prem &amp; Cloud Storage: Data access control, Ransomware,  Back-up Data, DEM </a:t>
              </a:r>
            </a:p>
            <a:p>
              <a:pPr marL="285750" lvl="0" indent="-285750" algn="l" defTabSz="622300">
                <a:spcAft>
                  <a:spcPts val="1600"/>
                </a:spcAft>
                <a:buFont typeface="Arial" panose="020B0604020202020204" pitchFamily="34" charset="0"/>
                <a:buChar char="•"/>
              </a:pPr>
              <a:r>
                <a:rPr lang="en-US" sz="2400" kern="1200" noProof="0">
                  <a:solidFill>
                    <a:schemeClr val="bg1"/>
                  </a:solidFill>
                  <a:latin typeface="Montserrat Medium"/>
                </a:rPr>
                <a:t>Secure Legacy Systems: Unsupported and older systems needing security</a:t>
              </a:r>
            </a:p>
            <a:p>
              <a:pPr marL="285750" lvl="0" indent="-285750" algn="l" defTabSz="622300">
                <a:spcAft>
                  <a:spcPts val="1600"/>
                </a:spcAft>
                <a:buFont typeface="Arial" panose="020B0604020202020204" pitchFamily="34" charset="0"/>
                <a:buChar char="•"/>
              </a:pPr>
              <a:r>
                <a:rPr lang="en-US" sz="2400" kern="1200" noProof="0">
                  <a:solidFill>
                    <a:schemeClr val="bg1"/>
                  </a:solidFill>
                  <a:latin typeface="Montserrat Medium"/>
                </a:rPr>
                <a:t>Block Unauthorized Traffic: Protect APIs, lateral movement</a:t>
              </a:r>
            </a:p>
            <a:p>
              <a:pPr marL="285750" lvl="0" indent="-285750" algn="l" defTabSz="622300">
                <a:spcAft>
                  <a:spcPts val="1600"/>
                </a:spcAft>
                <a:buFont typeface="Arial" panose="020B0604020202020204" pitchFamily="34" charset="0"/>
                <a:buChar char="•"/>
              </a:pPr>
              <a:r>
                <a:rPr lang="en-US" sz="2400" kern="1200" noProof="0">
                  <a:solidFill>
                    <a:schemeClr val="bg1"/>
                  </a:solidFill>
                  <a:latin typeface="Montserrat Medium"/>
                </a:rPr>
                <a:t>Data Intake, Share Externally</a:t>
              </a:r>
            </a:p>
          </p:txBody>
        </p:sp>
      </p:grpSp>
      <p:sp>
        <p:nvSpPr>
          <p:cNvPr id="9" name="Rectangle 8">
            <a:extLst>
              <a:ext uri="{FF2B5EF4-FFF2-40B4-BE49-F238E27FC236}">
                <a16:creationId xmlns:a16="http://schemas.microsoft.com/office/drawing/2014/main" id="{03B5BA00-427C-B19F-4041-80F7DBA1A64F}"/>
              </a:ext>
            </a:extLst>
          </p:cNvPr>
          <p:cNvSpPr/>
          <p:nvPr/>
        </p:nvSpPr>
        <p:spPr>
          <a:xfrm>
            <a:off x="1239201" y="7341357"/>
            <a:ext cx="7672565" cy="2727972"/>
          </a:xfrm>
          <a:prstGeom prst="rect">
            <a:avLst/>
          </a:prstGeom>
          <a:noFill/>
          <a:ln w="12700">
            <a:noFill/>
          </a:ln>
        </p:spPr>
        <p:style>
          <a:lnRef idx="2">
            <a:schemeClr val="accent5">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108000"/>
          <a:lstStyle/>
          <a:p>
            <a:endParaRPr lang="en-US" sz="2000" noProof="0">
              <a:solidFill>
                <a:schemeClr val="bg1"/>
              </a:solidFill>
              <a:latin typeface="Montserrat" panose="00000500000000000000" pitchFamily="2" charset="0"/>
            </a:endParaRPr>
          </a:p>
        </p:txBody>
      </p:sp>
      <p:sp>
        <p:nvSpPr>
          <p:cNvPr id="11" name="TextBox 10">
            <a:extLst>
              <a:ext uri="{FF2B5EF4-FFF2-40B4-BE49-F238E27FC236}">
                <a16:creationId xmlns:a16="http://schemas.microsoft.com/office/drawing/2014/main" id="{67820FAB-0597-ED76-A04C-6FC5938A528F}"/>
              </a:ext>
            </a:extLst>
          </p:cNvPr>
          <p:cNvSpPr txBox="1"/>
          <p:nvPr/>
        </p:nvSpPr>
        <p:spPr>
          <a:xfrm>
            <a:off x="10033325" y="2318213"/>
            <a:ext cx="7672565" cy="5801918"/>
          </a:xfrm>
          <a:prstGeom prst="rect">
            <a:avLst/>
          </a:prstGeom>
          <a:noFill/>
          <a:ln w="12700">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08000" tIns="53340" rIns="53340" bIns="53340" numCol="1" spcCol="1270" anchor="t" anchorCtr="0">
            <a:noAutofit/>
          </a:bodyPr>
          <a:lstStyle/>
          <a:p>
            <a:pPr defTabSz="622300">
              <a:lnSpc>
                <a:spcPct val="90000"/>
              </a:lnSpc>
              <a:spcBef>
                <a:spcPct val="0"/>
              </a:spcBef>
              <a:spcAft>
                <a:spcPct val="35000"/>
              </a:spcAft>
            </a:pPr>
            <a:r>
              <a:rPr lang="en-US" sz="3200" b="1" noProof="0">
                <a:solidFill>
                  <a:srgbClr val="6800FF"/>
                </a:solidFill>
                <a:latin typeface="Montserrat"/>
                <a:ea typeface="Roboto"/>
                <a:cs typeface="Roboto"/>
                <a:sym typeface="Roboto"/>
              </a:rPr>
              <a:t>Business Challenges</a:t>
            </a:r>
          </a:p>
          <a:p>
            <a:pPr marL="0" lvl="0" indent="0" algn="l" defTabSz="622300">
              <a:lnSpc>
                <a:spcPct val="90000"/>
              </a:lnSpc>
              <a:spcBef>
                <a:spcPct val="0"/>
              </a:spcBef>
              <a:spcAft>
                <a:spcPct val="35000"/>
              </a:spcAft>
              <a:buNone/>
            </a:pPr>
            <a:endParaRPr lang="en-US" sz="2400" b="1" kern="1200" noProof="0">
              <a:solidFill>
                <a:schemeClr val="bg1"/>
              </a:solidFill>
              <a:latin typeface="Montserrat Medium"/>
            </a:endParaRPr>
          </a:p>
          <a:p>
            <a:pPr marL="285750" lvl="0" indent="-285750" algn="l" defTabSz="622300">
              <a:spcAft>
                <a:spcPts val="1600"/>
              </a:spcAft>
              <a:buFont typeface="Arial" panose="020B0604020202020204" pitchFamily="34" charset="0"/>
              <a:buChar char="•"/>
            </a:pPr>
            <a:r>
              <a:rPr lang="en-US" sz="2400" kern="1200" noProof="0">
                <a:solidFill>
                  <a:schemeClr val="bg1"/>
                </a:solidFill>
                <a:latin typeface="Montserrat Medium"/>
              </a:rPr>
              <a:t>KYC or Mobile Payments (Transactions)</a:t>
            </a:r>
          </a:p>
          <a:p>
            <a:pPr marL="285750" lvl="0" indent="-285750" algn="l" defTabSz="622300">
              <a:spcAft>
                <a:spcPts val="1600"/>
              </a:spcAft>
              <a:buFont typeface="Arial" panose="020B0604020202020204" pitchFamily="34" charset="0"/>
              <a:buChar char="•"/>
            </a:pPr>
            <a:r>
              <a:rPr lang="en-US" sz="2400" kern="1200" noProof="0">
                <a:solidFill>
                  <a:schemeClr val="bg1"/>
                </a:solidFill>
                <a:latin typeface="Montserrat Medium"/>
              </a:rPr>
              <a:t>Compliance and Visibility with PCI, GDPR – Dala Transparency and Localization – and other regulations</a:t>
            </a:r>
          </a:p>
          <a:p>
            <a:pPr marL="285750" lvl="0" indent="-285750" algn="l" defTabSz="622300">
              <a:spcAft>
                <a:spcPts val="1600"/>
              </a:spcAft>
              <a:buFont typeface="Arial" panose="020B0604020202020204" pitchFamily="34" charset="0"/>
              <a:buChar char="•"/>
            </a:pPr>
            <a:r>
              <a:rPr lang="en-US" sz="2400" kern="1200" noProof="0">
                <a:solidFill>
                  <a:schemeClr val="bg1"/>
                </a:solidFill>
                <a:latin typeface="Montserrat Medium"/>
              </a:rPr>
              <a:t>Secure Email</a:t>
            </a:r>
          </a:p>
          <a:p>
            <a:pPr marL="285750" lvl="0" indent="-285750" algn="l" defTabSz="622300">
              <a:spcAft>
                <a:spcPts val="1600"/>
              </a:spcAft>
              <a:buFont typeface="Arial" panose="020B0604020202020204" pitchFamily="34" charset="0"/>
              <a:buChar char="•"/>
            </a:pPr>
            <a:r>
              <a:rPr lang="en-US" sz="2400" kern="1200" noProof="0">
                <a:solidFill>
                  <a:schemeClr val="bg1"/>
                </a:solidFill>
                <a:latin typeface="Montserrat Medium"/>
              </a:rPr>
              <a:t>Third-Party, Ransomware &amp; Data Breaches</a:t>
            </a:r>
          </a:p>
          <a:p>
            <a:pPr marL="285750" lvl="0" indent="-285750" algn="l" defTabSz="622300">
              <a:spcAft>
                <a:spcPts val="1600"/>
              </a:spcAft>
              <a:buFont typeface="Arial" panose="020B0604020202020204" pitchFamily="34" charset="0"/>
              <a:buChar char="•"/>
            </a:pPr>
            <a:r>
              <a:rPr lang="en-US" sz="2400" kern="1200" noProof="0">
                <a:solidFill>
                  <a:schemeClr val="bg1"/>
                </a:solidFill>
                <a:latin typeface="Montserrat Medium"/>
              </a:rPr>
              <a:t>Limited IT &amp; Security Budgets</a:t>
            </a:r>
          </a:p>
          <a:p>
            <a:pPr marL="285750" lvl="0" indent="-285750" algn="l" defTabSz="622300">
              <a:spcAft>
                <a:spcPts val="1600"/>
              </a:spcAft>
              <a:buFont typeface="Arial" panose="020B0604020202020204" pitchFamily="34" charset="0"/>
              <a:buChar char="•"/>
            </a:pPr>
            <a:r>
              <a:rPr lang="en-US" sz="2400" kern="1200" noProof="0">
                <a:solidFill>
                  <a:schemeClr val="bg1"/>
                </a:solidFill>
                <a:latin typeface="Montserrat Medium"/>
              </a:rPr>
              <a:t>Vendor Lock-in</a:t>
            </a:r>
          </a:p>
        </p:txBody>
      </p:sp>
      <p:grpSp>
        <p:nvGrpSpPr>
          <p:cNvPr id="8" name="Group 20">
            <a:extLst>
              <a:ext uri="{FF2B5EF4-FFF2-40B4-BE49-F238E27FC236}">
                <a16:creationId xmlns:a16="http://schemas.microsoft.com/office/drawing/2014/main" id="{362A7D1F-C1A9-9A43-4219-A6E565FDCFCB}"/>
              </a:ext>
            </a:extLst>
          </p:cNvPr>
          <p:cNvGrpSpPr/>
          <p:nvPr/>
        </p:nvGrpSpPr>
        <p:grpSpPr>
          <a:xfrm>
            <a:off x="3579674" y="8114489"/>
            <a:ext cx="12001316" cy="797014"/>
            <a:chOff x="0" y="-28575"/>
            <a:chExt cx="4274726" cy="508836"/>
          </a:xfrm>
        </p:grpSpPr>
        <p:sp>
          <p:nvSpPr>
            <p:cNvPr id="10" name="Freeform 21">
              <a:extLst>
                <a:ext uri="{FF2B5EF4-FFF2-40B4-BE49-F238E27FC236}">
                  <a16:creationId xmlns:a16="http://schemas.microsoft.com/office/drawing/2014/main" id="{A3D3BE08-A5DE-D54F-FBF4-B79BB3FD2808}"/>
                </a:ext>
              </a:extLst>
            </p:cNvPr>
            <p:cNvSpPr/>
            <p:nvPr/>
          </p:nvSpPr>
          <p:spPr>
            <a:xfrm>
              <a:off x="0" y="0"/>
              <a:ext cx="4274726" cy="480261"/>
            </a:xfrm>
            <a:custGeom>
              <a:avLst/>
              <a:gdLst/>
              <a:ahLst/>
              <a:cxnLst/>
              <a:rect l="l" t="t" r="r" b="b"/>
              <a:pathLst>
                <a:path w="4274726" h="480261">
                  <a:moveTo>
                    <a:pt x="23850" y="0"/>
                  </a:moveTo>
                  <a:lnTo>
                    <a:pt x="4250876" y="0"/>
                  </a:lnTo>
                  <a:cubicBezTo>
                    <a:pt x="4257201" y="0"/>
                    <a:pt x="4263268" y="2513"/>
                    <a:pt x="4267741" y="6985"/>
                  </a:cubicBezTo>
                  <a:cubicBezTo>
                    <a:pt x="4272213" y="11458"/>
                    <a:pt x="4274726" y="17524"/>
                    <a:pt x="4274726" y="23850"/>
                  </a:cubicBezTo>
                  <a:lnTo>
                    <a:pt x="4274726" y="456411"/>
                  </a:lnTo>
                  <a:cubicBezTo>
                    <a:pt x="4274726" y="462736"/>
                    <a:pt x="4272213" y="468803"/>
                    <a:pt x="4267741" y="473275"/>
                  </a:cubicBezTo>
                  <a:cubicBezTo>
                    <a:pt x="4263268" y="477748"/>
                    <a:pt x="4257201" y="480261"/>
                    <a:pt x="4250876" y="480261"/>
                  </a:cubicBezTo>
                  <a:lnTo>
                    <a:pt x="23850" y="480261"/>
                  </a:lnTo>
                  <a:cubicBezTo>
                    <a:pt x="17524" y="480261"/>
                    <a:pt x="11458" y="477748"/>
                    <a:pt x="6985" y="473275"/>
                  </a:cubicBezTo>
                  <a:cubicBezTo>
                    <a:pt x="2513" y="468803"/>
                    <a:pt x="0" y="462736"/>
                    <a:pt x="0" y="456411"/>
                  </a:cubicBezTo>
                  <a:lnTo>
                    <a:pt x="0" y="23850"/>
                  </a:lnTo>
                  <a:cubicBezTo>
                    <a:pt x="0" y="17524"/>
                    <a:pt x="2513" y="11458"/>
                    <a:pt x="6985" y="6985"/>
                  </a:cubicBezTo>
                  <a:cubicBezTo>
                    <a:pt x="11458" y="2513"/>
                    <a:pt x="17524" y="0"/>
                    <a:pt x="23850" y="0"/>
                  </a:cubicBezTo>
                  <a:close/>
                </a:path>
              </a:pathLst>
            </a:custGeom>
            <a:solidFill>
              <a:srgbClr val="222222"/>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2" name="TextBox 22">
              <a:extLst>
                <a:ext uri="{FF2B5EF4-FFF2-40B4-BE49-F238E27FC236}">
                  <a16:creationId xmlns:a16="http://schemas.microsoft.com/office/drawing/2014/main" id="{20E2A5C4-9F84-382A-2D6E-7926586D207A}"/>
                </a:ext>
              </a:extLst>
            </p:cNvPr>
            <p:cNvSpPr txBox="1"/>
            <p:nvPr/>
          </p:nvSpPr>
          <p:spPr>
            <a:xfrm>
              <a:off x="0" y="-28575"/>
              <a:ext cx="4274726" cy="508836"/>
            </a:xfrm>
            <a:prstGeom prst="rect">
              <a:avLst/>
            </a:prstGeom>
          </p:spPr>
          <p:txBody>
            <a:bodyPr lIns="50800" tIns="50800" rIns="50800" bIns="50800" rtlCol="0" anchor="ctr"/>
            <a:lstStyle/>
            <a:p>
              <a:pPr marL="0" marR="0" lvl="0" indent="0" algn="ctr" defTabSz="914400" rtl="0" eaLnBrk="1" fontAlgn="auto" latinLnBrk="0" hangingPunct="1">
                <a:lnSpc>
                  <a:spcPts val="196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3" name="TextBox 33">
            <a:extLst>
              <a:ext uri="{FF2B5EF4-FFF2-40B4-BE49-F238E27FC236}">
                <a16:creationId xmlns:a16="http://schemas.microsoft.com/office/drawing/2014/main" id="{221026E9-4450-5A36-23D8-5359B3FBA930}"/>
              </a:ext>
            </a:extLst>
          </p:cNvPr>
          <p:cNvSpPr txBox="1"/>
          <p:nvPr/>
        </p:nvSpPr>
        <p:spPr>
          <a:xfrm>
            <a:off x="3116687" y="8203332"/>
            <a:ext cx="13028568" cy="532518"/>
          </a:xfrm>
          <a:prstGeom prst="rect">
            <a:avLst/>
          </a:prstGeom>
        </p:spPr>
        <p:txBody>
          <a:bodyPr wrap="square" lIns="0" tIns="0" rIns="0" bIns="0" rtlCol="0" anchor="t">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2600" b="1" i="0" u="none" strike="noStrike" kern="1200" cap="none" spc="0" normalizeH="0" baseline="0" noProof="0">
                <a:ln>
                  <a:noFill/>
                </a:ln>
                <a:solidFill>
                  <a:srgbClr val="FFFFFF"/>
                </a:solidFill>
                <a:effectLst/>
                <a:uLnTx/>
                <a:uFillTx/>
                <a:latin typeface="Montserrat" panose="00000500000000000000" pitchFamily="2" charset="0"/>
                <a:ea typeface="+mn-ea"/>
                <a:cs typeface="+mn-cs"/>
              </a:rPr>
              <a:t>IT burden and compliance costs are overwhelming security teams</a:t>
            </a:r>
          </a:p>
        </p:txBody>
      </p:sp>
      <p:grpSp>
        <p:nvGrpSpPr>
          <p:cNvPr id="14" name="Group 7">
            <a:extLst>
              <a:ext uri="{FF2B5EF4-FFF2-40B4-BE49-F238E27FC236}">
                <a16:creationId xmlns:a16="http://schemas.microsoft.com/office/drawing/2014/main" id="{E974654F-8646-5E20-55A4-5C5971B2BDE3}"/>
              </a:ext>
            </a:extLst>
          </p:cNvPr>
          <p:cNvGrpSpPr/>
          <p:nvPr/>
        </p:nvGrpSpPr>
        <p:grpSpPr>
          <a:xfrm>
            <a:off x="12271427" y="1549790"/>
            <a:ext cx="612363" cy="56823"/>
            <a:chOff x="0" y="0"/>
            <a:chExt cx="1078484" cy="100076"/>
          </a:xfrm>
        </p:grpSpPr>
        <p:sp>
          <p:nvSpPr>
            <p:cNvPr id="4" name="Freeform 8">
              <a:extLst>
                <a:ext uri="{FF2B5EF4-FFF2-40B4-BE49-F238E27FC236}">
                  <a16:creationId xmlns:a16="http://schemas.microsoft.com/office/drawing/2014/main" id="{53DC69DE-E9B1-E51E-3518-3A58A0D1A2CE}"/>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spTree>
    <p:extLst>
      <p:ext uri="{BB962C8B-B14F-4D97-AF65-F5344CB8AC3E}">
        <p14:creationId xmlns:p14="http://schemas.microsoft.com/office/powerpoint/2010/main" val="181392159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Shape 315">
          <a:extLst>
            <a:ext uri="{FF2B5EF4-FFF2-40B4-BE49-F238E27FC236}">
              <a16:creationId xmlns:a16="http://schemas.microsoft.com/office/drawing/2014/main" id="{8E19EC1C-0197-A890-EA6E-BEA094B0344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75DFBCB-8344-4A37-EDCB-6462ED8EB566}"/>
              </a:ext>
            </a:extLst>
          </p:cNvPr>
          <p:cNvSpPr>
            <a:spLocks noGrp="1"/>
          </p:cNvSpPr>
          <p:nvPr>
            <p:ph type="title" idx="4294967295"/>
          </p:nvPr>
        </p:nvSpPr>
        <p:spPr>
          <a:xfrm>
            <a:off x="1080600" y="1042450"/>
            <a:ext cx="13366603" cy="1145400"/>
          </a:xfrm>
        </p:spPr>
        <p:txBody>
          <a:bodyPr/>
          <a:lstStyle/>
          <a:p>
            <a:r>
              <a:rPr lang="en-US" sz="4000">
                <a:solidFill>
                  <a:schemeClr val="bg1"/>
                </a:solidFill>
                <a:latin typeface="Montserrat Bold"/>
              </a:rPr>
              <a:t>Date</a:t>
            </a:r>
            <a:r>
              <a:rPr lang="en-US" sz="4000" noProof="0">
                <a:solidFill>
                  <a:schemeClr val="bg1"/>
                </a:solidFill>
                <a:latin typeface="Montserrat Bold"/>
              </a:rPr>
              <a:t> </a:t>
            </a:r>
            <a:r>
              <a:rPr lang="en-US" sz="4000">
                <a:solidFill>
                  <a:schemeClr val="bg1"/>
                </a:solidFill>
                <a:latin typeface="Montserrat Bold"/>
              </a:rPr>
              <a:t>secure</a:t>
            </a:r>
            <a:r>
              <a:rPr lang="en-US" sz="4000" noProof="0">
                <a:solidFill>
                  <a:schemeClr val="bg1"/>
                </a:solidFill>
                <a:latin typeface="Montserrat Bold"/>
              </a:rPr>
              <a:t> </a:t>
            </a:r>
            <a:r>
              <a:rPr lang="en-US" sz="4000">
                <a:solidFill>
                  <a:schemeClr val="bg1"/>
                </a:solidFill>
                <a:latin typeface="Montserrat Bold"/>
              </a:rPr>
              <a:t>sentinel</a:t>
            </a:r>
            <a:r>
              <a:rPr lang="en-US" sz="4000" noProof="0">
                <a:solidFill>
                  <a:schemeClr val="bg1"/>
                </a:solidFill>
                <a:latin typeface="Montserrat Bold"/>
              </a:rPr>
              <a:t> </a:t>
            </a:r>
            <a:r>
              <a:rPr lang="en-US" sz="4000">
                <a:solidFill>
                  <a:schemeClr val="bg1"/>
                </a:solidFill>
                <a:latin typeface="Montserrat Bold"/>
              </a:rPr>
              <a:t>value offer</a:t>
            </a:r>
            <a:br>
              <a:rPr lang="en-US" sz="4000">
                <a:solidFill>
                  <a:schemeClr val="bg1"/>
                </a:solidFill>
                <a:latin typeface="Montserrat Bold"/>
              </a:rPr>
            </a:br>
            <a:r>
              <a:rPr lang="en-US" sz="2800" b="0">
                <a:solidFill>
                  <a:srgbClr val="6800FF"/>
                </a:solidFill>
                <a:latin typeface="Montserrat Medium"/>
              </a:rPr>
              <a:t>Traditional</a:t>
            </a:r>
            <a:r>
              <a:rPr lang="en-US" sz="2800" b="0" noProof="0">
                <a:solidFill>
                  <a:srgbClr val="6800FF"/>
                </a:solidFill>
                <a:latin typeface="Montserrat Medium"/>
              </a:rPr>
              <a:t> Data Loss Prevention solutions are complex, hard to deploy, and require extensive data categorization and policy management</a:t>
            </a:r>
          </a:p>
        </p:txBody>
      </p:sp>
      <p:sp>
        <p:nvSpPr>
          <p:cNvPr id="6" name="Rectangle 5">
            <a:extLst>
              <a:ext uri="{FF2B5EF4-FFF2-40B4-BE49-F238E27FC236}">
                <a16:creationId xmlns:a16="http://schemas.microsoft.com/office/drawing/2014/main" id="{593F04CA-859D-CD1F-185A-203F52E784EE}"/>
              </a:ext>
            </a:extLst>
          </p:cNvPr>
          <p:cNvSpPr/>
          <p:nvPr/>
        </p:nvSpPr>
        <p:spPr>
          <a:xfrm>
            <a:off x="1428128" y="3271571"/>
            <a:ext cx="4706434" cy="2727972"/>
          </a:xfrm>
          <a:prstGeom prst="rect">
            <a:avLst/>
          </a:prstGeom>
          <a:noFill/>
          <a:ln w="12700">
            <a:noFill/>
          </a:ln>
        </p:spPr>
        <p:style>
          <a:lnRef idx="2">
            <a:schemeClr val="accent5">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lIns="108000"/>
          <a:lstStyle/>
          <a:p>
            <a:endParaRPr lang="en-US" sz="2000" noProof="0">
              <a:solidFill>
                <a:schemeClr val="bg1"/>
              </a:solidFill>
              <a:latin typeface="Montserrat" panose="00000500000000000000" pitchFamily="2" charset="0"/>
            </a:endParaRPr>
          </a:p>
        </p:txBody>
      </p:sp>
      <p:sp>
        <p:nvSpPr>
          <p:cNvPr id="4" name="Google Shape;878;p27">
            <a:extLst>
              <a:ext uri="{FF2B5EF4-FFF2-40B4-BE49-F238E27FC236}">
                <a16:creationId xmlns:a16="http://schemas.microsoft.com/office/drawing/2014/main" id="{C6E4C9AE-0428-576B-01FB-BCB5AACD3CB9}"/>
              </a:ext>
            </a:extLst>
          </p:cNvPr>
          <p:cNvSpPr/>
          <p:nvPr/>
        </p:nvSpPr>
        <p:spPr>
          <a:xfrm>
            <a:off x="10850984" y="3057083"/>
            <a:ext cx="7185878" cy="6202237"/>
          </a:xfrm>
          <a:prstGeom prst="roundRect">
            <a:avLst>
              <a:gd name="adj" fmla="val 3070"/>
            </a:avLst>
          </a:prstGeom>
          <a:solidFill>
            <a:srgbClr val="6800FF"/>
          </a:solidFill>
          <a:ln w="9525" cap="flat" cmpd="sng">
            <a:noFill/>
            <a:prstDash val="solid"/>
            <a:round/>
            <a:headEnd type="none" w="sm" len="sm"/>
            <a:tailEnd type="none" w="sm" len="sm"/>
          </a:ln>
        </p:spPr>
        <p:txBody>
          <a:bodyPr spcFirstLastPara="1" wrap="square" lIns="182850" tIns="182850" rIns="182850" bIns="18285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lang="en-US" sz="5600" noProof="0"/>
          </a:p>
        </p:txBody>
      </p:sp>
      <p:sp>
        <p:nvSpPr>
          <p:cNvPr id="8" name="Google Shape;879;p27">
            <a:extLst>
              <a:ext uri="{FF2B5EF4-FFF2-40B4-BE49-F238E27FC236}">
                <a16:creationId xmlns:a16="http://schemas.microsoft.com/office/drawing/2014/main" id="{3A9BE03B-DF33-E80A-DEAB-D43C73DAFF63}"/>
              </a:ext>
            </a:extLst>
          </p:cNvPr>
          <p:cNvSpPr txBox="1"/>
          <p:nvPr/>
        </p:nvSpPr>
        <p:spPr>
          <a:xfrm>
            <a:off x="10824692" y="2466304"/>
            <a:ext cx="7185877" cy="599446"/>
          </a:xfrm>
          <a:prstGeom prst="rect">
            <a:avLst/>
          </a:prstGeom>
          <a:noFill/>
          <a:ln>
            <a:noFill/>
          </a:ln>
        </p:spPr>
        <p:txBody>
          <a:bodyPr spcFirstLastPara="1" wrap="square" lIns="182850" tIns="182850" rIns="182850" bIns="18285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114999"/>
              </a:lnSpc>
            </a:pPr>
            <a:r>
              <a:rPr lang="en-US" sz="2800" noProof="0">
                <a:solidFill>
                  <a:srgbClr val="B010F0"/>
                </a:solidFill>
                <a:latin typeface="Montserrat Bold"/>
                <a:sym typeface="Montserrat"/>
              </a:rPr>
              <a:t>Value Offer</a:t>
            </a:r>
            <a:endParaRPr lang="en-US" sz="2000" noProof="0">
              <a:solidFill>
                <a:srgbClr val="B010F0"/>
              </a:solidFill>
              <a:latin typeface="Montserrat Medium"/>
            </a:endParaRPr>
          </a:p>
        </p:txBody>
      </p:sp>
      <p:sp>
        <p:nvSpPr>
          <p:cNvPr id="10" name="Google Shape;878;p27">
            <a:extLst>
              <a:ext uri="{FF2B5EF4-FFF2-40B4-BE49-F238E27FC236}">
                <a16:creationId xmlns:a16="http://schemas.microsoft.com/office/drawing/2014/main" id="{5C8B1ACE-CD5E-57E9-8DCA-C73B556E354F}"/>
              </a:ext>
            </a:extLst>
          </p:cNvPr>
          <p:cNvSpPr/>
          <p:nvPr/>
        </p:nvSpPr>
        <p:spPr>
          <a:xfrm>
            <a:off x="5879290" y="3057083"/>
            <a:ext cx="4680000" cy="6202239"/>
          </a:xfrm>
          <a:prstGeom prst="roundRect">
            <a:avLst>
              <a:gd name="adj" fmla="val 3070"/>
            </a:avLst>
          </a:prstGeom>
          <a:noFill/>
          <a:ln w="28575" cap="flat" cmpd="sng">
            <a:solidFill>
              <a:srgbClr val="6800FF"/>
            </a:solidFill>
            <a:prstDash val="solid"/>
            <a:round/>
            <a:headEnd type="none" w="sm" len="sm"/>
            <a:tailEnd type="none" w="sm" len="sm"/>
          </a:ln>
        </p:spPr>
        <p:txBody>
          <a:bodyPr spcFirstLastPara="1" wrap="square" lIns="182850" tIns="182850" rIns="182850" bIns="18285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lang="en-US" sz="5600" noProof="0"/>
          </a:p>
        </p:txBody>
      </p:sp>
      <p:sp>
        <p:nvSpPr>
          <p:cNvPr id="12" name="Google Shape;879;p27">
            <a:extLst>
              <a:ext uri="{FF2B5EF4-FFF2-40B4-BE49-F238E27FC236}">
                <a16:creationId xmlns:a16="http://schemas.microsoft.com/office/drawing/2014/main" id="{8B9E8122-58E7-F6D3-38D1-733A2938391F}"/>
              </a:ext>
            </a:extLst>
          </p:cNvPr>
          <p:cNvSpPr txBox="1"/>
          <p:nvPr/>
        </p:nvSpPr>
        <p:spPr>
          <a:xfrm>
            <a:off x="5878081" y="3269717"/>
            <a:ext cx="4706434" cy="1242765"/>
          </a:xfrm>
          <a:prstGeom prst="rect">
            <a:avLst/>
          </a:prstGeom>
          <a:noFill/>
          <a:ln>
            <a:noFill/>
          </a:ln>
        </p:spPr>
        <p:txBody>
          <a:bodyPr spcFirstLastPara="1" wrap="square" lIns="182850" tIns="182850" rIns="182850" bIns="18285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114999"/>
              </a:lnSpc>
            </a:pPr>
            <a:r>
              <a:rPr lang="en-US" sz="2400" noProof="0">
                <a:solidFill>
                  <a:srgbClr val="6800FF"/>
                </a:solidFill>
                <a:latin typeface="Montserrat Bold"/>
                <a:sym typeface="Montserrat"/>
              </a:rPr>
              <a:t>Know and Control your data</a:t>
            </a:r>
            <a:endParaRPr lang="en-US" sz="1800" noProof="0">
              <a:solidFill>
                <a:schemeClr val="bg1"/>
              </a:solidFill>
              <a:latin typeface="Montserrat Medium"/>
            </a:endParaRPr>
          </a:p>
        </p:txBody>
      </p:sp>
      <p:sp>
        <p:nvSpPr>
          <p:cNvPr id="13" name="Google Shape;878;p27">
            <a:extLst>
              <a:ext uri="{FF2B5EF4-FFF2-40B4-BE49-F238E27FC236}">
                <a16:creationId xmlns:a16="http://schemas.microsoft.com/office/drawing/2014/main" id="{48F08B2B-EFC3-AAD5-AF31-3B6911D8F281}"/>
              </a:ext>
            </a:extLst>
          </p:cNvPr>
          <p:cNvSpPr/>
          <p:nvPr/>
        </p:nvSpPr>
        <p:spPr>
          <a:xfrm>
            <a:off x="758796" y="3066529"/>
            <a:ext cx="4680000" cy="6202238"/>
          </a:xfrm>
          <a:prstGeom prst="roundRect">
            <a:avLst>
              <a:gd name="adj" fmla="val 3070"/>
            </a:avLst>
          </a:prstGeom>
          <a:noFill/>
          <a:ln w="28575" cap="flat" cmpd="sng">
            <a:solidFill>
              <a:srgbClr val="6800FF"/>
            </a:solidFill>
            <a:prstDash val="solid"/>
            <a:round/>
            <a:headEnd type="none" w="sm" len="sm"/>
            <a:tailEnd type="none" w="sm" len="sm"/>
          </a:ln>
        </p:spPr>
        <p:txBody>
          <a:bodyPr spcFirstLastPara="1" wrap="square" lIns="182850" tIns="182850" rIns="182850" bIns="18285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lang="en-US" sz="5600" noProof="0"/>
          </a:p>
        </p:txBody>
      </p:sp>
      <p:sp>
        <p:nvSpPr>
          <p:cNvPr id="14" name="TextBox 13">
            <a:extLst>
              <a:ext uri="{FF2B5EF4-FFF2-40B4-BE49-F238E27FC236}">
                <a16:creationId xmlns:a16="http://schemas.microsoft.com/office/drawing/2014/main" id="{4843C0F4-226D-5E47-8DCB-4A4339279F1D}"/>
              </a:ext>
            </a:extLst>
          </p:cNvPr>
          <p:cNvSpPr txBox="1"/>
          <p:nvPr/>
        </p:nvSpPr>
        <p:spPr>
          <a:xfrm>
            <a:off x="745579" y="4639428"/>
            <a:ext cx="4706434" cy="4000839"/>
          </a:xfrm>
          <a:prstGeom prst="rect">
            <a:avLst/>
          </a:prstGeom>
          <a:noFill/>
          <a:ln w="12700">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08000" tIns="53340" rIns="53340" bIns="53340" numCol="1" spcCol="1270" anchor="t" anchorCtr="0">
            <a:noAutofit/>
          </a:bodyPr>
          <a:lstStyle/>
          <a:p>
            <a:pPr defTabSz="622300">
              <a:lnSpc>
                <a:spcPct val="150000"/>
              </a:lnSpc>
            </a:pPr>
            <a:r>
              <a:rPr lang="en-US" sz="2000" noProof="0">
                <a:solidFill>
                  <a:schemeClr val="bg1"/>
                </a:solidFill>
                <a:latin typeface="Montserrat Medium"/>
                <a:cs typeface="Arial"/>
              </a:rPr>
              <a:t>- Control Over The Location of Your Data</a:t>
            </a:r>
            <a:endParaRPr lang="en-US" sz="2000" noProof="0">
              <a:solidFill>
                <a:schemeClr val="bg1"/>
              </a:solidFill>
            </a:endParaRPr>
          </a:p>
          <a:p>
            <a:pPr defTabSz="622300">
              <a:lnSpc>
                <a:spcPct val="150000"/>
              </a:lnSpc>
            </a:pPr>
            <a:r>
              <a:rPr lang="en-US" sz="2000" noProof="0">
                <a:solidFill>
                  <a:schemeClr val="bg1"/>
                </a:solidFill>
                <a:latin typeface="Montserrat Medium"/>
                <a:cs typeface="Arial"/>
              </a:rPr>
              <a:t>- Verifiable Control Over Data Access</a:t>
            </a:r>
          </a:p>
          <a:p>
            <a:pPr defTabSz="622300">
              <a:lnSpc>
                <a:spcPct val="150000"/>
              </a:lnSpc>
            </a:pPr>
            <a:r>
              <a:rPr lang="en-US" sz="2000" noProof="0">
                <a:solidFill>
                  <a:schemeClr val="bg1"/>
                </a:solidFill>
                <a:latin typeface="Montserrat Medium"/>
                <a:cs typeface="Arial"/>
              </a:rPr>
              <a:t>- The Ability to Encrypt Everything Everywhere</a:t>
            </a:r>
          </a:p>
          <a:p>
            <a:pPr defTabSz="622300">
              <a:lnSpc>
                <a:spcPct val="150000"/>
              </a:lnSpc>
            </a:pPr>
            <a:r>
              <a:rPr lang="en-US" sz="2000" noProof="0">
                <a:solidFill>
                  <a:schemeClr val="bg1"/>
                </a:solidFill>
                <a:latin typeface="Montserrat Medium"/>
                <a:cs typeface="Arial"/>
              </a:rPr>
              <a:t>- Data Resilience From The Edge To The Cloud</a:t>
            </a:r>
          </a:p>
        </p:txBody>
      </p:sp>
      <p:sp>
        <p:nvSpPr>
          <p:cNvPr id="15" name="Google Shape;879;p27">
            <a:extLst>
              <a:ext uri="{FF2B5EF4-FFF2-40B4-BE49-F238E27FC236}">
                <a16:creationId xmlns:a16="http://schemas.microsoft.com/office/drawing/2014/main" id="{823BEDA4-2224-3F56-4140-4376E4B8BEE0}"/>
              </a:ext>
            </a:extLst>
          </p:cNvPr>
          <p:cNvSpPr txBox="1"/>
          <p:nvPr/>
        </p:nvSpPr>
        <p:spPr>
          <a:xfrm>
            <a:off x="5994610" y="4639428"/>
            <a:ext cx="4179119" cy="4284466"/>
          </a:xfrm>
          <a:prstGeom prst="rect">
            <a:avLst/>
          </a:prstGeom>
          <a:noFill/>
          <a:ln>
            <a:noFill/>
          </a:ln>
        </p:spPr>
        <p:txBody>
          <a:bodyPr spcFirstLastPara="1" wrap="square" lIns="182850" tIns="182850" rIns="182850" bIns="18285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nSpc>
                <a:spcPct val="114999"/>
              </a:lnSpc>
            </a:pPr>
            <a:r>
              <a:rPr lang="en-US" sz="2000" noProof="0">
                <a:solidFill>
                  <a:schemeClr val="bg1"/>
                </a:solidFill>
                <a:latin typeface="Montserrat Medium"/>
                <a:sym typeface="Montserrat Light"/>
              </a:rPr>
              <a:t>- Data sovereignty</a:t>
            </a:r>
            <a:endParaRPr lang="en-US" sz="2000" noProof="0">
              <a:solidFill>
                <a:schemeClr val="bg1"/>
              </a:solidFill>
              <a:latin typeface="Montserrat Medium"/>
            </a:endParaRPr>
          </a:p>
          <a:p>
            <a:pPr>
              <a:lnSpc>
                <a:spcPct val="150000"/>
              </a:lnSpc>
            </a:pPr>
            <a:r>
              <a:rPr lang="en-US" sz="2000" noProof="0">
                <a:solidFill>
                  <a:schemeClr val="bg1"/>
                </a:solidFill>
                <a:latin typeface="Montserrat Medium"/>
              </a:rPr>
              <a:t>- Compliance for regulated industry data</a:t>
            </a:r>
          </a:p>
          <a:p>
            <a:pPr>
              <a:lnSpc>
                <a:spcPct val="150000"/>
              </a:lnSpc>
            </a:pPr>
            <a:r>
              <a:rPr lang="en-US" sz="2000" noProof="0">
                <a:solidFill>
                  <a:schemeClr val="bg1"/>
                </a:solidFill>
                <a:latin typeface="Montserrat Medium"/>
              </a:rPr>
              <a:t>- Ransomware extortion protection &amp; data exfiltration</a:t>
            </a:r>
          </a:p>
          <a:p>
            <a:pPr>
              <a:lnSpc>
                <a:spcPct val="150000"/>
              </a:lnSpc>
            </a:pPr>
            <a:r>
              <a:rPr lang="en-US" sz="2000" noProof="0">
                <a:solidFill>
                  <a:schemeClr val="bg1"/>
                </a:solidFill>
                <a:latin typeface="Montserrat Medium"/>
              </a:rPr>
              <a:t>- Increase efficiencies and unified visibility</a:t>
            </a:r>
          </a:p>
        </p:txBody>
      </p:sp>
      <p:sp>
        <p:nvSpPr>
          <p:cNvPr id="3" name="TextBox 2">
            <a:extLst>
              <a:ext uri="{FF2B5EF4-FFF2-40B4-BE49-F238E27FC236}">
                <a16:creationId xmlns:a16="http://schemas.microsoft.com/office/drawing/2014/main" id="{56BDB8D8-6217-88B8-258D-863C7A354E89}"/>
              </a:ext>
            </a:extLst>
          </p:cNvPr>
          <p:cNvSpPr txBox="1"/>
          <p:nvPr/>
        </p:nvSpPr>
        <p:spPr>
          <a:xfrm>
            <a:off x="758795" y="3312436"/>
            <a:ext cx="4679999"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400" noProof="0">
                <a:solidFill>
                  <a:srgbClr val="6800FF"/>
                </a:solidFill>
                <a:latin typeface="Montserrat Bold"/>
              </a:rPr>
              <a:t>Geofencing data access through local </a:t>
            </a:r>
            <a:r>
              <a:rPr lang="en-US" sz="2400" noProof="0" err="1">
                <a:solidFill>
                  <a:srgbClr val="6800FF"/>
                </a:solidFill>
                <a:latin typeface="Montserrat Bold"/>
              </a:rPr>
              <a:t>keybanks</a:t>
            </a:r>
            <a:r>
              <a:rPr lang="en-US" sz="2400" noProof="0">
                <a:solidFill>
                  <a:srgbClr val="6800FF"/>
                </a:solidFill>
                <a:latin typeface="Montserrat Bold"/>
              </a:rPr>
              <a:t> for jurisdictional control</a:t>
            </a:r>
            <a:r>
              <a:rPr lang="en-US" sz="2400" noProof="0">
                <a:latin typeface="Montserrat Bold"/>
              </a:rPr>
              <a:t>​</a:t>
            </a:r>
            <a:endParaRPr lang="en-US" noProof="0"/>
          </a:p>
        </p:txBody>
      </p:sp>
      <p:sp>
        <p:nvSpPr>
          <p:cNvPr id="5" name="Google Shape;879;p27">
            <a:extLst>
              <a:ext uri="{FF2B5EF4-FFF2-40B4-BE49-F238E27FC236}">
                <a16:creationId xmlns:a16="http://schemas.microsoft.com/office/drawing/2014/main" id="{31AD198C-589C-9F0D-46C0-0E87A9B87706}"/>
              </a:ext>
            </a:extLst>
          </p:cNvPr>
          <p:cNvSpPr txBox="1"/>
          <p:nvPr/>
        </p:nvSpPr>
        <p:spPr>
          <a:xfrm>
            <a:off x="10876208" y="3057083"/>
            <a:ext cx="7109138" cy="6211684"/>
          </a:xfrm>
          <a:prstGeom prst="rect">
            <a:avLst/>
          </a:prstGeom>
          <a:noFill/>
          <a:ln>
            <a:noFill/>
          </a:ln>
        </p:spPr>
        <p:txBody>
          <a:bodyPr spcFirstLastPara="1" wrap="square" lIns="182850" tIns="182850" rIns="182850" bIns="18285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342900" indent="-342900">
              <a:lnSpc>
                <a:spcPct val="150000"/>
              </a:lnSpc>
              <a:buClr>
                <a:schemeClr val="tx1"/>
              </a:buClr>
              <a:buFont typeface="Arial" panose="020B0604020202020204" pitchFamily="34" charset="0"/>
              <a:buChar char="•"/>
            </a:pPr>
            <a:r>
              <a:rPr lang="en-US" sz="2100" noProof="0">
                <a:solidFill>
                  <a:schemeClr val="tx1"/>
                </a:solidFill>
                <a:latin typeface="Montserrat Medium"/>
                <a:sym typeface="Montserrat Light"/>
              </a:rPr>
              <a:t>Scalable data security across environments</a:t>
            </a:r>
            <a:endParaRPr lang="en-US" sz="2100" noProof="0">
              <a:solidFill>
                <a:schemeClr val="tx1"/>
              </a:solidFill>
              <a:latin typeface="Montserrat Medium"/>
            </a:endParaRPr>
          </a:p>
          <a:p>
            <a:pPr marL="342900" indent="-342900">
              <a:lnSpc>
                <a:spcPct val="150000"/>
              </a:lnSpc>
              <a:buClr>
                <a:schemeClr val="tx1"/>
              </a:buClr>
              <a:buFont typeface="Arial" panose="020B0604020202020204" pitchFamily="34" charset="0"/>
              <a:buChar char="•"/>
            </a:pPr>
            <a:r>
              <a:rPr lang="en-US" sz="2100" noProof="0">
                <a:solidFill>
                  <a:schemeClr val="tx1"/>
                </a:solidFill>
                <a:latin typeface="Montserrat Medium"/>
              </a:rPr>
              <a:t>Efficient SecOps automation for logging and monitoring</a:t>
            </a:r>
          </a:p>
          <a:p>
            <a:pPr marL="342900" indent="-342900">
              <a:lnSpc>
                <a:spcPct val="150000"/>
              </a:lnSpc>
              <a:buClr>
                <a:schemeClr val="tx1"/>
              </a:buClr>
              <a:buFont typeface="Arial" panose="020B0604020202020204" pitchFamily="34" charset="0"/>
              <a:buChar char="•"/>
            </a:pPr>
            <a:r>
              <a:rPr lang="en-US" sz="2100" noProof="0">
                <a:solidFill>
                  <a:schemeClr val="tx1"/>
                </a:solidFill>
                <a:latin typeface="Montserrat Medium"/>
              </a:rPr>
              <a:t>Zero trust data access governance</a:t>
            </a:r>
          </a:p>
          <a:p>
            <a:pPr marL="342900" indent="-342900">
              <a:lnSpc>
                <a:spcPct val="150000"/>
              </a:lnSpc>
              <a:buClr>
                <a:schemeClr val="tx1"/>
              </a:buClr>
              <a:buFont typeface="Arial" panose="020B0604020202020204" pitchFamily="34" charset="0"/>
              <a:buChar char="•"/>
            </a:pPr>
            <a:r>
              <a:rPr lang="en-US" sz="2100" noProof="0">
                <a:solidFill>
                  <a:schemeClr val="tx1"/>
                </a:solidFill>
                <a:latin typeface="Montserrat Medium"/>
              </a:rPr>
              <a:t>Unified data loss prevention</a:t>
            </a:r>
          </a:p>
          <a:p>
            <a:pPr marL="342900" indent="-342900">
              <a:lnSpc>
                <a:spcPct val="150000"/>
              </a:lnSpc>
              <a:buClr>
                <a:schemeClr val="tx1"/>
              </a:buClr>
              <a:buFont typeface="Arial" panose="020B0604020202020204" pitchFamily="34" charset="0"/>
              <a:buChar char="•"/>
            </a:pPr>
            <a:r>
              <a:rPr lang="en-US" sz="2100" noProof="0">
                <a:solidFill>
                  <a:schemeClr val="tx1"/>
                </a:solidFill>
                <a:latin typeface="Montserrat Medium"/>
              </a:rPr>
              <a:t>Data detection and response</a:t>
            </a:r>
          </a:p>
          <a:p>
            <a:pPr marL="342900" indent="-342900">
              <a:lnSpc>
                <a:spcPct val="150000"/>
              </a:lnSpc>
              <a:buClr>
                <a:schemeClr val="tx1"/>
              </a:buClr>
              <a:buFont typeface="Arial" panose="020B0604020202020204" pitchFamily="34" charset="0"/>
              <a:buChar char="•"/>
            </a:pPr>
            <a:r>
              <a:rPr lang="en-US" sz="2100" noProof="0">
                <a:solidFill>
                  <a:schemeClr val="tx1"/>
                </a:solidFill>
                <a:latin typeface="Montserrat Medium"/>
              </a:rPr>
              <a:t>Trust &amp; Compliance Visibility</a:t>
            </a:r>
          </a:p>
          <a:p>
            <a:pPr marL="342900" indent="-342900">
              <a:lnSpc>
                <a:spcPct val="150000"/>
              </a:lnSpc>
              <a:buClr>
                <a:schemeClr val="tx1"/>
              </a:buClr>
              <a:buFont typeface="Arial" panose="020B0604020202020204" pitchFamily="34" charset="0"/>
              <a:buChar char="•"/>
            </a:pPr>
            <a:r>
              <a:rPr lang="en-US" sz="2100" noProof="0">
                <a:solidFill>
                  <a:schemeClr val="tx1"/>
                </a:solidFill>
                <a:latin typeface="Montserrat Medium"/>
              </a:rPr>
              <a:t>Reduce Downtime &amp; Disruptions</a:t>
            </a:r>
          </a:p>
          <a:p>
            <a:pPr marL="342900" indent="-342900">
              <a:lnSpc>
                <a:spcPct val="150000"/>
              </a:lnSpc>
              <a:buClr>
                <a:schemeClr val="tx1"/>
              </a:buClr>
              <a:buFont typeface="Arial" panose="020B0604020202020204" pitchFamily="34" charset="0"/>
              <a:buChar char="•"/>
            </a:pPr>
            <a:r>
              <a:rPr lang="en-US" sz="2100" noProof="0">
                <a:solidFill>
                  <a:schemeClr val="tx1"/>
                </a:solidFill>
                <a:latin typeface="Montserrat Medium"/>
              </a:rPr>
              <a:t>Minimize IT Workloads</a:t>
            </a:r>
          </a:p>
          <a:p>
            <a:pPr marL="342900" indent="-342900">
              <a:lnSpc>
                <a:spcPct val="150000"/>
              </a:lnSpc>
              <a:buClr>
                <a:schemeClr val="tx1"/>
              </a:buClr>
              <a:buFont typeface="Arial" panose="020B0604020202020204" pitchFamily="34" charset="0"/>
              <a:buChar char="•"/>
            </a:pPr>
            <a:r>
              <a:rPr lang="en-US" sz="2100" noProof="0">
                <a:solidFill>
                  <a:schemeClr val="tx1"/>
                </a:solidFill>
                <a:latin typeface="Montserrat Medium"/>
              </a:rPr>
              <a:t>Lower Compliance Costs</a:t>
            </a:r>
          </a:p>
          <a:p>
            <a:pPr marL="342900" indent="-342900">
              <a:lnSpc>
                <a:spcPct val="150000"/>
              </a:lnSpc>
              <a:buClr>
                <a:schemeClr val="tx1"/>
              </a:buClr>
              <a:buFont typeface="Arial" panose="020B0604020202020204" pitchFamily="34" charset="0"/>
              <a:buChar char="•"/>
            </a:pPr>
            <a:r>
              <a:rPr lang="en-US" sz="2100" noProof="0">
                <a:solidFill>
                  <a:schemeClr val="tx1"/>
                </a:solidFill>
                <a:latin typeface="Montserrat Medium"/>
              </a:rPr>
              <a:t>Save Time &amp; Labor</a:t>
            </a:r>
          </a:p>
          <a:p>
            <a:pPr marL="342900" indent="-342900">
              <a:lnSpc>
                <a:spcPct val="150000"/>
              </a:lnSpc>
              <a:buClr>
                <a:schemeClr val="tx1"/>
              </a:buClr>
              <a:buFont typeface="Arial" panose="020B0604020202020204" pitchFamily="34" charset="0"/>
              <a:buChar char="•"/>
            </a:pPr>
            <a:r>
              <a:rPr lang="en-US" sz="2100" noProof="0">
                <a:solidFill>
                  <a:schemeClr val="tx1"/>
                </a:solidFill>
                <a:latin typeface="Montserrat Medium"/>
              </a:rPr>
              <a:t>Reduce Third-Party Risk Management Costs </a:t>
            </a:r>
          </a:p>
        </p:txBody>
      </p:sp>
      <p:grpSp>
        <p:nvGrpSpPr>
          <p:cNvPr id="11" name="Group 7">
            <a:extLst>
              <a:ext uri="{FF2B5EF4-FFF2-40B4-BE49-F238E27FC236}">
                <a16:creationId xmlns:a16="http://schemas.microsoft.com/office/drawing/2014/main" id="{7A671116-3664-3E27-EA1D-EAA17B0619FE}"/>
              </a:ext>
            </a:extLst>
          </p:cNvPr>
          <p:cNvGrpSpPr/>
          <p:nvPr/>
        </p:nvGrpSpPr>
        <p:grpSpPr>
          <a:xfrm>
            <a:off x="9710529" y="1549790"/>
            <a:ext cx="612363" cy="56823"/>
            <a:chOff x="0" y="0"/>
            <a:chExt cx="1078484" cy="100076"/>
          </a:xfrm>
        </p:grpSpPr>
        <p:sp>
          <p:nvSpPr>
            <p:cNvPr id="9" name="Freeform 8">
              <a:extLst>
                <a:ext uri="{FF2B5EF4-FFF2-40B4-BE49-F238E27FC236}">
                  <a16:creationId xmlns:a16="http://schemas.microsoft.com/office/drawing/2014/main" id="{BF3CD5E9-5327-1312-4762-F643364E46CE}"/>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spTree>
    <p:extLst>
      <p:ext uri="{BB962C8B-B14F-4D97-AF65-F5344CB8AC3E}">
        <p14:creationId xmlns:p14="http://schemas.microsoft.com/office/powerpoint/2010/main" val="137988937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5A5933-16C5-44BA-59AC-44244C0CA7CE}"/>
              </a:ext>
            </a:extLst>
          </p:cNvPr>
          <p:cNvSpPr txBox="1">
            <a:spLocks/>
          </p:cNvSpPr>
          <p:nvPr/>
        </p:nvSpPr>
        <p:spPr>
          <a:xfrm>
            <a:off x="1080600" y="1042450"/>
            <a:ext cx="9706109" cy="111646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1pPr>
            <a:lvl2pPr marR="0" lvl="1"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2pPr>
            <a:lvl3pPr marR="0" lvl="2"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3pPr>
            <a:lvl4pPr marR="0" lvl="3"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4pPr>
            <a:lvl5pPr marR="0" lvl="4"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5pPr>
            <a:lvl6pPr marR="0" lvl="5"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6pPr>
            <a:lvl7pPr marR="0" lvl="6"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7pPr>
            <a:lvl8pPr marR="0" lvl="7"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8pPr>
            <a:lvl9pPr marR="0" lvl="8"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9pPr>
          </a:lstStyle>
          <a:p>
            <a:r>
              <a:rPr lang="en-US" sz="4000">
                <a:solidFill>
                  <a:schemeClr val="bg1"/>
                </a:solidFill>
                <a:latin typeface="Montserrat Bold"/>
              </a:rPr>
              <a:t>Why traditional cyber security fails</a:t>
            </a:r>
            <a:br>
              <a:rPr lang="en-US">
                <a:latin typeface="Montserrat" panose="00000500000000000000" pitchFamily="2" charset="0"/>
              </a:rPr>
            </a:br>
            <a:endParaRPr lang="en-US" sz="2800" b="0">
              <a:solidFill>
                <a:srgbClr val="6800FF"/>
              </a:solidFill>
              <a:latin typeface="Montserrat Medium"/>
            </a:endParaRPr>
          </a:p>
        </p:txBody>
      </p:sp>
      <p:grpSp>
        <p:nvGrpSpPr>
          <p:cNvPr id="20" name="Group 19">
            <a:extLst>
              <a:ext uri="{FF2B5EF4-FFF2-40B4-BE49-F238E27FC236}">
                <a16:creationId xmlns:a16="http://schemas.microsoft.com/office/drawing/2014/main" id="{E384C4BC-7AFA-B082-A25F-305B44AFEDBC}"/>
              </a:ext>
            </a:extLst>
          </p:cNvPr>
          <p:cNvGrpSpPr/>
          <p:nvPr/>
        </p:nvGrpSpPr>
        <p:grpSpPr>
          <a:xfrm>
            <a:off x="14301330" y="1702733"/>
            <a:ext cx="3600000" cy="3600000"/>
            <a:chOff x="13517235" y="3792090"/>
            <a:chExt cx="3215700" cy="3149487"/>
          </a:xfrm>
        </p:grpSpPr>
        <p:sp>
          <p:nvSpPr>
            <p:cNvPr id="3" name="Google Shape;395;p72">
              <a:extLst>
                <a:ext uri="{FF2B5EF4-FFF2-40B4-BE49-F238E27FC236}">
                  <a16:creationId xmlns:a16="http://schemas.microsoft.com/office/drawing/2014/main" id="{42389C80-3786-1BE2-07EE-704EB40AF267}"/>
                </a:ext>
              </a:extLst>
            </p:cNvPr>
            <p:cNvSpPr/>
            <p:nvPr/>
          </p:nvSpPr>
          <p:spPr>
            <a:xfrm>
              <a:off x="14113510" y="5756052"/>
              <a:ext cx="897900" cy="924300"/>
            </a:xfrm>
            <a:prstGeom prst="ellipse">
              <a:avLst/>
            </a:prstGeom>
            <a:noFill/>
            <a:ln w="28575" cap="flat" cmpd="sng">
              <a:solidFill>
                <a:srgbClr val="0C57D3"/>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chemeClr val="bg1"/>
                </a:solidFill>
                <a:latin typeface="Calibri"/>
                <a:ea typeface="Calibri"/>
                <a:cs typeface="Calibri"/>
                <a:sym typeface="Calibri"/>
              </a:endParaRPr>
            </a:p>
          </p:txBody>
        </p:sp>
        <p:sp>
          <p:nvSpPr>
            <p:cNvPr id="4" name="Google Shape;396;p72">
              <a:extLst>
                <a:ext uri="{FF2B5EF4-FFF2-40B4-BE49-F238E27FC236}">
                  <a16:creationId xmlns:a16="http://schemas.microsoft.com/office/drawing/2014/main" id="{6AC1C80C-3314-B4E3-DFDE-1F0FE4742531}"/>
                </a:ext>
              </a:extLst>
            </p:cNvPr>
            <p:cNvSpPr/>
            <p:nvPr/>
          </p:nvSpPr>
          <p:spPr>
            <a:xfrm>
              <a:off x="13554060" y="4687277"/>
              <a:ext cx="897900" cy="924300"/>
            </a:xfrm>
            <a:prstGeom prst="ellipse">
              <a:avLst/>
            </a:prstGeom>
            <a:noFill/>
            <a:ln w="28575" cap="flat" cmpd="sng">
              <a:solidFill>
                <a:srgbClr val="0C57D3"/>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chemeClr val="bg1"/>
                </a:solidFill>
                <a:latin typeface="Calibri"/>
                <a:ea typeface="Calibri"/>
                <a:cs typeface="Calibri"/>
                <a:sym typeface="Calibri"/>
              </a:endParaRPr>
            </a:p>
          </p:txBody>
        </p:sp>
        <p:sp>
          <p:nvSpPr>
            <p:cNvPr id="5" name="Google Shape;397;p72">
              <a:extLst>
                <a:ext uri="{FF2B5EF4-FFF2-40B4-BE49-F238E27FC236}">
                  <a16:creationId xmlns:a16="http://schemas.microsoft.com/office/drawing/2014/main" id="{A2E06523-E9DF-D78C-4054-F1E50E4EBF43}"/>
                </a:ext>
              </a:extLst>
            </p:cNvPr>
            <p:cNvSpPr/>
            <p:nvPr/>
          </p:nvSpPr>
          <p:spPr>
            <a:xfrm>
              <a:off x="15636285" y="4496777"/>
              <a:ext cx="897900" cy="924300"/>
            </a:xfrm>
            <a:prstGeom prst="ellipse">
              <a:avLst/>
            </a:prstGeom>
            <a:noFill/>
            <a:ln w="28575" cap="flat" cmpd="sng">
              <a:solidFill>
                <a:srgbClr val="FF000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chemeClr val="bg1"/>
                </a:solidFill>
                <a:latin typeface="Calibri"/>
                <a:ea typeface="Calibri"/>
                <a:cs typeface="Calibri"/>
                <a:sym typeface="Calibri"/>
              </a:endParaRPr>
            </a:p>
          </p:txBody>
        </p:sp>
        <p:cxnSp>
          <p:nvCxnSpPr>
            <p:cNvPr id="6" name="Google Shape;398;p72">
              <a:extLst>
                <a:ext uri="{FF2B5EF4-FFF2-40B4-BE49-F238E27FC236}">
                  <a16:creationId xmlns:a16="http://schemas.microsoft.com/office/drawing/2014/main" id="{2A28F327-891E-BD51-B699-0C9577BDF430}"/>
                </a:ext>
              </a:extLst>
            </p:cNvPr>
            <p:cNvCxnSpPr>
              <a:stCxn id="3" idx="2"/>
              <a:endCxn id="4" idx="4"/>
            </p:cNvCxnSpPr>
            <p:nvPr/>
          </p:nvCxnSpPr>
          <p:spPr>
            <a:xfrm rot="10800000">
              <a:off x="14003110" y="5611602"/>
              <a:ext cx="110400" cy="606600"/>
            </a:xfrm>
            <a:prstGeom prst="curvedConnector2">
              <a:avLst/>
            </a:prstGeom>
            <a:noFill/>
            <a:ln w="9525" cap="flat" cmpd="sng">
              <a:solidFill>
                <a:srgbClr val="00FF00"/>
              </a:solidFill>
              <a:prstDash val="solid"/>
              <a:round/>
              <a:headEnd type="none" w="med" len="med"/>
              <a:tailEnd type="triangle" w="med" len="med"/>
            </a:ln>
          </p:spPr>
        </p:cxnSp>
        <p:sp>
          <p:nvSpPr>
            <p:cNvPr id="7" name="Google Shape;399;p72">
              <a:extLst>
                <a:ext uri="{FF2B5EF4-FFF2-40B4-BE49-F238E27FC236}">
                  <a16:creationId xmlns:a16="http://schemas.microsoft.com/office/drawing/2014/main" id="{A276CFD5-3561-BACB-BE41-8669BABE5F85}"/>
                </a:ext>
              </a:extLst>
            </p:cNvPr>
            <p:cNvSpPr/>
            <p:nvPr/>
          </p:nvSpPr>
          <p:spPr>
            <a:xfrm>
              <a:off x="15290885" y="4135977"/>
              <a:ext cx="124200" cy="2805600"/>
            </a:xfrm>
            <a:prstGeom prst="roundRect">
              <a:avLst>
                <a:gd name="adj" fmla="val 16667"/>
              </a:avLst>
            </a:prstGeom>
            <a:solidFill>
              <a:schemeClr val="tx2"/>
            </a:solidFill>
            <a:ln w="9525" cap="flat" cmpd="sng">
              <a:solidFill>
                <a:srgbClr val="0C57D3"/>
              </a:solidFill>
              <a:prstDash val="dash"/>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chemeClr val="bg1"/>
                </a:solidFill>
                <a:latin typeface="Calibri"/>
                <a:ea typeface="Calibri"/>
                <a:cs typeface="Calibri"/>
                <a:sym typeface="Calibri"/>
              </a:endParaRPr>
            </a:p>
          </p:txBody>
        </p:sp>
        <p:sp>
          <p:nvSpPr>
            <p:cNvPr id="8" name="Google Shape;400;p72">
              <a:extLst>
                <a:ext uri="{FF2B5EF4-FFF2-40B4-BE49-F238E27FC236}">
                  <a16:creationId xmlns:a16="http://schemas.microsoft.com/office/drawing/2014/main" id="{C9969BFC-F14F-2C07-9842-563A264D26E1}"/>
                </a:ext>
              </a:extLst>
            </p:cNvPr>
            <p:cNvSpPr/>
            <p:nvPr/>
          </p:nvSpPr>
          <p:spPr>
            <a:xfrm>
              <a:off x="15608935" y="5746602"/>
              <a:ext cx="897900" cy="924300"/>
            </a:xfrm>
            <a:prstGeom prst="ellipse">
              <a:avLst/>
            </a:prstGeom>
            <a:noFill/>
            <a:ln w="28575" cap="flat" cmpd="sng">
              <a:solidFill>
                <a:srgbClr val="FF000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chemeClr val="bg1"/>
                </a:solidFill>
                <a:latin typeface="Calibri"/>
                <a:ea typeface="Calibri"/>
                <a:cs typeface="Calibri"/>
                <a:sym typeface="Calibri"/>
              </a:endParaRPr>
            </a:p>
          </p:txBody>
        </p:sp>
        <p:sp>
          <p:nvSpPr>
            <p:cNvPr id="9" name="Google Shape;401;p72">
              <a:extLst>
                <a:ext uri="{FF2B5EF4-FFF2-40B4-BE49-F238E27FC236}">
                  <a16:creationId xmlns:a16="http://schemas.microsoft.com/office/drawing/2014/main" id="{1EEB5D96-CA4F-FB17-FC13-18159FA0CEC7}"/>
                </a:ext>
              </a:extLst>
            </p:cNvPr>
            <p:cNvSpPr txBox="1"/>
            <p:nvPr/>
          </p:nvSpPr>
          <p:spPr>
            <a:xfrm rot="-5400000">
              <a:off x="14472975" y="4269540"/>
              <a:ext cx="1324200" cy="369300"/>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 sz="1200">
                  <a:solidFill>
                    <a:schemeClr val="bg1"/>
                  </a:solidFill>
                  <a:latin typeface="Calibri"/>
                  <a:ea typeface="Calibri"/>
                  <a:cs typeface="Calibri"/>
                  <a:sym typeface="Calibri"/>
                </a:rPr>
                <a:t>firewall</a:t>
              </a:r>
              <a:endParaRPr sz="1200">
                <a:solidFill>
                  <a:schemeClr val="bg1"/>
                </a:solidFill>
                <a:latin typeface="Calibri"/>
                <a:ea typeface="Calibri"/>
                <a:cs typeface="Calibri"/>
                <a:sym typeface="Calibri"/>
              </a:endParaRPr>
            </a:p>
          </p:txBody>
        </p:sp>
        <p:cxnSp>
          <p:nvCxnSpPr>
            <p:cNvPr id="10" name="Google Shape;402;p72">
              <a:extLst>
                <a:ext uri="{FF2B5EF4-FFF2-40B4-BE49-F238E27FC236}">
                  <a16:creationId xmlns:a16="http://schemas.microsoft.com/office/drawing/2014/main" id="{5802E3F2-1087-522D-05C6-AC244B265AAA}"/>
                </a:ext>
              </a:extLst>
            </p:cNvPr>
            <p:cNvCxnSpPr>
              <a:stCxn id="8" idx="2"/>
              <a:endCxn id="3" idx="6"/>
            </p:cNvCxnSpPr>
            <p:nvPr/>
          </p:nvCxnSpPr>
          <p:spPr>
            <a:xfrm flipH="1">
              <a:off x="15011335" y="6208752"/>
              <a:ext cx="597600" cy="9600"/>
            </a:xfrm>
            <a:prstGeom prst="curvedConnector3">
              <a:avLst>
                <a:gd name="adj1" fmla="val 49994"/>
              </a:avLst>
            </a:prstGeom>
            <a:noFill/>
            <a:ln w="9525" cap="flat" cmpd="sng">
              <a:solidFill>
                <a:srgbClr val="FF0000"/>
              </a:solidFill>
              <a:prstDash val="solid"/>
              <a:round/>
              <a:headEnd type="none" w="med" len="med"/>
              <a:tailEnd type="triangle" w="med" len="med"/>
            </a:ln>
          </p:spPr>
        </p:cxnSp>
        <p:cxnSp>
          <p:nvCxnSpPr>
            <p:cNvPr id="11" name="Google Shape;403;p72">
              <a:extLst>
                <a:ext uri="{FF2B5EF4-FFF2-40B4-BE49-F238E27FC236}">
                  <a16:creationId xmlns:a16="http://schemas.microsoft.com/office/drawing/2014/main" id="{717FB653-1F35-A6ED-CDAD-C670C4B0B88B}"/>
                </a:ext>
              </a:extLst>
            </p:cNvPr>
            <p:cNvCxnSpPr>
              <a:stCxn id="3" idx="0"/>
              <a:endCxn id="5" idx="2"/>
            </p:cNvCxnSpPr>
            <p:nvPr/>
          </p:nvCxnSpPr>
          <p:spPr>
            <a:xfrm rot="-5400000">
              <a:off x="14700760" y="4820652"/>
              <a:ext cx="797100" cy="1073700"/>
            </a:xfrm>
            <a:prstGeom prst="curvedConnector2">
              <a:avLst/>
            </a:prstGeom>
            <a:noFill/>
            <a:ln w="9525" cap="flat" cmpd="sng">
              <a:solidFill>
                <a:srgbClr val="FF0000"/>
              </a:solidFill>
              <a:prstDash val="solid"/>
              <a:round/>
              <a:headEnd type="none" w="med" len="med"/>
              <a:tailEnd type="triangle" w="med" len="med"/>
            </a:ln>
          </p:spPr>
        </p:cxnSp>
        <p:pic>
          <p:nvPicPr>
            <p:cNvPr id="12" name="Google Shape;404;p72">
              <a:extLst>
                <a:ext uri="{FF2B5EF4-FFF2-40B4-BE49-F238E27FC236}">
                  <a16:creationId xmlns:a16="http://schemas.microsoft.com/office/drawing/2014/main" id="{0BC8E949-9968-2FD1-6BD1-C1A6BF4D4821}"/>
                </a:ext>
              </a:extLst>
            </p:cNvPr>
            <p:cNvPicPr preferRelativeResize="0"/>
            <p:nvPr/>
          </p:nvPicPr>
          <p:blipFill rotWithShape="1">
            <a:blip r:embed="rId2">
              <a:alphaModFix/>
            </a:blip>
            <a:srcRect b="15533"/>
            <a:stretch/>
          </p:blipFill>
          <p:spPr>
            <a:xfrm>
              <a:off x="14298574" y="5985888"/>
              <a:ext cx="527700" cy="445732"/>
            </a:xfrm>
            <a:prstGeom prst="rect">
              <a:avLst/>
            </a:prstGeom>
            <a:noFill/>
            <a:ln>
              <a:noFill/>
            </a:ln>
          </p:spPr>
        </p:pic>
        <p:sp>
          <p:nvSpPr>
            <p:cNvPr id="13" name="Google Shape;405;p72">
              <a:extLst>
                <a:ext uri="{FF2B5EF4-FFF2-40B4-BE49-F238E27FC236}">
                  <a16:creationId xmlns:a16="http://schemas.microsoft.com/office/drawing/2014/main" id="{0AF8ACEE-D61A-461D-2FBD-9815176B84D6}"/>
                </a:ext>
              </a:extLst>
            </p:cNvPr>
            <p:cNvSpPr txBox="1"/>
            <p:nvPr/>
          </p:nvSpPr>
          <p:spPr>
            <a:xfrm>
              <a:off x="14070960" y="6339627"/>
              <a:ext cx="997500" cy="369300"/>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 sz="1200">
                  <a:solidFill>
                    <a:schemeClr val="bg1"/>
                  </a:solidFill>
                  <a:latin typeface="Calibri"/>
                  <a:ea typeface="Calibri"/>
                  <a:cs typeface="Calibri"/>
                  <a:sym typeface="Calibri"/>
                </a:rPr>
                <a:t>Data</a:t>
              </a:r>
              <a:endParaRPr>
                <a:solidFill>
                  <a:schemeClr val="bg1"/>
                </a:solidFill>
              </a:endParaRPr>
            </a:p>
          </p:txBody>
        </p:sp>
        <p:sp>
          <p:nvSpPr>
            <p:cNvPr id="14" name="Google Shape;406;p72">
              <a:extLst>
                <a:ext uri="{FF2B5EF4-FFF2-40B4-BE49-F238E27FC236}">
                  <a16:creationId xmlns:a16="http://schemas.microsoft.com/office/drawing/2014/main" id="{86932D94-ED3B-BBFF-DBCA-21D70FDD5B90}"/>
                </a:ext>
              </a:extLst>
            </p:cNvPr>
            <p:cNvSpPr txBox="1"/>
            <p:nvPr/>
          </p:nvSpPr>
          <p:spPr>
            <a:xfrm>
              <a:off x="13517235" y="5203602"/>
              <a:ext cx="952500" cy="369300"/>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 sz="1200">
                  <a:solidFill>
                    <a:schemeClr val="bg1"/>
                  </a:solidFill>
                  <a:latin typeface="Calibri"/>
                  <a:ea typeface="Calibri"/>
                  <a:cs typeface="Calibri"/>
                  <a:sym typeface="Calibri"/>
                </a:rPr>
                <a:t>Back Up</a:t>
              </a:r>
              <a:endParaRPr>
                <a:solidFill>
                  <a:schemeClr val="bg1"/>
                </a:solidFill>
              </a:endParaRPr>
            </a:p>
          </p:txBody>
        </p:sp>
        <p:pic>
          <p:nvPicPr>
            <p:cNvPr id="15" name="Google Shape;407;p72">
              <a:extLst>
                <a:ext uri="{FF2B5EF4-FFF2-40B4-BE49-F238E27FC236}">
                  <a16:creationId xmlns:a16="http://schemas.microsoft.com/office/drawing/2014/main" id="{7C3F1C51-BFEE-F557-07D0-67F07389A527}"/>
                </a:ext>
              </a:extLst>
            </p:cNvPr>
            <p:cNvPicPr preferRelativeResize="0"/>
            <p:nvPr/>
          </p:nvPicPr>
          <p:blipFill rotWithShape="1">
            <a:blip r:embed="rId3">
              <a:alphaModFix/>
            </a:blip>
            <a:srcRect b="15297"/>
            <a:stretch/>
          </p:blipFill>
          <p:spPr>
            <a:xfrm>
              <a:off x="13746949" y="4911327"/>
              <a:ext cx="493085" cy="354601"/>
            </a:xfrm>
            <a:prstGeom prst="rect">
              <a:avLst/>
            </a:prstGeom>
            <a:noFill/>
            <a:ln>
              <a:noFill/>
            </a:ln>
          </p:spPr>
        </p:pic>
        <p:sp>
          <p:nvSpPr>
            <p:cNvPr id="16" name="Google Shape;408;p72">
              <a:extLst>
                <a:ext uri="{FF2B5EF4-FFF2-40B4-BE49-F238E27FC236}">
                  <a16:creationId xmlns:a16="http://schemas.microsoft.com/office/drawing/2014/main" id="{AD4CA508-0938-78CE-B0CC-E8F51AFF4CA8}"/>
                </a:ext>
              </a:extLst>
            </p:cNvPr>
            <p:cNvSpPr txBox="1"/>
            <p:nvPr/>
          </p:nvSpPr>
          <p:spPr>
            <a:xfrm>
              <a:off x="15437535" y="4964777"/>
              <a:ext cx="1295400" cy="369300"/>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 sz="1200">
                  <a:solidFill>
                    <a:schemeClr val="bg1"/>
                  </a:solidFill>
                  <a:latin typeface="Calibri"/>
                  <a:ea typeface="Calibri"/>
                  <a:cs typeface="Calibri"/>
                  <a:sym typeface="Calibri"/>
                </a:rPr>
                <a:t>Stolen Data</a:t>
              </a:r>
              <a:endParaRPr sz="1200">
                <a:solidFill>
                  <a:schemeClr val="bg1"/>
                </a:solidFill>
                <a:latin typeface="Calibri"/>
                <a:ea typeface="Calibri"/>
                <a:cs typeface="Calibri"/>
                <a:sym typeface="Calibri"/>
              </a:endParaRPr>
            </a:p>
          </p:txBody>
        </p:sp>
        <p:pic>
          <p:nvPicPr>
            <p:cNvPr id="17" name="Google Shape;409;p72">
              <a:extLst>
                <a:ext uri="{FF2B5EF4-FFF2-40B4-BE49-F238E27FC236}">
                  <a16:creationId xmlns:a16="http://schemas.microsoft.com/office/drawing/2014/main" id="{D47733EE-BF0B-3C86-7D85-0DA0AE695EC0}"/>
                </a:ext>
              </a:extLst>
            </p:cNvPr>
            <p:cNvPicPr preferRelativeResize="0"/>
            <p:nvPr/>
          </p:nvPicPr>
          <p:blipFill rotWithShape="1">
            <a:blip r:embed="rId2">
              <a:alphaModFix/>
            </a:blip>
            <a:srcRect b="15533"/>
            <a:stretch/>
          </p:blipFill>
          <p:spPr>
            <a:xfrm>
              <a:off x="15821374" y="4641988"/>
              <a:ext cx="527700" cy="445732"/>
            </a:xfrm>
            <a:prstGeom prst="rect">
              <a:avLst/>
            </a:prstGeom>
            <a:noFill/>
            <a:ln>
              <a:noFill/>
            </a:ln>
          </p:spPr>
        </p:pic>
        <p:sp>
          <p:nvSpPr>
            <p:cNvPr id="18" name="Google Shape;410;p72">
              <a:extLst>
                <a:ext uri="{FF2B5EF4-FFF2-40B4-BE49-F238E27FC236}">
                  <a16:creationId xmlns:a16="http://schemas.microsoft.com/office/drawing/2014/main" id="{B796E39F-5CF3-0612-C18F-7A18027B5CED}"/>
                </a:ext>
              </a:extLst>
            </p:cNvPr>
            <p:cNvSpPr txBox="1"/>
            <p:nvPr/>
          </p:nvSpPr>
          <p:spPr>
            <a:xfrm>
              <a:off x="15607898" y="6274902"/>
              <a:ext cx="897900" cy="369300"/>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 sz="1200">
                  <a:solidFill>
                    <a:schemeClr val="bg1"/>
                  </a:solidFill>
                  <a:latin typeface="Calibri"/>
                  <a:ea typeface="Calibri"/>
                  <a:cs typeface="Calibri"/>
                  <a:sym typeface="Calibri"/>
                </a:rPr>
                <a:t>Attacker</a:t>
              </a:r>
              <a:endParaRPr>
                <a:solidFill>
                  <a:schemeClr val="bg1"/>
                </a:solidFill>
              </a:endParaRPr>
            </a:p>
          </p:txBody>
        </p:sp>
        <p:pic>
          <p:nvPicPr>
            <p:cNvPr id="19" name="Google Shape;411;p72">
              <a:extLst>
                <a:ext uri="{FF2B5EF4-FFF2-40B4-BE49-F238E27FC236}">
                  <a16:creationId xmlns:a16="http://schemas.microsoft.com/office/drawing/2014/main" id="{84C8E65F-F81D-135D-BB8C-3103D067102F}"/>
                </a:ext>
              </a:extLst>
            </p:cNvPr>
            <p:cNvPicPr preferRelativeResize="0"/>
            <p:nvPr/>
          </p:nvPicPr>
          <p:blipFill rotWithShape="1">
            <a:blip r:embed="rId4">
              <a:alphaModFix/>
            </a:blip>
            <a:srcRect b="13457"/>
            <a:stretch/>
          </p:blipFill>
          <p:spPr>
            <a:xfrm>
              <a:off x="15771101" y="5859647"/>
              <a:ext cx="571499" cy="494613"/>
            </a:xfrm>
            <a:prstGeom prst="rect">
              <a:avLst/>
            </a:prstGeom>
            <a:noFill/>
            <a:ln>
              <a:noFill/>
            </a:ln>
          </p:spPr>
        </p:pic>
      </p:grpSp>
      <p:grpSp>
        <p:nvGrpSpPr>
          <p:cNvPr id="87" name="Group 86">
            <a:extLst>
              <a:ext uri="{FF2B5EF4-FFF2-40B4-BE49-F238E27FC236}">
                <a16:creationId xmlns:a16="http://schemas.microsoft.com/office/drawing/2014/main" id="{AD6036C9-A53A-7856-B098-B6E5F17B4024}"/>
              </a:ext>
            </a:extLst>
          </p:cNvPr>
          <p:cNvGrpSpPr/>
          <p:nvPr/>
        </p:nvGrpSpPr>
        <p:grpSpPr>
          <a:xfrm>
            <a:off x="5774199" y="7571318"/>
            <a:ext cx="11951594" cy="1511300"/>
            <a:chOff x="985234" y="7860967"/>
            <a:chExt cx="11951594" cy="1511300"/>
          </a:xfrm>
        </p:grpSpPr>
        <p:sp>
          <p:nvSpPr>
            <p:cNvPr id="70" name="Rounded Rectangle 27">
              <a:extLst>
                <a:ext uri="{FF2B5EF4-FFF2-40B4-BE49-F238E27FC236}">
                  <a16:creationId xmlns:a16="http://schemas.microsoft.com/office/drawing/2014/main" id="{C06B7DED-36F9-B1EC-719E-B798CB42D268}"/>
                </a:ext>
              </a:extLst>
            </p:cNvPr>
            <p:cNvSpPr/>
            <p:nvPr/>
          </p:nvSpPr>
          <p:spPr>
            <a:xfrm>
              <a:off x="985234" y="7860967"/>
              <a:ext cx="11951594" cy="1511300"/>
            </a:xfrm>
            <a:prstGeom prst="roundRect">
              <a:avLst>
                <a:gd name="adj" fmla="val 3089"/>
              </a:avLst>
            </a:prstGeom>
            <a:solidFill>
              <a:sysClr val="window" lastClr="FFFFFF"/>
            </a:solidFill>
            <a:ln w="25400" cap="flat" cmpd="sng" algn="ctr">
              <a:noFill/>
              <a:prstDash val="solid"/>
            </a:ln>
            <a:effectLst>
              <a:outerShdw blurRad="25400" dist="12700" dir="4200000" algn="ctr" rotWithShape="0">
                <a:srgbClr val="000000">
                  <a:alpha val="2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71" name="Rounded Rectangle 28">
              <a:extLst>
                <a:ext uri="{FF2B5EF4-FFF2-40B4-BE49-F238E27FC236}">
                  <a16:creationId xmlns:a16="http://schemas.microsoft.com/office/drawing/2014/main" id="{821952A7-09E4-CC77-5AB0-CB4E318CE1E0}"/>
                </a:ext>
              </a:extLst>
            </p:cNvPr>
            <p:cNvSpPr/>
            <p:nvPr/>
          </p:nvSpPr>
          <p:spPr>
            <a:xfrm>
              <a:off x="1080599" y="7966598"/>
              <a:ext cx="5803159" cy="1328975"/>
            </a:xfrm>
            <a:prstGeom prst="roundRect">
              <a:avLst>
                <a:gd name="adj" fmla="val 23913"/>
              </a:avLst>
            </a:prstGeom>
            <a:solidFill>
              <a:srgbClr val="7D43FF"/>
            </a:solidFill>
            <a:ln w="25400" cap="flat" cmpd="sng" algn="ctr">
              <a:noFill/>
              <a:prstDash val="solid"/>
            </a:ln>
            <a:effectLst>
              <a:outerShdw blurRad="215900" dist="50800" dir="5400000" algn="ctr" rotWithShape="0">
                <a:srgbClr val="C0504D">
                  <a:lumMod val="75000"/>
                  <a:alpha val="37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72" name="TextBox 71">
              <a:extLst>
                <a:ext uri="{FF2B5EF4-FFF2-40B4-BE49-F238E27FC236}">
                  <a16:creationId xmlns:a16="http://schemas.microsoft.com/office/drawing/2014/main" id="{CA12A56A-053B-67F2-DB57-D992B426AD8A}"/>
                </a:ext>
              </a:extLst>
            </p:cNvPr>
            <p:cNvSpPr txBox="1"/>
            <p:nvPr/>
          </p:nvSpPr>
          <p:spPr>
            <a:xfrm>
              <a:off x="1080391" y="8200198"/>
              <a:ext cx="5803159" cy="861774"/>
            </a:xfrm>
            <a:prstGeom prst="rect">
              <a:avLst/>
            </a:prstGeom>
            <a:noFill/>
          </p:spPr>
          <p:txBody>
            <a:bodyPr wrap="square" lIns="0" tIns="0" rIns="0" bIns="0" rtlCol="0">
              <a:spAutoFit/>
            </a:bodyPr>
            <a:lstStyle/>
            <a:p>
              <a:pPr algn="ctr">
                <a:buClrTx/>
                <a:buFontTx/>
                <a:buNone/>
              </a:pPr>
              <a:r>
                <a:rPr lang="en-US" sz="2800" b="1" kern="1200">
                  <a:solidFill>
                    <a:prstClr val="white"/>
                  </a:solidFill>
                  <a:latin typeface="Montserrat" panose="00000500000000000000" pitchFamily="2" charset="0"/>
                  <a:ea typeface="+mn-ea"/>
                  <a:cs typeface="Segoe UI" panose="020B0502040204020203" pitchFamily="34" charset="0"/>
                </a:rPr>
                <a:t>Data immutable backups are ineffective against extortion</a:t>
              </a:r>
            </a:p>
          </p:txBody>
        </p:sp>
        <p:sp>
          <p:nvSpPr>
            <p:cNvPr id="73" name="TextBox 72">
              <a:extLst>
                <a:ext uri="{FF2B5EF4-FFF2-40B4-BE49-F238E27FC236}">
                  <a16:creationId xmlns:a16="http://schemas.microsoft.com/office/drawing/2014/main" id="{3B269B74-E8FF-7999-3E74-04B4445B08C6}"/>
                </a:ext>
              </a:extLst>
            </p:cNvPr>
            <p:cNvSpPr txBox="1"/>
            <p:nvPr/>
          </p:nvSpPr>
          <p:spPr>
            <a:xfrm>
              <a:off x="7064062" y="8077087"/>
              <a:ext cx="5803160" cy="1107996"/>
            </a:xfrm>
            <a:prstGeom prst="rect">
              <a:avLst/>
            </a:prstGeom>
            <a:noFill/>
          </p:spPr>
          <p:txBody>
            <a:bodyPr wrap="square" lIns="0" tIns="0" rIns="0" bIns="0" rtlCol="0">
              <a:spAutoFit/>
            </a:bodyPr>
            <a:lstStyle/>
            <a:p>
              <a:pPr>
                <a:buClrTx/>
                <a:buFontTx/>
                <a:buNone/>
              </a:pPr>
              <a:r>
                <a:rPr lang="en-US" sz="2400" kern="1200">
                  <a:solidFill>
                    <a:schemeClr val="bg1"/>
                  </a:solidFill>
                  <a:latin typeface="Montserrat Light" panose="00000400000000000000" pitchFamily="2" charset="0"/>
                  <a:ea typeface="+mn-ea"/>
                  <a:cs typeface="Segoe UI" panose="020B0502040204020203" pitchFamily="34" charset="0"/>
                </a:rPr>
                <a:t>Attackers steal data before encryption, forcing companies to pay even if they restore systems.</a:t>
              </a:r>
            </a:p>
          </p:txBody>
        </p:sp>
      </p:grpSp>
      <p:grpSp>
        <p:nvGrpSpPr>
          <p:cNvPr id="88" name="Group 87">
            <a:extLst>
              <a:ext uri="{FF2B5EF4-FFF2-40B4-BE49-F238E27FC236}">
                <a16:creationId xmlns:a16="http://schemas.microsoft.com/office/drawing/2014/main" id="{9F82F177-DDB5-F274-8139-D2FAC0BC2465}"/>
              </a:ext>
            </a:extLst>
          </p:cNvPr>
          <p:cNvGrpSpPr/>
          <p:nvPr/>
        </p:nvGrpSpPr>
        <p:grpSpPr>
          <a:xfrm>
            <a:off x="4061967" y="5706871"/>
            <a:ext cx="11951594" cy="1511300"/>
            <a:chOff x="985234" y="7875435"/>
            <a:chExt cx="11951594" cy="1511300"/>
          </a:xfrm>
        </p:grpSpPr>
        <p:sp>
          <p:nvSpPr>
            <p:cNvPr id="89" name="Rounded Rectangle 27">
              <a:extLst>
                <a:ext uri="{FF2B5EF4-FFF2-40B4-BE49-F238E27FC236}">
                  <a16:creationId xmlns:a16="http://schemas.microsoft.com/office/drawing/2014/main" id="{FF17C9FF-B47E-2741-A227-27069DB15C88}"/>
                </a:ext>
              </a:extLst>
            </p:cNvPr>
            <p:cNvSpPr/>
            <p:nvPr/>
          </p:nvSpPr>
          <p:spPr>
            <a:xfrm>
              <a:off x="985234" y="7875435"/>
              <a:ext cx="11951594" cy="1511300"/>
            </a:xfrm>
            <a:prstGeom prst="roundRect">
              <a:avLst>
                <a:gd name="adj" fmla="val 3089"/>
              </a:avLst>
            </a:prstGeom>
            <a:solidFill>
              <a:sysClr val="window" lastClr="FFFFFF"/>
            </a:solidFill>
            <a:ln w="25400" cap="flat" cmpd="sng" algn="ctr">
              <a:noFill/>
              <a:prstDash val="solid"/>
            </a:ln>
            <a:effectLst>
              <a:outerShdw blurRad="25400" dist="12700" dir="4200000" algn="ctr" rotWithShape="0">
                <a:srgbClr val="000000">
                  <a:alpha val="2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90" name="Rounded Rectangle 28">
              <a:extLst>
                <a:ext uri="{FF2B5EF4-FFF2-40B4-BE49-F238E27FC236}">
                  <a16:creationId xmlns:a16="http://schemas.microsoft.com/office/drawing/2014/main" id="{D9AED56A-DF66-0D4A-5C64-1CF6EA0092DF}"/>
                </a:ext>
              </a:extLst>
            </p:cNvPr>
            <p:cNvSpPr/>
            <p:nvPr/>
          </p:nvSpPr>
          <p:spPr>
            <a:xfrm>
              <a:off x="1080599" y="7966598"/>
              <a:ext cx="5803159" cy="1328975"/>
            </a:xfrm>
            <a:prstGeom prst="roundRect">
              <a:avLst>
                <a:gd name="adj" fmla="val 23913"/>
              </a:avLst>
            </a:prstGeom>
            <a:solidFill>
              <a:srgbClr val="7D43FF"/>
            </a:solidFill>
            <a:ln w="25400" cap="flat" cmpd="sng" algn="ctr">
              <a:noFill/>
              <a:prstDash val="solid"/>
            </a:ln>
            <a:effectLst>
              <a:outerShdw blurRad="215900" dist="50800" dir="5400000" algn="ctr" rotWithShape="0">
                <a:srgbClr val="C0504D">
                  <a:lumMod val="75000"/>
                  <a:alpha val="37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91" name="TextBox 90">
              <a:extLst>
                <a:ext uri="{FF2B5EF4-FFF2-40B4-BE49-F238E27FC236}">
                  <a16:creationId xmlns:a16="http://schemas.microsoft.com/office/drawing/2014/main" id="{448BA908-AEC6-33AD-D766-70CD7009A571}"/>
                </a:ext>
              </a:extLst>
            </p:cNvPr>
            <p:cNvSpPr txBox="1"/>
            <p:nvPr/>
          </p:nvSpPr>
          <p:spPr>
            <a:xfrm>
              <a:off x="1080391" y="8415642"/>
              <a:ext cx="5803159" cy="430887"/>
            </a:xfrm>
            <a:prstGeom prst="rect">
              <a:avLst/>
            </a:prstGeom>
            <a:noFill/>
          </p:spPr>
          <p:txBody>
            <a:bodyPr wrap="square" lIns="0" tIns="0" rIns="0" bIns="0" rtlCol="0">
              <a:spAutoFit/>
            </a:bodyPr>
            <a:lstStyle/>
            <a:p>
              <a:pPr algn="ctr">
                <a:buClrTx/>
                <a:buFontTx/>
                <a:buNone/>
              </a:pPr>
              <a:r>
                <a:rPr lang="en-US" sz="2800" b="1" kern="1200">
                  <a:solidFill>
                    <a:prstClr val="white"/>
                  </a:solidFill>
                  <a:latin typeface="Montserrat" panose="00000500000000000000" pitchFamily="2" charset="0"/>
                  <a:ea typeface="+mn-ea"/>
                  <a:cs typeface="Segoe UI" panose="020B0502040204020203" pitchFamily="34" charset="0"/>
                </a:rPr>
                <a:t>Legacy encryption is static</a:t>
              </a:r>
            </a:p>
          </p:txBody>
        </p:sp>
        <p:sp>
          <p:nvSpPr>
            <p:cNvPr id="92" name="TextBox 91">
              <a:extLst>
                <a:ext uri="{FF2B5EF4-FFF2-40B4-BE49-F238E27FC236}">
                  <a16:creationId xmlns:a16="http://schemas.microsoft.com/office/drawing/2014/main" id="{2C286409-8F2D-F496-D002-19379D1029EC}"/>
                </a:ext>
              </a:extLst>
            </p:cNvPr>
            <p:cNvSpPr txBox="1"/>
            <p:nvPr/>
          </p:nvSpPr>
          <p:spPr>
            <a:xfrm>
              <a:off x="7064062" y="8261753"/>
              <a:ext cx="5803160" cy="738664"/>
            </a:xfrm>
            <a:prstGeom prst="rect">
              <a:avLst/>
            </a:prstGeom>
            <a:noFill/>
          </p:spPr>
          <p:txBody>
            <a:bodyPr wrap="square" lIns="0" tIns="0" rIns="0" bIns="0" rtlCol="0">
              <a:spAutoFit/>
            </a:bodyPr>
            <a:lstStyle/>
            <a:p>
              <a:pPr>
                <a:buClrTx/>
                <a:buFontTx/>
                <a:buNone/>
              </a:pPr>
              <a:r>
                <a:rPr lang="en-US" sz="2400" kern="1200">
                  <a:solidFill>
                    <a:schemeClr val="bg1"/>
                  </a:solidFill>
                  <a:latin typeface="Montserrat Light" panose="00000400000000000000" pitchFamily="2" charset="0"/>
                  <a:ea typeface="+mn-ea"/>
                  <a:cs typeface="Segoe UI" panose="020B0502040204020203" pitchFamily="34" charset="0"/>
                </a:rPr>
                <a:t>Once stolen, data remains accessible to attackers.</a:t>
              </a:r>
            </a:p>
          </p:txBody>
        </p:sp>
      </p:grpSp>
      <p:grpSp>
        <p:nvGrpSpPr>
          <p:cNvPr id="93" name="Group 92">
            <a:extLst>
              <a:ext uri="{FF2B5EF4-FFF2-40B4-BE49-F238E27FC236}">
                <a16:creationId xmlns:a16="http://schemas.microsoft.com/office/drawing/2014/main" id="{277C4B74-A0AF-C8DB-AE89-05C7647F0950}"/>
              </a:ext>
            </a:extLst>
          </p:cNvPr>
          <p:cNvGrpSpPr/>
          <p:nvPr/>
        </p:nvGrpSpPr>
        <p:grpSpPr>
          <a:xfrm>
            <a:off x="2349736" y="3914765"/>
            <a:ext cx="11951594" cy="1511300"/>
            <a:chOff x="985234" y="7875435"/>
            <a:chExt cx="11951594" cy="1511300"/>
          </a:xfrm>
        </p:grpSpPr>
        <p:sp>
          <p:nvSpPr>
            <p:cNvPr id="94" name="Rounded Rectangle 27">
              <a:extLst>
                <a:ext uri="{FF2B5EF4-FFF2-40B4-BE49-F238E27FC236}">
                  <a16:creationId xmlns:a16="http://schemas.microsoft.com/office/drawing/2014/main" id="{04FC707A-40BF-0828-DF0F-56601B51BD37}"/>
                </a:ext>
              </a:extLst>
            </p:cNvPr>
            <p:cNvSpPr/>
            <p:nvPr/>
          </p:nvSpPr>
          <p:spPr>
            <a:xfrm>
              <a:off x="985234" y="7875435"/>
              <a:ext cx="11951594" cy="1511300"/>
            </a:xfrm>
            <a:prstGeom prst="roundRect">
              <a:avLst>
                <a:gd name="adj" fmla="val 3089"/>
              </a:avLst>
            </a:prstGeom>
            <a:solidFill>
              <a:sysClr val="window" lastClr="FFFFFF"/>
            </a:solidFill>
            <a:ln w="25400" cap="flat" cmpd="sng" algn="ctr">
              <a:noFill/>
              <a:prstDash val="solid"/>
            </a:ln>
            <a:effectLst>
              <a:outerShdw blurRad="25400" dist="12700" dir="4200000" algn="ctr" rotWithShape="0">
                <a:srgbClr val="000000">
                  <a:alpha val="2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95" name="Rounded Rectangle 28">
              <a:extLst>
                <a:ext uri="{FF2B5EF4-FFF2-40B4-BE49-F238E27FC236}">
                  <a16:creationId xmlns:a16="http://schemas.microsoft.com/office/drawing/2014/main" id="{37698D74-2BB0-897C-86DE-D5DD950BCF70}"/>
                </a:ext>
              </a:extLst>
            </p:cNvPr>
            <p:cNvSpPr/>
            <p:nvPr/>
          </p:nvSpPr>
          <p:spPr>
            <a:xfrm>
              <a:off x="1080599" y="7966598"/>
              <a:ext cx="5803159" cy="1328975"/>
            </a:xfrm>
            <a:prstGeom prst="roundRect">
              <a:avLst>
                <a:gd name="adj" fmla="val 23913"/>
              </a:avLst>
            </a:prstGeom>
            <a:solidFill>
              <a:srgbClr val="7D43FF"/>
            </a:solidFill>
            <a:ln w="25400" cap="flat" cmpd="sng" algn="ctr">
              <a:noFill/>
              <a:prstDash val="solid"/>
            </a:ln>
            <a:effectLst>
              <a:outerShdw blurRad="215900" dist="50800" dir="5400000" algn="ctr" rotWithShape="0">
                <a:srgbClr val="C0504D">
                  <a:lumMod val="75000"/>
                  <a:alpha val="37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96" name="TextBox 95">
              <a:extLst>
                <a:ext uri="{FF2B5EF4-FFF2-40B4-BE49-F238E27FC236}">
                  <a16:creationId xmlns:a16="http://schemas.microsoft.com/office/drawing/2014/main" id="{EA28623F-E1C8-5C78-7154-B4C140B8AB55}"/>
                </a:ext>
              </a:extLst>
            </p:cNvPr>
            <p:cNvSpPr txBox="1"/>
            <p:nvPr/>
          </p:nvSpPr>
          <p:spPr>
            <a:xfrm>
              <a:off x="1080391" y="8415642"/>
              <a:ext cx="5803159" cy="430887"/>
            </a:xfrm>
            <a:prstGeom prst="rect">
              <a:avLst/>
            </a:prstGeom>
            <a:noFill/>
          </p:spPr>
          <p:txBody>
            <a:bodyPr wrap="square" lIns="0" tIns="0" rIns="0" bIns="0" rtlCol="0">
              <a:spAutoFit/>
            </a:bodyPr>
            <a:lstStyle/>
            <a:p>
              <a:pPr algn="ctr">
                <a:buClrTx/>
                <a:buFontTx/>
                <a:buNone/>
              </a:pPr>
              <a:r>
                <a:rPr lang="en-US" sz="2800" b="1" kern="1200">
                  <a:solidFill>
                    <a:prstClr val="white"/>
                  </a:solidFill>
                  <a:latin typeface="Montserrat" panose="00000500000000000000" pitchFamily="2" charset="0"/>
                  <a:ea typeface="+mn-ea"/>
                  <a:cs typeface="Segoe UI" panose="020B0502040204020203" pitchFamily="34" charset="0"/>
                </a:rPr>
                <a:t>Misconfigured access controls</a:t>
              </a:r>
            </a:p>
          </p:txBody>
        </p:sp>
        <p:sp>
          <p:nvSpPr>
            <p:cNvPr id="97" name="TextBox 96">
              <a:extLst>
                <a:ext uri="{FF2B5EF4-FFF2-40B4-BE49-F238E27FC236}">
                  <a16:creationId xmlns:a16="http://schemas.microsoft.com/office/drawing/2014/main" id="{CBD8BA40-8BD4-9367-1015-45CD94F70AD3}"/>
                </a:ext>
              </a:extLst>
            </p:cNvPr>
            <p:cNvSpPr txBox="1"/>
            <p:nvPr/>
          </p:nvSpPr>
          <p:spPr>
            <a:xfrm>
              <a:off x="7064062" y="8261753"/>
              <a:ext cx="5803160" cy="738664"/>
            </a:xfrm>
            <a:prstGeom prst="rect">
              <a:avLst/>
            </a:prstGeom>
            <a:noFill/>
          </p:spPr>
          <p:txBody>
            <a:bodyPr wrap="square" lIns="0" tIns="0" rIns="0" bIns="0" rtlCol="0">
              <a:spAutoFit/>
            </a:bodyPr>
            <a:lstStyle/>
            <a:p>
              <a:pPr>
                <a:buClrTx/>
                <a:buFontTx/>
                <a:buNone/>
              </a:pPr>
              <a:r>
                <a:rPr lang="en-US" sz="2400" kern="1200">
                  <a:solidFill>
                    <a:schemeClr val="bg1"/>
                  </a:solidFill>
                  <a:latin typeface="Montserrat Light" panose="00000400000000000000" pitchFamily="2" charset="0"/>
                  <a:ea typeface="+mn-ea"/>
                  <a:cs typeface="Segoe UI" panose="020B0502040204020203" pitchFamily="34" charset="0"/>
                </a:rPr>
                <a:t>Network based policies are easily circumvented.</a:t>
              </a:r>
            </a:p>
          </p:txBody>
        </p:sp>
      </p:grpSp>
      <p:grpSp>
        <p:nvGrpSpPr>
          <p:cNvPr id="98" name="Group 97">
            <a:extLst>
              <a:ext uri="{FF2B5EF4-FFF2-40B4-BE49-F238E27FC236}">
                <a16:creationId xmlns:a16="http://schemas.microsoft.com/office/drawing/2014/main" id="{E99DA075-7D5A-4FE9-4F87-75C590B8C840}"/>
              </a:ext>
            </a:extLst>
          </p:cNvPr>
          <p:cNvGrpSpPr/>
          <p:nvPr/>
        </p:nvGrpSpPr>
        <p:grpSpPr>
          <a:xfrm>
            <a:off x="637505" y="2209469"/>
            <a:ext cx="11951594" cy="1511300"/>
            <a:chOff x="985234" y="7875435"/>
            <a:chExt cx="11951594" cy="1511300"/>
          </a:xfrm>
        </p:grpSpPr>
        <p:sp>
          <p:nvSpPr>
            <p:cNvPr id="99" name="Rounded Rectangle 27">
              <a:extLst>
                <a:ext uri="{FF2B5EF4-FFF2-40B4-BE49-F238E27FC236}">
                  <a16:creationId xmlns:a16="http://schemas.microsoft.com/office/drawing/2014/main" id="{6ABC24C6-169D-F78D-A4E1-8D0731EAA9B5}"/>
                </a:ext>
              </a:extLst>
            </p:cNvPr>
            <p:cNvSpPr/>
            <p:nvPr/>
          </p:nvSpPr>
          <p:spPr>
            <a:xfrm>
              <a:off x="985234" y="7875435"/>
              <a:ext cx="11951594" cy="1511300"/>
            </a:xfrm>
            <a:prstGeom prst="roundRect">
              <a:avLst>
                <a:gd name="adj" fmla="val 3089"/>
              </a:avLst>
            </a:prstGeom>
            <a:solidFill>
              <a:sysClr val="window" lastClr="FFFFFF"/>
            </a:solidFill>
            <a:ln w="25400" cap="flat" cmpd="sng" algn="ctr">
              <a:noFill/>
              <a:prstDash val="solid"/>
            </a:ln>
            <a:effectLst>
              <a:outerShdw blurRad="25400" dist="12700" dir="4200000" algn="ctr" rotWithShape="0">
                <a:srgbClr val="000000">
                  <a:alpha val="2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100" name="Rounded Rectangle 28">
              <a:extLst>
                <a:ext uri="{FF2B5EF4-FFF2-40B4-BE49-F238E27FC236}">
                  <a16:creationId xmlns:a16="http://schemas.microsoft.com/office/drawing/2014/main" id="{45337AD4-3C16-4635-B380-40B9C330D15E}"/>
                </a:ext>
              </a:extLst>
            </p:cNvPr>
            <p:cNvSpPr/>
            <p:nvPr/>
          </p:nvSpPr>
          <p:spPr>
            <a:xfrm>
              <a:off x="1080599" y="7966598"/>
              <a:ext cx="5803159" cy="1328975"/>
            </a:xfrm>
            <a:prstGeom prst="roundRect">
              <a:avLst>
                <a:gd name="adj" fmla="val 23913"/>
              </a:avLst>
            </a:prstGeom>
            <a:solidFill>
              <a:srgbClr val="7D43FF"/>
            </a:solidFill>
            <a:ln w="25400" cap="flat" cmpd="sng" algn="ctr">
              <a:noFill/>
              <a:prstDash val="solid"/>
            </a:ln>
            <a:effectLst>
              <a:outerShdw blurRad="215900" dist="50800" dir="5400000" algn="ctr" rotWithShape="0">
                <a:srgbClr val="C0504D">
                  <a:lumMod val="75000"/>
                  <a:alpha val="37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Montserrat" panose="00000500000000000000" pitchFamily="2" charset="0"/>
                <a:ea typeface="+mn-ea"/>
                <a:cs typeface="+mn-cs"/>
              </a:endParaRPr>
            </a:p>
          </p:txBody>
        </p:sp>
        <p:sp>
          <p:nvSpPr>
            <p:cNvPr id="101" name="TextBox 100">
              <a:extLst>
                <a:ext uri="{FF2B5EF4-FFF2-40B4-BE49-F238E27FC236}">
                  <a16:creationId xmlns:a16="http://schemas.microsoft.com/office/drawing/2014/main" id="{8D327A31-DCA8-BB25-B8D2-0BCFE9ED87D6}"/>
                </a:ext>
              </a:extLst>
            </p:cNvPr>
            <p:cNvSpPr txBox="1"/>
            <p:nvPr/>
          </p:nvSpPr>
          <p:spPr>
            <a:xfrm>
              <a:off x="1080391" y="8200198"/>
              <a:ext cx="5803159" cy="861774"/>
            </a:xfrm>
            <a:prstGeom prst="rect">
              <a:avLst/>
            </a:prstGeom>
            <a:noFill/>
          </p:spPr>
          <p:txBody>
            <a:bodyPr wrap="square" lIns="0" tIns="0" rIns="0" bIns="0" rtlCol="0">
              <a:spAutoFit/>
            </a:bodyPr>
            <a:lstStyle/>
            <a:p>
              <a:pPr algn="ctr">
                <a:buClrTx/>
                <a:buFontTx/>
                <a:buNone/>
              </a:pPr>
              <a:r>
                <a:rPr lang="en-US" sz="2800" b="1" kern="1200">
                  <a:solidFill>
                    <a:prstClr val="white"/>
                  </a:solidFill>
                  <a:latin typeface="Montserrat" panose="00000500000000000000" pitchFamily="2" charset="0"/>
                  <a:ea typeface="+mn-ea"/>
                  <a:cs typeface="Segoe UI" panose="020B0502040204020203" pitchFamily="34" charset="0"/>
                </a:rPr>
                <a:t>Perimeter-based security is obsolete</a:t>
              </a:r>
            </a:p>
          </p:txBody>
        </p:sp>
        <p:sp>
          <p:nvSpPr>
            <p:cNvPr id="102" name="TextBox 101">
              <a:extLst>
                <a:ext uri="{FF2B5EF4-FFF2-40B4-BE49-F238E27FC236}">
                  <a16:creationId xmlns:a16="http://schemas.microsoft.com/office/drawing/2014/main" id="{E613BA81-949C-EED4-1B99-DA8C52042C10}"/>
                </a:ext>
              </a:extLst>
            </p:cNvPr>
            <p:cNvSpPr txBox="1"/>
            <p:nvPr/>
          </p:nvSpPr>
          <p:spPr>
            <a:xfrm>
              <a:off x="7064062" y="8261753"/>
              <a:ext cx="5803160" cy="738664"/>
            </a:xfrm>
            <a:prstGeom prst="rect">
              <a:avLst/>
            </a:prstGeom>
            <a:noFill/>
          </p:spPr>
          <p:txBody>
            <a:bodyPr wrap="square" lIns="0" tIns="0" rIns="0" bIns="0" rtlCol="0">
              <a:spAutoFit/>
            </a:bodyPr>
            <a:lstStyle/>
            <a:p>
              <a:pPr>
                <a:buClrTx/>
                <a:buFontTx/>
                <a:buNone/>
              </a:pPr>
              <a:r>
                <a:rPr lang="en-US" sz="2400" kern="1200">
                  <a:solidFill>
                    <a:schemeClr val="bg1"/>
                  </a:solidFill>
                  <a:latin typeface="Montserrat Light" panose="00000400000000000000" pitchFamily="2" charset="0"/>
                  <a:ea typeface="+mn-ea"/>
                  <a:cs typeface="Segoe UI" panose="020B0502040204020203" pitchFamily="34" charset="0"/>
                </a:rPr>
                <a:t>Ransomware can bypass firewalls and endpoint protections.</a:t>
              </a:r>
            </a:p>
          </p:txBody>
        </p:sp>
      </p:grpSp>
      <p:grpSp>
        <p:nvGrpSpPr>
          <p:cNvPr id="24" name="Group 7">
            <a:extLst>
              <a:ext uri="{FF2B5EF4-FFF2-40B4-BE49-F238E27FC236}">
                <a16:creationId xmlns:a16="http://schemas.microsoft.com/office/drawing/2014/main" id="{4DA6E163-5712-5056-61B6-0752779D05F0}"/>
              </a:ext>
            </a:extLst>
          </p:cNvPr>
          <p:cNvGrpSpPr/>
          <p:nvPr/>
        </p:nvGrpSpPr>
        <p:grpSpPr>
          <a:xfrm>
            <a:off x="10607567" y="1535322"/>
            <a:ext cx="612363" cy="56823"/>
            <a:chOff x="0" y="0"/>
            <a:chExt cx="1078484" cy="100076"/>
          </a:xfrm>
        </p:grpSpPr>
        <p:sp>
          <p:nvSpPr>
            <p:cNvPr id="23" name="Freeform 8">
              <a:extLst>
                <a:ext uri="{FF2B5EF4-FFF2-40B4-BE49-F238E27FC236}">
                  <a16:creationId xmlns:a16="http://schemas.microsoft.com/office/drawing/2014/main" id="{BA1007A4-B8CF-4E8B-BFE1-0DB994BD99F1}"/>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spTree>
    <p:extLst>
      <p:ext uri="{BB962C8B-B14F-4D97-AF65-F5344CB8AC3E}">
        <p14:creationId xmlns:p14="http://schemas.microsoft.com/office/powerpoint/2010/main" val="8275260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018E06-DBB5-E47F-0590-89968CEE3B94}"/>
              </a:ext>
            </a:extLst>
          </p:cNvPr>
          <p:cNvSpPr txBox="1">
            <a:spLocks/>
          </p:cNvSpPr>
          <p:nvPr/>
        </p:nvSpPr>
        <p:spPr>
          <a:xfrm>
            <a:off x="1080600" y="1042450"/>
            <a:ext cx="17027096" cy="11454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1pPr>
            <a:lvl2pPr marR="0" lvl="1"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2pPr>
            <a:lvl3pPr marR="0" lvl="2"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3pPr>
            <a:lvl4pPr marR="0" lvl="3"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4pPr>
            <a:lvl5pPr marR="0" lvl="4"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5pPr>
            <a:lvl6pPr marR="0" lvl="5"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6pPr>
            <a:lvl7pPr marR="0" lvl="6"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7pPr>
            <a:lvl8pPr marR="0" lvl="7"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8pPr>
            <a:lvl9pPr marR="0" lvl="8"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9pPr>
          </a:lstStyle>
          <a:p>
            <a:r>
              <a:rPr lang="en-US" sz="4000">
                <a:solidFill>
                  <a:schemeClr val="bg1"/>
                </a:solidFill>
                <a:latin typeface="Montserrat Bold"/>
              </a:rPr>
              <a:t>Data secure sentinel – How does it works?</a:t>
            </a:r>
            <a:br>
              <a:rPr lang="en-US">
                <a:latin typeface="Montserrat" panose="00000500000000000000" pitchFamily="2" charset="0"/>
              </a:rPr>
            </a:br>
            <a:endParaRPr lang="en-US" sz="2800" b="0">
              <a:solidFill>
                <a:srgbClr val="6800FF"/>
              </a:solidFill>
              <a:latin typeface="Montserrat Medium"/>
            </a:endParaRPr>
          </a:p>
        </p:txBody>
      </p:sp>
      <p:grpSp>
        <p:nvGrpSpPr>
          <p:cNvPr id="54" name="Group 53">
            <a:extLst>
              <a:ext uri="{FF2B5EF4-FFF2-40B4-BE49-F238E27FC236}">
                <a16:creationId xmlns:a16="http://schemas.microsoft.com/office/drawing/2014/main" id="{E5D8E9E2-0DD9-F199-FD7F-25FBD159B7EF}"/>
              </a:ext>
            </a:extLst>
          </p:cNvPr>
          <p:cNvGrpSpPr/>
          <p:nvPr/>
        </p:nvGrpSpPr>
        <p:grpSpPr>
          <a:xfrm>
            <a:off x="707114" y="2248339"/>
            <a:ext cx="7314195" cy="4120401"/>
            <a:chOff x="593187" y="2906925"/>
            <a:chExt cx="7314195" cy="4120401"/>
          </a:xfrm>
        </p:grpSpPr>
        <p:sp>
          <p:nvSpPr>
            <p:cNvPr id="36" name="Google Shape;878;p27">
              <a:extLst>
                <a:ext uri="{FF2B5EF4-FFF2-40B4-BE49-F238E27FC236}">
                  <a16:creationId xmlns:a16="http://schemas.microsoft.com/office/drawing/2014/main" id="{EDA5C14C-4337-585A-B4FF-D0296B01CA14}"/>
                </a:ext>
              </a:extLst>
            </p:cNvPr>
            <p:cNvSpPr/>
            <p:nvPr/>
          </p:nvSpPr>
          <p:spPr>
            <a:xfrm>
              <a:off x="593187" y="2906925"/>
              <a:ext cx="7314195" cy="938194"/>
            </a:xfrm>
            <a:prstGeom prst="roundRect">
              <a:avLst>
                <a:gd name="adj" fmla="val 3070"/>
              </a:avLst>
            </a:prstGeom>
            <a:solidFill>
              <a:srgbClr val="6800FF"/>
            </a:solidFill>
            <a:ln w="9525" cap="flat" cmpd="sng">
              <a:noFill/>
              <a:prstDash val="solid"/>
              <a:round/>
              <a:headEnd type="none" w="sm" len="sm"/>
              <a:tailEnd type="none" w="sm" len="sm"/>
            </a:ln>
          </p:spPr>
          <p:txBody>
            <a:bodyPr spcFirstLastPara="1" wrap="square" lIns="182850" tIns="182850" rIns="182850" bIns="18285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endParaRPr lang="en-US" sz="5600" noProof="0">
                <a:latin typeface="Montserrat Light" panose="00000400000000000000" pitchFamily="2" charset="0"/>
              </a:endParaRPr>
            </a:p>
          </p:txBody>
        </p:sp>
        <p:sp>
          <p:nvSpPr>
            <p:cNvPr id="3" name="Google Shape;418;p73">
              <a:extLst>
                <a:ext uri="{FF2B5EF4-FFF2-40B4-BE49-F238E27FC236}">
                  <a16:creationId xmlns:a16="http://schemas.microsoft.com/office/drawing/2014/main" id="{6659F2D7-40F8-8AEC-994C-676DAFFEA71C}"/>
                </a:ext>
              </a:extLst>
            </p:cNvPr>
            <p:cNvSpPr/>
            <p:nvPr/>
          </p:nvSpPr>
          <p:spPr>
            <a:xfrm>
              <a:off x="2605910" y="5526568"/>
              <a:ext cx="900000" cy="900000"/>
            </a:xfrm>
            <a:prstGeom prst="ellipse">
              <a:avLst/>
            </a:prstGeom>
            <a:noFill/>
            <a:ln w="28575" cap="flat" cmpd="sng">
              <a:solidFill>
                <a:srgbClr val="00FF00"/>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chemeClr val="bg1"/>
                </a:solidFill>
                <a:latin typeface="Montserrat Light" panose="00000400000000000000" pitchFamily="2" charset="0"/>
                <a:ea typeface="Calibri"/>
                <a:cs typeface="Calibri"/>
                <a:sym typeface="Calibri"/>
              </a:endParaRPr>
            </a:p>
          </p:txBody>
        </p:sp>
        <p:sp>
          <p:nvSpPr>
            <p:cNvPr id="4" name="Google Shape;419;p73">
              <a:extLst>
                <a:ext uri="{FF2B5EF4-FFF2-40B4-BE49-F238E27FC236}">
                  <a16:creationId xmlns:a16="http://schemas.microsoft.com/office/drawing/2014/main" id="{C8D4A32E-18E7-34C9-675B-1AB50EAE1E29}"/>
                </a:ext>
              </a:extLst>
            </p:cNvPr>
            <p:cNvSpPr/>
            <p:nvPr/>
          </p:nvSpPr>
          <p:spPr>
            <a:xfrm>
              <a:off x="3907372" y="5102533"/>
              <a:ext cx="99000" cy="1176000"/>
            </a:xfrm>
            <a:prstGeom prst="roundRect">
              <a:avLst>
                <a:gd name="adj" fmla="val 27677"/>
              </a:avLst>
            </a:prstGeom>
            <a:solidFill>
              <a:schemeClr val="tx2"/>
            </a:solidFill>
            <a:ln w="9525" cap="flat" cmpd="sng">
              <a:solidFill>
                <a:schemeClr val="tx2"/>
              </a:solidFill>
              <a:prstDash val="dash"/>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bg1"/>
                </a:solidFill>
                <a:latin typeface="Montserrat Light" panose="00000400000000000000" pitchFamily="2" charset="0"/>
                <a:ea typeface="Calibri"/>
                <a:cs typeface="Calibri"/>
                <a:sym typeface="Calibri"/>
              </a:endParaRPr>
            </a:p>
          </p:txBody>
        </p:sp>
        <p:sp>
          <p:nvSpPr>
            <p:cNvPr id="5" name="Google Shape;420;p73">
              <a:extLst>
                <a:ext uri="{FF2B5EF4-FFF2-40B4-BE49-F238E27FC236}">
                  <a16:creationId xmlns:a16="http://schemas.microsoft.com/office/drawing/2014/main" id="{D4C6EDC2-851D-352B-E0A1-3A0F7FDC8435}"/>
                </a:ext>
              </a:extLst>
            </p:cNvPr>
            <p:cNvSpPr/>
            <p:nvPr/>
          </p:nvSpPr>
          <p:spPr>
            <a:xfrm>
              <a:off x="4359809" y="5523847"/>
              <a:ext cx="900000" cy="900000"/>
            </a:xfrm>
            <a:prstGeom prst="ellipse">
              <a:avLst/>
            </a:prstGeom>
            <a:noFill/>
            <a:ln w="28575" cap="flat" cmpd="sng">
              <a:solidFill>
                <a:srgbClr val="FF0000"/>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chemeClr val="bg1"/>
                </a:solidFill>
                <a:latin typeface="Montserrat Light" panose="00000400000000000000" pitchFamily="2" charset="0"/>
                <a:ea typeface="Calibri"/>
                <a:cs typeface="Calibri"/>
                <a:sym typeface="Calibri"/>
              </a:endParaRPr>
            </a:p>
          </p:txBody>
        </p:sp>
        <p:sp>
          <p:nvSpPr>
            <p:cNvPr id="6" name="Google Shape;421;p73">
              <a:extLst>
                <a:ext uri="{FF2B5EF4-FFF2-40B4-BE49-F238E27FC236}">
                  <a16:creationId xmlns:a16="http://schemas.microsoft.com/office/drawing/2014/main" id="{7348FF35-F53F-59C1-67BF-678A220F91C0}"/>
                </a:ext>
              </a:extLst>
            </p:cNvPr>
            <p:cNvSpPr txBox="1"/>
            <p:nvPr/>
          </p:nvSpPr>
          <p:spPr>
            <a:xfrm rot="-5400000">
              <a:off x="3286498" y="5392737"/>
              <a:ext cx="963790" cy="323100"/>
            </a:xfrm>
            <a:prstGeom prst="rect">
              <a:avLst/>
            </a:prstGeom>
            <a:noFill/>
            <a:ln>
              <a:noFill/>
            </a:ln>
          </p:spPr>
          <p:txBody>
            <a:bodyPr spcFirstLastPara="1" wrap="square" lIns="91425" tIns="91425" rIns="91425" bIns="91425" anchor="t" anchorCtr="0">
              <a:spAutoFit/>
            </a:bodyPr>
            <a:lstStyle/>
            <a:p>
              <a:pPr marL="0" marR="0" lvl="0" indent="0" algn="ctr" rtl="0">
                <a:lnSpc>
                  <a:spcPct val="100000"/>
                </a:lnSpc>
                <a:spcBef>
                  <a:spcPts val="0"/>
                </a:spcBef>
                <a:spcAft>
                  <a:spcPts val="0"/>
                </a:spcAft>
                <a:buClr>
                  <a:srgbClr val="000000"/>
                </a:buClr>
                <a:buSzPts val="900"/>
                <a:buFont typeface="Arial"/>
                <a:buNone/>
              </a:pPr>
              <a:r>
                <a:rPr lang="en" sz="900">
                  <a:solidFill>
                    <a:schemeClr val="bg1"/>
                  </a:solidFill>
                  <a:latin typeface="Montserrat Light" panose="00000400000000000000" pitchFamily="2" charset="0"/>
                  <a:ea typeface="Calibri"/>
                  <a:cs typeface="Calibri"/>
                  <a:sym typeface="Calibri"/>
                </a:rPr>
                <a:t>Cross Border</a:t>
              </a:r>
              <a:endParaRPr sz="900" b="0" i="0" u="none" strike="noStrike" cap="none">
                <a:solidFill>
                  <a:schemeClr val="bg1"/>
                </a:solidFill>
                <a:latin typeface="Montserrat Light" panose="00000400000000000000" pitchFamily="2" charset="0"/>
                <a:ea typeface="Calibri"/>
                <a:cs typeface="Calibri"/>
                <a:sym typeface="Calibri"/>
              </a:endParaRPr>
            </a:p>
          </p:txBody>
        </p:sp>
        <p:cxnSp>
          <p:nvCxnSpPr>
            <p:cNvPr id="7" name="Google Shape;422;p73">
              <a:extLst>
                <a:ext uri="{FF2B5EF4-FFF2-40B4-BE49-F238E27FC236}">
                  <a16:creationId xmlns:a16="http://schemas.microsoft.com/office/drawing/2014/main" id="{ADA9A7AD-F769-92BA-DD2A-19D1830F3C4F}"/>
                </a:ext>
              </a:extLst>
            </p:cNvPr>
            <p:cNvCxnSpPr>
              <a:stCxn id="5" idx="2"/>
              <a:endCxn id="3" idx="6"/>
            </p:cNvCxnSpPr>
            <p:nvPr/>
          </p:nvCxnSpPr>
          <p:spPr>
            <a:xfrm rot="10800000" flipV="1">
              <a:off x="3505911" y="5973846"/>
              <a:ext cx="853899" cy="2721"/>
            </a:xfrm>
            <a:prstGeom prst="curvedConnector3">
              <a:avLst>
                <a:gd name="adj1" fmla="val 50000"/>
              </a:avLst>
            </a:prstGeom>
            <a:noFill/>
            <a:ln w="9525" cap="flat" cmpd="sng">
              <a:solidFill>
                <a:srgbClr val="FF0000"/>
              </a:solidFill>
              <a:prstDash val="solid"/>
              <a:round/>
              <a:headEnd type="triangle" w="sm" len="sm"/>
              <a:tailEnd type="oval" w="med" len="med"/>
            </a:ln>
          </p:spPr>
        </p:cxnSp>
        <p:sp>
          <p:nvSpPr>
            <p:cNvPr id="9" name="Google Shape;424;p73">
              <a:extLst>
                <a:ext uri="{FF2B5EF4-FFF2-40B4-BE49-F238E27FC236}">
                  <a16:creationId xmlns:a16="http://schemas.microsoft.com/office/drawing/2014/main" id="{9357054D-F744-5E9E-1183-C1650027F396}"/>
                </a:ext>
              </a:extLst>
            </p:cNvPr>
            <p:cNvSpPr txBox="1"/>
            <p:nvPr/>
          </p:nvSpPr>
          <p:spPr>
            <a:xfrm>
              <a:off x="2636722" y="5745749"/>
              <a:ext cx="829515" cy="461635"/>
            </a:xfrm>
            <a:prstGeom prst="rect">
              <a:avLst/>
            </a:prstGeom>
            <a:noFill/>
            <a:ln>
              <a:noFill/>
            </a:ln>
          </p:spPr>
          <p:txBody>
            <a:bodyPr spcFirstLastPara="1" wrap="square" lIns="91425" tIns="91425" rIns="91425" bIns="91425" anchor="t" anchorCtr="0">
              <a:spAutoFit/>
            </a:bodyPr>
            <a:lstStyle/>
            <a:p>
              <a:pPr marL="0" marR="0" lvl="0" indent="0" algn="ctr" rtl="0">
                <a:lnSpc>
                  <a:spcPct val="100000"/>
                </a:lnSpc>
                <a:spcBef>
                  <a:spcPts val="0"/>
                </a:spcBef>
                <a:spcAft>
                  <a:spcPts val="0"/>
                </a:spcAft>
                <a:buClr>
                  <a:srgbClr val="000000"/>
                </a:buClr>
                <a:buSzPts val="900"/>
                <a:buFont typeface="Arial"/>
                <a:buNone/>
              </a:pPr>
              <a:r>
                <a:rPr lang="en" sz="900">
                  <a:solidFill>
                    <a:schemeClr val="bg1"/>
                  </a:solidFill>
                  <a:latin typeface="Montserrat Light" panose="00000400000000000000" pitchFamily="2" charset="0"/>
                  <a:ea typeface="Calibri"/>
                  <a:cs typeface="Calibri"/>
                  <a:sym typeface="Calibri"/>
                </a:rPr>
                <a:t>In Network Cloud </a:t>
              </a:r>
              <a:r>
                <a:rPr lang="en" sz="900" b="0" i="0" u="none" strike="noStrike" cap="none">
                  <a:solidFill>
                    <a:schemeClr val="bg1"/>
                  </a:solidFill>
                  <a:latin typeface="Montserrat Light" panose="00000400000000000000" pitchFamily="2" charset="0"/>
                  <a:ea typeface="Calibri"/>
                  <a:cs typeface="Calibri"/>
                  <a:sym typeface="Calibri"/>
                </a:rPr>
                <a:t>Data</a:t>
              </a:r>
              <a:endParaRPr sz="1100" b="0" i="0" u="none" strike="noStrike" cap="none">
                <a:solidFill>
                  <a:schemeClr val="bg1"/>
                </a:solidFill>
                <a:latin typeface="Montserrat Light" panose="00000400000000000000" pitchFamily="2" charset="0"/>
                <a:sym typeface="Arial"/>
              </a:endParaRPr>
            </a:p>
          </p:txBody>
        </p:sp>
        <p:sp>
          <p:nvSpPr>
            <p:cNvPr id="10" name="Google Shape;425;p73">
              <a:extLst>
                <a:ext uri="{FF2B5EF4-FFF2-40B4-BE49-F238E27FC236}">
                  <a16:creationId xmlns:a16="http://schemas.microsoft.com/office/drawing/2014/main" id="{74BBDC16-3A62-EED0-49DC-B87F0BD9D07A}"/>
                </a:ext>
              </a:extLst>
            </p:cNvPr>
            <p:cNvSpPr txBox="1"/>
            <p:nvPr/>
          </p:nvSpPr>
          <p:spPr>
            <a:xfrm>
              <a:off x="4344000" y="5743030"/>
              <a:ext cx="931619" cy="461635"/>
            </a:xfrm>
            <a:prstGeom prst="rect">
              <a:avLst/>
            </a:prstGeom>
            <a:noFill/>
            <a:ln>
              <a:noFill/>
            </a:ln>
          </p:spPr>
          <p:txBody>
            <a:bodyPr spcFirstLastPara="1" wrap="square" lIns="91425" tIns="91425" rIns="91425" bIns="91425" anchor="t" anchorCtr="0">
              <a:spAutoFit/>
            </a:bodyPr>
            <a:lstStyle/>
            <a:p>
              <a:pPr marL="0" marR="0" lvl="0" indent="0" algn="ctr" rtl="0">
                <a:lnSpc>
                  <a:spcPct val="100000"/>
                </a:lnSpc>
                <a:spcBef>
                  <a:spcPts val="0"/>
                </a:spcBef>
                <a:spcAft>
                  <a:spcPts val="0"/>
                </a:spcAft>
                <a:buClr>
                  <a:srgbClr val="000000"/>
                </a:buClr>
                <a:buSzPts val="900"/>
                <a:buFont typeface="Arial"/>
                <a:buNone/>
              </a:pPr>
              <a:r>
                <a:rPr lang="en" sz="900">
                  <a:solidFill>
                    <a:schemeClr val="bg1"/>
                  </a:solidFill>
                  <a:latin typeface="Montserrat Light" panose="00000400000000000000" pitchFamily="2" charset="0"/>
                  <a:ea typeface="Calibri"/>
                  <a:cs typeface="Calibri"/>
                  <a:sym typeface="Calibri"/>
                </a:rPr>
                <a:t>Out Network Edge</a:t>
              </a:r>
              <a:r>
                <a:rPr lang="en" sz="900" b="0" i="0" u="none" strike="noStrike" cap="none">
                  <a:solidFill>
                    <a:schemeClr val="bg1"/>
                  </a:solidFill>
                  <a:latin typeface="Montserrat Light" panose="00000400000000000000" pitchFamily="2" charset="0"/>
                  <a:ea typeface="Calibri"/>
                  <a:cs typeface="Calibri"/>
                  <a:sym typeface="Calibri"/>
                </a:rPr>
                <a:t> Data</a:t>
              </a:r>
              <a:endParaRPr sz="900" b="0" i="0" u="none" strike="noStrike" cap="none">
                <a:solidFill>
                  <a:schemeClr val="bg1"/>
                </a:solidFill>
                <a:latin typeface="Montserrat Light" panose="00000400000000000000" pitchFamily="2" charset="0"/>
                <a:ea typeface="Calibri"/>
                <a:cs typeface="Calibri"/>
                <a:sym typeface="Calibri"/>
              </a:endParaRPr>
            </a:p>
          </p:txBody>
        </p:sp>
        <p:sp>
          <p:nvSpPr>
            <p:cNvPr id="12" name="Google Shape;427;p73">
              <a:extLst>
                <a:ext uri="{FF2B5EF4-FFF2-40B4-BE49-F238E27FC236}">
                  <a16:creationId xmlns:a16="http://schemas.microsoft.com/office/drawing/2014/main" id="{5C0C7599-79CB-AFE2-0ECE-4415D4D4D22A}"/>
                </a:ext>
              </a:extLst>
            </p:cNvPr>
            <p:cNvSpPr/>
            <p:nvPr/>
          </p:nvSpPr>
          <p:spPr>
            <a:xfrm>
              <a:off x="3502138" y="4132273"/>
              <a:ext cx="900000" cy="900000"/>
            </a:xfrm>
            <a:prstGeom prst="ellipse">
              <a:avLst/>
            </a:prstGeom>
            <a:noFill/>
            <a:ln w="19050" cap="flat" cmpd="sng">
              <a:solidFill>
                <a:srgbClr val="0065FF"/>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400">
                <a:solidFill>
                  <a:schemeClr val="bg1"/>
                </a:solidFill>
                <a:latin typeface="Montserrat Light" panose="00000400000000000000" pitchFamily="2" charset="0"/>
              </a:endParaRPr>
            </a:p>
          </p:txBody>
        </p:sp>
        <p:pic>
          <p:nvPicPr>
            <p:cNvPr id="13" name="Google Shape;428;p73">
              <a:extLst>
                <a:ext uri="{FF2B5EF4-FFF2-40B4-BE49-F238E27FC236}">
                  <a16:creationId xmlns:a16="http://schemas.microsoft.com/office/drawing/2014/main" id="{29597AA6-96BB-99F9-1419-15AE8527FB10}"/>
                </a:ext>
              </a:extLst>
            </p:cNvPr>
            <p:cNvPicPr preferRelativeResize="0"/>
            <p:nvPr/>
          </p:nvPicPr>
          <p:blipFill>
            <a:blip r:embed="rId2">
              <a:alphaModFix/>
            </a:blip>
            <a:stretch>
              <a:fillRect/>
            </a:stretch>
          </p:blipFill>
          <p:spPr>
            <a:xfrm>
              <a:off x="3665638" y="4295773"/>
              <a:ext cx="573000" cy="573000"/>
            </a:xfrm>
            <a:prstGeom prst="rect">
              <a:avLst/>
            </a:prstGeom>
            <a:noFill/>
            <a:ln>
              <a:noFill/>
            </a:ln>
          </p:spPr>
        </p:pic>
        <p:grpSp>
          <p:nvGrpSpPr>
            <p:cNvPr id="40" name="Group 39">
              <a:extLst>
                <a:ext uri="{FF2B5EF4-FFF2-40B4-BE49-F238E27FC236}">
                  <a16:creationId xmlns:a16="http://schemas.microsoft.com/office/drawing/2014/main" id="{21C1B41A-95C1-7D82-B02F-26CB626D957E}"/>
                </a:ext>
              </a:extLst>
            </p:cNvPr>
            <p:cNvGrpSpPr/>
            <p:nvPr/>
          </p:nvGrpSpPr>
          <p:grpSpPr>
            <a:xfrm>
              <a:off x="6251470" y="3040284"/>
              <a:ext cx="624900" cy="625200"/>
              <a:chOff x="6251470" y="3043564"/>
              <a:chExt cx="624900" cy="625200"/>
            </a:xfrm>
          </p:grpSpPr>
          <p:sp>
            <p:nvSpPr>
              <p:cNvPr id="14" name="Google Shape;429;p73">
                <a:extLst>
                  <a:ext uri="{FF2B5EF4-FFF2-40B4-BE49-F238E27FC236}">
                    <a16:creationId xmlns:a16="http://schemas.microsoft.com/office/drawing/2014/main" id="{1AD2EA90-A727-D901-A61D-082764B97F85}"/>
                  </a:ext>
                </a:extLst>
              </p:cNvPr>
              <p:cNvSpPr/>
              <p:nvPr/>
            </p:nvSpPr>
            <p:spPr>
              <a:xfrm>
                <a:off x="6251470" y="3043564"/>
                <a:ext cx="624900" cy="625200"/>
              </a:xfrm>
              <a:prstGeom prst="ellipse">
                <a:avLst/>
              </a:prstGeom>
              <a:noFill/>
              <a:ln w="19050"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400">
                  <a:solidFill>
                    <a:schemeClr val="bg1"/>
                  </a:solidFill>
                  <a:latin typeface="Montserrat Light" panose="00000400000000000000" pitchFamily="2" charset="0"/>
                </a:endParaRPr>
              </a:p>
            </p:txBody>
          </p:sp>
          <p:pic>
            <p:nvPicPr>
              <p:cNvPr id="15" name="Google Shape;430;p73">
                <a:extLst>
                  <a:ext uri="{FF2B5EF4-FFF2-40B4-BE49-F238E27FC236}">
                    <a16:creationId xmlns:a16="http://schemas.microsoft.com/office/drawing/2014/main" id="{6AFF79A9-DE70-CB5A-23C2-99E480429D41}"/>
                  </a:ext>
                </a:extLst>
              </p:cNvPr>
              <p:cNvPicPr preferRelativeResize="0"/>
              <p:nvPr/>
            </p:nvPicPr>
            <p:blipFill rotWithShape="1">
              <a:blip r:embed="rId3">
                <a:alphaModFix/>
              </a:blip>
              <a:srcRect b="14595"/>
              <a:stretch/>
            </p:blipFill>
            <p:spPr>
              <a:xfrm>
                <a:off x="6367462" y="3138734"/>
                <a:ext cx="465594" cy="397637"/>
              </a:xfrm>
              <a:prstGeom prst="rect">
                <a:avLst/>
              </a:prstGeom>
              <a:noFill/>
              <a:ln>
                <a:noFill/>
              </a:ln>
            </p:spPr>
          </p:pic>
        </p:grpSp>
        <p:sp>
          <p:nvSpPr>
            <p:cNvPr id="16" name="Google Shape;431;p73">
              <a:extLst>
                <a:ext uri="{FF2B5EF4-FFF2-40B4-BE49-F238E27FC236}">
                  <a16:creationId xmlns:a16="http://schemas.microsoft.com/office/drawing/2014/main" id="{779F929A-72FB-F03F-F940-3EF74F8837D4}"/>
                </a:ext>
              </a:extLst>
            </p:cNvPr>
            <p:cNvSpPr txBox="1"/>
            <p:nvPr/>
          </p:nvSpPr>
          <p:spPr>
            <a:xfrm>
              <a:off x="6883417" y="2923426"/>
              <a:ext cx="976595" cy="900000"/>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1200"/>
                </a:spcBef>
                <a:spcAft>
                  <a:spcPts val="1200"/>
                </a:spcAft>
                <a:buNone/>
              </a:pPr>
              <a:r>
                <a:rPr lang="en" sz="1000">
                  <a:solidFill>
                    <a:schemeClr val="tx1"/>
                  </a:solidFill>
                  <a:latin typeface="Montserrat" panose="00000500000000000000" pitchFamily="2" charset="0"/>
                  <a:ea typeface="Proxima Nova"/>
                  <a:cs typeface="Proxima Nova"/>
                  <a:sym typeface="Proxima Nova"/>
                </a:rPr>
                <a:t>Compliance Monitoring </a:t>
              </a:r>
              <a:endParaRPr sz="1000">
                <a:solidFill>
                  <a:schemeClr val="tx1"/>
                </a:solidFill>
                <a:latin typeface="Montserrat" panose="00000500000000000000" pitchFamily="2" charset="0"/>
                <a:ea typeface="Proxima Nova"/>
                <a:cs typeface="Proxima Nova"/>
                <a:sym typeface="Proxima Nova"/>
              </a:endParaRPr>
            </a:p>
          </p:txBody>
        </p:sp>
        <p:pic>
          <p:nvPicPr>
            <p:cNvPr id="17" name="Google Shape;432;p73">
              <a:extLst>
                <a:ext uri="{FF2B5EF4-FFF2-40B4-BE49-F238E27FC236}">
                  <a16:creationId xmlns:a16="http://schemas.microsoft.com/office/drawing/2014/main" id="{00661956-A0F7-127A-C66E-460D26177FBE}"/>
                </a:ext>
              </a:extLst>
            </p:cNvPr>
            <p:cNvPicPr preferRelativeResize="0"/>
            <p:nvPr/>
          </p:nvPicPr>
          <p:blipFill rotWithShape="1">
            <a:blip r:embed="rId4">
              <a:alphaModFix/>
            </a:blip>
            <a:srcRect/>
            <a:stretch/>
          </p:blipFill>
          <p:spPr>
            <a:xfrm>
              <a:off x="1875504" y="6643027"/>
              <a:ext cx="3910451" cy="384299"/>
            </a:xfrm>
            <a:prstGeom prst="rect">
              <a:avLst/>
            </a:prstGeom>
            <a:noFill/>
            <a:ln>
              <a:noFill/>
            </a:ln>
          </p:spPr>
        </p:pic>
        <p:cxnSp>
          <p:nvCxnSpPr>
            <p:cNvPr id="18" name="Google Shape;433;p73">
              <a:extLst>
                <a:ext uri="{FF2B5EF4-FFF2-40B4-BE49-F238E27FC236}">
                  <a16:creationId xmlns:a16="http://schemas.microsoft.com/office/drawing/2014/main" id="{31242DB9-7453-7793-9266-3F7DB1EE2C7F}"/>
                </a:ext>
              </a:extLst>
            </p:cNvPr>
            <p:cNvCxnSpPr>
              <a:stCxn id="3" idx="0"/>
              <a:endCxn id="12" idx="2"/>
            </p:cNvCxnSpPr>
            <p:nvPr/>
          </p:nvCxnSpPr>
          <p:spPr>
            <a:xfrm rot="5400000" flipH="1" flipV="1">
              <a:off x="2806877" y="4831307"/>
              <a:ext cx="944295" cy="446228"/>
            </a:xfrm>
            <a:prstGeom prst="bentConnector2">
              <a:avLst/>
            </a:prstGeom>
            <a:noFill/>
            <a:ln w="9525" cap="flat" cmpd="sng">
              <a:solidFill>
                <a:srgbClr val="00FF00"/>
              </a:solidFill>
              <a:prstDash val="dashDot"/>
              <a:round/>
              <a:headEnd type="triangle" w="med" len="med"/>
              <a:tailEnd type="none" w="med" len="med"/>
            </a:ln>
          </p:spPr>
        </p:cxnSp>
        <p:cxnSp>
          <p:nvCxnSpPr>
            <p:cNvPr id="19" name="Google Shape;434;p73">
              <a:extLst>
                <a:ext uri="{FF2B5EF4-FFF2-40B4-BE49-F238E27FC236}">
                  <a16:creationId xmlns:a16="http://schemas.microsoft.com/office/drawing/2014/main" id="{084792B2-A79E-B070-7B95-0350F1F5EA37}"/>
                </a:ext>
              </a:extLst>
            </p:cNvPr>
            <p:cNvCxnSpPr>
              <a:stCxn id="12" idx="6"/>
              <a:endCxn id="5" idx="0"/>
            </p:cNvCxnSpPr>
            <p:nvPr/>
          </p:nvCxnSpPr>
          <p:spPr>
            <a:xfrm>
              <a:off x="4402138" y="4582273"/>
              <a:ext cx="407671" cy="941574"/>
            </a:xfrm>
            <a:prstGeom prst="bentConnector2">
              <a:avLst/>
            </a:prstGeom>
            <a:noFill/>
            <a:ln w="9525" cap="flat" cmpd="sng">
              <a:solidFill>
                <a:srgbClr val="FF0000"/>
              </a:solidFill>
              <a:prstDash val="dashDot"/>
              <a:round/>
              <a:headEnd type="none" w="med" len="med"/>
              <a:tailEnd type="triangle" w="med" len="med"/>
            </a:ln>
          </p:spPr>
        </p:cxnSp>
        <p:grpSp>
          <p:nvGrpSpPr>
            <p:cNvPr id="38" name="Group 37">
              <a:extLst>
                <a:ext uri="{FF2B5EF4-FFF2-40B4-BE49-F238E27FC236}">
                  <a16:creationId xmlns:a16="http://schemas.microsoft.com/office/drawing/2014/main" id="{EB0EAE19-CC70-C4F2-E150-98A5A4483225}"/>
                </a:ext>
              </a:extLst>
            </p:cNvPr>
            <p:cNvGrpSpPr/>
            <p:nvPr/>
          </p:nvGrpSpPr>
          <p:grpSpPr>
            <a:xfrm>
              <a:off x="2604392" y="3032484"/>
              <a:ext cx="643021" cy="640800"/>
              <a:chOff x="2062210" y="3004876"/>
              <a:chExt cx="643021" cy="640800"/>
            </a:xfrm>
          </p:grpSpPr>
          <p:sp>
            <p:nvSpPr>
              <p:cNvPr id="20" name="Google Shape;435;p73">
                <a:extLst>
                  <a:ext uri="{FF2B5EF4-FFF2-40B4-BE49-F238E27FC236}">
                    <a16:creationId xmlns:a16="http://schemas.microsoft.com/office/drawing/2014/main" id="{55D0D11A-8E2B-E5E7-EFFF-4AB7D7CFFE55}"/>
                  </a:ext>
                </a:extLst>
              </p:cNvPr>
              <p:cNvSpPr/>
              <p:nvPr/>
            </p:nvSpPr>
            <p:spPr>
              <a:xfrm>
                <a:off x="2064431" y="3004876"/>
                <a:ext cx="640800" cy="640800"/>
              </a:xfrm>
              <a:prstGeom prst="ellipse">
                <a:avLst/>
              </a:prstGeom>
              <a:noFill/>
              <a:ln w="19050"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400">
                  <a:solidFill>
                    <a:schemeClr val="bg1"/>
                  </a:solidFill>
                  <a:latin typeface="Montserrat Light" panose="00000400000000000000" pitchFamily="2" charset="0"/>
                </a:endParaRPr>
              </a:p>
            </p:txBody>
          </p:sp>
          <p:pic>
            <p:nvPicPr>
              <p:cNvPr id="23" name="Google Shape;438;p73">
                <a:extLst>
                  <a:ext uri="{FF2B5EF4-FFF2-40B4-BE49-F238E27FC236}">
                    <a16:creationId xmlns:a16="http://schemas.microsoft.com/office/drawing/2014/main" id="{3233276D-7973-317D-F85D-4D98ACD08439}"/>
                  </a:ext>
                </a:extLst>
              </p:cNvPr>
              <p:cNvPicPr preferRelativeResize="0"/>
              <p:nvPr/>
            </p:nvPicPr>
            <p:blipFill rotWithShape="1">
              <a:blip r:embed="rId5">
                <a:alphaModFix/>
              </a:blip>
              <a:srcRect b="19536"/>
              <a:stretch/>
            </p:blipFill>
            <p:spPr>
              <a:xfrm>
                <a:off x="2062210" y="3085693"/>
                <a:ext cx="545239" cy="438718"/>
              </a:xfrm>
              <a:prstGeom prst="rect">
                <a:avLst/>
              </a:prstGeom>
              <a:noFill/>
              <a:ln>
                <a:noFill/>
              </a:ln>
            </p:spPr>
          </p:pic>
        </p:grpSp>
        <p:grpSp>
          <p:nvGrpSpPr>
            <p:cNvPr id="39" name="Group 38">
              <a:extLst>
                <a:ext uri="{FF2B5EF4-FFF2-40B4-BE49-F238E27FC236}">
                  <a16:creationId xmlns:a16="http://schemas.microsoft.com/office/drawing/2014/main" id="{960ED63C-0A6B-F0F9-4ACE-63C9C2852494}"/>
                </a:ext>
              </a:extLst>
            </p:cNvPr>
            <p:cNvGrpSpPr/>
            <p:nvPr/>
          </p:nvGrpSpPr>
          <p:grpSpPr>
            <a:xfrm>
              <a:off x="4429042" y="3032484"/>
              <a:ext cx="640800" cy="640800"/>
              <a:chOff x="3545327" y="3004875"/>
              <a:chExt cx="640800" cy="640800"/>
            </a:xfrm>
          </p:grpSpPr>
          <p:sp>
            <p:nvSpPr>
              <p:cNvPr id="21" name="Google Shape;436;p73">
                <a:extLst>
                  <a:ext uri="{FF2B5EF4-FFF2-40B4-BE49-F238E27FC236}">
                    <a16:creationId xmlns:a16="http://schemas.microsoft.com/office/drawing/2014/main" id="{9BEE48B2-B6D1-21DB-5FCC-D4FE5776C214}"/>
                  </a:ext>
                </a:extLst>
              </p:cNvPr>
              <p:cNvSpPr/>
              <p:nvPr/>
            </p:nvSpPr>
            <p:spPr>
              <a:xfrm>
                <a:off x="3545327" y="3004875"/>
                <a:ext cx="640800" cy="640800"/>
              </a:xfrm>
              <a:prstGeom prst="ellipse">
                <a:avLst/>
              </a:prstGeom>
              <a:noFill/>
              <a:ln w="19050"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400">
                  <a:solidFill>
                    <a:schemeClr val="bg1"/>
                  </a:solidFill>
                  <a:latin typeface="Montserrat Light" panose="00000400000000000000" pitchFamily="2" charset="0"/>
                </a:endParaRPr>
              </a:p>
            </p:txBody>
          </p:sp>
          <p:pic>
            <p:nvPicPr>
              <p:cNvPr id="24" name="Google Shape;439;p73">
                <a:extLst>
                  <a:ext uri="{FF2B5EF4-FFF2-40B4-BE49-F238E27FC236}">
                    <a16:creationId xmlns:a16="http://schemas.microsoft.com/office/drawing/2014/main" id="{52A28307-19B1-6FCA-14F4-B64C10B09166}"/>
                  </a:ext>
                </a:extLst>
              </p:cNvPr>
              <p:cNvPicPr preferRelativeResize="0"/>
              <p:nvPr/>
            </p:nvPicPr>
            <p:blipFill rotWithShape="1">
              <a:blip r:embed="rId6">
                <a:alphaModFix/>
              </a:blip>
              <a:srcRect b="16742"/>
              <a:stretch/>
            </p:blipFill>
            <p:spPr>
              <a:xfrm>
                <a:off x="3604282" y="3094633"/>
                <a:ext cx="528929" cy="440349"/>
              </a:xfrm>
              <a:prstGeom prst="rect">
                <a:avLst/>
              </a:prstGeom>
              <a:noFill/>
              <a:ln>
                <a:noFill/>
              </a:ln>
            </p:spPr>
          </p:pic>
        </p:grpSp>
        <p:grpSp>
          <p:nvGrpSpPr>
            <p:cNvPr id="37" name="Group 36">
              <a:extLst>
                <a:ext uri="{FF2B5EF4-FFF2-40B4-BE49-F238E27FC236}">
                  <a16:creationId xmlns:a16="http://schemas.microsoft.com/office/drawing/2014/main" id="{AF9E3313-56F8-C405-10B5-66E4BB1E7E14}"/>
                </a:ext>
              </a:extLst>
            </p:cNvPr>
            <p:cNvGrpSpPr/>
            <p:nvPr/>
          </p:nvGrpSpPr>
          <p:grpSpPr>
            <a:xfrm>
              <a:off x="781963" y="3032484"/>
              <a:ext cx="640800" cy="640800"/>
              <a:chOff x="781963" y="2986542"/>
              <a:chExt cx="640800" cy="640800"/>
            </a:xfrm>
          </p:grpSpPr>
          <p:sp>
            <p:nvSpPr>
              <p:cNvPr id="22" name="Google Shape;437;p73">
                <a:extLst>
                  <a:ext uri="{FF2B5EF4-FFF2-40B4-BE49-F238E27FC236}">
                    <a16:creationId xmlns:a16="http://schemas.microsoft.com/office/drawing/2014/main" id="{803F9F9A-8F6A-D6CE-C2D0-65DD94652868}"/>
                  </a:ext>
                </a:extLst>
              </p:cNvPr>
              <p:cNvSpPr/>
              <p:nvPr/>
            </p:nvSpPr>
            <p:spPr>
              <a:xfrm>
                <a:off x="781963" y="2986542"/>
                <a:ext cx="640800" cy="640800"/>
              </a:xfrm>
              <a:prstGeom prst="ellipse">
                <a:avLst/>
              </a:prstGeom>
              <a:noFill/>
              <a:ln w="19050"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400">
                  <a:solidFill>
                    <a:schemeClr val="bg1"/>
                  </a:solidFill>
                  <a:latin typeface="Montserrat Light" panose="00000400000000000000" pitchFamily="2" charset="0"/>
                </a:endParaRPr>
              </a:p>
            </p:txBody>
          </p:sp>
          <p:pic>
            <p:nvPicPr>
              <p:cNvPr id="25" name="Google Shape;440;p73">
                <a:extLst>
                  <a:ext uri="{FF2B5EF4-FFF2-40B4-BE49-F238E27FC236}">
                    <a16:creationId xmlns:a16="http://schemas.microsoft.com/office/drawing/2014/main" id="{4D969E46-395B-7B18-88C4-854227DB0427}"/>
                  </a:ext>
                </a:extLst>
              </p:cNvPr>
              <p:cNvPicPr preferRelativeResize="0"/>
              <p:nvPr/>
            </p:nvPicPr>
            <p:blipFill rotWithShape="1">
              <a:blip r:embed="rId7">
                <a:alphaModFix/>
              </a:blip>
              <a:srcRect b="16422"/>
              <a:stretch/>
            </p:blipFill>
            <p:spPr>
              <a:xfrm>
                <a:off x="862350" y="3101547"/>
                <a:ext cx="477386" cy="398983"/>
              </a:xfrm>
              <a:prstGeom prst="rect">
                <a:avLst/>
              </a:prstGeom>
              <a:noFill/>
              <a:ln>
                <a:noFill/>
              </a:ln>
            </p:spPr>
          </p:pic>
        </p:grpSp>
        <p:sp>
          <p:nvSpPr>
            <p:cNvPr id="26" name="Google Shape;441;p73">
              <a:extLst>
                <a:ext uri="{FF2B5EF4-FFF2-40B4-BE49-F238E27FC236}">
                  <a16:creationId xmlns:a16="http://schemas.microsoft.com/office/drawing/2014/main" id="{9559C4D8-7BF3-CEB6-C129-873DB8128142}"/>
                </a:ext>
              </a:extLst>
            </p:cNvPr>
            <p:cNvSpPr txBox="1"/>
            <p:nvPr/>
          </p:nvSpPr>
          <p:spPr>
            <a:xfrm>
              <a:off x="3253345" y="2923426"/>
              <a:ext cx="900000" cy="900000"/>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1200"/>
                </a:spcBef>
                <a:spcAft>
                  <a:spcPts val="1200"/>
                </a:spcAft>
                <a:buNone/>
              </a:pPr>
              <a:r>
                <a:rPr lang="en" sz="1000">
                  <a:solidFill>
                    <a:schemeClr val="tx1"/>
                  </a:solidFill>
                  <a:latin typeface="Montserrat" panose="00000500000000000000" pitchFamily="2" charset="0"/>
                  <a:ea typeface="Proxima Nova"/>
                  <a:cs typeface="Proxima Nova"/>
                  <a:sym typeface="Proxima Nova"/>
                </a:rPr>
                <a:t>Labeling &amp; Tagging</a:t>
              </a:r>
              <a:br>
                <a:rPr lang="en" sz="1000">
                  <a:solidFill>
                    <a:schemeClr val="tx1"/>
                  </a:solidFill>
                  <a:latin typeface="Montserrat" panose="00000500000000000000" pitchFamily="2" charset="0"/>
                  <a:ea typeface="Proxima Nova"/>
                  <a:cs typeface="Proxima Nova"/>
                  <a:sym typeface="Proxima Nova"/>
                </a:rPr>
              </a:br>
              <a:endParaRPr sz="1000">
                <a:solidFill>
                  <a:schemeClr val="tx1"/>
                </a:solidFill>
                <a:latin typeface="Montserrat" panose="00000500000000000000" pitchFamily="2" charset="0"/>
                <a:ea typeface="Proxima Nova"/>
                <a:cs typeface="Proxima Nova"/>
                <a:sym typeface="Proxima Nova"/>
              </a:endParaRPr>
            </a:p>
          </p:txBody>
        </p:sp>
        <p:sp>
          <p:nvSpPr>
            <p:cNvPr id="27" name="Google Shape;442;p73">
              <a:extLst>
                <a:ext uri="{FF2B5EF4-FFF2-40B4-BE49-F238E27FC236}">
                  <a16:creationId xmlns:a16="http://schemas.microsoft.com/office/drawing/2014/main" id="{D2D11CBC-4E8B-738B-FB2B-639CA0913C1D}"/>
                </a:ext>
              </a:extLst>
            </p:cNvPr>
            <p:cNvSpPr txBox="1"/>
            <p:nvPr/>
          </p:nvSpPr>
          <p:spPr>
            <a:xfrm>
              <a:off x="5084988" y="2923426"/>
              <a:ext cx="900000" cy="900000"/>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1200"/>
                </a:spcBef>
                <a:spcAft>
                  <a:spcPts val="1200"/>
                </a:spcAft>
                <a:buNone/>
              </a:pPr>
              <a:r>
                <a:rPr lang="en" sz="1000">
                  <a:solidFill>
                    <a:schemeClr val="tx1"/>
                  </a:solidFill>
                  <a:latin typeface="Montserrat" panose="00000500000000000000" pitchFamily="2" charset="0"/>
                  <a:ea typeface="Proxima Nova"/>
                  <a:cs typeface="Proxima Nova"/>
                  <a:sym typeface="Proxima Nova"/>
                </a:rPr>
                <a:t>Loss Prevention</a:t>
              </a:r>
              <a:endParaRPr sz="1000">
                <a:solidFill>
                  <a:schemeClr val="tx1"/>
                </a:solidFill>
                <a:latin typeface="Montserrat" panose="00000500000000000000" pitchFamily="2" charset="0"/>
                <a:ea typeface="Proxima Nova"/>
                <a:cs typeface="Proxima Nova"/>
                <a:sym typeface="Proxima Nova"/>
              </a:endParaRPr>
            </a:p>
          </p:txBody>
        </p:sp>
        <p:sp>
          <p:nvSpPr>
            <p:cNvPr id="28" name="Google Shape;443;p73">
              <a:extLst>
                <a:ext uri="{FF2B5EF4-FFF2-40B4-BE49-F238E27FC236}">
                  <a16:creationId xmlns:a16="http://schemas.microsoft.com/office/drawing/2014/main" id="{BF35C138-225B-4A88-66D4-FC8E6453163C}"/>
                </a:ext>
              </a:extLst>
            </p:cNvPr>
            <p:cNvSpPr txBox="1"/>
            <p:nvPr/>
          </p:nvSpPr>
          <p:spPr>
            <a:xfrm>
              <a:off x="1425504" y="2923426"/>
              <a:ext cx="900000" cy="900000"/>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1200"/>
                </a:spcBef>
                <a:spcAft>
                  <a:spcPts val="1200"/>
                </a:spcAft>
                <a:buNone/>
              </a:pPr>
              <a:r>
                <a:rPr lang="en" sz="1000">
                  <a:solidFill>
                    <a:schemeClr val="tx1"/>
                  </a:solidFill>
                  <a:latin typeface="Montserrat" panose="00000500000000000000" pitchFamily="2" charset="0"/>
                  <a:ea typeface="Proxima Nova"/>
                  <a:cs typeface="Proxima Nova"/>
                  <a:sym typeface="Proxima Nova"/>
                </a:rPr>
                <a:t>Access Control</a:t>
              </a:r>
              <a:endParaRPr sz="1000">
                <a:solidFill>
                  <a:schemeClr val="tx1"/>
                </a:solidFill>
                <a:latin typeface="Montserrat" panose="00000500000000000000" pitchFamily="2" charset="0"/>
                <a:ea typeface="Proxima Nova"/>
                <a:cs typeface="Proxima Nova"/>
                <a:sym typeface="Proxima Nova"/>
              </a:endParaRPr>
            </a:p>
          </p:txBody>
        </p:sp>
        <p:cxnSp>
          <p:nvCxnSpPr>
            <p:cNvPr id="29" name="Google Shape;444;p73">
              <a:extLst>
                <a:ext uri="{FF2B5EF4-FFF2-40B4-BE49-F238E27FC236}">
                  <a16:creationId xmlns:a16="http://schemas.microsoft.com/office/drawing/2014/main" id="{11C0DE62-A1C2-D862-2318-C1DF6E68D0B7}"/>
                </a:ext>
              </a:extLst>
            </p:cNvPr>
            <p:cNvCxnSpPr>
              <a:cxnSpLocks/>
              <a:stCxn id="12" idx="0"/>
              <a:endCxn id="21" idx="4"/>
            </p:cNvCxnSpPr>
            <p:nvPr/>
          </p:nvCxnSpPr>
          <p:spPr>
            <a:xfrm rot="5400000" flipH="1" flipV="1">
              <a:off x="4121296" y="3504127"/>
              <a:ext cx="458989" cy="797304"/>
            </a:xfrm>
            <a:prstGeom prst="bentConnector3">
              <a:avLst>
                <a:gd name="adj1" fmla="val 50000"/>
              </a:avLst>
            </a:prstGeom>
            <a:noFill/>
            <a:ln w="9525" cap="flat" cmpd="sng">
              <a:solidFill>
                <a:srgbClr val="00FF00"/>
              </a:solidFill>
              <a:prstDash val="lgDashDot"/>
              <a:round/>
              <a:headEnd type="none" w="med" len="med"/>
              <a:tailEnd type="diamond" w="med" len="med"/>
            </a:ln>
          </p:spPr>
        </p:cxnSp>
        <p:cxnSp>
          <p:nvCxnSpPr>
            <p:cNvPr id="30" name="Google Shape;445;p73">
              <a:extLst>
                <a:ext uri="{FF2B5EF4-FFF2-40B4-BE49-F238E27FC236}">
                  <a16:creationId xmlns:a16="http://schemas.microsoft.com/office/drawing/2014/main" id="{1815E22E-E07E-B81B-2DC8-410068E11A9B}"/>
                </a:ext>
              </a:extLst>
            </p:cNvPr>
            <p:cNvCxnSpPr>
              <a:cxnSpLocks/>
              <a:stCxn id="12" idx="0"/>
              <a:endCxn id="14" idx="4"/>
            </p:cNvCxnSpPr>
            <p:nvPr/>
          </p:nvCxnSpPr>
          <p:spPr>
            <a:xfrm rot="5400000" flipH="1" flipV="1">
              <a:off x="5024635" y="2592988"/>
              <a:ext cx="466789" cy="2611782"/>
            </a:xfrm>
            <a:prstGeom prst="bentConnector3">
              <a:avLst>
                <a:gd name="adj1" fmla="val 50000"/>
              </a:avLst>
            </a:prstGeom>
            <a:noFill/>
            <a:ln w="9525" cap="flat" cmpd="sng">
              <a:solidFill>
                <a:srgbClr val="00FF00"/>
              </a:solidFill>
              <a:prstDash val="lgDashDot"/>
              <a:round/>
              <a:headEnd type="none" w="med" len="med"/>
              <a:tailEnd type="diamond" w="med" len="med"/>
            </a:ln>
          </p:spPr>
        </p:cxnSp>
        <p:cxnSp>
          <p:nvCxnSpPr>
            <p:cNvPr id="31" name="Google Shape;446;p73">
              <a:extLst>
                <a:ext uri="{FF2B5EF4-FFF2-40B4-BE49-F238E27FC236}">
                  <a16:creationId xmlns:a16="http://schemas.microsoft.com/office/drawing/2014/main" id="{9B8C1D3A-0AC3-0DFF-A663-636D95359EC8}"/>
                </a:ext>
              </a:extLst>
            </p:cNvPr>
            <p:cNvCxnSpPr>
              <a:cxnSpLocks/>
              <a:stCxn id="20" idx="4"/>
              <a:endCxn id="12" idx="0"/>
            </p:cNvCxnSpPr>
            <p:nvPr/>
          </p:nvCxnSpPr>
          <p:spPr>
            <a:xfrm rot="16200000" flipH="1">
              <a:off x="3210081" y="3390215"/>
              <a:ext cx="458989" cy="1025125"/>
            </a:xfrm>
            <a:prstGeom prst="bentConnector3">
              <a:avLst>
                <a:gd name="adj1" fmla="val 50000"/>
              </a:avLst>
            </a:prstGeom>
            <a:noFill/>
            <a:ln w="9525" cap="flat" cmpd="sng">
              <a:solidFill>
                <a:srgbClr val="00FF00"/>
              </a:solidFill>
              <a:prstDash val="dashDot"/>
              <a:round/>
              <a:headEnd type="diamond" w="med" len="med"/>
              <a:tailEnd type="none" w="med" len="med"/>
            </a:ln>
          </p:spPr>
        </p:cxnSp>
        <p:cxnSp>
          <p:nvCxnSpPr>
            <p:cNvPr id="32" name="Google Shape;447;p73">
              <a:extLst>
                <a:ext uri="{FF2B5EF4-FFF2-40B4-BE49-F238E27FC236}">
                  <a16:creationId xmlns:a16="http://schemas.microsoft.com/office/drawing/2014/main" id="{7D7DD735-963B-A2DE-1281-0969C96C96CB}"/>
                </a:ext>
              </a:extLst>
            </p:cNvPr>
            <p:cNvCxnSpPr>
              <a:cxnSpLocks/>
              <a:stCxn id="22" idx="4"/>
              <a:endCxn id="12" idx="0"/>
            </p:cNvCxnSpPr>
            <p:nvPr/>
          </p:nvCxnSpPr>
          <p:spPr>
            <a:xfrm rot="16200000" flipH="1">
              <a:off x="2297756" y="2477890"/>
              <a:ext cx="458989" cy="2849775"/>
            </a:xfrm>
            <a:prstGeom prst="bentConnector3">
              <a:avLst>
                <a:gd name="adj1" fmla="val 50000"/>
              </a:avLst>
            </a:prstGeom>
            <a:noFill/>
            <a:ln w="9525" cap="flat" cmpd="sng">
              <a:solidFill>
                <a:srgbClr val="00FF00"/>
              </a:solidFill>
              <a:prstDash val="dashDot"/>
              <a:round/>
              <a:headEnd type="diamond" w="med" len="med"/>
              <a:tailEnd type="none" w="med" len="med"/>
            </a:ln>
          </p:spPr>
        </p:cxnSp>
        <p:sp>
          <p:nvSpPr>
            <p:cNvPr id="43" name="Google Shape;425;p73">
              <a:extLst>
                <a:ext uri="{FF2B5EF4-FFF2-40B4-BE49-F238E27FC236}">
                  <a16:creationId xmlns:a16="http://schemas.microsoft.com/office/drawing/2014/main" id="{1B8D41CA-1C82-A77A-EA74-03BD9F5F1BDB}"/>
                </a:ext>
              </a:extLst>
            </p:cNvPr>
            <p:cNvSpPr txBox="1"/>
            <p:nvPr/>
          </p:nvSpPr>
          <p:spPr>
            <a:xfrm>
              <a:off x="4185121" y="3983206"/>
              <a:ext cx="1025125" cy="492412"/>
            </a:xfrm>
            <a:prstGeom prst="rect">
              <a:avLst/>
            </a:prstGeom>
            <a:noFill/>
            <a:ln>
              <a:noFill/>
            </a:ln>
          </p:spPr>
          <p:txBody>
            <a:bodyPr spcFirstLastPara="1" wrap="square" lIns="91425" tIns="91425" rIns="91425" bIns="91425" anchor="t" anchorCtr="0">
              <a:spAutoFit/>
            </a:bodyPr>
            <a:lstStyle/>
            <a:p>
              <a:pPr marL="0" marR="0" lvl="0" indent="0" algn="ctr" rtl="0">
                <a:lnSpc>
                  <a:spcPct val="100000"/>
                </a:lnSpc>
                <a:spcBef>
                  <a:spcPts val="0"/>
                </a:spcBef>
                <a:spcAft>
                  <a:spcPts val="0"/>
                </a:spcAft>
                <a:buClr>
                  <a:srgbClr val="000000"/>
                </a:buClr>
                <a:buSzPts val="900"/>
                <a:buFont typeface="Arial"/>
                <a:buNone/>
              </a:pPr>
              <a:r>
                <a:rPr lang="en" sz="1000" b="1">
                  <a:solidFill>
                    <a:schemeClr val="bg1"/>
                  </a:solidFill>
                  <a:latin typeface="Montserrat" panose="00000500000000000000" pitchFamily="2" charset="0"/>
                  <a:ea typeface="Calibri"/>
                  <a:cs typeface="Calibri"/>
                  <a:sym typeface="Calibri"/>
                </a:rPr>
                <a:t>Data Secure Sentinel</a:t>
              </a:r>
              <a:endParaRPr sz="1000" b="1" i="0" u="none" strike="noStrike" cap="none">
                <a:solidFill>
                  <a:schemeClr val="bg1"/>
                </a:solidFill>
                <a:latin typeface="Montserrat" panose="00000500000000000000" pitchFamily="2" charset="0"/>
                <a:ea typeface="Calibri"/>
                <a:cs typeface="Calibri"/>
                <a:sym typeface="Calibri"/>
              </a:endParaRPr>
            </a:p>
          </p:txBody>
        </p:sp>
      </p:grpSp>
      <p:sp>
        <p:nvSpPr>
          <p:cNvPr id="55" name="TextBox 54">
            <a:extLst>
              <a:ext uri="{FF2B5EF4-FFF2-40B4-BE49-F238E27FC236}">
                <a16:creationId xmlns:a16="http://schemas.microsoft.com/office/drawing/2014/main" id="{75169015-94A8-00F8-6833-F3DAF78B6CA0}"/>
              </a:ext>
            </a:extLst>
          </p:cNvPr>
          <p:cNvSpPr txBox="1"/>
          <p:nvPr/>
        </p:nvSpPr>
        <p:spPr>
          <a:xfrm>
            <a:off x="1235638" y="7035200"/>
            <a:ext cx="6257146" cy="2121680"/>
          </a:xfrm>
          <a:prstGeom prst="rect">
            <a:avLst/>
          </a:prstGeom>
          <a:noFill/>
          <a:ln w="12700">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08000" tIns="53340" rIns="53340" bIns="53340" numCol="1" spcCol="1270" anchor="t" anchorCtr="0">
            <a:noAutofit/>
          </a:bodyPr>
          <a:lstStyle/>
          <a:p>
            <a:pPr algn="ctr" defTabSz="622300">
              <a:lnSpc>
                <a:spcPct val="90000"/>
              </a:lnSpc>
              <a:spcBef>
                <a:spcPct val="0"/>
              </a:spcBef>
              <a:spcAft>
                <a:spcPct val="35000"/>
              </a:spcAft>
            </a:pPr>
            <a:r>
              <a:rPr lang="en-US" sz="2800" b="1" noProof="0">
                <a:solidFill>
                  <a:srgbClr val="6800FF"/>
                </a:solidFill>
                <a:latin typeface="Montserrat"/>
                <a:ea typeface="Roboto"/>
                <a:cs typeface="Roboto"/>
                <a:sym typeface="Roboto"/>
              </a:rPr>
              <a:t>Automated Data Governance No Matter Where Your Data Lives</a:t>
            </a:r>
          </a:p>
          <a:p>
            <a:pPr lvl="0" algn="l" defTabSz="622300">
              <a:spcAft>
                <a:spcPts val="1600"/>
              </a:spcAft>
            </a:pPr>
            <a:r>
              <a:rPr lang="en-US" sz="2000" kern="1200" noProof="0">
                <a:solidFill>
                  <a:schemeClr val="bg1"/>
                </a:solidFill>
                <a:latin typeface="Montserrat Medium"/>
              </a:rPr>
              <a:t>Gives you external control over every file and database record, so you never have to choose between cloud benefits and data control.</a:t>
            </a:r>
          </a:p>
        </p:txBody>
      </p:sp>
      <p:sp>
        <p:nvSpPr>
          <p:cNvPr id="94" name="Google Shape;454;p74">
            <a:extLst>
              <a:ext uri="{FF2B5EF4-FFF2-40B4-BE49-F238E27FC236}">
                <a16:creationId xmlns:a16="http://schemas.microsoft.com/office/drawing/2014/main" id="{90A7E953-5805-F817-C45B-8076FB89DE98}"/>
              </a:ext>
            </a:extLst>
          </p:cNvPr>
          <p:cNvSpPr/>
          <p:nvPr/>
        </p:nvSpPr>
        <p:spPr>
          <a:xfrm>
            <a:off x="12947782" y="5272240"/>
            <a:ext cx="646800" cy="646800"/>
          </a:xfrm>
          <a:prstGeom prst="ellipse">
            <a:avLst/>
          </a:prstGeom>
          <a:noFill/>
          <a:ln w="9525" cap="flat" cmpd="sng">
            <a:solidFill>
              <a:srgbClr val="0065FF"/>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Montserrat Light" panose="00000400000000000000" pitchFamily="2" charset="0"/>
            </a:endParaRPr>
          </a:p>
        </p:txBody>
      </p:sp>
      <p:sp>
        <p:nvSpPr>
          <p:cNvPr id="95" name="Google Shape;455;p74">
            <a:extLst>
              <a:ext uri="{FF2B5EF4-FFF2-40B4-BE49-F238E27FC236}">
                <a16:creationId xmlns:a16="http://schemas.microsoft.com/office/drawing/2014/main" id="{CC501516-5C6E-5D40-8602-E5138C56D95C}"/>
              </a:ext>
            </a:extLst>
          </p:cNvPr>
          <p:cNvSpPr/>
          <p:nvPr/>
        </p:nvSpPr>
        <p:spPr>
          <a:xfrm>
            <a:off x="9621757" y="4660336"/>
            <a:ext cx="1391400" cy="1707000"/>
          </a:xfrm>
          <a:prstGeom prst="roundRect">
            <a:avLst>
              <a:gd name="adj" fmla="val 8918"/>
            </a:avLst>
          </a:prstGeom>
          <a:solidFill>
            <a:schemeClr val="tx2">
              <a:lumMod val="20000"/>
              <a:lumOff val="80000"/>
            </a:schemeClr>
          </a:solidFill>
          <a:ln>
            <a:noFill/>
          </a:ln>
          <a:effectLst>
            <a:outerShdw blurRad="114300" dist="38100" dir="5400000" algn="bl" rotWithShape="0">
              <a:srgbClr val="000000">
                <a:alpha val="18000"/>
              </a:srgbClr>
            </a:outerShdw>
          </a:effectLst>
        </p:spPr>
        <p:txBody>
          <a:bodyPr spcFirstLastPara="1" wrap="square" lIns="91425" tIns="91425" rIns="91425" bIns="91425"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Montserrat Light" panose="00000400000000000000" pitchFamily="2" charset="0"/>
            </a:endParaRPr>
          </a:p>
        </p:txBody>
      </p:sp>
      <p:sp>
        <p:nvSpPr>
          <p:cNvPr id="96" name="Google Shape;456;p74">
            <a:extLst>
              <a:ext uri="{FF2B5EF4-FFF2-40B4-BE49-F238E27FC236}">
                <a16:creationId xmlns:a16="http://schemas.microsoft.com/office/drawing/2014/main" id="{63090165-D9D7-B5AE-1A77-9E8500D36B11}"/>
              </a:ext>
            </a:extLst>
          </p:cNvPr>
          <p:cNvSpPr/>
          <p:nvPr/>
        </p:nvSpPr>
        <p:spPr>
          <a:xfrm>
            <a:off x="10343753" y="5446582"/>
            <a:ext cx="191100" cy="191100"/>
          </a:xfrm>
          <a:prstGeom prst="ellipse">
            <a:avLst/>
          </a:prstGeom>
          <a:solidFill>
            <a:srgbClr val="00FF00"/>
          </a:solidFill>
          <a:ln>
            <a:noFill/>
          </a:ln>
        </p:spPr>
        <p:txBody>
          <a:bodyPr spcFirstLastPara="1" wrap="square" lIns="91425" tIns="91425" rIns="91425" bIns="91425"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Montserrat Light" panose="00000400000000000000" pitchFamily="2" charset="0"/>
            </a:endParaRPr>
          </a:p>
        </p:txBody>
      </p:sp>
      <p:sp>
        <p:nvSpPr>
          <p:cNvPr id="97" name="Google Shape;457;p74">
            <a:extLst>
              <a:ext uri="{FF2B5EF4-FFF2-40B4-BE49-F238E27FC236}">
                <a16:creationId xmlns:a16="http://schemas.microsoft.com/office/drawing/2014/main" id="{49DD08E1-FC33-849A-63A9-FED459CEBB90}"/>
              </a:ext>
            </a:extLst>
          </p:cNvPr>
          <p:cNvSpPr/>
          <p:nvPr/>
        </p:nvSpPr>
        <p:spPr>
          <a:xfrm>
            <a:off x="10373782" y="5475249"/>
            <a:ext cx="135300" cy="128700"/>
          </a:xfrm>
          <a:prstGeom prst="star5">
            <a:avLst>
              <a:gd name="adj" fmla="val 19098"/>
              <a:gd name="hf" fmla="val 105146"/>
              <a:gd name="vf" fmla="val 110557"/>
            </a:avLst>
          </a:prstGeom>
          <a:solidFill>
            <a:srgbClr val="FFFFFF"/>
          </a:solidFill>
          <a:ln>
            <a:noFill/>
          </a:ln>
        </p:spPr>
        <p:txBody>
          <a:bodyPr spcFirstLastPara="1" wrap="square" lIns="91425" tIns="91425" rIns="91425" bIns="91425"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Montserrat Light" panose="00000400000000000000" pitchFamily="2" charset="0"/>
            </a:endParaRPr>
          </a:p>
        </p:txBody>
      </p:sp>
      <p:sp>
        <p:nvSpPr>
          <p:cNvPr id="98" name="Google Shape;458;p74">
            <a:extLst>
              <a:ext uri="{FF2B5EF4-FFF2-40B4-BE49-F238E27FC236}">
                <a16:creationId xmlns:a16="http://schemas.microsoft.com/office/drawing/2014/main" id="{7383F26D-280A-CAED-2CF0-EBC1BB9BC56D}"/>
              </a:ext>
            </a:extLst>
          </p:cNvPr>
          <p:cNvSpPr/>
          <p:nvPr/>
        </p:nvSpPr>
        <p:spPr>
          <a:xfrm>
            <a:off x="12216107" y="4642186"/>
            <a:ext cx="2133000" cy="3133800"/>
          </a:xfrm>
          <a:prstGeom prst="roundRect">
            <a:avLst>
              <a:gd name="adj" fmla="val 8918"/>
            </a:avLst>
          </a:prstGeom>
          <a:solidFill>
            <a:schemeClr val="tx2">
              <a:lumMod val="20000"/>
              <a:lumOff val="80000"/>
            </a:schemeClr>
          </a:solidFill>
          <a:ln>
            <a:noFill/>
          </a:ln>
        </p:spPr>
        <p:txBody>
          <a:bodyPr spcFirstLastPara="1" wrap="square" lIns="91425" tIns="91425" rIns="91425" bIns="91425"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Montserrat Light" panose="00000400000000000000" pitchFamily="2" charset="0"/>
            </a:endParaRPr>
          </a:p>
        </p:txBody>
      </p:sp>
      <p:sp>
        <p:nvSpPr>
          <p:cNvPr id="99" name="Google Shape;459;p74">
            <a:extLst>
              <a:ext uri="{FF2B5EF4-FFF2-40B4-BE49-F238E27FC236}">
                <a16:creationId xmlns:a16="http://schemas.microsoft.com/office/drawing/2014/main" id="{DBA639EE-0CAE-DB71-D1F0-B0B85D7C0F51}"/>
              </a:ext>
            </a:extLst>
          </p:cNvPr>
          <p:cNvSpPr txBox="1"/>
          <p:nvPr/>
        </p:nvSpPr>
        <p:spPr>
          <a:xfrm>
            <a:off x="9543534" y="4678486"/>
            <a:ext cx="1560000" cy="353913"/>
          </a:xfrm>
          <a:prstGeom prst="rect">
            <a:avLst/>
          </a:prstGeom>
          <a:noFill/>
          <a:ln>
            <a:noFill/>
          </a:ln>
        </p:spPr>
        <p:txBody>
          <a:bodyPr spcFirstLastPara="1" wrap="square" lIns="91425" tIns="91425" rIns="91425" bIns="91425" anchor="t"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 sz="1100" b="1" i="0" u="none" strike="noStrike" kern="0" cap="none" spc="0" normalizeH="0" baseline="0" noProof="0">
                <a:ln>
                  <a:noFill/>
                </a:ln>
                <a:solidFill>
                  <a:schemeClr val="bg1"/>
                </a:solidFill>
                <a:effectLst/>
                <a:uLnTx/>
                <a:uFillTx/>
                <a:latin typeface="Montserrat" panose="00000500000000000000" pitchFamily="2" charset="0"/>
              </a:rPr>
              <a:t>Your Applications</a:t>
            </a:r>
            <a:endParaRPr kumimoji="0" sz="1100" b="1" i="0" u="none" strike="noStrike" kern="0" cap="none" spc="0" normalizeH="0" baseline="0" noProof="0">
              <a:ln>
                <a:noFill/>
              </a:ln>
              <a:solidFill>
                <a:schemeClr val="bg1"/>
              </a:solidFill>
              <a:effectLst/>
              <a:uLnTx/>
              <a:uFillTx/>
              <a:latin typeface="Montserrat" panose="00000500000000000000" pitchFamily="2" charset="0"/>
            </a:endParaRPr>
          </a:p>
        </p:txBody>
      </p:sp>
      <p:sp>
        <p:nvSpPr>
          <p:cNvPr id="100" name="Google Shape;460;p74">
            <a:extLst>
              <a:ext uri="{FF2B5EF4-FFF2-40B4-BE49-F238E27FC236}">
                <a16:creationId xmlns:a16="http://schemas.microsoft.com/office/drawing/2014/main" id="{53EBB866-952D-89C9-5335-D9134F6A81C9}"/>
              </a:ext>
            </a:extLst>
          </p:cNvPr>
          <p:cNvSpPr/>
          <p:nvPr/>
        </p:nvSpPr>
        <p:spPr>
          <a:xfrm>
            <a:off x="12705846" y="5050384"/>
            <a:ext cx="1153500" cy="1139400"/>
          </a:xfrm>
          <a:prstGeom prst="ellipse">
            <a:avLst/>
          </a:prstGeom>
          <a:gradFill>
            <a:gsLst>
              <a:gs pos="0">
                <a:srgbClr val="FFF2CC"/>
              </a:gs>
              <a:gs pos="100000">
                <a:srgbClr val="FFFF00"/>
              </a:gs>
            </a:gsLst>
            <a:lin ang="5400012" scaled="0"/>
          </a:gradFill>
          <a:ln>
            <a:noFill/>
          </a:ln>
          <a:effectLst>
            <a:outerShdw blurRad="114300" dist="38100" dir="5400000" algn="bl" rotWithShape="0">
              <a:srgbClr val="000000">
                <a:alpha val="18000"/>
              </a:srgbClr>
            </a:outerShdw>
          </a:effectLst>
        </p:spPr>
        <p:txBody>
          <a:bodyPr spcFirstLastPara="1" wrap="square" lIns="91425" tIns="91425" rIns="91425" bIns="91425"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 sz="800" b="0" i="0" u="none" strike="noStrike" kern="0" cap="none" spc="0" normalizeH="0" baseline="0" noProof="0">
                <a:ln>
                  <a:noFill/>
                </a:ln>
                <a:solidFill>
                  <a:sysClr val="windowText" lastClr="000000"/>
                </a:solidFill>
                <a:effectLst/>
                <a:uLnTx/>
                <a:uFillTx/>
                <a:latin typeface="Montserrat Light" panose="00000400000000000000" pitchFamily="2" charset="0"/>
              </a:rPr>
              <a:t>data</a:t>
            </a:r>
            <a:endParaRPr kumimoji="0" sz="800" b="0" i="0" u="none" strike="noStrike" kern="0" cap="none" spc="0" normalizeH="0" baseline="0" noProof="0">
              <a:ln>
                <a:noFill/>
              </a:ln>
              <a:solidFill>
                <a:sysClr val="windowText" lastClr="000000"/>
              </a:solidFill>
              <a:effectLst/>
              <a:uLnTx/>
              <a:uFillTx/>
              <a:latin typeface="Montserrat Light" panose="00000400000000000000" pitchFamily="2" charset="0"/>
            </a:endParaRPr>
          </a:p>
        </p:txBody>
      </p:sp>
      <p:sp>
        <p:nvSpPr>
          <p:cNvPr id="101" name="Google Shape;461;p74">
            <a:extLst>
              <a:ext uri="{FF2B5EF4-FFF2-40B4-BE49-F238E27FC236}">
                <a16:creationId xmlns:a16="http://schemas.microsoft.com/office/drawing/2014/main" id="{EF46318C-C97B-F940-0C21-70AEF731C238}"/>
              </a:ext>
            </a:extLst>
          </p:cNvPr>
          <p:cNvSpPr/>
          <p:nvPr/>
        </p:nvSpPr>
        <p:spPr>
          <a:xfrm>
            <a:off x="12799407" y="5138348"/>
            <a:ext cx="974100" cy="966600"/>
          </a:xfrm>
          <a:prstGeom prst="ellipse">
            <a:avLst/>
          </a:prstGeom>
          <a:gradFill>
            <a:gsLst>
              <a:gs pos="0">
                <a:srgbClr val="FFD42A"/>
              </a:gs>
              <a:gs pos="100000">
                <a:srgbClr val="FF9900"/>
              </a:gs>
            </a:gsLst>
            <a:lin ang="5400012" scaled="0"/>
          </a:gradFill>
          <a:ln>
            <a:noFill/>
          </a:ln>
          <a:effectLst>
            <a:outerShdw blurRad="114300" dist="38100" dir="5400000" algn="bl" rotWithShape="0">
              <a:srgbClr val="000000">
                <a:alpha val="18000"/>
              </a:srgbClr>
            </a:outerShdw>
          </a:effectLst>
        </p:spPr>
        <p:txBody>
          <a:bodyPr spcFirstLastPara="1" wrap="square" lIns="91425" tIns="91425" rIns="91425" bIns="91425"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 sz="800" b="0" i="0" u="none" strike="noStrike" kern="0" cap="none" spc="0" normalizeH="0" baseline="0" noProof="0">
                <a:ln>
                  <a:noFill/>
                </a:ln>
                <a:solidFill>
                  <a:sysClr val="windowText" lastClr="000000"/>
                </a:solidFill>
                <a:effectLst/>
                <a:uLnTx/>
                <a:uFillTx/>
                <a:latin typeface="Montserrat Light" panose="00000400000000000000" pitchFamily="2" charset="0"/>
              </a:rPr>
              <a:t>data</a:t>
            </a:r>
            <a:endParaRPr kumimoji="0" sz="800" b="0" i="0" u="none" strike="noStrike" kern="0" cap="none" spc="0" normalizeH="0" baseline="0" noProof="0">
              <a:ln>
                <a:noFill/>
              </a:ln>
              <a:solidFill>
                <a:sysClr val="windowText" lastClr="000000"/>
              </a:solidFill>
              <a:effectLst/>
              <a:uLnTx/>
              <a:uFillTx/>
              <a:latin typeface="Montserrat Light" panose="00000400000000000000" pitchFamily="2" charset="0"/>
            </a:endParaRPr>
          </a:p>
        </p:txBody>
      </p:sp>
      <p:cxnSp>
        <p:nvCxnSpPr>
          <p:cNvPr id="102" name="Google Shape;462;p74">
            <a:extLst>
              <a:ext uri="{FF2B5EF4-FFF2-40B4-BE49-F238E27FC236}">
                <a16:creationId xmlns:a16="http://schemas.microsoft.com/office/drawing/2014/main" id="{2DCB98AC-2769-A1E3-13A0-78ED464BA50C}"/>
              </a:ext>
            </a:extLst>
          </p:cNvPr>
          <p:cNvCxnSpPr/>
          <p:nvPr/>
        </p:nvCxnSpPr>
        <p:spPr>
          <a:xfrm rot="10800000">
            <a:off x="11004657" y="5636211"/>
            <a:ext cx="1246500" cy="7800"/>
          </a:xfrm>
          <a:prstGeom prst="straightConnector1">
            <a:avLst/>
          </a:prstGeom>
          <a:noFill/>
          <a:ln w="9525" cap="flat" cmpd="sng">
            <a:solidFill>
              <a:srgbClr val="00FF00"/>
            </a:solidFill>
            <a:prstDash val="lgDashDot"/>
            <a:round/>
            <a:headEnd type="none" w="med" len="med"/>
            <a:tailEnd type="diamond" w="med" len="med"/>
          </a:ln>
        </p:spPr>
      </p:cxnSp>
      <p:sp>
        <p:nvSpPr>
          <p:cNvPr id="103" name="Google Shape;463;p74">
            <a:extLst>
              <a:ext uri="{FF2B5EF4-FFF2-40B4-BE49-F238E27FC236}">
                <a16:creationId xmlns:a16="http://schemas.microsoft.com/office/drawing/2014/main" id="{0F7279A6-F9D6-3D12-B850-4FF94EB89E70}"/>
              </a:ext>
            </a:extLst>
          </p:cNvPr>
          <p:cNvSpPr txBox="1"/>
          <p:nvPr/>
        </p:nvSpPr>
        <p:spPr>
          <a:xfrm>
            <a:off x="12502556" y="4660336"/>
            <a:ext cx="1560000" cy="353913"/>
          </a:xfrm>
          <a:prstGeom prst="rect">
            <a:avLst/>
          </a:prstGeom>
          <a:noFill/>
          <a:ln>
            <a:noFill/>
          </a:ln>
        </p:spPr>
        <p:txBody>
          <a:bodyPr spcFirstLastPara="1" wrap="square" lIns="91425" tIns="91425" rIns="91425" bIns="91425" anchor="t"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 sz="1100" b="1" i="0" u="none" strike="noStrike" kern="0" cap="none" spc="0" normalizeH="0" baseline="0" noProof="0">
                <a:ln>
                  <a:noFill/>
                </a:ln>
                <a:solidFill>
                  <a:schemeClr val="bg1"/>
                </a:solidFill>
                <a:effectLst/>
                <a:uLnTx/>
                <a:uFillTx/>
                <a:latin typeface="Montserrat" panose="00000500000000000000" pitchFamily="2" charset="0"/>
              </a:rPr>
              <a:t>Your Environment</a:t>
            </a:r>
            <a:endParaRPr kumimoji="0" sz="1100" b="1" i="0" u="none" strike="noStrike" kern="0" cap="none" spc="0" normalizeH="0" baseline="0" noProof="0">
              <a:ln>
                <a:noFill/>
              </a:ln>
              <a:solidFill>
                <a:schemeClr val="bg1"/>
              </a:solidFill>
              <a:effectLst/>
              <a:uLnTx/>
              <a:uFillTx/>
              <a:latin typeface="Montserrat" panose="00000500000000000000" pitchFamily="2" charset="0"/>
            </a:endParaRPr>
          </a:p>
        </p:txBody>
      </p:sp>
      <p:sp>
        <p:nvSpPr>
          <p:cNvPr id="104" name="Google Shape;466;p74">
            <a:extLst>
              <a:ext uri="{FF2B5EF4-FFF2-40B4-BE49-F238E27FC236}">
                <a16:creationId xmlns:a16="http://schemas.microsoft.com/office/drawing/2014/main" id="{ACC909CE-ACC4-BFF0-A595-2E1C80D21A4D}"/>
              </a:ext>
            </a:extLst>
          </p:cNvPr>
          <p:cNvSpPr/>
          <p:nvPr/>
        </p:nvSpPr>
        <p:spPr>
          <a:xfrm>
            <a:off x="12889909" y="5222027"/>
            <a:ext cx="786900" cy="793200"/>
          </a:xfrm>
          <a:prstGeom prst="ellipse">
            <a:avLst/>
          </a:prstGeom>
          <a:gradFill>
            <a:gsLst>
              <a:gs pos="0">
                <a:srgbClr val="B8F65D"/>
              </a:gs>
              <a:gs pos="100000">
                <a:srgbClr val="83FF83"/>
              </a:gs>
            </a:gsLst>
            <a:lin ang="5400012" scaled="0"/>
          </a:gradFill>
          <a:ln>
            <a:noFill/>
          </a:ln>
          <a:effectLst>
            <a:outerShdw blurRad="114300" dist="38100" dir="5400000" algn="bl" rotWithShape="0">
              <a:srgbClr val="000000">
                <a:alpha val="18000"/>
              </a:srgbClr>
            </a:outerShdw>
          </a:effectLst>
        </p:spPr>
        <p:txBody>
          <a:bodyPr spcFirstLastPara="1" wrap="square" lIns="91425" tIns="91425" rIns="91425" bIns="91425"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 sz="800" b="0" i="0" u="none" strike="noStrike" kern="0" cap="none" spc="0" normalizeH="0" baseline="0" noProof="0">
                <a:ln>
                  <a:noFill/>
                </a:ln>
                <a:solidFill>
                  <a:sysClr val="windowText" lastClr="000000"/>
                </a:solidFill>
                <a:effectLst/>
                <a:uLnTx/>
                <a:uFillTx/>
                <a:latin typeface="Montserrat Light" panose="00000400000000000000" pitchFamily="2" charset="0"/>
              </a:rPr>
              <a:t>data</a:t>
            </a:r>
            <a:endParaRPr kumimoji="0" sz="800" b="0" i="0" u="none" strike="noStrike" kern="0" cap="none" spc="0" normalizeH="0" baseline="0" noProof="0">
              <a:ln>
                <a:noFill/>
              </a:ln>
              <a:solidFill>
                <a:sysClr val="windowText" lastClr="000000"/>
              </a:solidFill>
              <a:effectLst/>
              <a:uLnTx/>
              <a:uFillTx/>
              <a:latin typeface="Montserrat Light" panose="00000400000000000000" pitchFamily="2" charset="0"/>
            </a:endParaRPr>
          </a:p>
        </p:txBody>
      </p:sp>
      <p:sp>
        <p:nvSpPr>
          <p:cNvPr id="105" name="Google Shape;467;p74">
            <a:extLst>
              <a:ext uri="{FF2B5EF4-FFF2-40B4-BE49-F238E27FC236}">
                <a16:creationId xmlns:a16="http://schemas.microsoft.com/office/drawing/2014/main" id="{8E1C06ED-2F95-D4A3-D32A-805624A82A9D}"/>
              </a:ext>
            </a:extLst>
          </p:cNvPr>
          <p:cNvSpPr/>
          <p:nvPr/>
        </p:nvSpPr>
        <p:spPr>
          <a:xfrm>
            <a:off x="12996807" y="5332411"/>
            <a:ext cx="571500" cy="555000"/>
          </a:xfrm>
          <a:prstGeom prst="ellipse">
            <a:avLst/>
          </a:prstGeom>
          <a:solidFill>
            <a:srgbClr val="FFFFFF"/>
          </a:solidFill>
          <a:ln>
            <a:noFill/>
          </a:ln>
          <a:effectLst>
            <a:outerShdw blurRad="114300" dist="38100" dir="5400000" algn="bl" rotWithShape="0">
              <a:srgbClr val="000000">
                <a:alpha val="16000"/>
              </a:srgbClr>
            </a:outerShdw>
          </a:effectLst>
        </p:spPr>
        <p:txBody>
          <a:bodyPr spcFirstLastPara="1" wrap="square" lIns="91425" tIns="91425" rIns="91425" bIns="91425"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800" b="0" i="0" u="none" strike="noStrike" kern="0" cap="none" spc="0" normalizeH="0" baseline="0" noProof="0">
              <a:ln>
                <a:noFill/>
              </a:ln>
              <a:solidFill>
                <a:sysClr val="windowText" lastClr="000000"/>
              </a:solidFill>
              <a:effectLst/>
              <a:uLnTx/>
              <a:uFillTx/>
              <a:latin typeface="Montserrat Light" panose="00000400000000000000" pitchFamily="2" charset="0"/>
            </a:endParaRPr>
          </a:p>
        </p:txBody>
      </p:sp>
      <p:sp>
        <p:nvSpPr>
          <p:cNvPr id="106" name="Google Shape;468;p74">
            <a:extLst>
              <a:ext uri="{FF2B5EF4-FFF2-40B4-BE49-F238E27FC236}">
                <a16:creationId xmlns:a16="http://schemas.microsoft.com/office/drawing/2014/main" id="{B00A6C1F-B728-DCA0-92EE-5BFEF5902C62}"/>
              </a:ext>
            </a:extLst>
          </p:cNvPr>
          <p:cNvSpPr/>
          <p:nvPr/>
        </p:nvSpPr>
        <p:spPr>
          <a:xfrm>
            <a:off x="12415757" y="6367311"/>
            <a:ext cx="786900" cy="1129500"/>
          </a:xfrm>
          <a:prstGeom prst="roundRect">
            <a:avLst>
              <a:gd name="adj" fmla="val 10357"/>
            </a:avLst>
          </a:prstGeom>
          <a:solidFill>
            <a:srgbClr val="FFFFFF"/>
          </a:solidFill>
          <a:ln w="9525" cap="flat" cmpd="sng">
            <a:solidFill>
              <a:srgbClr val="00FF00"/>
            </a:solidFill>
            <a:prstDash val="solid"/>
            <a:round/>
            <a:headEnd type="none" w="sm" len="sm"/>
            <a:tailEnd type="none" w="sm" len="sm"/>
          </a:ln>
          <a:effectLst>
            <a:outerShdw blurRad="114300" dist="38100" dir="5400000" algn="bl" rotWithShape="0">
              <a:srgbClr val="000000">
                <a:alpha val="16000"/>
              </a:srgbClr>
            </a:outerShdw>
          </a:effectLst>
        </p:spPr>
        <p:txBody>
          <a:bodyPr spcFirstLastPara="1" wrap="square" lIns="34275" tIns="34275" rIns="34275" bIns="34275" anchor="ctr" anchorCtr="0">
            <a:noAutofit/>
          </a:bodyPr>
          <a:lstStyle/>
          <a:p>
            <a:pPr marL="0" marR="0" lvl="0" indent="0" algn="ctr" defTabSz="914400" eaLnBrk="1" fontAlgn="auto" latinLnBrk="0" hangingPunct="1">
              <a:lnSpc>
                <a:spcPct val="100000"/>
              </a:lnSpc>
              <a:spcBef>
                <a:spcPts val="0"/>
              </a:spcBef>
              <a:spcAft>
                <a:spcPts val="0"/>
              </a:spcAft>
              <a:buClrTx/>
              <a:buSzPts val="1100"/>
              <a:buFontTx/>
              <a:buNone/>
              <a:tabLst/>
              <a:defRPr/>
            </a:pPr>
            <a:endParaRPr kumimoji="0" sz="800" b="0" i="0" u="none" strike="noStrike" kern="0" cap="none" spc="0" normalizeH="0" baseline="0" noProof="0">
              <a:ln>
                <a:noFill/>
              </a:ln>
              <a:solidFill>
                <a:sysClr val="windowText" lastClr="000000"/>
              </a:solidFill>
              <a:effectLst/>
              <a:uLnTx/>
              <a:uFillTx/>
              <a:latin typeface="Montserrat Light" panose="00000400000000000000" pitchFamily="2" charset="0"/>
            </a:endParaRPr>
          </a:p>
        </p:txBody>
      </p:sp>
      <p:sp>
        <p:nvSpPr>
          <p:cNvPr id="107" name="Google Shape;469;p74">
            <a:extLst>
              <a:ext uri="{FF2B5EF4-FFF2-40B4-BE49-F238E27FC236}">
                <a16:creationId xmlns:a16="http://schemas.microsoft.com/office/drawing/2014/main" id="{6778428D-FDC2-3D4B-D02E-D70C16D5379E}"/>
              </a:ext>
            </a:extLst>
          </p:cNvPr>
          <p:cNvSpPr txBox="1"/>
          <p:nvPr/>
        </p:nvSpPr>
        <p:spPr>
          <a:xfrm>
            <a:off x="12309707" y="6367311"/>
            <a:ext cx="999000" cy="461700"/>
          </a:xfrm>
          <a:prstGeom prst="rect">
            <a:avLst/>
          </a:prstGeom>
          <a:noFill/>
          <a:ln>
            <a:noFill/>
          </a:ln>
        </p:spPr>
        <p:txBody>
          <a:bodyPr spcFirstLastPara="1" wrap="square" lIns="91425" tIns="91425" rIns="91425" bIns="91425" anchor="t"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 sz="900" b="0" i="0" u="none" strike="noStrike" kern="0" cap="none" spc="0" normalizeH="0" baseline="0" noProof="0">
                <a:ln>
                  <a:noFill/>
                </a:ln>
                <a:solidFill>
                  <a:sysClr val="windowText" lastClr="000000"/>
                </a:solidFill>
                <a:effectLst/>
                <a:uLnTx/>
                <a:uFillTx/>
                <a:latin typeface="Montserrat Light" panose="00000400000000000000" pitchFamily="2" charset="0"/>
              </a:rPr>
              <a:t>Authorized Group</a:t>
            </a:r>
            <a:endParaRPr kumimoji="0" sz="900" b="0" i="0" u="none" strike="noStrike" kern="0" cap="none" spc="0" normalizeH="0" baseline="0" noProof="0">
              <a:ln>
                <a:noFill/>
              </a:ln>
              <a:solidFill>
                <a:sysClr val="windowText" lastClr="000000"/>
              </a:solidFill>
              <a:effectLst/>
              <a:uLnTx/>
              <a:uFillTx/>
              <a:latin typeface="Montserrat Light" panose="00000400000000000000" pitchFamily="2" charset="0"/>
            </a:endParaRPr>
          </a:p>
        </p:txBody>
      </p:sp>
      <p:sp>
        <p:nvSpPr>
          <p:cNvPr id="108" name="Google Shape;470;p74">
            <a:extLst>
              <a:ext uri="{FF2B5EF4-FFF2-40B4-BE49-F238E27FC236}">
                <a16:creationId xmlns:a16="http://schemas.microsoft.com/office/drawing/2014/main" id="{A13DFB7A-423A-D06C-AC42-8C8C411299F4}"/>
              </a:ext>
            </a:extLst>
          </p:cNvPr>
          <p:cNvSpPr/>
          <p:nvPr/>
        </p:nvSpPr>
        <p:spPr>
          <a:xfrm>
            <a:off x="13369974" y="6377205"/>
            <a:ext cx="786900" cy="1129500"/>
          </a:xfrm>
          <a:prstGeom prst="roundRect">
            <a:avLst>
              <a:gd name="adj" fmla="val 10357"/>
            </a:avLst>
          </a:prstGeom>
          <a:solidFill>
            <a:srgbClr val="FFFFFF"/>
          </a:solidFill>
          <a:ln w="9525" cap="flat" cmpd="sng">
            <a:solidFill>
              <a:srgbClr val="FF0000"/>
            </a:solidFill>
            <a:prstDash val="solid"/>
            <a:round/>
            <a:headEnd type="none" w="sm" len="sm"/>
            <a:tailEnd type="none" w="sm" len="sm"/>
          </a:ln>
          <a:effectLst>
            <a:outerShdw blurRad="114300" dist="38100" dir="5400000" algn="bl" rotWithShape="0">
              <a:srgbClr val="000000">
                <a:alpha val="16000"/>
              </a:srgbClr>
            </a:outerShdw>
          </a:effectLst>
        </p:spPr>
        <p:txBody>
          <a:bodyPr spcFirstLastPara="1" wrap="square" lIns="34275" tIns="34275" rIns="34275" bIns="34275" anchor="ctr" anchorCtr="0">
            <a:noAutofit/>
          </a:bodyPr>
          <a:lstStyle/>
          <a:p>
            <a:pPr marL="0" marR="0" lvl="0" indent="0" algn="ctr" defTabSz="914400" eaLnBrk="1" fontAlgn="auto" latinLnBrk="0" hangingPunct="1">
              <a:lnSpc>
                <a:spcPct val="100000"/>
              </a:lnSpc>
              <a:spcBef>
                <a:spcPts val="0"/>
              </a:spcBef>
              <a:spcAft>
                <a:spcPts val="0"/>
              </a:spcAft>
              <a:buClrTx/>
              <a:buSzPts val="1100"/>
              <a:buFontTx/>
              <a:buNone/>
              <a:tabLst/>
              <a:defRPr/>
            </a:pPr>
            <a:endParaRPr kumimoji="0" sz="800" b="0" i="0" u="none" strike="noStrike" kern="0" cap="none" spc="0" normalizeH="0" baseline="0" noProof="0">
              <a:ln>
                <a:noFill/>
              </a:ln>
              <a:solidFill>
                <a:sysClr val="windowText" lastClr="000000"/>
              </a:solidFill>
              <a:effectLst/>
              <a:uLnTx/>
              <a:uFillTx/>
              <a:latin typeface="Montserrat Light" panose="00000400000000000000" pitchFamily="2" charset="0"/>
            </a:endParaRPr>
          </a:p>
        </p:txBody>
      </p:sp>
      <p:sp>
        <p:nvSpPr>
          <p:cNvPr id="109" name="Google Shape;471;p74">
            <a:extLst>
              <a:ext uri="{FF2B5EF4-FFF2-40B4-BE49-F238E27FC236}">
                <a16:creationId xmlns:a16="http://schemas.microsoft.com/office/drawing/2014/main" id="{895ACBE3-5812-9C93-581E-0D54DC4056AB}"/>
              </a:ext>
            </a:extLst>
          </p:cNvPr>
          <p:cNvSpPr txBox="1"/>
          <p:nvPr/>
        </p:nvSpPr>
        <p:spPr>
          <a:xfrm>
            <a:off x="13363224" y="6375786"/>
            <a:ext cx="786900" cy="461700"/>
          </a:xfrm>
          <a:prstGeom prst="rect">
            <a:avLst/>
          </a:prstGeom>
          <a:noFill/>
          <a:ln>
            <a:noFill/>
          </a:ln>
        </p:spPr>
        <p:txBody>
          <a:bodyPr spcFirstLastPara="1" wrap="square" lIns="91425" tIns="91425" rIns="91425" bIns="91425" anchor="t"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 sz="900" b="0" i="0" u="none" strike="noStrike" kern="0" cap="none" spc="0" normalizeH="0" baseline="0" noProof="0">
                <a:ln>
                  <a:noFill/>
                </a:ln>
                <a:solidFill>
                  <a:sysClr val="windowText" lastClr="000000"/>
                </a:solidFill>
                <a:effectLst/>
                <a:uLnTx/>
                <a:uFillTx/>
                <a:latin typeface="Montserrat Light" panose="00000400000000000000" pitchFamily="2" charset="0"/>
              </a:rPr>
              <a:t>Insider Threat</a:t>
            </a:r>
            <a:endParaRPr kumimoji="0" sz="900" b="0" i="0" u="none" strike="noStrike" kern="0" cap="none" spc="0" normalizeH="0" baseline="0" noProof="0">
              <a:ln>
                <a:noFill/>
              </a:ln>
              <a:solidFill>
                <a:sysClr val="windowText" lastClr="000000"/>
              </a:solidFill>
              <a:effectLst/>
              <a:uLnTx/>
              <a:uFillTx/>
              <a:latin typeface="Montserrat Light" panose="00000400000000000000" pitchFamily="2" charset="0"/>
            </a:endParaRPr>
          </a:p>
        </p:txBody>
      </p:sp>
      <p:pic>
        <p:nvPicPr>
          <p:cNvPr id="110" name="Google Shape;472;p74">
            <a:extLst>
              <a:ext uri="{FF2B5EF4-FFF2-40B4-BE49-F238E27FC236}">
                <a16:creationId xmlns:a16="http://schemas.microsoft.com/office/drawing/2014/main" id="{A2CBD3F7-58FF-CE2E-98DB-59743A70B4EC}"/>
              </a:ext>
            </a:extLst>
          </p:cNvPr>
          <p:cNvPicPr preferRelativeResize="0"/>
          <p:nvPr/>
        </p:nvPicPr>
        <p:blipFill rotWithShape="1">
          <a:blip r:embed="rId8">
            <a:alphaModFix/>
          </a:blip>
          <a:srcRect b="14405"/>
          <a:stretch/>
        </p:blipFill>
        <p:spPr>
          <a:xfrm>
            <a:off x="12511292" y="6828960"/>
            <a:ext cx="573001" cy="490443"/>
          </a:xfrm>
          <a:prstGeom prst="rect">
            <a:avLst/>
          </a:prstGeom>
          <a:noFill/>
          <a:ln>
            <a:noFill/>
          </a:ln>
        </p:spPr>
      </p:pic>
      <p:pic>
        <p:nvPicPr>
          <p:cNvPr id="111" name="Google Shape;473;p74">
            <a:extLst>
              <a:ext uri="{FF2B5EF4-FFF2-40B4-BE49-F238E27FC236}">
                <a16:creationId xmlns:a16="http://schemas.microsoft.com/office/drawing/2014/main" id="{83B19AE8-2BF5-19E7-EB2E-AE0787C591A7}"/>
              </a:ext>
            </a:extLst>
          </p:cNvPr>
          <p:cNvPicPr preferRelativeResize="0"/>
          <p:nvPr/>
        </p:nvPicPr>
        <p:blipFill rotWithShape="1">
          <a:blip r:embed="rId9">
            <a:alphaModFix/>
          </a:blip>
          <a:srcRect b="13457"/>
          <a:stretch/>
        </p:blipFill>
        <p:spPr>
          <a:xfrm>
            <a:off x="13488849" y="6808411"/>
            <a:ext cx="571499" cy="494613"/>
          </a:xfrm>
          <a:prstGeom prst="rect">
            <a:avLst/>
          </a:prstGeom>
          <a:noFill/>
          <a:ln>
            <a:noFill/>
          </a:ln>
        </p:spPr>
      </p:pic>
      <p:pic>
        <p:nvPicPr>
          <p:cNvPr id="112" name="Google Shape;474;p74">
            <a:extLst>
              <a:ext uri="{FF2B5EF4-FFF2-40B4-BE49-F238E27FC236}">
                <a16:creationId xmlns:a16="http://schemas.microsoft.com/office/drawing/2014/main" id="{ADFBAE47-7EB5-8998-CAFC-657277E49712}"/>
              </a:ext>
            </a:extLst>
          </p:cNvPr>
          <p:cNvPicPr preferRelativeResize="0"/>
          <p:nvPr/>
        </p:nvPicPr>
        <p:blipFill>
          <a:blip r:embed="rId2">
            <a:alphaModFix/>
          </a:blip>
          <a:stretch>
            <a:fillRect/>
          </a:stretch>
        </p:blipFill>
        <p:spPr>
          <a:xfrm>
            <a:off x="13041013" y="5355782"/>
            <a:ext cx="462358" cy="462358"/>
          </a:xfrm>
          <a:prstGeom prst="rect">
            <a:avLst/>
          </a:prstGeom>
          <a:noFill/>
          <a:ln>
            <a:noFill/>
          </a:ln>
        </p:spPr>
      </p:pic>
      <p:pic>
        <p:nvPicPr>
          <p:cNvPr id="113" name="Google Shape;475;p74">
            <a:extLst>
              <a:ext uri="{FF2B5EF4-FFF2-40B4-BE49-F238E27FC236}">
                <a16:creationId xmlns:a16="http://schemas.microsoft.com/office/drawing/2014/main" id="{39A31741-E623-18EF-AD1B-490F9B105B2C}"/>
              </a:ext>
            </a:extLst>
          </p:cNvPr>
          <p:cNvPicPr preferRelativeResize="0"/>
          <p:nvPr/>
        </p:nvPicPr>
        <p:blipFill rotWithShape="1">
          <a:blip r:embed="rId10">
            <a:alphaModFix/>
          </a:blip>
          <a:srcRect b="17668"/>
          <a:stretch/>
        </p:blipFill>
        <p:spPr>
          <a:xfrm>
            <a:off x="9879921" y="5217499"/>
            <a:ext cx="886200" cy="729599"/>
          </a:xfrm>
          <a:prstGeom prst="rect">
            <a:avLst/>
          </a:prstGeom>
          <a:noFill/>
          <a:ln>
            <a:noFill/>
          </a:ln>
        </p:spPr>
      </p:pic>
      <p:sp>
        <p:nvSpPr>
          <p:cNvPr id="114" name="Google Shape;476;p74">
            <a:extLst>
              <a:ext uri="{FF2B5EF4-FFF2-40B4-BE49-F238E27FC236}">
                <a16:creationId xmlns:a16="http://schemas.microsoft.com/office/drawing/2014/main" id="{77D4A126-61DA-2C2B-819E-CF387C051EB1}"/>
              </a:ext>
            </a:extLst>
          </p:cNvPr>
          <p:cNvSpPr/>
          <p:nvPr/>
        </p:nvSpPr>
        <p:spPr>
          <a:xfrm>
            <a:off x="15461682" y="4678036"/>
            <a:ext cx="2133000" cy="1529100"/>
          </a:xfrm>
          <a:prstGeom prst="roundRect">
            <a:avLst>
              <a:gd name="adj" fmla="val 8918"/>
            </a:avLst>
          </a:prstGeom>
          <a:solidFill>
            <a:srgbClr val="FF0000"/>
          </a:solidFill>
          <a:ln>
            <a:noFill/>
          </a:ln>
          <a:effectLst>
            <a:outerShdw blurRad="128588" dist="38100" dir="5400000" algn="bl" rotWithShape="0">
              <a:srgbClr val="000000">
                <a:alpha val="18000"/>
              </a:srgbClr>
            </a:outerShdw>
          </a:effectLst>
        </p:spPr>
        <p:txBody>
          <a:bodyPr spcFirstLastPara="1" wrap="square" lIns="91425" tIns="91425" rIns="91425" bIns="91425"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Montserrat Light" panose="00000400000000000000" pitchFamily="2" charset="0"/>
            </a:endParaRPr>
          </a:p>
        </p:txBody>
      </p:sp>
      <p:sp>
        <p:nvSpPr>
          <p:cNvPr id="115" name="Google Shape;477;p74">
            <a:extLst>
              <a:ext uri="{FF2B5EF4-FFF2-40B4-BE49-F238E27FC236}">
                <a16:creationId xmlns:a16="http://schemas.microsoft.com/office/drawing/2014/main" id="{ED2410D0-8445-61D5-A478-0B6941F9C2A8}"/>
              </a:ext>
            </a:extLst>
          </p:cNvPr>
          <p:cNvSpPr/>
          <p:nvPr/>
        </p:nvSpPr>
        <p:spPr>
          <a:xfrm>
            <a:off x="15661732" y="4880074"/>
            <a:ext cx="786900" cy="1129500"/>
          </a:xfrm>
          <a:prstGeom prst="roundRect">
            <a:avLst>
              <a:gd name="adj" fmla="val 10357"/>
            </a:avLst>
          </a:prstGeom>
          <a:solidFill>
            <a:srgbClr val="FFFFFF"/>
          </a:solidFill>
          <a:ln w="9525" cap="flat" cmpd="sng">
            <a:solidFill>
              <a:srgbClr val="980000"/>
            </a:solidFill>
            <a:prstDash val="solid"/>
            <a:round/>
            <a:headEnd type="none" w="sm" len="sm"/>
            <a:tailEnd type="none" w="sm" len="sm"/>
          </a:ln>
          <a:effectLst>
            <a:outerShdw blurRad="114300" dist="38100" dir="5400000" algn="bl" rotWithShape="0">
              <a:srgbClr val="000000">
                <a:alpha val="18000"/>
              </a:srgbClr>
            </a:outerShdw>
          </a:effectLst>
        </p:spPr>
        <p:txBody>
          <a:bodyPr spcFirstLastPara="1" wrap="square" lIns="34275" tIns="34275" rIns="34275" bIns="34275" anchor="ctr" anchorCtr="0">
            <a:noAutofit/>
          </a:bodyPr>
          <a:lstStyle/>
          <a:p>
            <a:pPr marL="0" marR="0" lvl="0" indent="0" algn="ctr" defTabSz="914400" eaLnBrk="1" fontAlgn="auto" latinLnBrk="0" hangingPunct="1">
              <a:lnSpc>
                <a:spcPct val="100000"/>
              </a:lnSpc>
              <a:spcBef>
                <a:spcPts val="0"/>
              </a:spcBef>
              <a:spcAft>
                <a:spcPts val="0"/>
              </a:spcAft>
              <a:buClrTx/>
              <a:buSzPts val="1100"/>
              <a:buFontTx/>
              <a:buNone/>
              <a:tabLst/>
              <a:defRPr/>
            </a:pPr>
            <a:endParaRPr kumimoji="0" sz="800" b="0" i="0" u="none" strike="noStrike" kern="0" cap="none" spc="0" normalizeH="0" baseline="0" noProof="0">
              <a:ln>
                <a:noFill/>
              </a:ln>
              <a:solidFill>
                <a:sysClr val="windowText" lastClr="000000"/>
              </a:solidFill>
              <a:effectLst/>
              <a:uLnTx/>
              <a:uFillTx/>
              <a:latin typeface="Montserrat Light" panose="00000400000000000000" pitchFamily="2" charset="0"/>
            </a:endParaRPr>
          </a:p>
        </p:txBody>
      </p:sp>
      <p:sp>
        <p:nvSpPr>
          <p:cNvPr id="116" name="Google Shape;478;p74">
            <a:extLst>
              <a:ext uri="{FF2B5EF4-FFF2-40B4-BE49-F238E27FC236}">
                <a16:creationId xmlns:a16="http://schemas.microsoft.com/office/drawing/2014/main" id="{B00C1787-23B3-A02E-BD72-7B1A980133A5}"/>
              </a:ext>
            </a:extLst>
          </p:cNvPr>
          <p:cNvSpPr txBox="1"/>
          <p:nvPr/>
        </p:nvSpPr>
        <p:spPr>
          <a:xfrm>
            <a:off x="15555682" y="4880074"/>
            <a:ext cx="999000" cy="323100"/>
          </a:xfrm>
          <a:prstGeom prst="rect">
            <a:avLst/>
          </a:prstGeom>
          <a:noFill/>
          <a:ln>
            <a:noFill/>
          </a:ln>
        </p:spPr>
        <p:txBody>
          <a:bodyPr spcFirstLastPara="1" wrap="square" lIns="91425" tIns="91425" rIns="91425" bIns="91425" anchor="t"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 sz="900" b="0" i="0" u="none" strike="noStrike" kern="0" cap="none" spc="0" normalizeH="0" baseline="0" noProof="0">
                <a:ln>
                  <a:noFill/>
                </a:ln>
                <a:solidFill>
                  <a:sysClr val="windowText" lastClr="000000"/>
                </a:solidFill>
                <a:effectLst/>
                <a:uLnTx/>
                <a:uFillTx/>
                <a:latin typeface="Montserrat Light" panose="00000400000000000000" pitchFamily="2" charset="0"/>
              </a:rPr>
              <a:t>Bad Actor</a:t>
            </a:r>
            <a:endParaRPr kumimoji="0" sz="900" b="0" i="0" u="none" strike="noStrike" kern="0" cap="none" spc="0" normalizeH="0" baseline="0" noProof="0">
              <a:ln>
                <a:noFill/>
              </a:ln>
              <a:solidFill>
                <a:sysClr val="windowText" lastClr="000000"/>
              </a:solidFill>
              <a:effectLst/>
              <a:uLnTx/>
              <a:uFillTx/>
              <a:latin typeface="Montserrat Light" panose="00000400000000000000" pitchFamily="2" charset="0"/>
            </a:endParaRPr>
          </a:p>
        </p:txBody>
      </p:sp>
      <p:sp>
        <p:nvSpPr>
          <p:cNvPr id="117" name="Google Shape;479;p74">
            <a:extLst>
              <a:ext uri="{FF2B5EF4-FFF2-40B4-BE49-F238E27FC236}">
                <a16:creationId xmlns:a16="http://schemas.microsoft.com/office/drawing/2014/main" id="{6BF1F88D-1AA8-6EF0-818B-EE65328583F2}"/>
              </a:ext>
            </a:extLst>
          </p:cNvPr>
          <p:cNvSpPr/>
          <p:nvPr/>
        </p:nvSpPr>
        <p:spPr>
          <a:xfrm>
            <a:off x="16615949" y="4889967"/>
            <a:ext cx="786900" cy="1129500"/>
          </a:xfrm>
          <a:prstGeom prst="roundRect">
            <a:avLst>
              <a:gd name="adj" fmla="val 10357"/>
            </a:avLst>
          </a:prstGeom>
          <a:solidFill>
            <a:srgbClr val="FFFFFF"/>
          </a:solidFill>
          <a:ln w="9525" cap="flat" cmpd="sng">
            <a:solidFill>
              <a:srgbClr val="980000"/>
            </a:solidFill>
            <a:prstDash val="solid"/>
            <a:round/>
            <a:headEnd type="none" w="sm" len="sm"/>
            <a:tailEnd type="none" w="sm" len="sm"/>
          </a:ln>
          <a:effectLst>
            <a:outerShdw blurRad="114300" dist="38100" dir="5400000" algn="bl" rotWithShape="0">
              <a:srgbClr val="000000">
                <a:alpha val="18000"/>
              </a:srgbClr>
            </a:outerShdw>
          </a:effectLst>
        </p:spPr>
        <p:txBody>
          <a:bodyPr spcFirstLastPara="1" wrap="square" lIns="34275" tIns="34275" rIns="34275" bIns="34275" anchor="ctr" anchorCtr="0">
            <a:noAutofit/>
          </a:bodyPr>
          <a:lstStyle/>
          <a:p>
            <a:pPr marL="0" marR="0" lvl="0" indent="0" algn="ctr" defTabSz="914400" eaLnBrk="1" fontAlgn="auto" latinLnBrk="0" hangingPunct="1">
              <a:lnSpc>
                <a:spcPct val="100000"/>
              </a:lnSpc>
              <a:spcBef>
                <a:spcPts val="0"/>
              </a:spcBef>
              <a:spcAft>
                <a:spcPts val="0"/>
              </a:spcAft>
              <a:buClrTx/>
              <a:buSzPts val="1100"/>
              <a:buFontTx/>
              <a:buNone/>
              <a:tabLst/>
              <a:defRPr/>
            </a:pPr>
            <a:endParaRPr kumimoji="0" sz="800" b="0" i="0" u="none" strike="noStrike" kern="0" cap="none" spc="0" normalizeH="0" baseline="0" noProof="0">
              <a:ln>
                <a:noFill/>
              </a:ln>
              <a:solidFill>
                <a:sysClr val="windowText" lastClr="000000"/>
              </a:solidFill>
              <a:effectLst/>
              <a:uLnTx/>
              <a:uFillTx/>
              <a:latin typeface="Montserrat Light" panose="00000400000000000000" pitchFamily="2" charset="0"/>
            </a:endParaRPr>
          </a:p>
        </p:txBody>
      </p:sp>
      <p:sp>
        <p:nvSpPr>
          <p:cNvPr id="118" name="Google Shape;480;p74">
            <a:extLst>
              <a:ext uri="{FF2B5EF4-FFF2-40B4-BE49-F238E27FC236}">
                <a16:creationId xmlns:a16="http://schemas.microsoft.com/office/drawing/2014/main" id="{BE76A055-749D-5071-7205-9DFE9EA42FCD}"/>
              </a:ext>
            </a:extLst>
          </p:cNvPr>
          <p:cNvSpPr txBox="1"/>
          <p:nvPr/>
        </p:nvSpPr>
        <p:spPr>
          <a:xfrm>
            <a:off x="16494984" y="4907530"/>
            <a:ext cx="1028829" cy="461635"/>
          </a:xfrm>
          <a:prstGeom prst="rect">
            <a:avLst/>
          </a:prstGeom>
          <a:noFill/>
          <a:ln>
            <a:noFill/>
          </a:ln>
        </p:spPr>
        <p:txBody>
          <a:bodyPr spcFirstLastPara="1" wrap="square" lIns="91425" tIns="91425" rIns="91425" bIns="91425" anchor="t"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 sz="900" b="0" i="0" u="none" strike="noStrike" kern="0" cap="none" spc="0" normalizeH="0" baseline="0" noProof="0">
                <a:ln>
                  <a:noFill/>
                </a:ln>
                <a:solidFill>
                  <a:sysClr val="windowText" lastClr="000000"/>
                </a:solidFill>
                <a:effectLst/>
                <a:uLnTx/>
                <a:uFillTx/>
                <a:latin typeface="Montserrat Light" panose="00000400000000000000" pitchFamily="2" charset="0"/>
              </a:rPr>
              <a:t>Ransomware</a:t>
            </a:r>
            <a:endParaRPr kumimoji="0" sz="900" b="0" i="0" u="none" strike="noStrike" kern="0" cap="none" spc="0" normalizeH="0" baseline="0" noProof="0">
              <a:ln>
                <a:noFill/>
              </a:ln>
              <a:solidFill>
                <a:sysClr val="windowText" lastClr="000000"/>
              </a:solidFill>
              <a:effectLst/>
              <a:uLnTx/>
              <a:uFillTx/>
              <a:latin typeface="Montserrat Light" panose="00000400000000000000" pitchFamily="2"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 sz="900" b="0" i="0" u="none" strike="noStrike" kern="0" cap="none" spc="0" normalizeH="0" baseline="0" noProof="0">
                <a:ln>
                  <a:noFill/>
                </a:ln>
                <a:solidFill>
                  <a:sysClr val="windowText" lastClr="000000"/>
                </a:solidFill>
                <a:effectLst/>
                <a:uLnTx/>
                <a:uFillTx/>
                <a:latin typeface="Montserrat Light" panose="00000400000000000000" pitchFamily="2" charset="0"/>
              </a:rPr>
              <a:t>Malware</a:t>
            </a:r>
            <a:endParaRPr kumimoji="0" sz="900" b="0" i="0" u="none" strike="noStrike" kern="0" cap="none" spc="0" normalizeH="0" baseline="0" noProof="0">
              <a:ln>
                <a:noFill/>
              </a:ln>
              <a:solidFill>
                <a:sysClr val="windowText" lastClr="000000"/>
              </a:solidFill>
              <a:effectLst/>
              <a:uLnTx/>
              <a:uFillTx/>
              <a:latin typeface="Montserrat Light" panose="00000400000000000000" pitchFamily="2" charset="0"/>
            </a:endParaRPr>
          </a:p>
        </p:txBody>
      </p:sp>
      <p:pic>
        <p:nvPicPr>
          <p:cNvPr id="119" name="Google Shape;481;p74">
            <a:extLst>
              <a:ext uri="{FF2B5EF4-FFF2-40B4-BE49-F238E27FC236}">
                <a16:creationId xmlns:a16="http://schemas.microsoft.com/office/drawing/2014/main" id="{F7ADBC6A-6E12-A92E-C51D-D1FB603EB1DA}"/>
              </a:ext>
            </a:extLst>
          </p:cNvPr>
          <p:cNvPicPr preferRelativeResize="0"/>
          <p:nvPr/>
        </p:nvPicPr>
        <p:blipFill rotWithShape="1">
          <a:blip r:embed="rId11">
            <a:alphaModFix/>
          </a:blip>
          <a:srcRect b="13457"/>
          <a:stretch/>
        </p:blipFill>
        <p:spPr>
          <a:xfrm>
            <a:off x="15778810" y="5334986"/>
            <a:ext cx="571499" cy="494613"/>
          </a:xfrm>
          <a:prstGeom prst="rect">
            <a:avLst/>
          </a:prstGeom>
          <a:noFill/>
          <a:ln>
            <a:noFill/>
          </a:ln>
        </p:spPr>
      </p:pic>
      <p:pic>
        <p:nvPicPr>
          <p:cNvPr id="120" name="Google Shape;482;p74">
            <a:extLst>
              <a:ext uri="{FF2B5EF4-FFF2-40B4-BE49-F238E27FC236}">
                <a16:creationId xmlns:a16="http://schemas.microsoft.com/office/drawing/2014/main" id="{2C3A37B8-0D83-ED12-8E06-609322C32B27}"/>
              </a:ext>
            </a:extLst>
          </p:cNvPr>
          <p:cNvPicPr preferRelativeResize="0"/>
          <p:nvPr/>
        </p:nvPicPr>
        <p:blipFill>
          <a:blip r:embed="rId12">
            <a:alphaModFix/>
          </a:blip>
          <a:stretch>
            <a:fillRect/>
          </a:stretch>
        </p:blipFill>
        <p:spPr>
          <a:xfrm>
            <a:off x="16780369" y="5334061"/>
            <a:ext cx="444590" cy="461700"/>
          </a:xfrm>
          <a:prstGeom prst="rect">
            <a:avLst/>
          </a:prstGeom>
          <a:noFill/>
          <a:ln>
            <a:noFill/>
          </a:ln>
        </p:spPr>
      </p:pic>
      <p:cxnSp>
        <p:nvCxnSpPr>
          <p:cNvPr id="121" name="Google Shape;483;p74">
            <a:extLst>
              <a:ext uri="{FF2B5EF4-FFF2-40B4-BE49-F238E27FC236}">
                <a16:creationId xmlns:a16="http://schemas.microsoft.com/office/drawing/2014/main" id="{635E7AA7-7208-1F5C-4966-ABCCB5557E3D}"/>
              </a:ext>
            </a:extLst>
          </p:cNvPr>
          <p:cNvCxnSpPr/>
          <p:nvPr/>
        </p:nvCxnSpPr>
        <p:spPr>
          <a:xfrm>
            <a:off x="14406770" y="5644011"/>
            <a:ext cx="1015800" cy="7800"/>
          </a:xfrm>
          <a:prstGeom prst="straightConnector1">
            <a:avLst/>
          </a:prstGeom>
          <a:noFill/>
          <a:ln w="9525" cap="flat" cmpd="sng">
            <a:solidFill>
              <a:srgbClr val="FF0000"/>
            </a:solidFill>
            <a:prstDash val="lgDashDot"/>
            <a:round/>
            <a:headEnd type="none" w="med" len="med"/>
            <a:tailEnd type="diamond" w="med" len="med"/>
          </a:ln>
        </p:spPr>
      </p:cxnSp>
      <p:cxnSp>
        <p:nvCxnSpPr>
          <p:cNvPr id="122" name="Google Shape;484;p74">
            <a:extLst>
              <a:ext uri="{FF2B5EF4-FFF2-40B4-BE49-F238E27FC236}">
                <a16:creationId xmlns:a16="http://schemas.microsoft.com/office/drawing/2014/main" id="{5AF90707-A61E-F0BE-4E28-8BB89CB82A87}"/>
              </a:ext>
            </a:extLst>
          </p:cNvPr>
          <p:cNvCxnSpPr>
            <a:cxnSpLocks/>
          </p:cNvCxnSpPr>
          <p:nvPr/>
        </p:nvCxnSpPr>
        <p:spPr>
          <a:xfrm>
            <a:off x="13761182" y="6053418"/>
            <a:ext cx="0" cy="271118"/>
          </a:xfrm>
          <a:prstGeom prst="straightConnector1">
            <a:avLst/>
          </a:prstGeom>
          <a:noFill/>
          <a:ln w="9525" cap="flat" cmpd="sng">
            <a:solidFill>
              <a:srgbClr val="FF0000"/>
            </a:solidFill>
            <a:prstDash val="lgDashDot"/>
            <a:round/>
            <a:headEnd type="none" w="med" len="med"/>
            <a:tailEnd type="diamond" w="med" len="med"/>
          </a:ln>
        </p:spPr>
      </p:cxnSp>
      <p:cxnSp>
        <p:nvCxnSpPr>
          <p:cNvPr id="123" name="Google Shape;485;p74">
            <a:extLst>
              <a:ext uri="{FF2B5EF4-FFF2-40B4-BE49-F238E27FC236}">
                <a16:creationId xmlns:a16="http://schemas.microsoft.com/office/drawing/2014/main" id="{3A3C45D7-568D-A51C-B788-F16066950FB1}"/>
              </a:ext>
            </a:extLst>
          </p:cNvPr>
          <p:cNvCxnSpPr/>
          <p:nvPr/>
        </p:nvCxnSpPr>
        <p:spPr>
          <a:xfrm flipH="1">
            <a:off x="12795532" y="6053418"/>
            <a:ext cx="4500" cy="270300"/>
          </a:xfrm>
          <a:prstGeom prst="straightConnector1">
            <a:avLst/>
          </a:prstGeom>
          <a:noFill/>
          <a:ln w="9525" cap="flat" cmpd="sng">
            <a:solidFill>
              <a:srgbClr val="00FF00"/>
            </a:solidFill>
            <a:prstDash val="lgDashDot"/>
            <a:round/>
            <a:headEnd type="none" w="med" len="med"/>
            <a:tailEnd type="diamond" w="med" len="med"/>
          </a:ln>
        </p:spPr>
      </p:cxnSp>
      <p:sp>
        <p:nvSpPr>
          <p:cNvPr id="124" name="Google Shape;486;p74">
            <a:extLst>
              <a:ext uri="{FF2B5EF4-FFF2-40B4-BE49-F238E27FC236}">
                <a16:creationId xmlns:a16="http://schemas.microsoft.com/office/drawing/2014/main" id="{EF9BB1D1-3DA9-A54D-EE8B-ACF9D0CFBDCA}"/>
              </a:ext>
            </a:extLst>
          </p:cNvPr>
          <p:cNvSpPr txBox="1"/>
          <p:nvPr/>
        </p:nvSpPr>
        <p:spPr>
          <a:xfrm>
            <a:off x="14666605" y="5256209"/>
            <a:ext cx="477600" cy="754200"/>
          </a:xfrm>
          <a:prstGeom prst="rect">
            <a:avLst/>
          </a:prstGeom>
          <a:noFill/>
          <a:ln>
            <a:noFill/>
          </a:ln>
        </p:spPr>
        <p:txBody>
          <a:bodyPr spcFirstLastPara="1" wrap="square" lIns="91425" tIns="91425" rIns="91425" bIns="91425" anchor="t" anchorCtr="0">
            <a:spAutoFit/>
          </a:bodyPr>
          <a:lstStyle/>
          <a:p>
            <a:pPr algn="ctr">
              <a:buSzPts val="3700"/>
            </a:pPr>
            <a:r>
              <a:rPr lang="en" sz="3700" b="1">
                <a:solidFill>
                  <a:srgbClr val="FF0000"/>
                </a:solidFill>
                <a:latin typeface="Montserrat Light" panose="00000400000000000000" pitchFamily="2" charset="0"/>
                <a:ea typeface="Proxima Nova"/>
                <a:cs typeface="Proxima Nova"/>
                <a:sym typeface="Proxima Nova"/>
              </a:rPr>
              <a:t>X</a:t>
            </a:r>
            <a:endParaRPr sz="3700" b="1">
              <a:solidFill>
                <a:srgbClr val="FF0000"/>
              </a:solidFill>
              <a:latin typeface="Montserrat Light" panose="00000400000000000000" pitchFamily="2" charset="0"/>
              <a:ea typeface="Proxima Nova"/>
              <a:cs typeface="Proxima Nova"/>
              <a:sym typeface="Proxima Nova"/>
            </a:endParaRPr>
          </a:p>
        </p:txBody>
      </p:sp>
      <p:sp>
        <p:nvSpPr>
          <p:cNvPr id="125" name="Google Shape;487;p74">
            <a:extLst>
              <a:ext uri="{FF2B5EF4-FFF2-40B4-BE49-F238E27FC236}">
                <a16:creationId xmlns:a16="http://schemas.microsoft.com/office/drawing/2014/main" id="{27C55DA9-6FB9-4D12-5243-0BE2A0A8F925}"/>
              </a:ext>
            </a:extLst>
          </p:cNvPr>
          <p:cNvSpPr txBox="1"/>
          <p:nvPr/>
        </p:nvSpPr>
        <p:spPr>
          <a:xfrm>
            <a:off x="12274206" y="4986005"/>
            <a:ext cx="1992300" cy="353913"/>
          </a:xfrm>
          <a:prstGeom prst="rect">
            <a:avLst/>
          </a:prstGeom>
          <a:noFill/>
          <a:ln>
            <a:noFill/>
          </a:ln>
        </p:spPr>
        <p:txBody>
          <a:bodyPr spcFirstLastPara="1" wrap="square" lIns="91425" tIns="91425" rIns="91425" bIns="91425" anchor="t"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 sz="1100" b="1" i="0" u="none" strike="noStrike" kern="0" cap="none" spc="0" normalizeH="0" baseline="0" noProof="0">
                <a:ln>
                  <a:noFill/>
                </a:ln>
                <a:solidFill>
                  <a:schemeClr val="bg1"/>
                </a:solidFill>
                <a:effectLst/>
                <a:uLnTx/>
                <a:uFillTx/>
                <a:latin typeface="Montserrat" panose="00000500000000000000" pitchFamily="2" charset="0"/>
              </a:rPr>
              <a:t>Your Data</a:t>
            </a:r>
            <a:endParaRPr kumimoji="0" sz="1100" b="1" i="0" u="none" strike="noStrike" kern="0" cap="none" spc="0" normalizeH="0" baseline="0" noProof="0">
              <a:ln>
                <a:noFill/>
              </a:ln>
              <a:solidFill>
                <a:schemeClr val="bg1"/>
              </a:solidFill>
              <a:effectLst/>
              <a:uLnTx/>
              <a:uFillTx/>
              <a:latin typeface="Montserrat" panose="00000500000000000000" pitchFamily="2" charset="0"/>
            </a:endParaRPr>
          </a:p>
        </p:txBody>
      </p:sp>
      <p:pic>
        <p:nvPicPr>
          <p:cNvPr id="126" name="Google Shape;488;p74">
            <a:extLst>
              <a:ext uri="{FF2B5EF4-FFF2-40B4-BE49-F238E27FC236}">
                <a16:creationId xmlns:a16="http://schemas.microsoft.com/office/drawing/2014/main" id="{54104D0C-90D2-A3FA-A00E-773D40C75AF1}"/>
              </a:ext>
            </a:extLst>
          </p:cNvPr>
          <p:cNvPicPr preferRelativeResize="0"/>
          <p:nvPr/>
        </p:nvPicPr>
        <p:blipFill rotWithShape="1">
          <a:blip r:embed="rId13">
            <a:alphaModFix/>
          </a:blip>
          <a:srcRect/>
          <a:stretch/>
        </p:blipFill>
        <p:spPr>
          <a:xfrm>
            <a:off x="11212661" y="4983435"/>
            <a:ext cx="216285" cy="234760"/>
          </a:xfrm>
          <a:prstGeom prst="rect">
            <a:avLst/>
          </a:prstGeom>
          <a:noFill/>
          <a:ln>
            <a:noFill/>
          </a:ln>
        </p:spPr>
      </p:pic>
      <p:pic>
        <p:nvPicPr>
          <p:cNvPr id="127" name="Google Shape;489;p74">
            <a:extLst>
              <a:ext uri="{FF2B5EF4-FFF2-40B4-BE49-F238E27FC236}">
                <a16:creationId xmlns:a16="http://schemas.microsoft.com/office/drawing/2014/main" id="{79E5EE5E-98B0-818A-EAF7-B08C89C456C2}"/>
              </a:ext>
            </a:extLst>
          </p:cNvPr>
          <p:cNvPicPr preferRelativeResize="0"/>
          <p:nvPr/>
        </p:nvPicPr>
        <p:blipFill rotWithShape="1">
          <a:blip r:embed="rId13">
            <a:alphaModFix/>
          </a:blip>
          <a:srcRect/>
          <a:stretch/>
        </p:blipFill>
        <p:spPr>
          <a:xfrm>
            <a:off x="11521008" y="4983435"/>
            <a:ext cx="216285" cy="234760"/>
          </a:xfrm>
          <a:prstGeom prst="rect">
            <a:avLst/>
          </a:prstGeom>
          <a:noFill/>
          <a:ln>
            <a:noFill/>
          </a:ln>
        </p:spPr>
      </p:pic>
      <p:pic>
        <p:nvPicPr>
          <p:cNvPr id="128" name="Google Shape;490;p74">
            <a:extLst>
              <a:ext uri="{FF2B5EF4-FFF2-40B4-BE49-F238E27FC236}">
                <a16:creationId xmlns:a16="http://schemas.microsoft.com/office/drawing/2014/main" id="{62B621F8-2572-EC37-8E7D-7097C6B3556F}"/>
              </a:ext>
            </a:extLst>
          </p:cNvPr>
          <p:cNvPicPr preferRelativeResize="0"/>
          <p:nvPr/>
        </p:nvPicPr>
        <p:blipFill rotWithShape="1">
          <a:blip r:embed="rId13">
            <a:alphaModFix/>
          </a:blip>
          <a:srcRect/>
          <a:stretch/>
        </p:blipFill>
        <p:spPr>
          <a:xfrm>
            <a:off x="11829365" y="4983435"/>
            <a:ext cx="216285" cy="234760"/>
          </a:xfrm>
          <a:prstGeom prst="rect">
            <a:avLst/>
          </a:prstGeom>
          <a:noFill/>
          <a:ln>
            <a:noFill/>
          </a:ln>
        </p:spPr>
      </p:pic>
      <p:pic>
        <p:nvPicPr>
          <p:cNvPr id="129" name="Google Shape;491;p74">
            <a:extLst>
              <a:ext uri="{FF2B5EF4-FFF2-40B4-BE49-F238E27FC236}">
                <a16:creationId xmlns:a16="http://schemas.microsoft.com/office/drawing/2014/main" id="{DFC2B721-5D70-661F-B6E0-7EEC44EA70D3}"/>
              </a:ext>
            </a:extLst>
          </p:cNvPr>
          <p:cNvPicPr preferRelativeResize="0"/>
          <p:nvPr/>
        </p:nvPicPr>
        <p:blipFill rotWithShape="1">
          <a:blip r:embed="rId14">
            <a:alphaModFix/>
          </a:blip>
          <a:srcRect/>
          <a:stretch/>
        </p:blipFill>
        <p:spPr>
          <a:xfrm>
            <a:off x="11264271" y="5298572"/>
            <a:ext cx="125619" cy="184244"/>
          </a:xfrm>
          <a:prstGeom prst="rect">
            <a:avLst/>
          </a:prstGeom>
          <a:noFill/>
          <a:ln>
            <a:noFill/>
          </a:ln>
        </p:spPr>
      </p:pic>
      <p:pic>
        <p:nvPicPr>
          <p:cNvPr id="130" name="Google Shape;492;p74">
            <a:extLst>
              <a:ext uri="{FF2B5EF4-FFF2-40B4-BE49-F238E27FC236}">
                <a16:creationId xmlns:a16="http://schemas.microsoft.com/office/drawing/2014/main" id="{19FD0535-4966-C6C3-BED5-082D4124B696}"/>
              </a:ext>
            </a:extLst>
          </p:cNvPr>
          <p:cNvPicPr preferRelativeResize="0"/>
          <p:nvPr/>
        </p:nvPicPr>
        <p:blipFill rotWithShape="1">
          <a:blip r:embed="rId14">
            <a:alphaModFix/>
          </a:blip>
          <a:srcRect/>
          <a:stretch/>
        </p:blipFill>
        <p:spPr>
          <a:xfrm>
            <a:off x="11573663" y="5298572"/>
            <a:ext cx="125619" cy="184244"/>
          </a:xfrm>
          <a:prstGeom prst="rect">
            <a:avLst/>
          </a:prstGeom>
          <a:noFill/>
          <a:ln>
            <a:noFill/>
          </a:ln>
        </p:spPr>
      </p:pic>
      <p:pic>
        <p:nvPicPr>
          <p:cNvPr id="131" name="Google Shape;493;p74">
            <a:extLst>
              <a:ext uri="{FF2B5EF4-FFF2-40B4-BE49-F238E27FC236}">
                <a16:creationId xmlns:a16="http://schemas.microsoft.com/office/drawing/2014/main" id="{4CCEA3B9-8DBE-117A-356B-DC6C6E1A68ED}"/>
              </a:ext>
            </a:extLst>
          </p:cNvPr>
          <p:cNvPicPr preferRelativeResize="0"/>
          <p:nvPr/>
        </p:nvPicPr>
        <p:blipFill rotWithShape="1">
          <a:blip r:embed="rId14">
            <a:alphaModFix/>
          </a:blip>
          <a:srcRect/>
          <a:stretch/>
        </p:blipFill>
        <p:spPr>
          <a:xfrm>
            <a:off x="11883054" y="5298572"/>
            <a:ext cx="125619" cy="184244"/>
          </a:xfrm>
          <a:prstGeom prst="rect">
            <a:avLst/>
          </a:prstGeom>
          <a:noFill/>
          <a:ln>
            <a:noFill/>
          </a:ln>
        </p:spPr>
      </p:pic>
      <p:cxnSp>
        <p:nvCxnSpPr>
          <p:cNvPr id="132" name="Google Shape;346;p65">
            <a:extLst>
              <a:ext uri="{FF2B5EF4-FFF2-40B4-BE49-F238E27FC236}">
                <a16:creationId xmlns:a16="http://schemas.microsoft.com/office/drawing/2014/main" id="{9B51236E-D89D-79AC-9C90-66931D468C75}"/>
              </a:ext>
            </a:extLst>
          </p:cNvPr>
          <p:cNvCxnSpPr>
            <a:cxnSpLocks/>
          </p:cNvCxnSpPr>
          <p:nvPr/>
        </p:nvCxnSpPr>
        <p:spPr>
          <a:xfrm>
            <a:off x="8603087" y="3374441"/>
            <a:ext cx="0" cy="5220000"/>
          </a:xfrm>
          <a:prstGeom prst="straightConnector1">
            <a:avLst/>
          </a:prstGeom>
          <a:noFill/>
          <a:ln w="9525" cap="flat" cmpd="sng">
            <a:solidFill>
              <a:srgbClr val="6800FF"/>
            </a:solidFill>
            <a:prstDash val="solid"/>
            <a:round/>
            <a:headEnd type="none" w="med" len="med"/>
            <a:tailEnd type="none" w="med" len="med"/>
          </a:ln>
        </p:spPr>
      </p:cxnSp>
      <p:sp>
        <p:nvSpPr>
          <p:cNvPr id="134" name="Google Shape;425;p73">
            <a:extLst>
              <a:ext uri="{FF2B5EF4-FFF2-40B4-BE49-F238E27FC236}">
                <a16:creationId xmlns:a16="http://schemas.microsoft.com/office/drawing/2014/main" id="{A61D871C-83ED-D3DC-58B1-773FE05E8BB0}"/>
              </a:ext>
            </a:extLst>
          </p:cNvPr>
          <p:cNvSpPr txBox="1"/>
          <p:nvPr/>
        </p:nvSpPr>
        <p:spPr>
          <a:xfrm>
            <a:off x="12796144" y="7495801"/>
            <a:ext cx="1025125" cy="492412"/>
          </a:xfrm>
          <a:prstGeom prst="rect">
            <a:avLst/>
          </a:prstGeom>
          <a:noFill/>
          <a:ln>
            <a:noFill/>
          </a:ln>
        </p:spPr>
        <p:txBody>
          <a:bodyPr spcFirstLastPara="1" wrap="square" lIns="91425" tIns="91425" rIns="91425" bIns="91425" anchor="t" anchorCtr="0">
            <a:spAutoFit/>
          </a:bodyPr>
          <a:lstStyle/>
          <a:p>
            <a:pPr marL="0" marR="0" lvl="0" indent="0" algn="ctr" rtl="0">
              <a:lnSpc>
                <a:spcPct val="100000"/>
              </a:lnSpc>
              <a:spcBef>
                <a:spcPts val="0"/>
              </a:spcBef>
              <a:spcAft>
                <a:spcPts val="0"/>
              </a:spcAft>
              <a:buClr>
                <a:srgbClr val="000000"/>
              </a:buClr>
              <a:buSzPts val="900"/>
              <a:buFont typeface="Arial"/>
              <a:buNone/>
            </a:pPr>
            <a:r>
              <a:rPr lang="en" sz="1000" b="1">
                <a:solidFill>
                  <a:schemeClr val="bg1"/>
                </a:solidFill>
                <a:latin typeface="Montserrat" panose="00000500000000000000" pitchFamily="2" charset="0"/>
                <a:ea typeface="Calibri"/>
                <a:cs typeface="Calibri"/>
                <a:sym typeface="Calibri"/>
              </a:rPr>
              <a:t>Data Secure Sentinel</a:t>
            </a:r>
            <a:endParaRPr sz="1000" b="1" i="0" u="none" strike="noStrike" cap="none">
              <a:solidFill>
                <a:schemeClr val="bg1"/>
              </a:solidFill>
              <a:latin typeface="Montserrat" panose="00000500000000000000" pitchFamily="2" charset="0"/>
              <a:ea typeface="Calibri"/>
              <a:cs typeface="Calibri"/>
              <a:sym typeface="Calibri"/>
            </a:endParaRPr>
          </a:p>
        </p:txBody>
      </p:sp>
      <p:sp>
        <p:nvSpPr>
          <p:cNvPr id="135" name="TextBox 134">
            <a:extLst>
              <a:ext uri="{FF2B5EF4-FFF2-40B4-BE49-F238E27FC236}">
                <a16:creationId xmlns:a16="http://schemas.microsoft.com/office/drawing/2014/main" id="{05827F25-55E9-F9A5-E74A-DE92FE14700F}"/>
              </a:ext>
            </a:extLst>
          </p:cNvPr>
          <p:cNvSpPr txBox="1"/>
          <p:nvPr/>
        </p:nvSpPr>
        <p:spPr>
          <a:xfrm>
            <a:off x="10466009" y="3287712"/>
            <a:ext cx="6257146" cy="1033424"/>
          </a:xfrm>
          <a:prstGeom prst="rect">
            <a:avLst/>
          </a:prstGeom>
          <a:noFill/>
          <a:ln w="12700">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08000" tIns="53340" rIns="53340" bIns="53340" numCol="1" spcCol="1270" anchor="t" anchorCtr="0">
            <a:noAutofit/>
          </a:bodyPr>
          <a:lstStyle/>
          <a:p>
            <a:pPr algn="ctr" defTabSz="622300">
              <a:lnSpc>
                <a:spcPct val="90000"/>
              </a:lnSpc>
              <a:spcBef>
                <a:spcPct val="0"/>
              </a:spcBef>
              <a:spcAft>
                <a:spcPct val="35000"/>
              </a:spcAft>
            </a:pPr>
            <a:r>
              <a:rPr lang="en-US" sz="2800" b="1" noProof="0">
                <a:solidFill>
                  <a:srgbClr val="6800FF"/>
                </a:solidFill>
                <a:latin typeface="Montserrat"/>
                <a:ea typeface="Roboto"/>
                <a:cs typeface="Roboto"/>
                <a:sym typeface="Roboto"/>
              </a:rPr>
              <a:t>Stop Data Theft, Ransomware Extortion and Access Violations</a:t>
            </a:r>
            <a:endParaRPr lang="en-US" sz="2000" kern="1200" noProof="0">
              <a:solidFill>
                <a:schemeClr val="bg1"/>
              </a:solidFill>
              <a:latin typeface="Montserrat Medium"/>
            </a:endParaRPr>
          </a:p>
        </p:txBody>
      </p:sp>
      <p:grpSp>
        <p:nvGrpSpPr>
          <p:cNvPr id="33" name="Group 7">
            <a:extLst>
              <a:ext uri="{FF2B5EF4-FFF2-40B4-BE49-F238E27FC236}">
                <a16:creationId xmlns:a16="http://schemas.microsoft.com/office/drawing/2014/main" id="{DAC5B62F-1C28-BA02-20AB-B2F3CE23E838}"/>
              </a:ext>
            </a:extLst>
          </p:cNvPr>
          <p:cNvGrpSpPr/>
          <p:nvPr/>
        </p:nvGrpSpPr>
        <p:grpSpPr>
          <a:xfrm>
            <a:off x="12430580" y="1549790"/>
            <a:ext cx="612363" cy="56823"/>
            <a:chOff x="0" y="0"/>
            <a:chExt cx="1078484" cy="100076"/>
          </a:xfrm>
        </p:grpSpPr>
        <p:sp>
          <p:nvSpPr>
            <p:cNvPr id="11" name="Freeform 8">
              <a:extLst>
                <a:ext uri="{FF2B5EF4-FFF2-40B4-BE49-F238E27FC236}">
                  <a16:creationId xmlns:a16="http://schemas.microsoft.com/office/drawing/2014/main" id="{D1D161F2-FEAE-31FC-806F-26AF079EBF8C}"/>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spTree>
    <p:extLst>
      <p:ext uri="{BB962C8B-B14F-4D97-AF65-F5344CB8AC3E}">
        <p14:creationId xmlns:p14="http://schemas.microsoft.com/office/powerpoint/2010/main" val="6464184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04"/>
                                        </p:tgtEl>
                                        <p:attrNameLst>
                                          <p:attrName>style.visibility</p:attrName>
                                        </p:attrNameLst>
                                      </p:cBhvr>
                                      <p:to>
                                        <p:strVal val="visible"/>
                                      </p:to>
                                    </p:set>
                                    <p:animEffect transition="in" filter="fade">
                                      <p:cBhvr>
                                        <p:cTn id="7" dur="300"/>
                                        <p:tgtEl>
                                          <p:spTgt spid="104"/>
                                        </p:tgtEl>
                                      </p:cBhvr>
                                    </p:animEffect>
                                  </p:childTnLst>
                                </p:cTn>
                              </p:par>
                            </p:childTnLst>
                          </p:cTn>
                        </p:par>
                        <p:par>
                          <p:cTn id="8" fill="hold">
                            <p:stCondLst>
                              <p:cond delay="300"/>
                            </p:stCondLst>
                            <p:childTnLst>
                              <p:par>
                                <p:cTn id="9" presetID="10" presetClass="entr" presetSubtype="0" fill="hold" nodeType="afterEffect">
                                  <p:stCondLst>
                                    <p:cond delay="0"/>
                                  </p:stCondLst>
                                  <p:childTnLst>
                                    <p:set>
                                      <p:cBhvr>
                                        <p:cTn id="10" dur="1" fill="hold">
                                          <p:stCondLst>
                                            <p:cond delay="0"/>
                                          </p:stCondLst>
                                        </p:cTn>
                                        <p:tgtEl>
                                          <p:spTgt spid="101"/>
                                        </p:tgtEl>
                                        <p:attrNameLst>
                                          <p:attrName>style.visibility</p:attrName>
                                        </p:attrNameLst>
                                      </p:cBhvr>
                                      <p:to>
                                        <p:strVal val="visible"/>
                                      </p:to>
                                    </p:set>
                                    <p:animEffect transition="in" filter="fade">
                                      <p:cBhvr>
                                        <p:cTn id="11" dur="600"/>
                                        <p:tgtEl>
                                          <p:spTgt spid="101"/>
                                        </p:tgtEl>
                                      </p:cBhvr>
                                    </p:animEffect>
                                  </p:childTnLst>
                                </p:cTn>
                              </p:par>
                            </p:childTnLst>
                          </p:cTn>
                        </p:par>
                        <p:par>
                          <p:cTn id="12" fill="hold">
                            <p:stCondLst>
                              <p:cond delay="900"/>
                            </p:stCondLst>
                            <p:childTnLst>
                              <p:par>
                                <p:cTn id="13" presetID="10" presetClass="entr" presetSubtype="0" fill="hold" nodeType="afterEffect">
                                  <p:stCondLst>
                                    <p:cond delay="0"/>
                                  </p:stCondLst>
                                  <p:childTnLst>
                                    <p:set>
                                      <p:cBhvr>
                                        <p:cTn id="14" dur="1" fill="hold">
                                          <p:stCondLst>
                                            <p:cond delay="0"/>
                                          </p:stCondLst>
                                        </p:cTn>
                                        <p:tgtEl>
                                          <p:spTgt spid="100"/>
                                        </p:tgtEl>
                                        <p:attrNameLst>
                                          <p:attrName>style.visibility</p:attrName>
                                        </p:attrNameLst>
                                      </p:cBhvr>
                                      <p:to>
                                        <p:strVal val="visible"/>
                                      </p:to>
                                    </p:set>
                                    <p:animEffect transition="in" filter="fade">
                                      <p:cBhvr>
                                        <p:cTn id="15" dur="600"/>
                                        <p:tgtEl>
                                          <p:spTgt spid="100"/>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03"/>
                                        </p:tgtEl>
                                        <p:attrNameLst>
                                          <p:attrName>style.visibility</p:attrName>
                                        </p:attrNameLst>
                                      </p:cBhvr>
                                      <p:to>
                                        <p:strVal val="visible"/>
                                      </p:to>
                                    </p:set>
                                    <p:animEffect transition="in" filter="fade">
                                      <p:cBhvr>
                                        <p:cTn id="19" dur="400"/>
                                        <p:tgtEl>
                                          <p:spTgt spid="103"/>
                                        </p:tgtEl>
                                      </p:cBhvr>
                                    </p:animEffect>
                                  </p:childTnLst>
                                </p:cTn>
                              </p:par>
                            </p:childTnLst>
                          </p:cTn>
                        </p:par>
                        <p:par>
                          <p:cTn id="20" fill="hold">
                            <p:stCondLst>
                              <p:cond delay="1900"/>
                            </p:stCondLst>
                            <p:childTnLst>
                              <p:par>
                                <p:cTn id="21" presetID="10" presetClass="entr" presetSubtype="0" fill="hold" nodeType="afterEffect">
                                  <p:stCondLst>
                                    <p:cond delay="0"/>
                                  </p:stCondLst>
                                  <p:childTnLst>
                                    <p:set>
                                      <p:cBhvr>
                                        <p:cTn id="22" dur="1" fill="hold">
                                          <p:stCondLst>
                                            <p:cond delay="0"/>
                                          </p:stCondLst>
                                        </p:cTn>
                                        <p:tgtEl>
                                          <p:spTgt spid="123"/>
                                        </p:tgtEl>
                                        <p:attrNameLst>
                                          <p:attrName>style.visibility</p:attrName>
                                        </p:attrNameLst>
                                      </p:cBhvr>
                                      <p:to>
                                        <p:strVal val="visible"/>
                                      </p:to>
                                    </p:set>
                                    <p:animEffect transition="in" filter="fade">
                                      <p:cBhvr>
                                        <p:cTn id="23" dur="400"/>
                                        <p:tgtEl>
                                          <p:spTgt spid="123"/>
                                        </p:tgtEl>
                                      </p:cBhvr>
                                    </p:animEffect>
                                  </p:childTnLst>
                                </p:cTn>
                              </p:par>
                            </p:childTnLst>
                          </p:cTn>
                        </p:par>
                        <p:par>
                          <p:cTn id="24" fill="hold">
                            <p:stCondLst>
                              <p:cond delay="2300"/>
                            </p:stCondLst>
                            <p:childTnLst>
                              <p:par>
                                <p:cTn id="25" presetID="10" presetClass="entr" presetSubtype="0" fill="hold" nodeType="afterEffect">
                                  <p:stCondLst>
                                    <p:cond delay="0"/>
                                  </p:stCondLst>
                                  <p:childTnLst>
                                    <p:set>
                                      <p:cBhvr>
                                        <p:cTn id="26" dur="1" fill="hold">
                                          <p:stCondLst>
                                            <p:cond delay="0"/>
                                          </p:stCondLst>
                                        </p:cTn>
                                        <p:tgtEl>
                                          <p:spTgt spid="107"/>
                                        </p:tgtEl>
                                        <p:attrNameLst>
                                          <p:attrName>style.visibility</p:attrName>
                                        </p:attrNameLst>
                                      </p:cBhvr>
                                      <p:to>
                                        <p:strVal val="visible"/>
                                      </p:to>
                                    </p:set>
                                    <p:animEffect transition="in" filter="fade">
                                      <p:cBhvr>
                                        <p:cTn id="27" dur="400"/>
                                        <p:tgtEl>
                                          <p:spTgt spid="107"/>
                                        </p:tgtEl>
                                      </p:cBhvr>
                                    </p:animEffect>
                                  </p:childTnLst>
                                </p:cTn>
                              </p:par>
                              <p:par>
                                <p:cTn id="28" presetID="10" presetClass="entr" presetSubtype="0" fill="hold" nodeType="withEffect">
                                  <p:stCondLst>
                                    <p:cond delay="0"/>
                                  </p:stCondLst>
                                  <p:childTnLst>
                                    <p:set>
                                      <p:cBhvr>
                                        <p:cTn id="29" dur="1" fill="hold">
                                          <p:stCondLst>
                                            <p:cond delay="0"/>
                                          </p:stCondLst>
                                        </p:cTn>
                                        <p:tgtEl>
                                          <p:spTgt spid="110"/>
                                        </p:tgtEl>
                                        <p:attrNameLst>
                                          <p:attrName>style.visibility</p:attrName>
                                        </p:attrNameLst>
                                      </p:cBhvr>
                                      <p:to>
                                        <p:strVal val="visible"/>
                                      </p:to>
                                    </p:set>
                                    <p:animEffect transition="in" filter="fade">
                                      <p:cBhvr>
                                        <p:cTn id="30" dur="400"/>
                                        <p:tgtEl>
                                          <p:spTgt spid="110"/>
                                        </p:tgtEl>
                                      </p:cBhvr>
                                    </p:animEffect>
                                  </p:childTnLst>
                                </p:cTn>
                              </p:par>
                              <p:par>
                                <p:cTn id="31" presetID="10" presetClass="entr" presetSubtype="0" fill="hold" nodeType="withEffect">
                                  <p:stCondLst>
                                    <p:cond delay="0"/>
                                  </p:stCondLst>
                                  <p:childTnLst>
                                    <p:set>
                                      <p:cBhvr>
                                        <p:cTn id="32" dur="1" fill="hold">
                                          <p:stCondLst>
                                            <p:cond delay="0"/>
                                          </p:stCondLst>
                                        </p:cTn>
                                        <p:tgtEl>
                                          <p:spTgt spid="106"/>
                                        </p:tgtEl>
                                        <p:attrNameLst>
                                          <p:attrName>style.visibility</p:attrName>
                                        </p:attrNameLst>
                                      </p:cBhvr>
                                      <p:to>
                                        <p:strVal val="visible"/>
                                      </p:to>
                                    </p:set>
                                    <p:animEffect transition="in" filter="fade">
                                      <p:cBhvr>
                                        <p:cTn id="33" dur="500"/>
                                        <p:tgtEl>
                                          <p:spTgt spid="106"/>
                                        </p:tgtEl>
                                      </p:cBhvr>
                                    </p:animEffect>
                                  </p:childTnLst>
                                </p:cTn>
                              </p:par>
                            </p:childTnLst>
                          </p:cTn>
                        </p:par>
                        <p:par>
                          <p:cTn id="34" fill="hold">
                            <p:stCondLst>
                              <p:cond delay="2800"/>
                            </p:stCondLst>
                            <p:childTnLst>
                              <p:par>
                                <p:cTn id="35" presetID="10" presetClass="entr" presetSubtype="0" fill="hold" nodeType="afterEffect">
                                  <p:stCondLst>
                                    <p:cond delay="0"/>
                                  </p:stCondLst>
                                  <p:childTnLst>
                                    <p:set>
                                      <p:cBhvr>
                                        <p:cTn id="36" dur="1" fill="hold">
                                          <p:stCondLst>
                                            <p:cond delay="0"/>
                                          </p:stCondLst>
                                        </p:cTn>
                                        <p:tgtEl>
                                          <p:spTgt spid="122"/>
                                        </p:tgtEl>
                                        <p:attrNameLst>
                                          <p:attrName>style.visibility</p:attrName>
                                        </p:attrNameLst>
                                      </p:cBhvr>
                                      <p:to>
                                        <p:strVal val="visible"/>
                                      </p:to>
                                    </p:set>
                                    <p:animEffect transition="in" filter="fade">
                                      <p:cBhvr>
                                        <p:cTn id="37" dur="300"/>
                                        <p:tgtEl>
                                          <p:spTgt spid="122"/>
                                        </p:tgtEl>
                                      </p:cBhvr>
                                    </p:animEffect>
                                  </p:childTnLst>
                                </p:cTn>
                              </p:par>
                            </p:childTnLst>
                          </p:cTn>
                        </p:par>
                        <p:par>
                          <p:cTn id="38" fill="hold">
                            <p:stCondLst>
                              <p:cond delay="3100"/>
                            </p:stCondLst>
                            <p:childTnLst>
                              <p:par>
                                <p:cTn id="39" presetID="10" presetClass="entr" presetSubtype="0" fill="hold" nodeType="afterEffect">
                                  <p:stCondLst>
                                    <p:cond delay="0"/>
                                  </p:stCondLst>
                                  <p:childTnLst>
                                    <p:set>
                                      <p:cBhvr>
                                        <p:cTn id="40" dur="1" fill="hold">
                                          <p:stCondLst>
                                            <p:cond delay="0"/>
                                          </p:stCondLst>
                                        </p:cTn>
                                        <p:tgtEl>
                                          <p:spTgt spid="109"/>
                                        </p:tgtEl>
                                        <p:attrNameLst>
                                          <p:attrName>style.visibility</p:attrName>
                                        </p:attrNameLst>
                                      </p:cBhvr>
                                      <p:to>
                                        <p:strVal val="visible"/>
                                      </p:to>
                                    </p:set>
                                    <p:animEffect transition="in" filter="fade">
                                      <p:cBhvr>
                                        <p:cTn id="41" dur="400"/>
                                        <p:tgtEl>
                                          <p:spTgt spid="109"/>
                                        </p:tgtEl>
                                      </p:cBhvr>
                                    </p:animEffect>
                                  </p:childTnLst>
                                </p:cTn>
                              </p:par>
                              <p:par>
                                <p:cTn id="42" presetID="10" presetClass="entr" presetSubtype="0" fill="hold" nodeType="withEffect">
                                  <p:stCondLst>
                                    <p:cond delay="0"/>
                                  </p:stCondLst>
                                  <p:childTnLst>
                                    <p:set>
                                      <p:cBhvr>
                                        <p:cTn id="43" dur="1" fill="hold">
                                          <p:stCondLst>
                                            <p:cond delay="0"/>
                                          </p:stCondLst>
                                        </p:cTn>
                                        <p:tgtEl>
                                          <p:spTgt spid="111"/>
                                        </p:tgtEl>
                                        <p:attrNameLst>
                                          <p:attrName>style.visibility</p:attrName>
                                        </p:attrNameLst>
                                      </p:cBhvr>
                                      <p:to>
                                        <p:strVal val="visible"/>
                                      </p:to>
                                    </p:set>
                                    <p:animEffect transition="in" filter="fade">
                                      <p:cBhvr>
                                        <p:cTn id="44" dur="300"/>
                                        <p:tgtEl>
                                          <p:spTgt spid="111"/>
                                        </p:tgtEl>
                                      </p:cBhvr>
                                    </p:animEffect>
                                  </p:childTnLst>
                                </p:cTn>
                              </p:par>
                              <p:par>
                                <p:cTn id="45" presetID="10" presetClass="entr" presetSubtype="0" fill="hold" nodeType="withEffect">
                                  <p:stCondLst>
                                    <p:cond delay="0"/>
                                  </p:stCondLst>
                                  <p:childTnLst>
                                    <p:set>
                                      <p:cBhvr>
                                        <p:cTn id="46" dur="1" fill="hold">
                                          <p:stCondLst>
                                            <p:cond delay="0"/>
                                          </p:stCondLst>
                                        </p:cTn>
                                        <p:tgtEl>
                                          <p:spTgt spid="108"/>
                                        </p:tgtEl>
                                        <p:attrNameLst>
                                          <p:attrName>style.visibility</p:attrName>
                                        </p:attrNameLst>
                                      </p:cBhvr>
                                      <p:to>
                                        <p:strVal val="visible"/>
                                      </p:to>
                                    </p:set>
                                    <p:animEffect transition="in" filter="fade">
                                      <p:cBhvr>
                                        <p:cTn id="47" dur="400"/>
                                        <p:tgtEl>
                                          <p:spTgt spid="108"/>
                                        </p:tgtEl>
                                      </p:cBhvr>
                                    </p:animEffect>
                                  </p:childTnLst>
                                </p:cTn>
                              </p:par>
                            </p:childTnLst>
                          </p:cTn>
                        </p:par>
                        <p:par>
                          <p:cTn id="48" fill="hold">
                            <p:stCondLst>
                              <p:cond delay="3500"/>
                            </p:stCondLst>
                            <p:childTnLst>
                              <p:par>
                                <p:cTn id="49" presetID="10" presetClass="entr" presetSubtype="0" fill="hold" nodeType="afterEffect">
                                  <p:stCondLst>
                                    <p:cond delay="0"/>
                                  </p:stCondLst>
                                  <p:childTnLst>
                                    <p:set>
                                      <p:cBhvr>
                                        <p:cTn id="50" dur="1" fill="hold">
                                          <p:stCondLst>
                                            <p:cond delay="0"/>
                                          </p:stCondLst>
                                        </p:cTn>
                                        <p:tgtEl>
                                          <p:spTgt spid="102"/>
                                        </p:tgtEl>
                                        <p:attrNameLst>
                                          <p:attrName>style.visibility</p:attrName>
                                        </p:attrNameLst>
                                      </p:cBhvr>
                                      <p:to>
                                        <p:strVal val="visible"/>
                                      </p:to>
                                    </p:set>
                                    <p:animEffect transition="in" filter="fade">
                                      <p:cBhvr>
                                        <p:cTn id="51" dur="200"/>
                                        <p:tgtEl>
                                          <p:spTgt spid="102"/>
                                        </p:tgtEl>
                                      </p:cBhvr>
                                    </p:animEffect>
                                  </p:childTnLst>
                                </p:cTn>
                              </p:par>
                            </p:childTnLst>
                          </p:cTn>
                        </p:par>
                        <p:par>
                          <p:cTn id="52" fill="hold">
                            <p:stCondLst>
                              <p:cond delay="3700"/>
                            </p:stCondLst>
                            <p:childTnLst>
                              <p:par>
                                <p:cTn id="53" presetID="10" presetClass="entr" presetSubtype="0" fill="hold" nodeType="afterEffect">
                                  <p:stCondLst>
                                    <p:cond delay="0"/>
                                  </p:stCondLst>
                                  <p:childTnLst>
                                    <p:set>
                                      <p:cBhvr>
                                        <p:cTn id="54" dur="1" fill="hold">
                                          <p:stCondLst>
                                            <p:cond delay="0"/>
                                          </p:stCondLst>
                                        </p:cTn>
                                        <p:tgtEl>
                                          <p:spTgt spid="94"/>
                                        </p:tgtEl>
                                        <p:attrNameLst>
                                          <p:attrName>style.visibility</p:attrName>
                                        </p:attrNameLst>
                                      </p:cBhvr>
                                      <p:to>
                                        <p:strVal val="visible"/>
                                      </p:to>
                                    </p:set>
                                    <p:animEffect transition="in" filter="fade">
                                      <p:cBhvr>
                                        <p:cTn id="55" dur="300"/>
                                        <p:tgtEl>
                                          <p:spTgt spid="94"/>
                                        </p:tgtEl>
                                      </p:cBhvr>
                                    </p:animEffect>
                                  </p:childTnLst>
                                </p:cTn>
                              </p:par>
                            </p:childTnLst>
                          </p:cTn>
                        </p:par>
                        <p:par>
                          <p:cTn id="56" fill="hold">
                            <p:stCondLst>
                              <p:cond delay="4000"/>
                            </p:stCondLst>
                            <p:childTnLst>
                              <p:par>
                                <p:cTn id="57" presetID="10" presetClass="entr" presetSubtype="0" fill="hold" nodeType="afterEffect">
                                  <p:stCondLst>
                                    <p:cond delay="0"/>
                                  </p:stCondLst>
                                  <p:childTnLst>
                                    <p:set>
                                      <p:cBhvr>
                                        <p:cTn id="58" dur="1" fill="hold">
                                          <p:stCondLst>
                                            <p:cond delay="0"/>
                                          </p:stCondLst>
                                        </p:cTn>
                                        <p:tgtEl>
                                          <p:spTgt spid="112"/>
                                        </p:tgtEl>
                                        <p:attrNameLst>
                                          <p:attrName>style.visibility</p:attrName>
                                        </p:attrNameLst>
                                      </p:cBhvr>
                                      <p:to>
                                        <p:strVal val="visible"/>
                                      </p:to>
                                    </p:set>
                                    <p:animEffect transition="in" filter="fade">
                                      <p:cBhvr>
                                        <p:cTn id="59" dur="300"/>
                                        <p:tgtEl>
                                          <p:spTgt spid="112"/>
                                        </p:tgtEl>
                                      </p:cBhvr>
                                    </p:animEffect>
                                  </p:childTnLst>
                                </p:cTn>
                              </p:par>
                            </p:childTnLst>
                          </p:cTn>
                        </p:par>
                        <p:par>
                          <p:cTn id="60" fill="hold">
                            <p:stCondLst>
                              <p:cond delay="4300"/>
                            </p:stCondLst>
                            <p:childTnLst>
                              <p:par>
                                <p:cTn id="61" presetID="10" presetClass="entr" presetSubtype="0" fill="hold" nodeType="afterEffect">
                                  <p:stCondLst>
                                    <p:cond delay="0"/>
                                  </p:stCondLst>
                                  <p:childTnLst>
                                    <p:set>
                                      <p:cBhvr>
                                        <p:cTn id="62" dur="1" fill="hold">
                                          <p:stCondLst>
                                            <p:cond delay="0"/>
                                          </p:stCondLst>
                                        </p:cTn>
                                        <p:tgtEl>
                                          <p:spTgt spid="95"/>
                                        </p:tgtEl>
                                        <p:attrNameLst>
                                          <p:attrName>style.visibility</p:attrName>
                                        </p:attrNameLst>
                                      </p:cBhvr>
                                      <p:to>
                                        <p:strVal val="visible"/>
                                      </p:to>
                                    </p:set>
                                    <p:animEffect transition="in" filter="fade">
                                      <p:cBhvr>
                                        <p:cTn id="63" dur="300"/>
                                        <p:tgtEl>
                                          <p:spTgt spid="95"/>
                                        </p:tgtEl>
                                      </p:cBhvr>
                                    </p:animEffect>
                                  </p:childTnLst>
                                </p:cTn>
                              </p:par>
                              <p:par>
                                <p:cTn id="64" presetID="10" presetClass="entr" presetSubtype="0" fill="hold" nodeType="withEffect">
                                  <p:stCondLst>
                                    <p:cond delay="0"/>
                                  </p:stCondLst>
                                  <p:childTnLst>
                                    <p:set>
                                      <p:cBhvr>
                                        <p:cTn id="65" dur="1" fill="hold">
                                          <p:stCondLst>
                                            <p:cond delay="0"/>
                                          </p:stCondLst>
                                        </p:cTn>
                                        <p:tgtEl>
                                          <p:spTgt spid="99"/>
                                        </p:tgtEl>
                                        <p:attrNameLst>
                                          <p:attrName>style.visibility</p:attrName>
                                        </p:attrNameLst>
                                      </p:cBhvr>
                                      <p:to>
                                        <p:strVal val="visible"/>
                                      </p:to>
                                    </p:set>
                                    <p:animEffect transition="in" filter="fade">
                                      <p:cBhvr>
                                        <p:cTn id="66" dur="500"/>
                                        <p:tgtEl>
                                          <p:spTgt spid="99"/>
                                        </p:tgtEl>
                                      </p:cBhvr>
                                    </p:animEffect>
                                  </p:childTnLst>
                                </p:cTn>
                              </p:par>
                            </p:childTnLst>
                          </p:cTn>
                        </p:par>
                        <p:par>
                          <p:cTn id="67" fill="hold">
                            <p:stCondLst>
                              <p:cond delay="4800"/>
                            </p:stCondLst>
                            <p:childTnLst>
                              <p:par>
                                <p:cTn id="68" presetID="10" presetClass="entr" presetSubtype="0" fill="hold" nodeType="afterEffect">
                                  <p:stCondLst>
                                    <p:cond delay="0"/>
                                  </p:stCondLst>
                                  <p:childTnLst>
                                    <p:set>
                                      <p:cBhvr>
                                        <p:cTn id="69" dur="1" fill="hold">
                                          <p:stCondLst>
                                            <p:cond delay="0"/>
                                          </p:stCondLst>
                                        </p:cTn>
                                        <p:tgtEl>
                                          <p:spTgt spid="113"/>
                                        </p:tgtEl>
                                        <p:attrNameLst>
                                          <p:attrName>style.visibility</p:attrName>
                                        </p:attrNameLst>
                                      </p:cBhvr>
                                      <p:to>
                                        <p:strVal val="visible"/>
                                      </p:to>
                                    </p:set>
                                    <p:animEffect transition="in" filter="fade">
                                      <p:cBhvr>
                                        <p:cTn id="70" dur="300"/>
                                        <p:tgtEl>
                                          <p:spTgt spid="113"/>
                                        </p:tgtEl>
                                      </p:cBhvr>
                                    </p:animEffect>
                                  </p:childTnLst>
                                </p:cTn>
                              </p:par>
                            </p:childTnLst>
                          </p:cTn>
                        </p:par>
                        <p:par>
                          <p:cTn id="71" fill="hold">
                            <p:stCondLst>
                              <p:cond delay="5100"/>
                            </p:stCondLst>
                            <p:childTnLst>
                              <p:par>
                                <p:cTn id="72" presetID="10" presetClass="entr" presetSubtype="0" fill="hold" nodeType="afterEffect">
                                  <p:stCondLst>
                                    <p:cond delay="0"/>
                                  </p:stCondLst>
                                  <p:childTnLst>
                                    <p:set>
                                      <p:cBhvr>
                                        <p:cTn id="73" dur="1" fill="hold">
                                          <p:stCondLst>
                                            <p:cond delay="0"/>
                                          </p:stCondLst>
                                        </p:cTn>
                                        <p:tgtEl>
                                          <p:spTgt spid="96"/>
                                        </p:tgtEl>
                                        <p:attrNameLst>
                                          <p:attrName>style.visibility</p:attrName>
                                        </p:attrNameLst>
                                      </p:cBhvr>
                                      <p:to>
                                        <p:strVal val="visible"/>
                                      </p:to>
                                    </p:set>
                                    <p:animEffect transition="in" filter="fade">
                                      <p:cBhvr>
                                        <p:cTn id="74" dur="300"/>
                                        <p:tgtEl>
                                          <p:spTgt spid="96"/>
                                        </p:tgtEl>
                                      </p:cBhvr>
                                    </p:animEffect>
                                  </p:childTnLst>
                                </p:cTn>
                              </p:par>
                              <p:par>
                                <p:cTn id="75" presetID="10" presetClass="entr" presetSubtype="0" fill="hold" nodeType="withEffect">
                                  <p:stCondLst>
                                    <p:cond delay="0"/>
                                  </p:stCondLst>
                                  <p:childTnLst>
                                    <p:set>
                                      <p:cBhvr>
                                        <p:cTn id="76" dur="1" fill="hold">
                                          <p:stCondLst>
                                            <p:cond delay="0"/>
                                          </p:stCondLst>
                                        </p:cTn>
                                        <p:tgtEl>
                                          <p:spTgt spid="97"/>
                                        </p:tgtEl>
                                        <p:attrNameLst>
                                          <p:attrName>style.visibility</p:attrName>
                                        </p:attrNameLst>
                                      </p:cBhvr>
                                      <p:to>
                                        <p:strVal val="visible"/>
                                      </p:to>
                                    </p:set>
                                    <p:animEffect transition="in" filter="fade">
                                      <p:cBhvr>
                                        <p:cTn id="77" dur="300"/>
                                        <p:tgtEl>
                                          <p:spTgt spid="97"/>
                                        </p:tgtEl>
                                      </p:cBhvr>
                                    </p:animEffect>
                                  </p:childTnLst>
                                </p:cTn>
                              </p:par>
                            </p:childTnLst>
                          </p:cTn>
                        </p:par>
                        <p:par>
                          <p:cTn id="78" fill="hold">
                            <p:stCondLst>
                              <p:cond delay="5400"/>
                            </p:stCondLst>
                            <p:childTnLst>
                              <p:par>
                                <p:cTn id="79" presetID="10" presetClass="entr" presetSubtype="0" fill="hold" nodeType="afterEffect">
                                  <p:stCondLst>
                                    <p:cond delay="0"/>
                                  </p:stCondLst>
                                  <p:childTnLst>
                                    <p:set>
                                      <p:cBhvr>
                                        <p:cTn id="80" dur="1" fill="hold">
                                          <p:stCondLst>
                                            <p:cond delay="0"/>
                                          </p:stCondLst>
                                        </p:cTn>
                                        <p:tgtEl>
                                          <p:spTgt spid="121"/>
                                        </p:tgtEl>
                                        <p:attrNameLst>
                                          <p:attrName>style.visibility</p:attrName>
                                        </p:attrNameLst>
                                      </p:cBhvr>
                                      <p:to>
                                        <p:strVal val="visible"/>
                                      </p:to>
                                    </p:set>
                                    <p:animEffect transition="in" filter="fade">
                                      <p:cBhvr>
                                        <p:cTn id="81" dur="400"/>
                                        <p:tgtEl>
                                          <p:spTgt spid="121"/>
                                        </p:tgtEl>
                                      </p:cBhvr>
                                    </p:animEffect>
                                  </p:childTnLst>
                                </p:cTn>
                              </p:par>
                            </p:childTnLst>
                          </p:cTn>
                        </p:par>
                        <p:par>
                          <p:cTn id="82" fill="hold">
                            <p:stCondLst>
                              <p:cond delay="5800"/>
                            </p:stCondLst>
                            <p:childTnLst>
                              <p:par>
                                <p:cTn id="83" presetID="10" presetClass="entr" presetSubtype="0" fill="hold" nodeType="afterEffect">
                                  <p:stCondLst>
                                    <p:cond delay="0"/>
                                  </p:stCondLst>
                                  <p:childTnLst>
                                    <p:set>
                                      <p:cBhvr>
                                        <p:cTn id="84" dur="1" fill="hold">
                                          <p:stCondLst>
                                            <p:cond delay="0"/>
                                          </p:stCondLst>
                                        </p:cTn>
                                        <p:tgtEl>
                                          <p:spTgt spid="114"/>
                                        </p:tgtEl>
                                        <p:attrNameLst>
                                          <p:attrName>style.visibility</p:attrName>
                                        </p:attrNameLst>
                                      </p:cBhvr>
                                      <p:to>
                                        <p:strVal val="visible"/>
                                      </p:to>
                                    </p:set>
                                    <p:animEffect transition="in" filter="fade">
                                      <p:cBhvr>
                                        <p:cTn id="85" dur="400"/>
                                        <p:tgtEl>
                                          <p:spTgt spid="114"/>
                                        </p:tgtEl>
                                      </p:cBhvr>
                                    </p:animEffect>
                                  </p:childTnLst>
                                </p:cTn>
                              </p:par>
                            </p:childTnLst>
                          </p:cTn>
                        </p:par>
                        <p:par>
                          <p:cTn id="86" fill="hold">
                            <p:stCondLst>
                              <p:cond delay="6200"/>
                            </p:stCondLst>
                            <p:childTnLst>
                              <p:par>
                                <p:cTn id="87" presetID="10" presetClass="entr" presetSubtype="0" fill="hold" nodeType="afterEffect">
                                  <p:stCondLst>
                                    <p:cond delay="0"/>
                                  </p:stCondLst>
                                  <p:childTnLst>
                                    <p:set>
                                      <p:cBhvr>
                                        <p:cTn id="88" dur="1" fill="hold">
                                          <p:stCondLst>
                                            <p:cond delay="0"/>
                                          </p:stCondLst>
                                        </p:cTn>
                                        <p:tgtEl>
                                          <p:spTgt spid="115"/>
                                        </p:tgtEl>
                                        <p:attrNameLst>
                                          <p:attrName>style.visibility</p:attrName>
                                        </p:attrNameLst>
                                      </p:cBhvr>
                                      <p:to>
                                        <p:strVal val="visible"/>
                                      </p:to>
                                    </p:set>
                                    <p:animEffect transition="in" filter="fade">
                                      <p:cBhvr>
                                        <p:cTn id="89" dur="300"/>
                                        <p:tgtEl>
                                          <p:spTgt spid="115"/>
                                        </p:tgtEl>
                                      </p:cBhvr>
                                    </p:animEffect>
                                  </p:childTnLst>
                                </p:cTn>
                              </p:par>
                              <p:par>
                                <p:cTn id="90" presetID="10" presetClass="entr" presetSubtype="0" fill="hold" nodeType="withEffect">
                                  <p:stCondLst>
                                    <p:cond delay="0"/>
                                  </p:stCondLst>
                                  <p:childTnLst>
                                    <p:set>
                                      <p:cBhvr>
                                        <p:cTn id="91" dur="1" fill="hold">
                                          <p:stCondLst>
                                            <p:cond delay="0"/>
                                          </p:stCondLst>
                                        </p:cTn>
                                        <p:tgtEl>
                                          <p:spTgt spid="116"/>
                                        </p:tgtEl>
                                        <p:attrNameLst>
                                          <p:attrName>style.visibility</p:attrName>
                                        </p:attrNameLst>
                                      </p:cBhvr>
                                      <p:to>
                                        <p:strVal val="visible"/>
                                      </p:to>
                                    </p:set>
                                    <p:animEffect transition="in" filter="fade">
                                      <p:cBhvr>
                                        <p:cTn id="92" dur="600"/>
                                        <p:tgtEl>
                                          <p:spTgt spid="116"/>
                                        </p:tgtEl>
                                      </p:cBhvr>
                                    </p:animEffect>
                                  </p:childTnLst>
                                </p:cTn>
                              </p:par>
                              <p:par>
                                <p:cTn id="93" presetID="10" presetClass="entr" presetSubtype="0" fill="hold" nodeType="withEffect">
                                  <p:stCondLst>
                                    <p:cond delay="0"/>
                                  </p:stCondLst>
                                  <p:childTnLst>
                                    <p:set>
                                      <p:cBhvr>
                                        <p:cTn id="94" dur="1" fill="hold">
                                          <p:stCondLst>
                                            <p:cond delay="0"/>
                                          </p:stCondLst>
                                        </p:cTn>
                                        <p:tgtEl>
                                          <p:spTgt spid="119"/>
                                        </p:tgtEl>
                                        <p:attrNameLst>
                                          <p:attrName>style.visibility</p:attrName>
                                        </p:attrNameLst>
                                      </p:cBhvr>
                                      <p:to>
                                        <p:strVal val="visible"/>
                                      </p:to>
                                    </p:set>
                                    <p:animEffect transition="in" filter="fade">
                                      <p:cBhvr>
                                        <p:cTn id="95" dur="500"/>
                                        <p:tgtEl>
                                          <p:spTgt spid="119"/>
                                        </p:tgtEl>
                                      </p:cBhvr>
                                    </p:animEffect>
                                  </p:childTnLst>
                                </p:cTn>
                              </p:par>
                            </p:childTnLst>
                          </p:cTn>
                        </p:par>
                        <p:par>
                          <p:cTn id="96" fill="hold">
                            <p:stCondLst>
                              <p:cond delay="6800"/>
                            </p:stCondLst>
                            <p:childTnLst>
                              <p:par>
                                <p:cTn id="97" presetID="10" presetClass="entr" presetSubtype="0" fill="hold" nodeType="afterEffect">
                                  <p:stCondLst>
                                    <p:cond delay="0"/>
                                  </p:stCondLst>
                                  <p:childTnLst>
                                    <p:set>
                                      <p:cBhvr>
                                        <p:cTn id="98" dur="1" fill="hold">
                                          <p:stCondLst>
                                            <p:cond delay="0"/>
                                          </p:stCondLst>
                                        </p:cTn>
                                        <p:tgtEl>
                                          <p:spTgt spid="117"/>
                                        </p:tgtEl>
                                        <p:attrNameLst>
                                          <p:attrName>style.visibility</p:attrName>
                                        </p:attrNameLst>
                                      </p:cBhvr>
                                      <p:to>
                                        <p:strVal val="visible"/>
                                      </p:to>
                                    </p:set>
                                    <p:animEffect transition="in" filter="fade">
                                      <p:cBhvr>
                                        <p:cTn id="99" dur="300"/>
                                        <p:tgtEl>
                                          <p:spTgt spid="117"/>
                                        </p:tgtEl>
                                      </p:cBhvr>
                                    </p:animEffect>
                                  </p:childTnLst>
                                </p:cTn>
                              </p:par>
                              <p:par>
                                <p:cTn id="100" presetID="10" presetClass="entr" presetSubtype="0" fill="hold" nodeType="withEffect">
                                  <p:stCondLst>
                                    <p:cond delay="0"/>
                                  </p:stCondLst>
                                  <p:childTnLst>
                                    <p:set>
                                      <p:cBhvr>
                                        <p:cTn id="101" dur="1" fill="hold">
                                          <p:stCondLst>
                                            <p:cond delay="0"/>
                                          </p:stCondLst>
                                        </p:cTn>
                                        <p:tgtEl>
                                          <p:spTgt spid="118"/>
                                        </p:tgtEl>
                                        <p:attrNameLst>
                                          <p:attrName>style.visibility</p:attrName>
                                        </p:attrNameLst>
                                      </p:cBhvr>
                                      <p:to>
                                        <p:strVal val="visible"/>
                                      </p:to>
                                    </p:set>
                                    <p:animEffect transition="in" filter="fade">
                                      <p:cBhvr>
                                        <p:cTn id="102" dur="400"/>
                                        <p:tgtEl>
                                          <p:spTgt spid="118"/>
                                        </p:tgtEl>
                                      </p:cBhvr>
                                    </p:animEffect>
                                  </p:childTnLst>
                                </p:cTn>
                              </p:par>
                              <p:par>
                                <p:cTn id="103" presetID="10" presetClass="entr" presetSubtype="0" fill="hold" nodeType="withEffect">
                                  <p:stCondLst>
                                    <p:cond delay="0"/>
                                  </p:stCondLst>
                                  <p:childTnLst>
                                    <p:set>
                                      <p:cBhvr>
                                        <p:cTn id="104" dur="1" fill="hold">
                                          <p:stCondLst>
                                            <p:cond delay="0"/>
                                          </p:stCondLst>
                                        </p:cTn>
                                        <p:tgtEl>
                                          <p:spTgt spid="120"/>
                                        </p:tgtEl>
                                        <p:attrNameLst>
                                          <p:attrName>style.visibility</p:attrName>
                                        </p:attrNameLst>
                                      </p:cBhvr>
                                      <p:to>
                                        <p:strVal val="visible"/>
                                      </p:to>
                                    </p:set>
                                    <p:animEffect transition="in" filter="fade">
                                      <p:cBhvr>
                                        <p:cTn id="105" dur="400"/>
                                        <p:tgtEl>
                                          <p:spTgt spid="120"/>
                                        </p:tgtEl>
                                      </p:cBhvr>
                                    </p:animEffect>
                                  </p:childTnLst>
                                </p:cTn>
                              </p:par>
                            </p:childTnLst>
                          </p:cTn>
                        </p:par>
                        <p:par>
                          <p:cTn id="106" fill="hold">
                            <p:stCondLst>
                              <p:cond delay="7200"/>
                            </p:stCondLst>
                            <p:childTnLst>
                              <p:par>
                                <p:cTn id="107" presetID="10" presetClass="entr" presetSubtype="0" fill="hold" nodeType="afterEffect">
                                  <p:stCondLst>
                                    <p:cond delay="0"/>
                                  </p:stCondLst>
                                  <p:childTnLst>
                                    <p:set>
                                      <p:cBhvr>
                                        <p:cTn id="108" dur="1" fill="hold">
                                          <p:stCondLst>
                                            <p:cond delay="0"/>
                                          </p:stCondLst>
                                        </p:cTn>
                                        <p:tgtEl>
                                          <p:spTgt spid="124"/>
                                        </p:tgtEl>
                                        <p:attrNameLst>
                                          <p:attrName>style.visibility</p:attrName>
                                        </p:attrNameLst>
                                      </p:cBhvr>
                                      <p:to>
                                        <p:strVal val="visible"/>
                                      </p:to>
                                    </p:set>
                                    <p:animEffect transition="in" filter="fade">
                                      <p:cBhvr>
                                        <p:cTn id="109" dur="400"/>
                                        <p:tgtEl>
                                          <p:spTgt spid="1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3763F8-26B9-9ADE-7F71-F1420A647662}"/>
              </a:ext>
            </a:extLst>
          </p:cNvPr>
          <p:cNvSpPr txBox="1">
            <a:spLocks/>
          </p:cNvSpPr>
          <p:nvPr/>
        </p:nvSpPr>
        <p:spPr>
          <a:xfrm>
            <a:off x="1080599" y="1042450"/>
            <a:ext cx="15571783" cy="11454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1pPr>
            <a:lvl2pPr marR="0" lvl="1"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2pPr>
            <a:lvl3pPr marR="0" lvl="2"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3pPr>
            <a:lvl4pPr marR="0" lvl="3"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4pPr>
            <a:lvl5pPr marR="0" lvl="4"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5pPr>
            <a:lvl6pPr marR="0" lvl="5"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6pPr>
            <a:lvl7pPr marR="0" lvl="6"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7pPr>
            <a:lvl8pPr marR="0" lvl="7"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8pPr>
            <a:lvl9pPr marR="0" lvl="8"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9pPr>
          </a:lstStyle>
          <a:p>
            <a:r>
              <a:rPr lang="en-US" sz="4000">
                <a:solidFill>
                  <a:schemeClr val="lt1"/>
                </a:solidFill>
                <a:ea typeface="Barlow"/>
                <a:cs typeface="Barlow"/>
                <a:sym typeface="Barlow"/>
              </a:rPr>
              <a:t>Use</a:t>
            </a:r>
            <a:r>
              <a:rPr lang="en-US" sz="4000" noProof="0">
                <a:solidFill>
                  <a:schemeClr val="lt1"/>
                </a:solidFill>
                <a:ea typeface="Barlow"/>
                <a:cs typeface="Barlow"/>
                <a:sym typeface="Barlow"/>
              </a:rPr>
              <a:t> </a:t>
            </a:r>
            <a:r>
              <a:rPr lang="en-US" sz="4000">
                <a:solidFill>
                  <a:schemeClr val="lt1"/>
                </a:solidFill>
                <a:ea typeface="Barlow"/>
                <a:cs typeface="Barlow"/>
                <a:sym typeface="Barlow"/>
              </a:rPr>
              <a:t>cases</a:t>
            </a:r>
            <a:r>
              <a:rPr lang="en-US" sz="4000" noProof="0">
                <a:solidFill>
                  <a:schemeClr val="lt1"/>
                </a:solidFill>
                <a:ea typeface="Barlow"/>
                <a:cs typeface="Barlow"/>
                <a:sym typeface="Barlow"/>
              </a:rPr>
              <a:t> </a:t>
            </a:r>
            <a:r>
              <a:rPr lang="en-US" sz="4000">
                <a:solidFill>
                  <a:schemeClr val="lt1"/>
                </a:solidFill>
                <a:ea typeface="Barlow"/>
                <a:cs typeface="Barlow"/>
                <a:sym typeface="Barlow"/>
              </a:rPr>
              <a:t>for Zero</a:t>
            </a:r>
            <a:r>
              <a:rPr lang="en-US" sz="4000" noProof="0">
                <a:solidFill>
                  <a:schemeClr val="lt1"/>
                </a:solidFill>
                <a:ea typeface="Barlow"/>
                <a:cs typeface="Barlow"/>
                <a:sym typeface="Barlow"/>
              </a:rPr>
              <a:t> </a:t>
            </a:r>
            <a:r>
              <a:rPr lang="en-US" sz="4000">
                <a:solidFill>
                  <a:schemeClr val="lt1"/>
                </a:solidFill>
                <a:ea typeface="Barlow"/>
                <a:cs typeface="Barlow"/>
                <a:sym typeface="Barlow"/>
              </a:rPr>
              <a:t>Trust</a:t>
            </a:r>
            <a:r>
              <a:rPr lang="en-US" sz="4000" noProof="0">
                <a:solidFill>
                  <a:schemeClr val="lt1"/>
                </a:solidFill>
                <a:ea typeface="Barlow"/>
                <a:cs typeface="Barlow"/>
                <a:sym typeface="Barlow"/>
              </a:rPr>
              <a:t> </a:t>
            </a:r>
            <a:r>
              <a:rPr lang="en-US" sz="4000">
                <a:solidFill>
                  <a:schemeClr val="lt1"/>
                </a:solidFill>
                <a:ea typeface="Barlow"/>
                <a:cs typeface="Barlow"/>
                <a:sym typeface="Barlow"/>
              </a:rPr>
              <a:t>Data</a:t>
            </a:r>
            <a:endParaRPr lang="en-US" sz="4000" i="0" u="none" strike="noStrike" cap="none" noProof="0">
              <a:solidFill>
                <a:schemeClr val="lt1"/>
              </a:solidFill>
              <a:ea typeface="Barlow"/>
              <a:cs typeface="Barlow"/>
            </a:endParaRPr>
          </a:p>
          <a:p>
            <a:r>
              <a:rPr lang="en-US" sz="2800" noProof="0">
                <a:solidFill>
                  <a:srgbClr val="6800FF"/>
                </a:solidFill>
                <a:latin typeface="Montserrat Light"/>
                <a:ea typeface="Proxima Nova"/>
                <a:cs typeface="Proxima Nova"/>
                <a:sym typeface="Proxima Nova"/>
              </a:rPr>
              <a:t>Enhancing Financial Safety While Securing Critical Data</a:t>
            </a:r>
            <a:br>
              <a:rPr lang="en-US" sz="2800" noProof="0">
                <a:latin typeface="Proxima Nova"/>
                <a:ea typeface="Proxima Nova"/>
                <a:cs typeface="Proxima Nova"/>
              </a:rPr>
            </a:br>
            <a:endParaRPr lang="en-US" sz="2800" noProof="0">
              <a:solidFill>
                <a:srgbClr val="6800FF"/>
              </a:solidFill>
            </a:endParaRPr>
          </a:p>
        </p:txBody>
      </p:sp>
      <p:sp>
        <p:nvSpPr>
          <p:cNvPr id="27" name="TextBox 26">
            <a:extLst>
              <a:ext uri="{FF2B5EF4-FFF2-40B4-BE49-F238E27FC236}">
                <a16:creationId xmlns:a16="http://schemas.microsoft.com/office/drawing/2014/main" id="{5DEDF0F0-72B6-8A66-2057-01E73003B230}"/>
              </a:ext>
            </a:extLst>
          </p:cNvPr>
          <p:cNvSpPr txBox="1"/>
          <p:nvPr/>
        </p:nvSpPr>
        <p:spPr>
          <a:xfrm>
            <a:off x="1904151" y="3647607"/>
            <a:ext cx="4057118" cy="1292662"/>
          </a:xfrm>
          <a:prstGeom prst="rect">
            <a:avLst/>
          </a:prstGeom>
          <a:noFill/>
          <a:ln>
            <a:noFill/>
          </a:ln>
        </p:spPr>
        <p:txBody>
          <a:bodyPr spcFirstLastPara="1" wrap="square" lIns="0" tIns="0" rIns="0" bIns="0" anchor="t" anchorCtr="0">
            <a:spAutoFit/>
          </a:bodyPr>
          <a:lstStyle>
            <a:defPPr>
              <a:defRPr lang="en-US"/>
            </a:defPPr>
            <a:lvl1pPr>
              <a:defRPr sz="1400">
                <a:solidFill>
                  <a:srgbClr val="434343"/>
                </a:solidFill>
                <a:latin typeface="Segoe UI" panose="020B0502040204020203" pitchFamily="34" charset="0"/>
                <a:ea typeface="Roboto"/>
                <a:cs typeface="Segoe UI" panose="020B0502040204020203"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100" b="0" i="0" u="none" strike="noStrike" kern="1200" cap="none" spc="0" normalizeH="0" baseline="0" noProof="0">
                <a:ln>
                  <a:noFill/>
                </a:ln>
                <a:solidFill>
                  <a:srgbClr val="434343"/>
                </a:solidFill>
                <a:effectLst/>
                <a:uLnTx/>
                <a:uFillTx/>
                <a:latin typeface="Montserrat Light" panose="00000400000000000000" pitchFamily="2" charset="0"/>
              </a:rPr>
              <a:t>Protects sensitive communications with end-to-end encryption and access controls.</a:t>
            </a:r>
          </a:p>
        </p:txBody>
      </p:sp>
      <p:sp>
        <p:nvSpPr>
          <p:cNvPr id="28" name="Shape;1088;p23">
            <a:extLst>
              <a:ext uri="{FF2B5EF4-FFF2-40B4-BE49-F238E27FC236}">
                <a16:creationId xmlns:a16="http://schemas.microsoft.com/office/drawing/2014/main" id="{BD20983E-5BE8-1B3E-9A5B-266EF142DEBE}"/>
              </a:ext>
            </a:extLst>
          </p:cNvPr>
          <p:cNvSpPr/>
          <p:nvPr/>
        </p:nvSpPr>
        <p:spPr>
          <a:xfrm>
            <a:off x="1621952" y="3470690"/>
            <a:ext cx="4320000" cy="52451"/>
          </a:xfrm>
          <a:custGeom>
            <a:avLst/>
            <a:gdLst/>
            <a:ahLst/>
            <a:cxnLst/>
            <a:rect l="l" t="t" r="r" b="b"/>
            <a:pathLst>
              <a:path w="33291" h="1049" extrusionOk="0">
                <a:moveTo>
                  <a:pt x="1" y="0"/>
                </a:moveTo>
                <a:lnTo>
                  <a:pt x="1" y="1048"/>
                </a:lnTo>
                <a:lnTo>
                  <a:pt x="33290" y="1048"/>
                </a:lnTo>
                <a:lnTo>
                  <a:pt x="33290" y="0"/>
                </a:lnTo>
                <a:close/>
              </a:path>
            </a:pathLst>
          </a:custGeom>
          <a:solidFill>
            <a:srgbClr val="6816FF"/>
          </a:solidFill>
          <a:ln>
            <a:noFill/>
          </a:ln>
        </p:spPr>
        <p:txBody>
          <a:bodyPr spcFirstLastPara="1" wrap="square" lIns="182850" tIns="182850" rIns="182850" bIns="182850" anchor="ctr" anchorCtr="0">
            <a:noAutofit/>
          </a:bodyPr>
          <a:lstStyle/>
          <a:p>
            <a:pPr algn="ctr">
              <a:buClr>
                <a:prstClr val="black"/>
              </a:buClr>
              <a:buSzPts val="1100"/>
            </a:pPr>
            <a:endParaRPr lang="en-US" sz="5400" b="1" kern="1200" noProof="0">
              <a:solidFill>
                <a:srgbClr val="FFFFFF"/>
              </a:solidFill>
              <a:latin typeface="Montserrat Light" panose="00000400000000000000" pitchFamily="2" charset="0"/>
              <a:cs typeface="Segoe UI" panose="020B0502040204020203" pitchFamily="34" charset="0"/>
            </a:endParaRPr>
          </a:p>
        </p:txBody>
      </p:sp>
      <p:sp>
        <p:nvSpPr>
          <p:cNvPr id="29" name="Shape;1089;p23">
            <a:extLst>
              <a:ext uri="{FF2B5EF4-FFF2-40B4-BE49-F238E27FC236}">
                <a16:creationId xmlns:a16="http://schemas.microsoft.com/office/drawing/2014/main" id="{913DB5CB-7B95-A291-FB34-157D6097FB09}"/>
              </a:ext>
            </a:extLst>
          </p:cNvPr>
          <p:cNvSpPr/>
          <p:nvPr/>
        </p:nvSpPr>
        <p:spPr>
          <a:xfrm>
            <a:off x="553615" y="2846825"/>
            <a:ext cx="1080000" cy="1080000"/>
          </a:xfrm>
          <a:custGeom>
            <a:avLst/>
            <a:gdLst/>
            <a:ahLst/>
            <a:cxnLst/>
            <a:rect l="l" t="t" r="r" b="b"/>
            <a:pathLst>
              <a:path w="21409" h="21337" extrusionOk="0">
                <a:moveTo>
                  <a:pt x="1" y="0"/>
                </a:moveTo>
                <a:lnTo>
                  <a:pt x="1" y="21336"/>
                </a:lnTo>
                <a:lnTo>
                  <a:pt x="21408" y="21336"/>
                </a:lnTo>
                <a:lnTo>
                  <a:pt x="21408" y="0"/>
                </a:lnTo>
                <a:close/>
              </a:path>
            </a:pathLst>
          </a:custGeom>
          <a:solidFill>
            <a:srgbClr val="6816FF"/>
          </a:solidFill>
          <a:ln>
            <a:noFill/>
          </a:ln>
        </p:spPr>
        <p:txBody>
          <a:bodyPr spcFirstLastPara="1" wrap="square" lIns="182850" tIns="182850" rIns="182850" bIns="182850" anchor="ctr" anchorCtr="0">
            <a:noAutofit/>
          </a:bodyPr>
          <a:lstStyle/>
          <a:p>
            <a:pPr marL="0" marR="0" lvl="0" indent="0" algn="ctr" defTabSz="914400" eaLnBrk="1" fontAlgn="auto" latinLnBrk="0" hangingPunct="1">
              <a:lnSpc>
                <a:spcPct val="100000"/>
              </a:lnSpc>
              <a:spcBef>
                <a:spcPts val="0"/>
              </a:spcBef>
              <a:spcAft>
                <a:spcPts val="0"/>
              </a:spcAft>
              <a:buClr>
                <a:prstClr val="black"/>
              </a:buClr>
              <a:buSzPts val="1100"/>
              <a:buFontTx/>
              <a:buNone/>
              <a:tabLst/>
              <a:defRPr/>
            </a:pPr>
            <a:r>
              <a:rPr kumimoji="0" lang="en-US" sz="5400" b="1" i="0" u="none" strike="noStrike" kern="1200" cap="none" spc="0" normalizeH="0" baseline="0" noProof="0">
                <a:ln>
                  <a:noFill/>
                </a:ln>
                <a:solidFill>
                  <a:srgbClr val="FFFFFF"/>
                </a:solidFill>
                <a:effectLst/>
                <a:uLnTx/>
                <a:uFillTx/>
                <a:latin typeface="Montserrat Light" panose="00000400000000000000" pitchFamily="2" charset="0"/>
                <a:ea typeface="Fira Sans Extra Condensed Medium"/>
                <a:cs typeface="Segoe UI" panose="020B0502040204020203" pitchFamily="34" charset="0"/>
                <a:sym typeface="Fira Sans Extra Condensed Medium"/>
              </a:rPr>
              <a:t>1</a:t>
            </a:r>
            <a:endParaRPr kumimoji="0" lang="en-US" sz="5400" b="1" i="0" u="none" strike="noStrike" kern="1200" cap="none" spc="0" normalizeH="0" baseline="0" noProof="0">
              <a:ln>
                <a:noFill/>
              </a:ln>
              <a:solidFill>
                <a:prstClr val="black"/>
              </a:solidFill>
              <a:effectLst/>
              <a:uLnTx/>
              <a:uFillTx/>
              <a:latin typeface="Montserrat Light" panose="00000400000000000000" pitchFamily="2" charset="0"/>
              <a:ea typeface="+mn-ea"/>
              <a:cs typeface="Segoe UI" panose="020B0502040204020203" pitchFamily="34" charset="0"/>
            </a:endParaRPr>
          </a:p>
        </p:txBody>
      </p:sp>
      <p:sp>
        <p:nvSpPr>
          <p:cNvPr id="30" name="TextBox 29">
            <a:extLst>
              <a:ext uri="{FF2B5EF4-FFF2-40B4-BE49-F238E27FC236}">
                <a16:creationId xmlns:a16="http://schemas.microsoft.com/office/drawing/2014/main" id="{D5D2E0C6-6DD7-235C-A6CF-007C7C8CCF80}"/>
              </a:ext>
            </a:extLst>
          </p:cNvPr>
          <p:cNvSpPr txBox="1"/>
          <p:nvPr/>
        </p:nvSpPr>
        <p:spPr>
          <a:xfrm>
            <a:off x="1865517" y="2582375"/>
            <a:ext cx="3574361" cy="861774"/>
          </a:xfrm>
          <a:prstGeom prst="rect">
            <a:avLst/>
          </a:prstGeom>
          <a:noFill/>
          <a:ln>
            <a:noFill/>
          </a:ln>
        </p:spPr>
        <p:txBody>
          <a:bodyPr spcFirstLastPara="1" wrap="square" lIns="0" tIns="0" rIns="0" bIns="0" anchor="ctr" anchorCtr="0">
            <a:spAutoFit/>
          </a:bodyPr>
          <a:lstStyle>
            <a:defPPr>
              <a:defRPr lang="en-US"/>
            </a:defPPr>
            <a:lvl1pPr>
              <a:defRPr sz="2000" b="1">
                <a:solidFill>
                  <a:srgbClr val="434343"/>
                </a:solidFill>
                <a:latin typeface="Segoe UI" panose="020B0502040204020203" pitchFamily="34" charset="0"/>
                <a:ea typeface="Fira Sans Extra Condensed Medium"/>
                <a:cs typeface="Segoe UI" panose="020B0502040204020203"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434343"/>
                </a:solidFill>
                <a:effectLst/>
                <a:uLnTx/>
                <a:uFillTx/>
                <a:latin typeface="Montserrat Light" panose="00000400000000000000" pitchFamily="2" charset="0"/>
              </a:rPr>
              <a:t>Secure Critical Communications</a:t>
            </a:r>
          </a:p>
        </p:txBody>
      </p:sp>
      <p:sp>
        <p:nvSpPr>
          <p:cNvPr id="31" name="Shape;1093;p23">
            <a:extLst>
              <a:ext uri="{FF2B5EF4-FFF2-40B4-BE49-F238E27FC236}">
                <a16:creationId xmlns:a16="http://schemas.microsoft.com/office/drawing/2014/main" id="{06E16D71-BC67-7995-21BE-D206E5179F7D}"/>
              </a:ext>
            </a:extLst>
          </p:cNvPr>
          <p:cNvSpPr/>
          <p:nvPr/>
        </p:nvSpPr>
        <p:spPr>
          <a:xfrm>
            <a:off x="7295482" y="3470690"/>
            <a:ext cx="4500000" cy="52451"/>
          </a:xfrm>
          <a:custGeom>
            <a:avLst/>
            <a:gdLst/>
            <a:ahLst/>
            <a:cxnLst/>
            <a:rect l="l" t="t" r="r" b="b"/>
            <a:pathLst>
              <a:path w="33303" h="1049" extrusionOk="0">
                <a:moveTo>
                  <a:pt x="1" y="0"/>
                </a:moveTo>
                <a:lnTo>
                  <a:pt x="1" y="1048"/>
                </a:lnTo>
                <a:lnTo>
                  <a:pt x="33302" y="1048"/>
                </a:lnTo>
                <a:lnTo>
                  <a:pt x="33302" y="0"/>
                </a:lnTo>
                <a:close/>
              </a:path>
            </a:pathLst>
          </a:custGeom>
          <a:solidFill>
            <a:srgbClr val="6816FF"/>
          </a:solidFill>
          <a:ln>
            <a:noFill/>
          </a:ln>
        </p:spPr>
        <p:txBody>
          <a:bodyPr spcFirstLastPara="1" wrap="square" lIns="182850" tIns="182850" rIns="182850" bIns="182850" anchor="ctr" anchorCtr="0">
            <a:noAutofit/>
          </a:bodyPr>
          <a:lstStyle/>
          <a:p>
            <a:pPr algn="ctr">
              <a:buClr>
                <a:prstClr val="black"/>
              </a:buClr>
              <a:buSzPts val="1100"/>
            </a:pPr>
            <a:endParaRPr lang="en-US" sz="5400" b="1" kern="1200" noProof="0">
              <a:solidFill>
                <a:srgbClr val="FFFFFF"/>
              </a:solidFill>
              <a:latin typeface="Montserrat Light" panose="00000400000000000000" pitchFamily="2" charset="0"/>
              <a:cs typeface="Segoe UI" panose="020B0502040204020203" pitchFamily="34" charset="0"/>
            </a:endParaRPr>
          </a:p>
        </p:txBody>
      </p:sp>
      <p:sp>
        <p:nvSpPr>
          <p:cNvPr id="32" name="Shape;1094;p23">
            <a:extLst>
              <a:ext uri="{FF2B5EF4-FFF2-40B4-BE49-F238E27FC236}">
                <a16:creationId xmlns:a16="http://schemas.microsoft.com/office/drawing/2014/main" id="{597F7433-9134-37C3-34CE-217CBF7D4C4C}"/>
              </a:ext>
            </a:extLst>
          </p:cNvPr>
          <p:cNvSpPr/>
          <p:nvPr/>
        </p:nvSpPr>
        <p:spPr>
          <a:xfrm>
            <a:off x="6340262" y="2847174"/>
            <a:ext cx="1080000" cy="1080000"/>
          </a:xfrm>
          <a:custGeom>
            <a:avLst/>
            <a:gdLst/>
            <a:ahLst/>
            <a:cxnLst/>
            <a:rect l="l" t="t" r="r" b="b"/>
            <a:pathLst>
              <a:path w="21420" h="21337" extrusionOk="0">
                <a:moveTo>
                  <a:pt x="1" y="0"/>
                </a:moveTo>
                <a:lnTo>
                  <a:pt x="1" y="21336"/>
                </a:lnTo>
                <a:lnTo>
                  <a:pt x="21420" y="21336"/>
                </a:lnTo>
                <a:lnTo>
                  <a:pt x="21420" y="0"/>
                </a:lnTo>
                <a:close/>
              </a:path>
            </a:pathLst>
          </a:custGeom>
          <a:solidFill>
            <a:srgbClr val="6816FF"/>
          </a:solidFill>
          <a:ln>
            <a:noFill/>
          </a:ln>
        </p:spPr>
        <p:txBody>
          <a:bodyPr spcFirstLastPara="1" wrap="square" lIns="182850" tIns="182850" rIns="182850" bIns="182850" anchor="ctr" anchorCtr="0">
            <a:noAutofit/>
          </a:bodyPr>
          <a:lstStyle/>
          <a:p>
            <a:pPr algn="ctr">
              <a:buClr>
                <a:prstClr val="black"/>
              </a:buClr>
              <a:buSzPts val="1100"/>
            </a:pPr>
            <a:r>
              <a:rPr lang="en-US" sz="5400" b="1" kern="1200" noProof="0">
                <a:solidFill>
                  <a:srgbClr val="FFFFFF"/>
                </a:solidFill>
                <a:latin typeface="Montserrat Light" panose="00000400000000000000" pitchFamily="2" charset="0"/>
                <a:cs typeface="Segoe UI" panose="020B0502040204020203" pitchFamily="34" charset="0"/>
                <a:sym typeface="Fira Sans Extra Condensed Medium"/>
              </a:rPr>
              <a:t>2</a:t>
            </a:r>
            <a:endParaRPr lang="en-US" sz="5400" b="1" kern="1200" noProof="0">
              <a:solidFill>
                <a:srgbClr val="FFFFFF"/>
              </a:solidFill>
              <a:latin typeface="Montserrat Light" panose="00000400000000000000" pitchFamily="2" charset="0"/>
              <a:cs typeface="Segoe UI" panose="020B0502040204020203" pitchFamily="34" charset="0"/>
            </a:endParaRPr>
          </a:p>
        </p:txBody>
      </p:sp>
      <p:sp>
        <p:nvSpPr>
          <p:cNvPr id="33" name="TextBox 32">
            <a:extLst>
              <a:ext uri="{FF2B5EF4-FFF2-40B4-BE49-F238E27FC236}">
                <a16:creationId xmlns:a16="http://schemas.microsoft.com/office/drawing/2014/main" id="{88D31E57-8907-DAC5-E635-1093138D9A21}"/>
              </a:ext>
            </a:extLst>
          </p:cNvPr>
          <p:cNvSpPr txBox="1"/>
          <p:nvPr/>
        </p:nvSpPr>
        <p:spPr>
          <a:xfrm>
            <a:off x="7706312" y="3647607"/>
            <a:ext cx="4151256" cy="969496"/>
          </a:xfrm>
          <a:prstGeom prst="rect">
            <a:avLst/>
          </a:prstGeom>
          <a:noFill/>
          <a:ln>
            <a:noFill/>
          </a:ln>
        </p:spPr>
        <p:txBody>
          <a:bodyPr spcFirstLastPara="1" wrap="square" lIns="0" tIns="0" rIns="0" bIns="0" anchor="t" anchorCtr="0">
            <a:spAutoFit/>
          </a:bodyPr>
          <a:lstStyle>
            <a:defPPr>
              <a:defRPr lang="en-US"/>
            </a:defPPr>
            <a:lvl1pPr>
              <a:defRPr sz="1400">
                <a:solidFill>
                  <a:srgbClr val="434343"/>
                </a:solidFill>
                <a:latin typeface="Segoe UI" panose="020B0502040204020203" pitchFamily="34" charset="0"/>
                <a:ea typeface="Roboto"/>
                <a:cs typeface="Segoe UI" panose="020B0502040204020203"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100" b="0" i="0" u="none" strike="noStrike" kern="1200" cap="none" spc="0" normalizeH="0" baseline="0" noProof="0">
                <a:ln>
                  <a:noFill/>
                </a:ln>
                <a:solidFill>
                  <a:srgbClr val="434343"/>
                </a:solidFill>
                <a:effectLst/>
                <a:uLnTx/>
                <a:uFillTx/>
                <a:latin typeface="Montserrat Light" panose="00000400000000000000" pitchFamily="2" charset="0"/>
              </a:rPr>
              <a:t>Provide clients with clear visibility into how their data is accessed, used, and protected.</a:t>
            </a:r>
          </a:p>
        </p:txBody>
      </p:sp>
      <p:sp>
        <p:nvSpPr>
          <p:cNvPr id="34" name="TextBox 33">
            <a:extLst>
              <a:ext uri="{FF2B5EF4-FFF2-40B4-BE49-F238E27FC236}">
                <a16:creationId xmlns:a16="http://schemas.microsoft.com/office/drawing/2014/main" id="{F0101398-BAC3-BB46-8DD0-6F2672FE5492}"/>
              </a:ext>
            </a:extLst>
          </p:cNvPr>
          <p:cNvSpPr txBox="1"/>
          <p:nvPr/>
        </p:nvSpPr>
        <p:spPr>
          <a:xfrm>
            <a:off x="7706312" y="2582375"/>
            <a:ext cx="4106315" cy="861774"/>
          </a:xfrm>
          <a:prstGeom prst="rect">
            <a:avLst/>
          </a:prstGeom>
          <a:noFill/>
          <a:ln>
            <a:noFill/>
          </a:ln>
        </p:spPr>
        <p:txBody>
          <a:bodyPr spcFirstLastPara="1" wrap="square" lIns="0" tIns="0" rIns="0" bIns="0" anchor="ctr" anchorCtr="0">
            <a:spAutoFit/>
          </a:bodyPr>
          <a:lstStyle>
            <a:defPPr>
              <a:defRPr lang="en-US"/>
            </a:defPPr>
            <a:lvl1pPr>
              <a:defRPr sz="2000" b="1">
                <a:solidFill>
                  <a:srgbClr val="434343"/>
                </a:solidFill>
                <a:latin typeface="Segoe UI" panose="020B0502040204020203" pitchFamily="34" charset="0"/>
                <a:ea typeface="Fira Sans Extra Condensed Medium"/>
                <a:cs typeface="Segoe UI" panose="020B0502040204020203"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434343"/>
                </a:solidFill>
                <a:effectLst/>
                <a:uLnTx/>
                <a:uFillTx/>
                <a:latin typeface="Montserrat Light" panose="00000400000000000000" pitchFamily="2" charset="0"/>
              </a:rPr>
              <a:t>Enhance Customer Trust &amp; Loyalty</a:t>
            </a:r>
          </a:p>
        </p:txBody>
      </p:sp>
      <p:sp>
        <p:nvSpPr>
          <p:cNvPr id="35" name="Shape;1098;p23">
            <a:extLst>
              <a:ext uri="{FF2B5EF4-FFF2-40B4-BE49-F238E27FC236}">
                <a16:creationId xmlns:a16="http://schemas.microsoft.com/office/drawing/2014/main" id="{CEA74D60-6E86-9E74-51B8-88C91A8E950F}"/>
              </a:ext>
            </a:extLst>
          </p:cNvPr>
          <p:cNvSpPr/>
          <p:nvPr/>
        </p:nvSpPr>
        <p:spPr>
          <a:xfrm>
            <a:off x="13208148" y="3470690"/>
            <a:ext cx="4500000" cy="52451"/>
          </a:xfrm>
          <a:custGeom>
            <a:avLst/>
            <a:gdLst/>
            <a:ahLst/>
            <a:cxnLst/>
            <a:rect l="l" t="t" r="r" b="b"/>
            <a:pathLst>
              <a:path w="33303" h="1049" extrusionOk="0">
                <a:moveTo>
                  <a:pt x="0" y="0"/>
                </a:moveTo>
                <a:lnTo>
                  <a:pt x="0" y="1048"/>
                </a:lnTo>
                <a:lnTo>
                  <a:pt x="33302" y="1048"/>
                </a:lnTo>
                <a:lnTo>
                  <a:pt x="33302" y="0"/>
                </a:lnTo>
                <a:close/>
              </a:path>
            </a:pathLst>
          </a:custGeom>
          <a:solidFill>
            <a:srgbClr val="6816FF"/>
          </a:solidFill>
          <a:ln>
            <a:noFill/>
          </a:ln>
        </p:spPr>
        <p:txBody>
          <a:bodyPr spcFirstLastPara="1" wrap="square" lIns="182850" tIns="182850" rIns="182850" bIns="182850" anchor="ctr" anchorCtr="0">
            <a:noAutofit/>
          </a:bodyPr>
          <a:lstStyle/>
          <a:p>
            <a:pPr algn="ctr">
              <a:buClr>
                <a:prstClr val="black"/>
              </a:buClr>
              <a:buSzPts val="1100"/>
            </a:pPr>
            <a:endParaRPr lang="en-US" sz="5400" b="1" kern="1200" noProof="0">
              <a:solidFill>
                <a:srgbClr val="FFFFFF"/>
              </a:solidFill>
              <a:latin typeface="Montserrat Light" panose="00000400000000000000" pitchFamily="2" charset="0"/>
              <a:cs typeface="Segoe UI" panose="020B0502040204020203" pitchFamily="34" charset="0"/>
            </a:endParaRPr>
          </a:p>
        </p:txBody>
      </p:sp>
      <p:sp>
        <p:nvSpPr>
          <p:cNvPr id="36" name="Shape;1099;p23">
            <a:extLst>
              <a:ext uri="{FF2B5EF4-FFF2-40B4-BE49-F238E27FC236}">
                <a16:creationId xmlns:a16="http://schemas.microsoft.com/office/drawing/2014/main" id="{169758C2-E074-C22D-0ABA-CA45AD9B5D8C}"/>
              </a:ext>
            </a:extLst>
          </p:cNvPr>
          <p:cNvSpPr/>
          <p:nvPr/>
        </p:nvSpPr>
        <p:spPr>
          <a:xfrm>
            <a:off x="12126917" y="2846819"/>
            <a:ext cx="1080000" cy="1080000"/>
          </a:xfrm>
          <a:custGeom>
            <a:avLst/>
            <a:gdLst/>
            <a:ahLst/>
            <a:cxnLst/>
            <a:rect l="l" t="t" r="r" b="b"/>
            <a:pathLst>
              <a:path w="21408" h="21337" extrusionOk="0">
                <a:moveTo>
                  <a:pt x="1" y="0"/>
                </a:moveTo>
                <a:lnTo>
                  <a:pt x="1" y="21336"/>
                </a:lnTo>
                <a:lnTo>
                  <a:pt x="21408" y="21336"/>
                </a:lnTo>
                <a:lnTo>
                  <a:pt x="21408" y="0"/>
                </a:lnTo>
                <a:close/>
              </a:path>
            </a:pathLst>
          </a:custGeom>
          <a:solidFill>
            <a:srgbClr val="6816FF"/>
          </a:solidFill>
          <a:ln>
            <a:noFill/>
          </a:ln>
        </p:spPr>
        <p:txBody>
          <a:bodyPr spcFirstLastPara="1" wrap="square" lIns="182850" tIns="182850" rIns="182850" bIns="182850" anchor="ctr" anchorCtr="0">
            <a:noAutofit/>
          </a:bodyPr>
          <a:lstStyle/>
          <a:p>
            <a:pPr algn="ctr">
              <a:buClr>
                <a:prstClr val="black"/>
              </a:buClr>
              <a:buSzPts val="1100"/>
            </a:pPr>
            <a:r>
              <a:rPr lang="en-US" sz="5400" b="1" kern="1200" noProof="0">
                <a:solidFill>
                  <a:srgbClr val="FFFFFF"/>
                </a:solidFill>
                <a:latin typeface="Montserrat Light" panose="00000400000000000000" pitchFamily="2" charset="0"/>
                <a:cs typeface="Segoe UI" panose="020B0502040204020203" pitchFamily="34" charset="0"/>
                <a:sym typeface="Fira Sans Extra Condensed Medium"/>
              </a:rPr>
              <a:t>3</a:t>
            </a:r>
            <a:endParaRPr lang="en-US" sz="5400" b="1" kern="1200" noProof="0">
              <a:solidFill>
                <a:srgbClr val="FFFFFF"/>
              </a:solidFill>
              <a:latin typeface="Montserrat Light" panose="00000400000000000000" pitchFamily="2" charset="0"/>
              <a:cs typeface="Segoe UI" panose="020B0502040204020203" pitchFamily="34" charset="0"/>
            </a:endParaRPr>
          </a:p>
        </p:txBody>
      </p:sp>
      <p:sp>
        <p:nvSpPr>
          <p:cNvPr id="37" name="TextBox 36">
            <a:extLst>
              <a:ext uri="{FF2B5EF4-FFF2-40B4-BE49-F238E27FC236}">
                <a16:creationId xmlns:a16="http://schemas.microsoft.com/office/drawing/2014/main" id="{5D0C5BD7-33B8-9255-F4EC-2D7C1BBA0819}"/>
              </a:ext>
            </a:extLst>
          </p:cNvPr>
          <p:cNvSpPr txBox="1"/>
          <p:nvPr/>
        </p:nvSpPr>
        <p:spPr>
          <a:xfrm>
            <a:off x="13315283" y="3647607"/>
            <a:ext cx="4392865" cy="1615827"/>
          </a:xfrm>
          <a:prstGeom prst="rect">
            <a:avLst/>
          </a:prstGeom>
          <a:noFill/>
          <a:ln>
            <a:noFill/>
          </a:ln>
        </p:spPr>
        <p:txBody>
          <a:bodyPr spcFirstLastPara="1" wrap="square" lIns="0" tIns="0" rIns="0" bIns="0" anchor="t" anchorCtr="0">
            <a:spAutoFit/>
          </a:bodyPr>
          <a:lstStyle>
            <a:defPPr>
              <a:defRPr lang="en-US"/>
            </a:defPPr>
            <a:lvl1pPr>
              <a:defRPr sz="1400">
                <a:solidFill>
                  <a:srgbClr val="434343"/>
                </a:solidFill>
                <a:latin typeface="Segoe UI" panose="020B0502040204020203" pitchFamily="34" charset="0"/>
                <a:ea typeface="Roboto"/>
                <a:cs typeface="Segoe UI" panose="020B0502040204020203"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100" b="0" i="0" u="none" strike="noStrike" kern="1200" cap="none" spc="0" normalizeH="0" baseline="0" noProof="0">
                <a:ln>
                  <a:noFill/>
                </a:ln>
                <a:solidFill>
                  <a:srgbClr val="434343"/>
                </a:solidFill>
                <a:effectLst/>
                <a:uLnTx/>
                <a:uFillTx/>
                <a:latin typeface="Montserrat Light" panose="00000400000000000000" pitchFamily="2" charset="0"/>
              </a:rPr>
              <a:t>Demonstrate a commitment to data privacy and security, attracting more security-conscious customers and increasing conversion rates.</a:t>
            </a:r>
          </a:p>
        </p:txBody>
      </p:sp>
      <p:sp>
        <p:nvSpPr>
          <p:cNvPr id="38" name="TextBox 37">
            <a:extLst>
              <a:ext uri="{FF2B5EF4-FFF2-40B4-BE49-F238E27FC236}">
                <a16:creationId xmlns:a16="http://schemas.microsoft.com/office/drawing/2014/main" id="{0E74AB4D-819E-5EDC-6B49-3F5F6BB1909B}"/>
              </a:ext>
            </a:extLst>
          </p:cNvPr>
          <p:cNvSpPr txBox="1"/>
          <p:nvPr/>
        </p:nvSpPr>
        <p:spPr>
          <a:xfrm>
            <a:off x="13315283" y="2582375"/>
            <a:ext cx="4444694" cy="861774"/>
          </a:xfrm>
          <a:prstGeom prst="rect">
            <a:avLst/>
          </a:prstGeom>
          <a:noFill/>
          <a:ln>
            <a:noFill/>
          </a:ln>
        </p:spPr>
        <p:txBody>
          <a:bodyPr spcFirstLastPara="1" wrap="square" lIns="0" tIns="0" rIns="0" bIns="0" anchor="ctr" anchorCtr="0">
            <a:spAutoFit/>
          </a:bodyPr>
          <a:lstStyle>
            <a:defPPr>
              <a:defRPr lang="en-US"/>
            </a:defPPr>
            <a:lvl1pPr>
              <a:defRPr sz="2000" b="1">
                <a:solidFill>
                  <a:srgbClr val="434343"/>
                </a:solidFill>
                <a:latin typeface="Segoe UI" panose="020B0502040204020203" pitchFamily="34" charset="0"/>
                <a:ea typeface="Fira Sans Extra Condensed Medium"/>
                <a:cs typeface="Segoe UI" panose="020B0502040204020203"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434343"/>
                </a:solidFill>
                <a:effectLst/>
                <a:uLnTx/>
                <a:uFillTx/>
                <a:latin typeface="Montserrat Light" panose="00000400000000000000" pitchFamily="2" charset="0"/>
              </a:rPr>
              <a:t>Competitive Advantage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434343"/>
                </a:solidFill>
                <a:effectLst/>
                <a:uLnTx/>
                <a:uFillTx/>
                <a:latin typeface="Montserrat Light" panose="00000400000000000000" pitchFamily="2" charset="0"/>
              </a:rPr>
              <a:t>&amp; Brand Differentiation</a:t>
            </a:r>
          </a:p>
        </p:txBody>
      </p:sp>
      <p:sp>
        <p:nvSpPr>
          <p:cNvPr id="51" name="TextBox 50">
            <a:extLst>
              <a:ext uri="{FF2B5EF4-FFF2-40B4-BE49-F238E27FC236}">
                <a16:creationId xmlns:a16="http://schemas.microsoft.com/office/drawing/2014/main" id="{711342BD-7ED4-0C7B-1CCF-CD293E266AD5}"/>
              </a:ext>
            </a:extLst>
          </p:cNvPr>
          <p:cNvSpPr txBox="1"/>
          <p:nvPr/>
        </p:nvSpPr>
        <p:spPr>
          <a:xfrm>
            <a:off x="1902012" y="6749255"/>
            <a:ext cx="4057118" cy="1615827"/>
          </a:xfrm>
          <a:prstGeom prst="rect">
            <a:avLst/>
          </a:prstGeom>
          <a:noFill/>
          <a:ln>
            <a:noFill/>
          </a:ln>
        </p:spPr>
        <p:txBody>
          <a:bodyPr spcFirstLastPara="1" wrap="square" lIns="0" tIns="0" rIns="0" bIns="0" anchor="t" anchorCtr="0">
            <a:spAutoFit/>
          </a:bodyPr>
          <a:lstStyle>
            <a:defPPr>
              <a:defRPr lang="en-US"/>
            </a:defPPr>
            <a:lvl1pPr>
              <a:defRPr sz="1400">
                <a:solidFill>
                  <a:srgbClr val="434343"/>
                </a:solidFill>
                <a:latin typeface="Segoe UI" panose="020B0502040204020203" pitchFamily="34" charset="0"/>
                <a:ea typeface="Roboto"/>
                <a:cs typeface="Segoe UI" panose="020B0502040204020203"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100" b="0" i="0" u="none" strike="noStrike" kern="1200" cap="none" spc="0" normalizeH="0" baseline="0" noProof="0">
                <a:ln>
                  <a:noFill/>
                </a:ln>
                <a:solidFill>
                  <a:srgbClr val="434343"/>
                </a:solidFill>
                <a:effectLst/>
                <a:uLnTx/>
                <a:uFillTx/>
                <a:latin typeface="Montserrat Light" panose="00000400000000000000" pitchFamily="2" charset="0"/>
              </a:rPr>
              <a:t>Meet global financial regulations (e.g., GDPR, CCPA, PCI-DSS) with automated audit trails and transparent data governance.</a:t>
            </a:r>
          </a:p>
        </p:txBody>
      </p:sp>
      <p:sp>
        <p:nvSpPr>
          <p:cNvPr id="52" name="Shape;1088;p23">
            <a:extLst>
              <a:ext uri="{FF2B5EF4-FFF2-40B4-BE49-F238E27FC236}">
                <a16:creationId xmlns:a16="http://schemas.microsoft.com/office/drawing/2014/main" id="{8A1DF0B9-0DC8-AC2F-97C4-8D0D638C4E0F}"/>
              </a:ext>
            </a:extLst>
          </p:cNvPr>
          <p:cNvSpPr/>
          <p:nvPr/>
        </p:nvSpPr>
        <p:spPr>
          <a:xfrm>
            <a:off x="1619813" y="6572338"/>
            <a:ext cx="4320000" cy="52451"/>
          </a:xfrm>
          <a:custGeom>
            <a:avLst/>
            <a:gdLst/>
            <a:ahLst/>
            <a:cxnLst/>
            <a:rect l="l" t="t" r="r" b="b"/>
            <a:pathLst>
              <a:path w="33291" h="1049" extrusionOk="0">
                <a:moveTo>
                  <a:pt x="1" y="0"/>
                </a:moveTo>
                <a:lnTo>
                  <a:pt x="1" y="1048"/>
                </a:lnTo>
                <a:lnTo>
                  <a:pt x="33290" y="1048"/>
                </a:lnTo>
                <a:lnTo>
                  <a:pt x="33290" y="0"/>
                </a:lnTo>
                <a:close/>
              </a:path>
            </a:pathLst>
          </a:custGeom>
          <a:solidFill>
            <a:srgbClr val="6816FF"/>
          </a:solidFill>
          <a:ln>
            <a:noFill/>
          </a:ln>
        </p:spPr>
        <p:txBody>
          <a:bodyPr spcFirstLastPara="1" wrap="square" lIns="182850" tIns="182850" rIns="182850" bIns="182850" anchor="ctr" anchorCtr="0">
            <a:noAutofit/>
          </a:bodyPr>
          <a:lstStyle/>
          <a:p>
            <a:pPr algn="ctr">
              <a:buClr>
                <a:prstClr val="black"/>
              </a:buClr>
              <a:buSzPts val="1100"/>
            </a:pPr>
            <a:endParaRPr lang="en-US" sz="5400" b="1" kern="1200" noProof="0">
              <a:solidFill>
                <a:srgbClr val="FFFFFF"/>
              </a:solidFill>
              <a:latin typeface="Montserrat Light" panose="00000400000000000000" pitchFamily="2" charset="0"/>
              <a:cs typeface="Segoe UI" panose="020B0502040204020203" pitchFamily="34" charset="0"/>
            </a:endParaRPr>
          </a:p>
        </p:txBody>
      </p:sp>
      <p:sp>
        <p:nvSpPr>
          <p:cNvPr id="53" name="Shape;1089;p23">
            <a:extLst>
              <a:ext uri="{FF2B5EF4-FFF2-40B4-BE49-F238E27FC236}">
                <a16:creationId xmlns:a16="http://schemas.microsoft.com/office/drawing/2014/main" id="{00C5C86E-CA39-13D9-0739-944EB2CA311A}"/>
              </a:ext>
            </a:extLst>
          </p:cNvPr>
          <p:cNvSpPr/>
          <p:nvPr/>
        </p:nvSpPr>
        <p:spPr>
          <a:xfrm>
            <a:off x="551476" y="5948473"/>
            <a:ext cx="1080000" cy="1080000"/>
          </a:xfrm>
          <a:custGeom>
            <a:avLst/>
            <a:gdLst/>
            <a:ahLst/>
            <a:cxnLst/>
            <a:rect l="l" t="t" r="r" b="b"/>
            <a:pathLst>
              <a:path w="21409" h="21337" extrusionOk="0">
                <a:moveTo>
                  <a:pt x="1" y="0"/>
                </a:moveTo>
                <a:lnTo>
                  <a:pt x="1" y="21336"/>
                </a:lnTo>
                <a:lnTo>
                  <a:pt x="21408" y="21336"/>
                </a:lnTo>
                <a:lnTo>
                  <a:pt x="21408" y="0"/>
                </a:lnTo>
                <a:close/>
              </a:path>
            </a:pathLst>
          </a:custGeom>
          <a:solidFill>
            <a:srgbClr val="6816FF"/>
          </a:solidFill>
          <a:ln>
            <a:noFill/>
          </a:ln>
        </p:spPr>
        <p:txBody>
          <a:bodyPr spcFirstLastPara="1" wrap="square" lIns="182850" tIns="182850" rIns="182850" bIns="182850" anchor="ctr" anchorCtr="0">
            <a:noAutofit/>
          </a:bodyPr>
          <a:lstStyle/>
          <a:p>
            <a:pPr marL="0" marR="0" lvl="0" indent="0" algn="ctr" defTabSz="914400" eaLnBrk="1" fontAlgn="auto" latinLnBrk="0" hangingPunct="1">
              <a:lnSpc>
                <a:spcPct val="100000"/>
              </a:lnSpc>
              <a:spcBef>
                <a:spcPts val="0"/>
              </a:spcBef>
              <a:spcAft>
                <a:spcPts val="0"/>
              </a:spcAft>
              <a:buClr>
                <a:prstClr val="black"/>
              </a:buClr>
              <a:buSzPts val="1100"/>
              <a:buFontTx/>
              <a:buNone/>
              <a:tabLst/>
              <a:defRPr/>
            </a:pPr>
            <a:r>
              <a:rPr kumimoji="0" lang="en-US" sz="5400" b="1" i="0" u="none" strike="noStrike" kern="1200" cap="none" spc="0" normalizeH="0" baseline="0" noProof="0">
                <a:ln>
                  <a:noFill/>
                </a:ln>
                <a:solidFill>
                  <a:srgbClr val="FFFFFF"/>
                </a:solidFill>
                <a:effectLst/>
                <a:uLnTx/>
                <a:uFillTx/>
                <a:latin typeface="Montserrat Light" panose="00000400000000000000" pitchFamily="2" charset="0"/>
                <a:ea typeface="Fira Sans Extra Condensed Medium"/>
                <a:cs typeface="Segoe UI" panose="020B0502040204020203" pitchFamily="34" charset="0"/>
                <a:sym typeface="Fira Sans Extra Condensed Medium"/>
              </a:rPr>
              <a:t>4</a:t>
            </a:r>
            <a:endParaRPr kumimoji="0" lang="en-US" sz="5400" b="1" i="0" u="none" strike="noStrike" kern="1200" cap="none" spc="0" normalizeH="0" baseline="0" noProof="0">
              <a:ln>
                <a:noFill/>
              </a:ln>
              <a:solidFill>
                <a:prstClr val="black"/>
              </a:solidFill>
              <a:effectLst/>
              <a:uLnTx/>
              <a:uFillTx/>
              <a:latin typeface="Montserrat Light" panose="00000400000000000000" pitchFamily="2" charset="0"/>
              <a:ea typeface="+mn-ea"/>
              <a:cs typeface="Segoe UI" panose="020B0502040204020203" pitchFamily="34" charset="0"/>
            </a:endParaRPr>
          </a:p>
        </p:txBody>
      </p:sp>
      <p:sp>
        <p:nvSpPr>
          <p:cNvPr id="54" name="TextBox 53">
            <a:extLst>
              <a:ext uri="{FF2B5EF4-FFF2-40B4-BE49-F238E27FC236}">
                <a16:creationId xmlns:a16="http://schemas.microsoft.com/office/drawing/2014/main" id="{344E8581-5C2F-8A23-9128-D788623F8D1D}"/>
              </a:ext>
            </a:extLst>
          </p:cNvPr>
          <p:cNvSpPr txBox="1"/>
          <p:nvPr/>
        </p:nvSpPr>
        <p:spPr>
          <a:xfrm>
            <a:off x="1863378" y="5684023"/>
            <a:ext cx="3574361" cy="861774"/>
          </a:xfrm>
          <a:prstGeom prst="rect">
            <a:avLst/>
          </a:prstGeom>
          <a:noFill/>
          <a:ln>
            <a:noFill/>
          </a:ln>
        </p:spPr>
        <p:txBody>
          <a:bodyPr spcFirstLastPara="1" wrap="square" lIns="0" tIns="0" rIns="0" bIns="0" anchor="ctr" anchorCtr="0">
            <a:spAutoFit/>
          </a:bodyPr>
          <a:lstStyle>
            <a:defPPr>
              <a:defRPr lang="en-US"/>
            </a:defPPr>
            <a:lvl1pPr>
              <a:defRPr sz="2000" b="1">
                <a:solidFill>
                  <a:srgbClr val="434343"/>
                </a:solidFill>
                <a:latin typeface="Segoe UI" panose="020B0502040204020203" pitchFamily="34" charset="0"/>
                <a:ea typeface="Fira Sans Extra Condensed Medium"/>
                <a:cs typeface="Segoe UI" panose="020B0502040204020203"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434343"/>
                </a:solidFill>
                <a:effectLst/>
                <a:uLnTx/>
                <a:uFillTx/>
                <a:latin typeface="Montserrat Light" panose="00000400000000000000" pitchFamily="2" charset="0"/>
              </a:rPr>
              <a:t>Compliance Simplification</a:t>
            </a:r>
          </a:p>
        </p:txBody>
      </p:sp>
      <p:sp>
        <p:nvSpPr>
          <p:cNvPr id="55" name="Shape;1093;p23">
            <a:extLst>
              <a:ext uri="{FF2B5EF4-FFF2-40B4-BE49-F238E27FC236}">
                <a16:creationId xmlns:a16="http://schemas.microsoft.com/office/drawing/2014/main" id="{5B0BA4F8-75A2-BCA9-9A08-218221E54BA1}"/>
              </a:ext>
            </a:extLst>
          </p:cNvPr>
          <p:cNvSpPr/>
          <p:nvPr/>
        </p:nvSpPr>
        <p:spPr>
          <a:xfrm>
            <a:off x="7293343" y="6572338"/>
            <a:ext cx="4500000" cy="52451"/>
          </a:xfrm>
          <a:custGeom>
            <a:avLst/>
            <a:gdLst/>
            <a:ahLst/>
            <a:cxnLst/>
            <a:rect l="l" t="t" r="r" b="b"/>
            <a:pathLst>
              <a:path w="33303" h="1049" extrusionOk="0">
                <a:moveTo>
                  <a:pt x="1" y="0"/>
                </a:moveTo>
                <a:lnTo>
                  <a:pt x="1" y="1048"/>
                </a:lnTo>
                <a:lnTo>
                  <a:pt x="33302" y="1048"/>
                </a:lnTo>
                <a:lnTo>
                  <a:pt x="33302" y="0"/>
                </a:lnTo>
                <a:close/>
              </a:path>
            </a:pathLst>
          </a:custGeom>
          <a:solidFill>
            <a:srgbClr val="6816FF"/>
          </a:solidFill>
          <a:ln>
            <a:noFill/>
          </a:ln>
        </p:spPr>
        <p:txBody>
          <a:bodyPr spcFirstLastPara="1" wrap="square" lIns="182850" tIns="182850" rIns="182850" bIns="182850" anchor="ctr" anchorCtr="0">
            <a:noAutofit/>
          </a:bodyPr>
          <a:lstStyle/>
          <a:p>
            <a:pPr algn="ctr">
              <a:buClr>
                <a:prstClr val="black"/>
              </a:buClr>
              <a:buSzPts val="1100"/>
            </a:pPr>
            <a:endParaRPr lang="en-US" sz="5400" b="1" kern="1200" noProof="0">
              <a:solidFill>
                <a:srgbClr val="FFFFFF"/>
              </a:solidFill>
              <a:latin typeface="Montserrat Light" panose="00000400000000000000" pitchFamily="2" charset="0"/>
              <a:cs typeface="Segoe UI" panose="020B0502040204020203" pitchFamily="34" charset="0"/>
            </a:endParaRPr>
          </a:p>
        </p:txBody>
      </p:sp>
      <p:sp>
        <p:nvSpPr>
          <p:cNvPr id="56" name="Shape;1094;p23">
            <a:extLst>
              <a:ext uri="{FF2B5EF4-FFF2-40B4-BE49-F238E27FC236}">
                <a16:creationId xmlns:a16="http://schemas.microsoft.com/office/drawing/2014/main" id="{C9EC8A57-7FFA-DD15-5814-562C92A88248}"/>
              </a:ext>
            </a:extLst>
          </p:cNvPr>
          <p:cNvSpPr/>
          <p:nvPr/>
        </p:nvSpPr>
        <p:spPr>
          <a:xfrm>
            <a:off x="6338123" y="5948822"/>
            <a:ext cx="1080000" cy="1080000"/>
          </a:xfrm>
          <a:custGeom>
            <a:avLst/>
            <a:gdLst/>
            <a:ahLst/>
            <a:cxnLst/>
            <a:rect l="l" t="t" r="r" b="b"/>
            <a:pathLst>
              <a:path w="21420" h="21337" extrusionOk="0">
                <a:moveTo>
                  <a:pt x="1" y="0"/>
                </a:moveTo>
                <a:lnTo>
                  <a:pt x="1" y="21336"/>
                </a:lnTo>
                <a:lnTo>
                  <a:pt x="21420" y="21336"/>
                </a:lnTo>
                <a:lnTo>
                  <a:pt x="21420" y="0"/>
                </a:lnTo>
                <a:close/>
              </a:path>
            </a:pathLst>
          </a:custGeom>
          <a:solidFill>
            <a:srgbClr val="6816FF"/>
          </a:solidFill>
          <a:ln>
            <a:noFill/>
          </a:ln>
        </p:spPr>
        <p:txBody>
          <a:bodyPr spcFirstLastPara="1" wrap="square" lIns="182850" tIns="182850" rIns="182850" bIns="182850" anchor="ctr" anchorCtr="0">
            <a:noAutofit/>
          </a:bodyPr>
          <a:lstStyle/>
          <a:p>
            <a:pPr algn="ctr">
              <a:buClr>
                <a:prstClr val="black"/>
              </a:buClr>
              <a:buSzPts val="1100"/>
            </a:pPr>
            <a:r>
              <a:rPr lang="en-US" sz="5400" b="1" kern="1200" noProof="0">
                <a:solidFill>
                  <a:srgbClr val="FFFFFF"/>
                </a:solidFill>
                <a:latin typeface="Montserrat Light" panose="00000400000000000000" pitchFamily="2" charset="0"/>
                <a:cs typeface="Segoe UI" panose="020B0502040204020203" pitchFamily="34" charset="0"/>
                <a:sym typeface="Fira Sans Extra Condensed Medium"/>
              </a:rPr>
              <a:t>5</a:t>
            </a:r>
            <a:endParaRPr lang="en-US" sz="5400" b="1" kern="1200" noProof="0">
              <a:solidFill>
                <a:srgbClr val="FFFFFF"/>
              </a:solidFill>
              <a:latin typeface="Montserrat Light" panose="00000400000000000000" pitchFamily="2" charset="0"/>
              <a:cs typeface="Segoe UI" panose="020B0502040204020203" pitchFamily="34" charset="0"/>
            </a:endParaRPr>
          </a:p>
        </p:txBody>
      </p:sp>
      <p:sp>
        <p:nvSpPr>
          <p:cNvPr id="57" name="TextBox 56">
            <a:extLst>
              <a:ext uri="{FF2B5EF4-FFF2-40B4-BE49-F238E27FC236}">
                <a16:creationId xmlns:a16="http://schemas.microsoft.com/office/drawing/2014/main" id="{A6268ED7-1D4B-CAF0-E4CD-C962A16FF8F4}"/>
              </a:ext>
            </a:extLst>
          </p:cNvPr>
          <p:cNvSpPr txBox="1"/>
          <p:nvPr/>
        </p:nvSpPr>
        <p:spPr>
          <a:xfrm>
            <a:off x="7704173" y="6749255"/>
            <a:ext cx="4151256" cy="1938992"/>
          </a:xfrm>
          <a:prstGeom prst="rect">
            <a:avLst/>
          </a:prstGeom>
          <a:noFill/>
          <a:ln>
            <a:noFill/>
          </a:ln>
        </p:spPr>
        <p:txBody>
          <a:bodyPr spcFirstLastPara="1" wrap="square" lIns="0" tIns="0" rIns="0" bIns="0" anchor="t" anchorCtr="0">
            <a:spAutoFit/>
          </a:bodyPr>
          <a:lstStyle>
            <a:defPPr>
              <a:defRPr lang="en-US"/>
            </a:defPPr>
            <a:lvl1pPr>
              <a:defRPr sz="1400">
                <a:solidFill>
                  <a:srgbClr val="434343"/>
                </a:solidFill>
                <a:latin typeface="Segoe UI" panose="020B0502040204020203" pitchFamily="34" charset="0"/>
                <a:ea typeface="Roboto"/>
                <a:cs typeface="Segoe UI" panose="020B0502040204020203"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100" b="0" i="0" u="none" strike="noStrike" kern="1200" cap="none" spc="0" normalizeH="0" baseline="0" noProof="0">
                <a:ln>
                  <a:noFill/>
                </a:ln>
                <a:solidFill>
                  <a:srgbClr val="434343"/>
                </a:solidFill>
                <a:effectLst/>
                <a:uLnTx/>
                <a:uFillTx/>
                <a:latin typeface="Montserrat Light" panose="00000400000000000000" pitchFamily="2" charset="0"/>
              </a:rPr>
              <a:t>Enable encrypted, policy-controlled data exchanges between banks, fintech partners, and regulators without exposing sensitive information.</a:t>
            </a:r>
          </a:p>
        </p:txBody>
      </p:sp>
      <p:sp>
        <p:nvSpPr>
          <p:cNvPr id="58" name="TextBox 57">
            <a:extLst>
              <a:ext uri="{FF2B5EF4-FFF2-40B4-BE49-F238E27FC236}">
                <a16:creationId xmlns:a16="http://schemas.microsoft.com/office/drawing/2014/main" id="{0C66E375-237E-D7DA-E83A-ADB2723987C4}"/>
              </a:ext>
            </a:extLst>
          </p:cNvPr>
          <p:cNvSpPr txBox="1"/>
          <p:nvPr/>
        </p:nvSpPr>
        <p:spPr>
          <a:xfrm>
            <a:off x="7704173" y="5684023"/>
            <a:ext cx="4106315" cy="861774"/>
          </a:xfrm>
          <a:prstGeom prst="rect">
            <a:avLst/>
          </a:prstGeom>
          <a:noFill/>
          <a:ln>
            <a:noFill/>
          </a:ln>
        </p:spPr>
        <p:txBody>
          <a:bodyPr spcFirstLastPara="1" wrap="square" lIns="0" tIns="0" rIns="0" bIns="0" anchor="ctr" anchorCtr="0">
            <a:spAutoFit/>
          </a:bodyPr>
          <a:lstStyle>
            <a:defPPr>
              <a:defRPr lang="en-US"/>
            </a:defPPr>
            <a:lvl1pPr>
              <a:defRPr sz="2000" b="1">
                <a:solidFill>
                  <a:srgbClr val="434343"/>
                </a:solidFill>
                <a:latin typeface="Segoe UI" panose="020B0502040204020203" pitchFamily="34" charset="0"/>
                <a:ea typeface="Fira Sans Extra Condensed Medium"/>
                <a:cs typeface="Segoe UI" panose="020B0502040204020203"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434343"/>
                </a:solidFill>
                <a:effectLst/>
                <a:uLnTx/>
                <a:uFillTx/>
                <a:latin typeface="Montserrat Light" panose="00000400000000000000" pitchFamily="2" charset="0"/>
              </a:rPr>
              <a:t>Secure Data Sharing Across Institutions</a:t>
            </a:r>
          </a:p>
        </p:txBody>
      </p:sp>
      <p:sp>
        <p:nvSpPr>
          <p:cNvPr id="59" name="Shape;1098;p23">
            <a:extLst>
              <a:ext uri="{FF2B5EF4-FFF2-40B4-BE49-F238E27FC236}">
                <a16:creationId xmlns:a16="http://schemas.microsoft.com/office/drawing/2014/main" id="{122D36FE-95E7-5354-50DF-BA39AB8F32EA}"/>
              </a:ext>
            </a:extLst>
          </p:cNvPr>
          <p:cNvSpPr/>
          <p:nvPr/>
        </p:nvSpPr>
        <p:spPr>
          <a:xfrm>
            <a:off x="13206009" y="6572338"/>
            <a:ext cx="4500000" cy="52451"/>
          </a:xfrm>
          <a:custGeom>
            <a:avLst/>
            <a:gdLst/>
            <a:ahLst/>
            <a:cxnLst/>
            <a:rect l="l" t="t" r="r" b="b"/>
            <a:pathLst>
              <a:path w="33303" h="1049" extrusionOk="0">
                <a:moveTo>
                  <a:pt x="0" y="0"/>
                </a:moveTo>
                <a:lnTo>
                  <a:pt x="0" y="1048"/>
                </a:lnTo>
                <a:lnTo>
                  <a:pt x="33302" y="1048"/>
                </a:lnTo>
                <a:lnTo>
                  <a:pt x="33302" y="0"/>
                </a:lnTo>
                <a:close/>
              </a:path>
            </a:pathLst>
          </a:custGeom>
          <a:solidFill>
            <a:srgbClr val="6816FF"/>
          </a:solidFill>
          <a:ln>
            <a:noFill/>
          </a:ln>
        </p:spPr>
        <p:txBody>
          <a:bodyPr spcFirstLastPara="1" wrap="square" lIns="182850" tIns="182850" rIns="182850" bIns="182850" anchor="ctr" anchorCtr="0">
            <a:noAutofit/>
          </a:bodyPr>
          <a:lstStyle/>
          <a:p>
            <a:pPr algn="ctr">
              <a:buClr>
                <a:prstClr val="black"/>
              </a:buClr>
              <a:buSzPts val="1100"/>
            </a:pPr>
            <a:endParaRPr lang="en-US" sz="5400" b="1" kern="1200" noProof="0">
              <a:solidFill>
                <a:srgbClr val="FFFFFF"/>
              </a:solidFill>
              <a:latin typeface="Montserrat Light" panose="00000400000000000000" pitchFamily="2" charset="0"/>
              <a:cs typeface="Segoe UI" panose="020B0502040204020203" pitchFamily="34" charset="0"/>
            </a:endParaRPr>
          </a:p>
        </p:txBody>
      </p:sp>
      <p:sp>
        <p:nvSpPr>
          <p:cNvPr id="60" name="Shape;1099;p23">
            <a:extLst>
              <a:ext uri="{FF2B5EF4-FFF2-40B4-BE49-F238E27FC236}">
                <a16:creationId xmlns:a16="http://schemas.microsoft.com/office/drawing/2014/main" id="{E4B7EAF3-0DEE-049E-1CEC-41569571983A}"/>
              </a:ext>
            </a:extLst>
          </p:cNvPr>
          <p:cNvSpPr/>
          <p:nvPr/>
        </p:nvSpPr>
        <p:spPr>
          <a:xfrm>
            <a:off x="12124778" y="5948467"/>
            <a:ext cx="1080000" cy="1080000"/>
          </a:xfrm>
          <a:custGeom>
            <a:avLst/>
            <a:gdLst/>
            <a:ahLst/>
            <a:cxnLst/>
            <a:rect l="l" t="t" r="r" b="b"/>
            <a:pathLst>
              <a:path w="21408" h="21337" extrusionOk="0">
                <a:moveTo>
                  <a:pt x="1" y="0"/>
                </a:moveTo>
                <a:lnTo>
                  <a:pt x="1" y="21336"/>
                </a:lnTo>
                <a:lnTo>
                  <a:pt x="21408" y="21336"/>
                </a:lnTo>
                <a:lnTo>
                  <a:pt x="21408" y="0"/>
                </a:lnTo>
                <a:close/>
              </a:path>
            </a:pathLst>
          </a:custGeom>
          <a:solidFill>
            <a:srgbClr val="6816FF"/>
          </a:solidFill>
          <a:ln>
            <a:noFill/>
          </a:ln>
        </p:spPr>
        <p:txBody>
          <a:bodyPr spcFirstLastPara="1" wrap="square" lIns="182850" tIns="182850" rIns="182850" bIns="182850" anchor="ctr" anchorCtr="0">
            <a:noAutofit/>
          </a:bodyPr>
          <a:lstStyle/>
          <a:p>
            <a:pPr algn="ctr">
              <a:buClr>
                <a:prstClr val="black"/>
              </a:buClr>
              <a:buSzPts val="1100"/>
            </a:pPr>
            <a:r>
              <a:rPr lang="en-US" sz="5400" b="1" kern="1200" noProof="0">
                <a:solidFill>
                  <a:srgbClr val="FFFFFF"/>
                </a:solidFill>
                <a:latin typeface="Montserrat Light" panose="00000400000000000000" pitchFamily="2" charset="0"/>
                <a:cs typeface="Segoe UI" panose="020B0502040204020203" pitchFamily="34" charset="0"/>
                <a:sym typeface="Fira Sans Extra Condensed Medium"/>
              </a:rPr>
              <a:t>6</a:t>
            </a:r>
            <a:endParaRPr lang="en-US" sz="5400" b="1" kern="1200" noProof="0">
              <a:solidFill>
                <a:srgbClr val="FFFFFF"/>
              </a:solidFill>
              <a:latin typeface="Montserrat Light" panose="00000400000000000000" pitchFamily="2" charset="0"/>
              <a:cs typeface="Segoe UI" panose="020B0502040204020203" pitchFamily="34" charset="0"/>
            </a:endParaRPr>
          </a:p>
        </p:txBody>
      </p:sp>
      <p:sp>
        <p:nvSpPr>
          <p:cNvPr id="61" name="TextBox 60">
            <a:extLst>
              <a:ext uri="{FF2B5EF4-FFF2-40B4-BE49-F238E27FC236}">
                <a16:creationId xmlns:a16="http://schemas.microsoft.com/office/drawing/2014/main" id="{0D0D2110-CDB0-E877-1053-3EBAC766D36B}"/>
              </a:ext>
            </a:extLst>
          </p:cNvPr>
          <p:cNvSpPr txBox="1"/>
          <p:nvPr/>
        </p:nvSpPr>
        <p:spPr>
          <a:xfrm>
            <a:off x="13313144" y="6749255"/>
            <a:ext cx="4392865" cy="1615827"/>
          </a:xfrm>
          <a:prstGeom prst="rect">
            <a:avLst/>
          </a:prstGeom>
          <a:noFill/>
          <a:ln>
            <a:noFill/>
          </a:ln>
        </p:spPr>
        <p:txBody>
          <a:bodyPr spcFirstLastPara="1" wrap="square" lIns="0" tIns="0" rIns="0" bIns="0" anchor="t" anchorCtr="0">
            <a:spAutoFit/>
          </a:bodyPr>
          <a:lstStyle>
            <a:defPPr>
              <a:defRPr lang="en-US"/>
            </a:defPPr>
            <a:lvl1pPr>
              <a:defRPr sz="1400">
                <a:solidFill>
                  <a:srgbClr val="434343"/>
                </a:solidFill>
                <a:latin typeface="Segoe UI" panose="020B0502040204020203" pitchFamily="34" charset="0"/>
                <a:ea typeface="Roboto"/>
                <a:cs typeface="Segoe UI" panose="020B0502040204020203"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100" b="0" i="0" u="none" strike="noStrike" kern="1200" cap="none" spc="0" normalizeH="0" baseline="0" noProof="0">
                <a:ln>
                  <a:noFill/>
                </a:ln>
                <a:solidFill>
                  <a:srgbClr val="434343"/>
                </a:solidFill>
                <a:effectLst/>
                <a:uLnTx/>
                <a:uFillTx/>
                <a:latin typeface="Montserrat Light" panose="00000400000000000000" pitchFamily="2" charset="0"/>
              </a:rPr>
              <a:t>Ensure real-time monitoring and control over data access to detect and prevent unauthorized financial transactions. </a:t>
            </a:r>
          </a:p>
        </p:txBody>
      </p:sp>
      <p:sp>
        <p:nvSpPr>
          <p:cNvPr id="62" name="TextBox 61">
            <a:extLst>
              <a:ext uri="{FF2B5EF4-FFF2-40B4-BE49-F238E27FC236}">
                <a16:creationId xmlns:a16="http://schemas.microsoft.com/office/drawing/2014/main" id="{1868F689-95D5-AD58-CAA2-385F728D6533}"/>
              </a:ext>
            </a:extLst>
          </p:cNvPr>
          <p:cNvSpPr txBox="1"/>
          <p:nvPr/>
        </p:nvSpPr>
        <p:spPr>
          <a:xfrm>
            <a:off x="13313144" y="5684023"/>
            <a:ext cx="4444694" cy="861774"/>
          </a:xfrm>
          <a:prstGeom prst="rect">
            <a:avLst/>
          </a:prstGeom>
          <a:noFill/>
          <a:ln>
            <a:noFill/>
          </a:ln>
        </p:spPr>
        <p:txBody>
          <a:bodyPr spcFirstLastPara="1" wrap="square" lIns="0" tIns="0" rIns="0" bIns="0" anchor="ctr" anchorCtr="0">
            <a:spAutoFit/>
          </a:bodyPr>
          <a:lstStyle>
            <a:defPPr>
              <a:defRPr lang="en-US"/>
            </a:defPPr>
            <a:lvl1pPr>
              <a:defRPr sz="2000" b="1">
                <a:solidFill>
                  <a:srgbClr val="434343"/>
                </a:solidFill>
                <a:latin typeface="Segoe UI" panose="020B0502040204020203" pitchFamily="34" charset="0"/>
                <a:ea typeface="Fira Sans Extra Condensed Medium"/>
                <a:cs typeface="Segoe UI" panose="020B0502040204020203"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434343"/>
                </a:solidFill>
                <a:effectLst/>
                <a:uLnTx/>
                <a:uFillTx/>
                <a:latin typeface="Montserrat Light" panose="00000400000000000000" pitchFamily="2" charset="0"/>
              </a:rPr>
              <a:t>Fraud Prevention &amp; Risk Reduction</a:t>
            </a:r>
          </a:p>
        </p:txBody>
      </p:sp>
      <p:grpSp>
        <p:nvGrpSpPr>
          <p:cNvPr id="63" name="Group 20">
            <a:extLst>
              <a:ext uri="{FF2B5EF4-FFF2-40B4-BE49-F238E27FC236}">
                <a16:creationId xmlns:a16="http://schemas.microsoft.com/office/drawing/2014/main" id="{BEB0BE09-802F-6F00-4399-1F4606995D2C}"/>
              </a:ext>
            </a:extLst>
          </p:cNvPr>
          <p:cNvGrpSpPr/>
          <p:nvPr/>
        </p:nvGrpSpPr>
        <p:grpSpPr>
          <a:xfrm>
            <a:off x="4737142" y="8692936"/>
            <a:ext cx="9975746" cy="999570"/>
            <a:chOff x="0" y="-28575"/>
            <a:chExt cx="4274726" cy="508836"/>
          </a:xfrm>
        </p:grpSpPr>
        <p:sp>
          <p:nvSpPr>
            <p:cNvPr id="64" name="Freeform 21">
              <a:extLst>
                <a:ext uri="{FF2B5EF4-FFF2-40B4-BE49-F238E27FC236}">
                  <a16:creationId xmlns:a16="http://schemas.microsoft.com/office/drawing/2014/main" id="{4CFD6726-2AC2-CF62-A0CE-AE8CA3DB6EA5}"/>
                </a:ext>
              </a:extLst>
            </p:cNvPr>
            <p:cNvSpPr/>
            <p:nvPr/>
          </p:nvSpPr>
          <p:spPr>
            <a:xfrm>
              <a:off x="0" y="0"/>
              <a:ext cx="4274726" cy="480261"/>
            </a:xfrm>
            <a:custGeom>
              <a:avLst/>
              <a:gdLst/>
              <a:ahLst/>
              <a:cxnLst/>
              <a:rect l="l" t="t" r="r" b="b"/>
              <a:pathLst>
                <a:path w="4274726" h="480261">
                  <a:moveTo>
                    <a:pt x="23850" y="0"/>
                  </a:moveTo>
                  <a:lnTo>
                    <a:pt x="4250876" y="0"/>
                  </a:lnTo>
                  <a:cubicBezTo>
                    <a:pt x="4257201" y="0"/>
                    <a:pt x="4263268" y="2513"/>
                    <a:pt x="4267741" y="6985"/>
                  </a:cubicBezTo>
                  <a:cubicBezTo>
                    <a:pt x="4272213" y="11458"/>
                    <a:pt x="4274726" y="17524"/>
                    <a:pt x="4274726" y="23850"/>
                  </a:cubicBezTo>
                  <a:lnTo>
                    <a:pt x="4274726" y="456411"/>
                  </a:lnTo>
                  <a:cubicBezTo>
                    <a:pt x="4274726" y="462736"/>
                    <a:pt x="4272213" y="468803"/>
                    <a:pt x="4267741" y="473275"/>
                  </a:cubicBezTo>
                  <a:cubicBezTo>
                    <a:pt x="4263268" y="477748"/>
                    <a:pt x="4257201" y="480261"/>
                    <a:pt x="4250876" y="480261"/>
                  </a:cubicBezTo>
                  <a:lnTo>
                    <a:pt x="23850" y="480261"/>
                  </a:lnTo>
                  <a:cubicBezTo>
                    <a:pt x="17524" y="480261"/>
                    <a:pt x="11458" y="477748"/>
                    <a:pt x="6985" y="473275"/>
                  </a:cubicBezTo>
                  <a:cubicBezTo>
                    <a:pt x="2513" y="468803"/>
                    <a:pt x="0" y="462736"/>
                    <a:pt x="0" y="456411"/>
                  </a:cubicBezTo>
                  <a:lnTo>
                    <a:pt x="0" y="23850"/>
                  </a:lnTo>
                  <a:cubicBezTo>
                    <a:pt x="0" y="17524"/>
                    <a:pt x="2513" y="11458"/>
                    <a:pt x="6985" y="6985"/>
                  </a:cubicBezTo>
                  <a:cubicBezTo>
                    <a:pt x="11458" y="2513"/>
                    <a:pt x="17524" y="0"/>
                    <a:pt x="23850" y="0"/>
                  </a:cubicBezTo>
                  <a:close/>
                </a:path>
              </a:pathLst>
            </a:custGeom>
            <a:solidFill>
              <a:srgbClr val="222222"/>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65" name="TextBox 22">
              <a:extLst>
                <a:ext uri="{FF2B5EF4-FFF2-40B4-BE49-F238E27FC236}">
                  <a16:creationId xmlns:a16="http://schemas.microsoft.com/office/drawing/2014/main" id="{1F598A0F-567A-503B-D745-FC11434AB870}"/>
                </a:ext>
              </a:extLst>
            </p:cNvPr>
            <p:cNvSpPr txBox="1"/>
            <p:nvPr/>
          </p:nvSpPr>
          <p:spPr>
            <a:xfrm>
              <a:off x="0" y="-28575"/>
              <a:ext cx="4274726" cy="508836"/>
            </a:xfrm>
            <a:prstGeom prst="rect">
              <a:avLst/>
            </a:prstGeom>
          </p:spPr>
          <p:txBody>
            <a:bodyPr lIns="50800" tIns="50800" rIns="50800" bIns="50800" rtlCol="0" anchor="ctr"/>
            <a:lstStyle/>
            <a:p>
              <a:pPr marL="0" marR="0" lvl="0" indent="0" algn="ctr" defTabSz="914400" rtl="0" eaLnBrk="1" fontAlgn="auto" latinLnBrk="0" hangingPunct="1">
                <a:lnSpc>
                  <a:spcPts val="196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66" name="TextBox 33">
            <a:extLst>
              <a:ext uri="{FF2B5EF4-FFF2-40B4-BE49-F238E27FC236}">
                <a16:creationId xmlns:a16="http://schemas.microsoft.com/office/drawing/2014/main" id="{DD83AF76-36FF-7417-4126-B89DD6DE44D4}"/>
              </a:ext>
            </a:extLst>
          </p:cNvPr>
          <p:cNvSpPr txBox="1"/>
          <p:nvPr/>
        </p:nvSpPr>
        <p:spPr>
          <a:xfrm>
            <a:off x="4679269" y="8775376"/>
            <a:ext cx="10192771" cy="871264"/>
          </a:xfrm>
          <a:prstGeom prst="rect">
            <a:avLst/>
          </a:prstGeom>
        </p:spPr>
        <p:txBody>
          <a:bodyPr wrap="square" lIns="0" tIns="0" rIns="0" bIns="0" rtlCol="0" anchor="t">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Montserrat" panose="00000500000000000000" pitchFamily="2" charset="0"/>
                <a:ea typeface="+mn-ea"/>
                <a:cs typeface="+mn-cs"/>
              </a:rPr>
              <a:t>Qintess delivers cost effective data governance solutions and managed services for businesses of all sizes</a:t>
            </a:r>
          </a:p>
        </p:txBody>
      </p:sp>
      <p:grpSp>
        <p:nvGrpSpPr>
          <p:cNvPr id="5" name="Group 7">
            <a:extLst>
              <a:ext uri="{FF2B5EF4-FFF2-40B4-BE49-F238E27FC236}">
                <a16:creationId xmlns:a16="http://schemas.microsoft.com/office/drawing/2014/main" id="{1EED1658-428F-C51A-74C9-763F3D4ADBB7}"/>
              </a:ext>
            </a:extLst>
          </p:cNvPr>
          <p:cNvGrpSpPr/>
          <p:nvPr/>
        </p:nvGrpSpPr>
        <p:grpSpPr>
          <a:xfrm>
            <a:off x="9030517" y="1549790"/>
            <a:ext cx="612363" cy="56823"/>
            <a:chOff x="0" y="0"/>
            <a:chExt cx="1078484" cy="100076"/>
          </a:xfrm>
        </p:grpSpPr>
        <p:sp>
          <p:nvSpPr>
            <p:cNvPr id="4" name="Freeform 8">
              <a:extLst>
                <a:ext uri="{FF2B5EF4-FFF2-40B4-BE49-F238E27FC236}">
                  <a16:creationId xmlns:a16="http://schemas.microsoft.com/office/drawing/2014/main" id="{80849F04-823B-D28D-78F8-9CE81B250AF6}"/>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spTree>
    <p:extLst>
      <p:ext uri="{BB962C8B-B14F-4D97-AF65-F5344CB8AC3E}">
        <p14:creationId xmlns:p14="http://schemas.microsoft.com/office/powerpoint/2010/main" val="151981895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Shape 454"/>
        <p:cNvGrpSpPr/>
        <p:nvPr/>
      </p:nvGrpSpPr>
      <p:grpSpPr>
        <a:xfrm>
          <a:off x="0" y="0"/>
          <a:ext cx="0" cy="0"/>
          <a:chOff x="0" y="0"/>
          <a:chExt cx="0" cy="0"/>
        </a:xfrm>
      </p:grpSpPr>
      <p:pic>
        <p:nvPicPr>
          <p:cNvPr id="457" name="Google Shape;457;p70"/>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284787" y="9719123"/>
            <a:ext cx="701438" cy="332270"/>
          </a:xfrm>
          <a:prstGeom prst="rect">
            <a:avLst/>
          </a:prstGeom>
          <a:noFill/>
          <a:ln>
            <a:noFill/>
          </a:ln>
        </p:spPr>
      </p:pic>
      <p:pic>
        <p:nvPicPr>
          <p:cNvPr id="462" name="Google Shape;462;p70"/>
          <p:cNvPicPr preferRelativeResize="0"/>
          <p:nvPr/>
        </p:nvPicPr>
        <p:blipFill>
          <a:blip r:embed="rId4" cstate="email">
            <a:alphaModFix/>
            <a:extLst>
              <a:ext uri="{28A0092B-C50C-407E-A947-70E740481C1C}">
                <a14:useLocalDpi xmlns:a14="http://schemas.microsoft.com/office/drawing/2010/main"/>
              </a:ext>
            </a:extLst>
          </a:blip>
          <a:srcRect/>
          <a:stretch/>
        </p:blipFill>
        <p:spPr>
          <a:xfrm>
            <a:off x="12161523" y="3865525"/>
            <a:ext cx="5657987" cy="5517450"/>
          </a:xfrm>
          <a:prstGeom prst="rect">
            <a:avLst/>
          </a:prstGeom>
          <a:noFill/>
          <a:ln>
            <a:noFill/>
          </a:ln>
        </p:spPr>
      </p:pic>
      <p:pic>
        <p:nvPicPr>
          <p:cNvPr id="463" name="Google Shape;463;p70"/>
          <p:cNvPicPr preferRelativeResize="0"/>
          <p:nvPr/>
        </p:nvPicPr>
        <p:blipFill>
          <a:blip r:embed="rId5" cstate="email">
            <a:alphaModFix/>
            <a:extLst>
              <a:ext uri="{28A0092B-C50C-407E-A947-70E740481C1C}">
                <a14:useLocalDpi xmlns:a14="http://schemas.microsoft.com/office/drawing/2010/main"/>
              </a:ext>
            </a:extLst>
          </a:blip>
          <a:srcRect/>
          <a:stretch/>
        </p:blipFill>
        <p:spPr>
          <a:xfrm>
            <a:off x="693870" y="4020070"/>
            <a:ext cx="4467012" cy="5195146"/>
          </a:xfrm>
          <a:prstGeom prst="rect">
            <a:avLst/>
          </a:prstGeom>
          <a:noFill/>
          <a:ln>
            <a:noFill/>
          </a:ln>
        </p:spPr>
      </p:pic>
      <p:sp>
        <p:nvSpPr>
          <p:cNvPr id="2" name="Title 1">
            <a:extLst>
              <a:ext uri="{FF2B5EF4-FFF2-40B4-BE49-F238E27FC236}">
                <a16:creationId xmlns:a16="http://schemas.microsoft.com/office/drawing/2014/main" id="{C3C0C690-F69E-9BF5-FBB1-1B132C6F186B}"/>
              </a:ext>
            </a:extLst>
          </p:cNvPr>
          <p:cNvSpPr>
            <a:spLocks noGrp="1"/>
          </p:cNvSpPr>
          <p:nvPr>
            <p:ph type="title" idx="4294967295"/>
          </p:nvPr>
        </p:nvSpPr>
        <p:spPr>
          <a:xfrm>
            <a:off x="1080599" y="1042450"/>
            <a:ext cx="15571783" cy="1145400"/>
          </a:xfrm>
        </p:spPr>
        <p:txBody>
          <a:bodyPr/>
          <a:lstStyle/>
          <a:p>
            <a:r>
              <a:rPr lang="en-US" sz="4000" b="0">
                <a:solidFill>
                  <a:schemeClr val="bg1"/>
                </a:solidFill>
                <a:latin typeface="Montserrat Bold"/>
                <a:sym typeface="Proxima Nova"/>
              </a:rPr>
              <a:t>Data</a:t>
            </a:r>
            <a:r>
              <a:rPr lang="en-US" sz="4000" b="0" noProof="0">
                <a:solidFill>
                  <a:schemeClr val="bg1"/>
                </a:solidFill>
                <a:latin typeface="Montserrat Bold"/>
                <a:sym typeface="Proxima Nova"/>
              </a:rPr>
              <a:t> </a:t>
            </a:r>
            <a:r>
              <a:rPr lang="en-US" sz="4000" b="0">
                <a:solidFill>
                  <a:schemeClr val="bg1"/>
                </a:solidFill>
                <a:latin typeface="Montserrat Bold"/>
                <a:sym typeface="Proxima Nova"/>
              </a:rPr>
              <a:t>Sovereignty</a:t>
            </a:r>
            <a:br>
              <a:rPr lang="en-US" sz="4000" b="0">
                <a:solidFill>
                  <a:schemeClr val="bg1"/>
                </a:solidFill>
                <a:latin typeface="Montserrat Bold"/>
                <a:sym typeface="Proxima Nova"/>
              </a:rPr>
            </a:br>
            <a:r>
              <a:rPr lang="en-US" sz="2800">
                <a:solidFill>
                  <a:srgbClr val="6800FF"/>
                </a:solidFill>
                <a:latin typeface="Montserrat Light"/>
                <a:cs typeface="Proxima Nova"/>
                <a:sym typeface="Proxima Nova"/>
              </a:rPr>
              <a:t>Know</a:t>
            </a:r>
            <a:r>
              <a:rPr lang="en-US" sz="2800" b="1" noProof="0">
                <a:solidFill>
                  <a:srgbClr val="6800FF"/>
                </a:solidFill>
                <a:latin typeface="Montserrat Light"/>
                <a:ea typeface="Proxima Nova"/>
                <a:cs typeface="Proxima Nova"/>
                <a:sym typeface="Proxima Nova"/>
              </a:rPr>
              <a:t> </a:t>
            </a:r>
            <a:r>
              <a:rPr lang="en-US" sz="2800" noProof="0">
                <a:solidFill>
                  <a:srgbClr val="6800FF"/>
                </a:solidFill>
                <a:latin typeface="Montserrat Light"/>
                <a:ea typeface="Proxima Nova"/>
                <a:cs typeface="Proxima Nova"/>
                <a:sym typeface="Proxima Nova"/>
              </a:rPr>
              <a:t>Your</a:t>
            </a:r>
            <a:r>
              <a:rPr lang="en-US" sz="2800" b="1" noProof="0">
                <a:solidFill>
                  <a:srgbClr val="6800FF"/>
                </a:solidFill>
                <a:latin typeface="Montserrat Light"/>
                <a:ea typeface="Proxima Nova"/>
                <a:cs typeface="Proxima Nova"/>
                <a:sym typeface="Proxima Nova"/>
              </a:rPr>
              <a:t> Customer validation and customer data transparency</a:t>
            </a:r>
            <a:br>
              <a:rPr lang="en-US" sz="2800" b="1" noProof="0">
                <a:latin typeface="Proxima Nova"/>
                <a:ea typeface="Proxima Nova"/>
                <a:cs typeface="Proxima Nova"/>
              </a:rPr>
            </a:br>
            <a:endParaRPr lang="en-US" sz="2800" noProof="0">
              <a:solidFill>
                <a:srgbClr val="6800FF"/>
              </a:solidFill>
            </a:endParaRPr>
          </a:p>
        </p:txBody>
      </p:sp>
      <p:pic>
        <p:nvPicPr>
          <p:cNvPr id="4" name="Google Shape;535;g1f503316dc2_0_0">
            <a:extLst>
              <a:ext uri="{FF2B5EF4-FFF2-40B4-BE49-F238E27FC236}">
                <a16:creationId xmlns:a16="http://schemas.microsoft.com/office/drawing/2014/main" id="{1C46A764-A43E-9367-0E13-4220B01E7627}"/>
              </a:ext>
            </a:extLst>
          </p:cNvPr>
          <p:cNvPicPr preferRelativeResize="0"/>
          <p:nvPr/>
        </p:nvPicPr>
        <p:blipFill rotWithShape="1">
          <a:blip r:embed="rId6" cstate="email">
            <a:alphaModFix/>
            <a:extLst>
              <a:ext uri="{28A0092B-C50C-407E-A947-70E740481C1C}">
                <a14:useLocalDpi xmlns:a14="http://schemas.microsoft.com/office/drawing/2010/main"/>
              </a:ext>
            </a:extLst>
          </a:blip>
          <a:srcRect/>
          <a:stretch/>
        </p:blipFill>
        <p:spPr>
          <a:xfrm>
            <a:off x="5247124" y="2938179"/>
            <a:ext cx="7010400" cy="4182056"/>
          </a:xfrm>
          <a:prstGeom prst="rect">
            <a:avLst/>
          </a:prstGeom>
          <a:noFill/>
          <a:ln w="9525" cap="flat" cmpd="sng">
            <a:solidFill>
              <a:srgbClr val="007AFF"/>
            </a:solidFill>
            <a:prstDash val="solid"/>
            <a:round/>
            <a:headEnd type="none" w="sm" len="sm"/>
            <a:tailEnd type="none" w="sm" len="sm"/>
          </a:ln>
        </p:spPr>
      </p:pic>
      <p:sp>
        <p:nvSpPr>
          <p:cNvPr id="5" name="Google Shape;510;g1f503316dc2_0_0">
            <a:extLst>
              <a:ext uri="{FF2B5EF4-FFF2-40B4-BE49-F238E27FC236}">
                <a16:creationId xmlns:a16="http://schemas.microsoft.com/office/drawing/2014/main" id="{BCADD7B8-E00E-2ACE-1F5D-1725D26244FF}"/>
              </a:ext>
            </a:extLst>
          </p:cNvPr>
          <p:cNvSpPr txBox="1"/>
          <p:nvPr/>
        </p:nvSpPr>
        <p:spPr>
          <a:xfrm>
            <a:off x="5454204" y="7286400"/>
            <a:ext cx="6611632" cy="2276546"/>
          </a:xfrm>
          <a:prstGeom prst="rect">
            <a:avLst/>
          </a:prstGeom>
          <a:no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US" sz="1800" b="1" i="0" u="none" strike="noStrike" cap="none" noProof="0">
                <a:solidFill>
                  <a:srgbClr val="6800FF"/>
                </a:solidFill>
                <a:latin typeface="Montserrat" panose="00000500000000000000" pitchFamily="2" charset="0"/>
                <a:ea typeface="Roboto"/>
                <a:cs typeface="Roboto"/>
                <a:sym typeface="Roboto"/>
              </a:rPr>
              <a:t>Automated Security &amp; Compliance Cost Optimization</a:t>
            </a:r>
          </a:p>
          <a:p>
            <a:pPr marL="0" marR="0" lvl="0" indent="0" algn="ctr" rtl="0">
              <a:lnSpc>
                <a:spcPct val="100000"/>
              </a:lnSpc>
              <a:spcBef>
                <a:spcPts val="0"/>
              </a:spcBef>
              <a:spcAft>
                <a:spcPts val="1600"/>
              </a:spcAft>
              <a:buClr>
                <a:srgbClr val="000000"/>
              </a:buClr>
              <a:buSzPts val="800"/>
              <a:buFont typeface="Arial"/>
              <a:buNone/>
            </a:pPr>
            <a:endParaRPr lang="en-US" sz="1800" b="0" i="0" u="none" strike="noStrike" cap="none" noProof="0">
              <a:solidFill>
                <a:srgbClr val="6800FF"/>
              </a:solidFill>
              <a:latin typeface="Montserrat" panose="00000500000000000000" pitchFamily="2" charset="0"/>
              <a:ea typeface="Roboto"/>
              <a:cs typeface="Roboto"/>
              <a:sym typeface="Roboto"/>
            </a:endParaRPr>
          </a:p>
          <a:p>
            <a:pPr marL="0" marR="0" lvl="0" indent="0" algn="ctr" rtl="0">
              <a:lnSpc>
                <a:spcPct val="100000"/>
              </a:lnSpc>
              <a:spcBef>
                <a:spcPts val="0"/>
              </a:spcBef>
              <a:spcAft>
                <a:spcPts val="0"/>
              </a:spcAft>
              <a:buClr>
                <a:srgbClr val="000000"/>
              </a:buClr>
              <a:buSzPts val="1200"/>
              <a:buFont typeface="Arial"/>
              <a:buNone/>
            </a:pPr>
            <a:r>
              <a:rPr lang="en-US" sz="1800" b="1" i="0" u="none" strike="noStrike" cap="none" noProof="0">
                <a:solidFill>
                  <a:srgbClr val="6800FF"/>
                </a:solidFill>
                <a:latin typeface="Montserrat" panose="00000500000000000000" pitchFamily="2" charset="0"/>
                <a:ea typeface="Roboto"/>
                <a:cs typeface="Roboto"/>
                <a:sym typeface="Roboto"/>
              </a:rPr>
              <a:t>Business Modernization</a:t>
            </a:r>
          </a:p>
          <a:p>
            <a:pPr marL="0" marR="0" lvl="0" indent="0" algn="ctr" rtl="0">
              <a:lnSpc>
                <a:spcPct val="100000"/>
              </a:lnSpc>
              <a:spcBef>
                <a:spcPts val="0"/>
              </a:spcBef>
              <a:spcAft>
                <a:spcPts val="1600"/>
              </a:spcAft>
              <a:buClr>
                <a:srgbClr val="000000"/>
              </a:buClr>
              <a:buSzPts val="800"/>
              <a:buFont typeface="Arial"/>
              <a:buNone/>
            </a:pPr>
            <a:endParaRPr lang="en-US" sz="1800" b="0" i="0" u="none" strike="noStrike" cap="none" noProof="0">
              <a:solidFill>
                <a:srgbClr val="6800FF"/>
              </a:solidFill>
              <a:latin typeface="Montserrat" panose="00000500000000000000" pitchFamily="2" charset="0"/>
              <a:ea typeface="Roboto"/>
              <a:cs typeface="Roboto"/>
              <a:sym typeface="Roboto"/>
            </a:endParaRPr>
          </a:p>
          <a:p>
            <a:pPr algn="ctr">
              <a:spcAft>
                <a:spcPts val="1600"/>
              </a:spcAft>
              <a:buSzPts val="800"/>
            </a:pPr>
            <a:r>
              <a:rPr lang="en-US" sz="1800" b="1" i="0" u="none" strike="noStrike" cap="none" noProof="0">
                <a:solidFill>
                  <a:srgbClr val="6800FF"/>
                </a:solidFill>
                <a:latin typeface="Montserrat" panose="00000500000000000000" pitchFamily="2" charset="0"/>
                <a:ea typeface="Roboto"/>
                <a:cs typeface="Roboto"/>
                <a:sym typeface="Roboto"/>
              </a:rPr>
              <a:t>Ransomware Extortion Protection</a:t>
            </a:r>
          </a:p>
        </p:txBody>
      </p:sp>
      <p:sp>
        <p:nvSpPr>
          <p:cNvPr id="6" name="Google Shape;1036;p29">
            <a:extLst>
              <a:ext uri="{FF2B5EF4-FFF2-40B4-BE49-F238E27FC236}">
                <a16:creationId xmlns:a16="http://schemas.microsoft.com/office/drawing/2014/main" id="{55861FF6-427E-C930-DE04-8CF5D3589E9E}"/>
              </a:ext>
            </a:extLst>
          </p:cNvPr>
          <p:cNvSpPr txBox="1"/>
          <p:nvPr/>
        </p:nvSpPr>
        <p:spPr>
          <a:xfrm rot="1485693">
            <a:off x="13941784" y="908044"/>
            <a:ext cx="2876810" cy="453183"/>
          </a:xfrm>
          <a:prstGeom prst="rect">
            <a:avLst/>
          </a:prstGeom>
          <a:solidFill>
            <a:srgbClr val="6800FF"/>
          </a:solidFill>
          <a:ln w="9525" cap="flat" cmpd="sng">
            <a:noFill/>
            <a:prstDash val="solid"/>
            <a:round/>
            <a:headEnd type="none" w="sm" len="sm"/>
            <a:tailEnd type="none" w="sm" len="sm"/>
          </a:ln>
        </p:spPr>
        <p:txBody>
          <a:bodyPr spcFirstLastPara="1" wrap="square" lIns="0" tIns="72000" rIns="0" bIns="7200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defTabSz="1828800"/>
            <a:r>
              <a:rPr lang="en-US" sz="2000" b="1" noProof="0">
                <a:solidFill>
                  <a:srgbClr val="FFFFFF"/>
                </a:solidFill>
                <a:latin typeface="Montserrat Bold"/>
              </a:rPr>
              <a:t>ILLUSTRATIVE</a:t>
            </a:r>
            <a:endParaRPr lang="en-US" sz="1100" noProof="0">
              <a:latin typeface="Montserrat Bold"/>
            </a:endParaRPr>
          </a:p>
        </p:txBody>
      </p:sp>
      <p:grpSp>
        <p:nvGrpSpPr>
          <p:cNvPr id="8" name="Group 7">
            <a:extLst>
              <a:ext uri="{FF2B5EF4-FFF2-40B4-BE49-F238E27FC236}">
                <a16:creationId xmlns:a16="http://schemas.microsoft.com/office/drawing/2014/main" id="{ECBA4FD7-76D1-A847-E3E0-F072E21B48CC}"/>
              </a:ext>
            </a:extLst>
          </p:cNvPr>
          <p:cNvGrpSpPr/>
          <p:nvPr/>
        </p:nvGrpSpPr>
        <p:grpSpPr>
          <a:xfrm>
            <a:off x="5861947" y="1549790"/>
            <a:ext cx="612363" cy="56823"/>
            <a:chOff x="0" y="0"/>
            <a:chExt cx="1078484" cy="100076"/>
          </a:xfrm>
        </p:grpSpPr>
        <p:sp>
          <p:nvSpPr>
            <p:cNvPr id="7" name="Freeform 8">
              <a:extLst>
                <a:ext uri="{FF2B5EF4-FFF2-40B4-BE49-F238E27FC236}">
                  <a16:creationId xmlns:a16="http://schemas.microsoft.com/office/drawing/2014/main" id="{C805BD50-EED4-7DAB-8CF0-B34F01E2D492}"/>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spTree>
    <p:extLst>
      <p:ext uri="{BB962C8B-B14F-4D97-AF65-F5344CB8AC3E}">
        <p14:creationId xmlns:p14="http://schemas.microsoft.com/office/powerpoint/2010/main" val="253181692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2BA0CD-66BB-2A24-B16C-7CF069BB4053}"/>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E2FFE58E-B418-53B2-510D-3A24C06C6FDC}"/>
              </a:ext>
            </a:extLst>
          </p:cNvPr>
          <p:cNvSpPr>
            <a:spLocks noGrp="1"/>
          </p:cNvSpPr>
          <p:nvPr>
            <p:ph type="title"/>
          </p:nvPr>
        </p:nvSpPr>
        <p:spPr>
          <a:xfrm>
            <a:off x="1230100" y="3009200"/>
            <a:ext cx="7079697" cy="2964600"/>
          </a:xfrm>
        </p:spPr>
        <p:txBody>
          <a:bodyPr/>
          <a:lstStyle/>
          <a:p>
            <a:r>
              <a:rPr lang="en-US" sz="4400" noProof="0">
                <a:latin typeface="Montserrat Bold"/>
              </a:rPr>
              <a:t>QONFORM</a:t>
            </a:r>
            <a:endParaRPr lang="en-US" noProof="0"/>
          </a:p>
        </p:txBody>
      </p:sp>
    </p:spTree>
    <p:extLst>
      <p:ext uri="{BB962C8B-B14F-4D97-AF65-F5344CB8AC3E}">
        <p14:creationId xmlns:p14="http://schemas.microsoft.com/office/powerpoint/2010/main" val="38755113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BA640F-D0EA-CDF4-C2C0-D96DBEB156EC}"/>
            </a:ext>
          </a:extLst>
        </p:cNvPr>
        <p:cNvGrpSpPr/>
        <p:nvPr/>
      </p:nvGrpSpPr>
      <p:grpSpPr>
        <a:xfrm>
          <a:off x="0" y="0"/>
          <a:ext cx="0" cy="0"/>
          <a:chOff x="0" y="0"/>
          <a:chExt cx="0" cy="0"/>
        </a:xfrm>
      </p:grpSpPr>
      <p:sp>
        <p:nvSpPr>
          <p:cNvPr id="22" name="Retângulo Arredondado 21">
            <a:extLst>
              <a:ext uri="{FF2B5EF4-FFF2-40B4-BE49-F238E27FC236}">
                <a16:creationId xmlns:a16="http://schemas.microsoft.com/office/drawing/2014/main" id="{12D9C0AC-E980-D2DA-3F81-C5530D1E60C2}"/>
              </a:ext>
            </a:extLst>
          </p:cNvPr>
          <p:cNvSpPr/>
          <p:nvPr/>
        </p:nvSpPr>
        <p:spPr>
          <a:xfrm>
            <a:off x="673349" y="6748274"/>
            <a:ext cx="7286000" cy="2096616"/>
          </a:xfrm>
          <a:prstGeom prst="roundRect">
            <a:avLst/>
          </a:prstGeom>
          <a:solidFill>
            <a:srgbClr val="713BFE"/>
          </a:solidFill>
          <a:ln>
            <a:solidFill>
              <a:srgbClr val="713BF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endParaRPr lang="en-US" sz="4050" noProof="0"/>
          </a:p>
        </p:txBody>
      </p:sp>
      <p:pic>
        <p:nvPicPr>
          <p:cNvPr id="2" name="Picture 1" descr="A person writing on a checklist&#10;&#10;AI-generated content may be incorrect.">
            <a:extLst>
              <a:ext uri="{FF2B5EF4-FFF2-40B4-BE49-F238E27FC236}">
                <a16:creationId xmlns:a16="http://schemas.microsoft.com/office/drawing/2014/main" id="{5CEFC626-481D-8977-97B9-85298F8CE9A5}"/>
              </a:ext>
            </a:extLst>
          </p:cNvPr>
          <p:cNvPicPr>
            <a:picLocks noChangeAspect="1"/>
          </p:cNvPicPr>
          <p:nvPr/>
        </p:nvPicPr>
        <p:blipFill>
          <a:blip r:embed="rId3"/>
          <a:srcRect t="298" r="909" b="91"/>
          <a:stretch/>
        </p:blipFill>
        <p:spPr>
          <a:xfrm>
            <a:off x="11434502" y="12407"/>
            <a:ext cx="6863937" cy="5135853"/>
          </a:xfrm>
          <a:prstGeom prst="rect">
            <a:avLst/>
          </a:prstGeom>
        </p:spPr>
      </p:pic>
      <p:sp>
        <p:nvSpPr>
          <p:cNvPr id="12" name="TextBox 5">
            <a:extLst>
              <a:ext uri="{FF2B5EF4-FFF2-40B4-BE49-F238E27FC236}">
                <a16:creationId xmlns:a16="http://schemas.microsoft.com/office/drawing/2014/main" id="{54C3065C-34D9-837B-41D8-4FF1FC4E1488}"/>
              </a:ext>
            </a:extLst>
          </p:cNvPr>
          <p:cNvSpPr txBox="1"/>
          <p:nvPr/>
        </p:nvSpPr>
        <p:spPr>
          <a:xfrm>
            <a:off x="922754" y="7006391"/>
            <a:ext cx="2863614" cy="276999"/>
          </a:xfrm>
          <a:prstGeom prst="rect">
            <a:avLst/>
          </a:prstGeom>
        </p:spPr>
        <p:txBody>
          <a:bodyPr wrap="square" lIns="0" tIns="0" rIns="0" bIns="0" rtlCol="0" anchor="t">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1800" b="1" i="1" noProof="0">
                <a:solidFill>
                  <a:srgbClr val="713BFE"/>
                </a:solidFill>
                <a:highlight>
                  <a:srgbClr val="FFFFFF"/>
                </a:highlight>
                <a:latin typeface="Montserrat Medium"/>
                <a:ea typeface="Montserrat Medium"/>
                <a:cs typeface="Montserrat Medium"/>
                <a:sym typeface="Montserrat Medium"/>
              </a:rPr>
              <a:t> constant search for </a:t>
            </a:r>
            <a:endParaRPr lang="en-US" sz="1800" b="1" i="1" noProof="0">
              <a:solidFill>
                <a:schemeClr val="bg1"/>
              </a:solidFill>
              <a:latin typeface="Montserrat Medium"/>
              <a:ea typeface="Montserrat Medium"/>
              <a:cs typeface="Montserrat Medium"/>
            </a:endParaRPr>
          </a:p>
        </p:txBody>
      </p:sp>
      <p:sp>
        <p:nvSpPr>
          <p:cNvPr id="9" name="TextBox 5">
            <a:extLst>
              <a:ext uri="{FF2B5EF4-FFF2-40B4-BE49-F238E27FC236}">
                <a16:creationId xmlns:a16="http://schemas.microsoft.com/office/drawing/2014/main" id="{68D0D515-D758-D4B5-0666-606CA5F321A1}"/>
              </a:ext>
            </a:extLst>
          </p:cNvPr>
          <p:cNvSpPr txBox="1"/>
          <p:nvPr/>
        </p:nvSpPr>
        <p:spPr>
          <a:xfrm>
            <a:off x="719674" y="633456"/>
            <a:ext cx="11086682" cy="1231106"/>
          </a:xfrm>
          <a:prstGeom prst="rect">
            <a:avLst/>
          </a:prstGeom>
        </p:spPr>
        <p:txBody>
          <a:bodyPr wrap="square" lIns="0" tIns="0" rIns="0" bIns="0" rtlCol="0" anchor="t">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4000" b="1" noProof="0">
                <a:solidFill>
                  <a:srgbClr val="000000"/>
                </a:solidFill>
                <a:latin typeface="Montserrat Medium"/>
                <a:ea typeface="+mn-lt"/>
                <a:cs typeface="+mn-lt"/>
                <a:sym typeface="Montserrat Medium"/>
              </a:rPr>
              <a:t>Legal, Compliance and Risk </a:t>
            </a:r>
          </a:p>
          <a:p>
            <a:r>
              <a:rPr lang="en-US" sz="4000" b="1" noProof="0">
                <a:solidFill>
                  <a:srgbClr val="000000"/>
                </a:solidFill>
                <a:latin typeface="Montserrat Medium"/>
                <a:ea typeface="+mn-lt"/>
                <a:cs typeface="+mn-lt"/>
                <a:sym typeface="Montserrat Medium"/>
              </a:rPr>
              <a:t>departments struggle with</a:t>
            </a:r>
            <a:endParaRPr lang="en-US" sz="4000" noProof="0"/>
          </a:p>
        </p:txBody>
      </p:sp>
      <p:grpSp>
        <p:nvGrpSpPr>
          <p:cNvPr id="14" name="Group 24">
            <a:extLst>
              <a:ext uri="{FF2B5EF4-FFF2-40B4-BE49-F238E27FC236}">
                <a16:creationId xmlns:a16="http://schemas.microsoft.com/office/drawing/2014/main" id="{D0EB1D8C-D856-6097-64A3-47E96F227774}"/>
              </a:ext>
            </a:extLst>
          </p:cNvPr>
          <p:cNvGrpSpPr/>
          <p:nvPr/>
        </p:nvGrpSpPr>
        <p:grpSpPr>
          <a:xfrm>
            <a:off x="7772162" y="1652269"/>
            <a:ext cx="612363" cy="56823"/>
            <a:chOff x="0" y="0"/>
            <a:chExt cx="1078484" cy="100076"/>
          </a:xfrm>
        </p:grpSpPr>
        <p:sp>
          <p:nvSpPr>
            <p:cNvPr id="13" name="Freeform 25">
              <a:extLst>
                <a:ext uri="{FF2B5EF4-FFF2-40B4-BE49-F238E27FC236}">
                  <a16:creationId xmlns:a16="http://schemas.microsoft.com/office/drawing/2014/main" id="{CEA4FBB8-AF9B-DA8A-E6F7-97A070A15A44}"/>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endParaRPr lang="en-US" sz="1800" noProof="0"/>
            </a:p>
          </p:txBody>
        </p:sp>
      </p:grpSp>
      <p:sp>
        <p:nvSpPr>
          <p:cNvPr id="15" name="CaixaDeTexto 14">
            <a:extLst>
              <a:ext uri="{FF2B5EF4-FFF2-40B4-BE49-F238E27FC236}">
                <a16:creationId xmlns:a16="http://schemas.microsoft.com/office/drawing/2014/main" id="{DB967025-F23E-9E82-2AFD-2A3784F17B81}"/>
              </a:ext>
            </a:extLst>
          </p:cNvPr>
          <p:cNvSpPr txBox="1"/>
          <p:nvPr/>
        </p:nvSpPr>
        <p:spPr>
          <a:xfrm>
            <a:off x="674745" y="5364272"/>
            <a:ext cx="4114800" cy="969497"/>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1800" noProof="0">
                <a:solidFill>
                  <a:srgbClr val="292929"/>
                </a:solidFill>
                <a:latin typeface="Roboto"/>
                <a:ea typeface="Roboto"/>
                <a:cs typeface="Roboto"/>
              </a:rPr>
              <a:t>Consistency,  policies analysis, </a:t>
            </a:r>
            <a:r>
              <a:rPr lang="en-US" sz="1800" b="1" noProof="0">
                <a:solidFill>
                  <a:srgbClr val="292929"/>
                </a:solidFill>
                <a:latin typeface="Roboto"/>
                <a:ea typeface="Roboto"/>
                <a:cs typeface="Roboto"/>
              </a:rPr>
              <a:t>compliance with local, state and federal regulations</a:t>
            </a:r>
            <a:r>
              <a:rPr lang="en-US" sz="1800" noProof="0">
                <a:solidFill>
                  <a:srgbClr val="292929"/>
                </a:solidFill>
                <a:latin typeface="Roboto"/>
                <a:ea typeface="Roboto"/>
                <a:cs typeface="Roboto"/>
              </a:rPr>
              <a:t>.</a:t>
            </a:r>
            <a:endParaRPr lang="en-US" sz="4050" noProof="0">
              <a:latin typeface="Roboto"/>
              <a:ea typeface="Roboto"/>
              <a:cs typeface="Roboto"/>
            </a:endParaRPr>
          </a:p>
        </p:txBody>
      </p:sp>
      <p:sp>
        <p:nvSpPr>
          <p:cNvPr id="19" name="CaixaDeTexto 18">
            <a:extLst>
              <a:ext uri="{FF2B5EF4-FFF2-40B4-BE49-F238E27FC236}">
                <a16:creationId xmlns:a16="http://schemas.microsoft.com/office/drawing/2014/main" id="{CD523136-10D3-0B46-C142-6FE4754BA3AF}"/>
              </a:ext>
            </a:extLst>
          </p:cNvPr>
          <p:cNvSpPr txBox="1"/>
          <p:nvPr/>
        </p:nvSpPr>
        <p:spPr>
          <a:xfrm>
            <a:off x="674746" y="3516685"/>
            <a:ext cx="4459265" cy="969497"/>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1800" noProof="0">
                <a:solidFill>
                  <a:srgbClr val="292929"/>
                </a:solidFill>
                <a:latin typeface="Roboto"/>
                <a:ea typeface="Roboto"/>
                <a:cs typeface="Roboto"/>
              </a:rPr>
              <a:t>Compare and </a:t>
            </a:r>
            <a:r>
              <a:rPr lang="en-US" sz="1800" b="1" noProof="0">
                <a:solidFill>
                  <a:srgbClr val="292929"/>
                </a:solidFill>
                <a:latin typeface="Roboto"/>
                <a:ea typeface="Roboto"/>
                <a:cs typeface="Roboto"/>
              </a:rPr>
              <a:t>review legal documents</a:t>
            </a:r>
            <a:r>
              <a:rPr lang="en-US" sz="1800" noProof="0">
                <a:solidFill>
                  <a:srgbClr val="292929"/>
                </a:solidFill>
                <a:latin typeface="Roboto"/>
                <a:ea typeface="Roboto"/>
                <a:cs typeface="Roboto"/>
              </a:rPr>
              <a:t>, identifying </a:t>
            </a:r>
            <a:r>
              <a:rPr lang="en-US" sz="1800" i="1" noProof="0">
                <a:solidFill>
                  <a:srgbClr val="292929"/>
                </a:solidFill>
                <a:latin typeface="Roboto"/>
                <a:ea typeface="Roboto"/>
                <a:cs typeface="Roboto"/>
              </a:rPr>
              <a:t>problematic clauses </a:t>
            </a:r>
            <a:r>
              <a:rPr lang="en-US" sz="1800" noProof="0">
                <a:solidFill>
                  <a:srgbClr val="292929"/>
                </a:solidFill>
                <a:latin typeface="Roboto"/>
                <a:ea typeface="Roboto"/>
                <a:cs typeface="Roboto"/>
              </a:rPr>
              <a:t>or inconsistencies.</a:t>
            </a:r>
            <a:endParaRPr lang="en-US" sz="1800" noProof="0">
              <a:solidFill>
                <a:srgbClr val="000000"/>
              </a:solidFill>
              <a:latin typeface="Roboto"/>
              <a:ea typeface="Roboto"/>
              <a:cs typeface="Roboto"/>
            </a:endParaRPr>
          </a:p>
        </p:txBody>
      </p:sp>
      <p:sp>
        <p:nvSpPr>
          <p:cNvPr id="24" name="CaixaDeTexto 23">
            <a:extLst>
              <a:ext uri="{FF2B5EF4-FFF2-40B4-BE49-F238E27FC236}">
                <a16:creationId xmlns:a16="http://schemas.microsoft.com/office/drawing/2014/main" id="{1EB145EE-3ECA-B4EF-C7D6-8C28FECB93A3}"/>
              </a:ext>
            </a:extLst>
          </p:cNvPr>
          <p:cNvSpPr txBox="1"/>
          <p:nvPr/>
        </p:nvSpPr>
        <p:spPr>
          <a:xfrm>
            <a:off x="674746" y="2545916"/>
            <a:ext cx="3980885" cy="1000274"/>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2800" b="1" noProof="0">
                <a:solidFill>
                  <a:srgbClr val="8709FB"/>
                </a:solidFill>
                <a:latin typeface="Montserrat"/>
              </a:rPr>
              <a:t>Document Analysis and Review</a:t>
            </a:r>
          </a:p>
        </p:txBody>
      </p:sp>
      <p:sp>
        <p:nvSpPr>
          <p:cNvPr id="25" name="CaixaDeTexto 24">
            <a:extLst>
              <a:ext uri="{FF2B5EF4-FFF2-40B4-BE49-F238E27FC236}">
                <a16:creationId xmlns:a16="http://schemas.microsoft.com/office/drawing/2014/main" id="{0548AB20-F093-B21E-C5FB-37E2B987F712}"/>
              </a:ext>
            </a:extLst>
          </p:cNvPr>
          <p:cNvSpPr txBox="1"/>
          <p:nvPr/>
        </p:nvSpPr>
        <p:spPr>
          <a:xfrm>
            <a:off x="674745" y="4864043"/>
            <a:ext cx="4803729" cy="569387"/>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2800" b="1" noProof="0">
                <a:solidFill>
                  <a:srgbClr val="8709FB"/>
                </a:solidFill>
                <a:latin typeface="Montserrat"/>
              </a:rPr>
              <a:t>Compliance Analysis</a:t>
            </a:r>
          </a:p>
        </p:txBody>
      </p:sp>
      <p:sp>
        <p:nvSpPr>
          <p:cNvPr id="26" name="CaixaDeTexto 25">
            <a:extLst>
              <a:ext uri="{FF2B5EF4-FFF2-40B4-BE49-F238E27FC236}">
                <a16:creationId xmlns:a16="http://schemas.microsoft.com/office/drawing/2014/main" id="{B3809E0E-E119-1DBA-0C07-271C3FC85012}"/>
              </a:ext>
            </a:extLst>
          </p:cNvPr>
          <p:cNvSpPr txBox="1"/>
          <p:nvPr/>
        </p:nvSpPr>
        <p:spPr>
          <a:xfrm>
            <a:off x="5559892" y="3093931"/>
            <a:ext cx="4459265" cy="969497"/>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1800" noProof="0">
                <a:solidFill>
                  <a:srgbClr val="292929"/>
                </a:solidFill>
                <a:latin typeface="Roboto"/>
                <a:ea typeface="Roboto"/>
                <a:cs typeface="Roboto"/>
              </a:rPr>
              <a:t>Create </a:t>
            </a:r>
            <a:r>
              <a:rPr lang="en-US" sz="1800" b="1" noProof="0">
                <a:solidFill>
                  <a:srgbClr val="292929"/>
                </a:solidFill>
                <a:latin typeface="Roboto"/>
                <a:ea typeface="Roboto"/>
                <a:cs typeface="Roboto"/>
              </a:rPr>
              <a:t>standard contracts, partner agreements </a:t>
            </a:r>
            <a:r>
              <a:rPr lang="en-US" sz="1800" noProof="0">
                <a:solidFill>
                  <a:srgbClr val="292929"/>
                </a:solidFill>
                <a:latin typeface="Roboto"/>
                <a:ea typeface="Roboto"/>
                <a:cs typeface="Roboto"/>
              </a:rPr>
              <a:t>and other </a:t>
            </a:r>
            <a:r>
              <a:rPr lang="en-US" sz="1800" b="1" noProof="0">
                <a:solidFill>
                  <a:srgbClr val="292929"/>
                </a:solidFill>
                <a:latin typeface="Roboto"/>
                <a:ea typeface="Roboto"/>
                <a:cs typeface="Roboto"/>
              </a:rPr>
              <a:t>legal documents</a:t>
            </a:r>
            <a:r>
              <a:rPr lang="en-US" sz="1800" noProof="0">
                <a:solidFill>
                  <a:srgbClr val="292929"/>
                </a:solidFill>
                <a:latin typeface="Roboto"/>
                <a:ea typeface="Roboto"/>
                <a:cs typeface="Roboto"/>
              </a:rPr>
              <a:t> quickly and in a personalized way.</a:t>
            </a:r>
            <a:endParaRPr lang="en-US" sz="4050" noProof="0">
              <a:latin typeface="Roboto"/>
              <a:ea typeface="Roboto"/>
              <a:cs typeface="Roboto"/>
            </a:endParaRPr>
          </a:p>
        </p:txBody>
      </p:sp>
      <p:sp>
        <p:nvSpPr>
          <p:cNvPr id="27" name="CaixaDeTexto 26">
            <a:extLst>
              <a:ext uri="{FF2B5EF4-FFF2-40B4-BE49-F238E27FC236}">
                <a16:creationId xmlns:a16="http://schemas.microsoft.com/office/drawing/2014/main" id="{7AD16CFF-C4BD-30BA-D343-EDE9CA88F3D4}"/>
              </a:ext>
            </a:extLst>
          </p:cNvPr>
          <p:cNvSpPr txBox="1"/>
          <p:nvPr/>
        </p:nvSpPr>
        <p:spPr>
          <a:xfrm>
            <a:off x="5559891" y="2545916"/>
            <a:ext cx="4803729" cy="569387"/>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2800" b="1" noProof="0">
                <a:solidFill>
                  <a:srgbClr val="8709FB"/>
                </a:solidFill>
                <a:latin typeface="Montserrat"/>
                <a:ea typeface="+mn-lt"/>
                <a:cs typeface="+mn-lt"/>
              </a:rPr>
              <a:t>Contract Generation</a:t>
            </a:r>
            <a:endParaRPr lang="en-US" sz="2800" noProof="0"/>
          </a:p>
        </p:txBody>
      </p:sp>
      <p:pic>
        <p:nvPicPr>
          <p:cNvPr id="30" name="Imagem 29" descr="Interface gráfica do usuário&#10;&#10;O conteúdo gerado por IA pode estar incorreto.">
            <a:extLst>
              <a:ext uri="{FF2B5EF4-FFF2-40B4-BE49-F238E27FC236}">
                <a16:creationId xmlns:a16="http://schemas.microsoft.com/office/drawing/2014/main" id="{27E08777-03BE-FF06-6E59-6F8E491F6DAC}"/>
              </a:ext>
            </a:extLst>
          </p:cNvPr>
          <p:cNvPicPr>
            <a:picLocks noChangeAspect="1"/>
          </p:cNvPicPr>
          <p:nvPr/>
        </p:nvPicPr>
        <p:blipFill>
          <a:blip r:embed="rId4"/>
          <a:srcRect t="36559" r="535" b="37459"/>
          <a:stretch/>
        </p:blipFill>
        <p:spPr>
          <a:xfrm>
            <a:off x="14181620" y="9586982"/>
            <a:ext cx="1787384" cy="459804"/>
          </a:xfrm>
          <a:prstGeom prst="rect">
            <a:avLst/>
          </a:prstGeom>
        </p:spPr>
      </p:pic>
      <p:sp>
        <p:nvSpPr>
          <p:cNvPr id="21" name="CaixaDeTexto 20">
            <a:extLst>
              <a:ext uri="{FF2B5EF4-FFF2-40B4-BE49-F238E27FC236}">
                <a16:creationId xmlns:a16="http://schemas.microsoft.com/office/drawing/2014/main" id="{781CFC25-5F83-1E93-CBEA-A01C5A1527A3}"/>
              </a:ext>
            </a:extLst>
          </p:cNvPr>
          <p:cNvSpPr txBox="1"/>
          <p:nvPr/>
        </p:nvSpPr>
        <p:spPr>
          <a:xfrm>
            <a:off x="5559892" y="5366713"/>
            <a:ext cx="4459265" cy="692498"/>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1800" noProof="0">
                <a:solidFill>
                  <a:srgbClr val="292929"/>
                </a:solidFill>
                <a:latin typeface="Roboto"/>
                <a:ea typeface="Roboto"/>
                <a:cs typeface="Roboto"/>
              </a:rPr>
              <a:t>Contract and agreements analysis to </a:t>
            </a:r>
            <a:r>
              <a:rPr lang="en-US" sz="1800" b="1" noProof="0">
                <a:solidFill>
                  <a:srgbClr val="292929"/>
                </a:solidFill>
                <a:latin typeface="Roboto"/>
                <a:ea typeface="Roboto"/>
                <a:cs typeface="Roboto"/>
              </a:rPr>
              <a:t>mitigate legal and compliance risks</a:t>
            </a:r>
            <a:r>
              <a:rPr lang="en-US" sz="1800" noProof="0">
                <a:solidFill>
                  <a:srgbClr val="292929"/>
                </a:solidFill>
                <a:latin typeface="Roboto"/>
                <a:ea typeface="Roboto"/>
                <a:cs typeface="Roboto"/>
              </a:rPr>
              <a:t>.</a:t>
            </a:r>
            <a:endParaRPr lang="en-US" sz="1800" noProof="0">
              <a:latin typeface="Roboto"/>
              <a:ea typeface="Roboto"/>
              <a:cs typeface="Roboto"/>
            </a:endParaRPr>
          </a:p>
        </p:txBody>
      </p:sp>
      <p:sp>
        <p:nvSpPr>
          <p:cNvPr id="23" name="CaixaDeTexto 22">
            <a:extLst>
              <a:ext uri="{FF2B5EF4-FFF2-40B4-BE49-F238E27FC236}">
                <a16:creationId xmlns:a16="http://schemas.microsoft.com/office/drawing/2014/main" id="{0C555FA1-7B85-CA1B-7B9C-843AC943B852}"/>
              </a:ext>
            </a:extLst>
          </p:cNvPr>
          <p:cNvSpPr txBox="1"/>
          <p:nvPr/>
        </p:nvSpPr>
        <p:spPr>
          <a:xfrm>
            <a:off x="5559891" y="4863230"/>
            <a:ext cx="4803729" cy="569387"/>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2800" b="1" noProof="0">
                <a:solidFill>
                  <a:srgbClr val="8709FB"/>
                </a:solidFill>
                <a:latin typeface="Montserrat"/>
              </a:rPr>
              <a:t>Risk Identification</a:t>
            </a:r>
          </a:p>
        </p:txBody>
      </p:sp>
      <p:sp>
        <p:nvSpPr>
          <p:cNvPr id="4" name="TextBox 5">
            <a:extLst>
              <a:ext uri="{FF2B5EF4-FFF2-40B4-BE49-F238E27FC236}">
                <a16:creationId xmlns:a16="http://schemas.microsoft.com/office/drawing/2014/main" id="{69D1E2F5-3FC0-FADC-3F63-7BD3EA65E6E0}"/>
              </a:ext>
            </a:extLst>
          </p:cNvPr>
          <p:cNvSpPr txBox="1"/>
          <p:nvPr/>
        </p:nvSpPr>
        <p:spPr>
          <a:xfrm>
            <a:off x="922752" y="7415096"/>
            <a:ext cx="8060691" cy="1107996"/>
          </a:xfrm>
          <a:prstGeom prst="rect">
            <a:avLst/>
          </a:prstGeom>
        </p:spPr>
        <p:txBody>
          <a:bodyPr wrap="square" lIns="0" tIns="0" rIns="0" bIns="0" rtlCol="0" anchor="t">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3600" b="1" noProof="0">
                <a:solidFill>
                  <a:srgbClr val="FFFFFF"/>
                </a:solidFill>
                <a:latin typeface="Montserrat Medium"/>
                <a:ea typeface="Montserrat Medium"/>
                <a:cs typeface="Montserrat Medium"/>
                <a:sym typeface="Montserrat Medium"/>
              </a:rPr>
              <a:t>Knowledgeable and scalable </a:t>
            </a:r>
            <a:endParaRPr lang="en-US" sz="3600" b="1" noProof="0">
              <a:solidFill>
                <a:srgbClr val="FFFFFF"/>
              </a:solidFill>
              <a:latin typeface="Montserrat Medium"/>
              <a:ea typeface="Montserrat Medium"/>
              <a:cs typeface="Montserrat Medium"/>
            </a:endParaRPr>
          </a:p>
          <a:p>
            <a:r>
              <a:rPr lang="en-US" sz="3600" b="1" noProof="0">
                <a:solidFill>
                  <a:srgbClr val="FFFFFF"/>
                </a:solidFill>
                <a:latin typeface="Montserrat Medium"/>
                <a:ea typeface="Montserrat Medium"/>
                <a:cs typeface="Montserrat Medium"/>
                <a:sym typeface="Montserrat Medium"/>
              </a:rPr>
              <a:t>operational efficiency</a:t>
            </a:r>
            <a:endParaRPr lang="en-US" sz="3600" b="1" noProof="0">
              <a:solidFill>
                <a:srgbClr val="FFFFFF"/>
              </a:solidFill>
              <a:latin typeface="Montserrat Medium"/>
              <a:ea typeface="Montserrat Medium"/>
              <a:cs typeface="Montserrat Medium"/>
            </a:endParaRPr>
          </a:p>
        </p:txBody>
      </p:sp>
      <p:pic>
        <p:nvPicPr>
          <p:cNvPr id="3" name="Picture 2" descr="A magnifying glass on a computer&#10;&#10;AI-generated content may be incorrect.">
            <a:extLst>
              <a:ext uri="{FF2B5EF4-FFF2-40B4-BE49-F238E27FC236}">
                <a16:creationId xmlns:a16="http://schemas.microsoft.com/office/drawing/2014/main" id="{19923743-1930-3A71-B1A3-F208A0EF14CF}"/>
              </a:ext>
            </a:extLst>
          </p:cNvPr>
          <p:cNvPicPr>
            <a:picLocks noChangeAspect="1"/>
          </p:cNvPicPr>
          <p:nvPr/>
        </p:nvPicPr>
        <p:blipFill>
          <a:blip r:embed="rId5"/>
          <a:srcRect t="55" r="2302" b="1790"/>
          <a:stretch/>
        </p:blipFill>
        <p:spPr>
          <a:xfrm>
            <a:off x="11434502" y="5114181"/>
            <a:ext cx="7554201" cy="5149688"/>
          </a:xfrm>
          <a:prstGeom prst="rect">
            <a:avLst/>
          </a:prstGeom>
        </p:spPr>
      </p:pic>
      <p:sp>
        <p:nvSpPr>
          <p:cNvPr id="37" name="Triângulo Retângulo 17">
            <a:extLst>
              <a:ext uri="{FF2B5EF4-FFF2-40B4-BE49-F238E27FC236}">
                <a16:creationId xmlns:a16="http://schemas.microsoft.com/office/drawing/2014/main" id="{FEFD9BDC-A079-5BE2-D85A-3B5FC78A96E3}"/>
              </a:ext>
            </a:extLst>
          </p:cNvPr>
          <p:cNvSpPr/>
          <p:nvPr/>
        </p:nvSpPr>
        <p:spPr>
          <a:xfrm rot="16200000">
            <a:off x="15240676" y="1352024"/>
            <a:ext cx="3756332" cy="3767117"/>
          </a:xfrm>
          <a:prstGeom prst="rtTriangle">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endParaRPr lang="en-US" sz="4050" noProof="0"/>
          </a:p>
        </p:txBody>
      </p:sp>
      <p:sp>
        <p:nvSpPr>
          <p:cNvPr id="39" name="Triângulo Retângulo 17">
            <a:extLst>
              <a:ext uri="{FF2B5EF4-FFF2-40B4-BE49-F238E27FC236}">
                <a16:creationId xmlns:a16="http://schemas.microsoft.com/office/drawing/2014/main" id="{38C76A61-6974-81FE-3B3E-76DBBC8B51F2}"/>
              </a:ext>
            </a:extLst>
          </p:cNvPr>
          <p:cNvSpPr/>
          <p:nvPr/>
        </p:nvSpPr>
        <p:spPr>
          <a:xfrm rot="5400000">
            <a:off x="11269507" y="-227127"/>
            <a:ext cx="3578678" cy="4032930"/>
          </a:xfrm>
          <a:prstGeom prst="rtTriangle">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endParaRPr lang="en-US" sz="4050" noProof="0"/>
          </a:p>
        </p:txBody>
      </p:sp>
      <p:sp>
        <p:nvSpPr>
          <p:cNvPr id="40" name="Triângulo Retângulo 17">
            <a:extLst>
              <a:ext uri="{FF2B5EF4-FFF2-40B4-BE49-F238E27FC236}">
                <a16:creationId xmlns:a16="http://schemas.microsoft.com/office/drawing/2014/main" id="{4ABA7720-EE52-1EF3-4B88-9DA2A41E5765}"/>
              </a:ext>
            </a:extLst>
          </p:cNvPr>
          <p:cNvSpPr/>
          <p:nvPr/>
        </p:nvSpPr>
        <p:spPr>
          <a:xfrm rot="10800000">
            <a:off x="15240674" y="5113749"/>
            <a:ext cx="3756332" cy="3790924"/>
          </a:xfrm>
          <a:prstGeom prst="rtTriangle">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endParaRPr lang="en-US" sz="4050" noProof="0"/>
          </a:p>
        </p:txBody>
      </p:sp>
      <p:sp>
        <p:nvSpPr>
          <p:cNvPr id="41" name="Triângulo Retângulo 17">
            <a:extLst>
              <a:ext uri="{FF2B5EF4-FFF2-40B4-BE49-F238E27FC236}">
                <a16:creationId xmlns:a16="http://schemas.microsoft.com/office/drawing/2014/main" id="{8D8CB51B-5B18-FE32-0305-CABA7823FC77}"/>
              </a:ext>
            </a:extLst>
          </p:cNvPr>
          <p:cNvSpPr/>
          <p:nvPr/>
        </p:nvSpPr>
        <p:spPr>
          <a:xfrm>
            <a:off x="11209109" y="7415096"/>
            <a:ext cx="4419291" cy="2844623"/>
          </a:xfrm>
          <a:prstGeom prst="rtTriangle">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endParaRPr lang="en-US" sz="4050" noProof="0"/>
          </a:p>
        </p:txBody>
      </p:sp>
      <p:sp>
        <p:nvSpPr>
          <p:cNvPr id="42" name="Triângulo Retângulo 17">
            <a:extLst>
              <a:ext uri="{FF2B5EF4-FFF2-40B4-BE49-F238E27FC236}">
                <a16:creationId xmlns:a16="http://schemas.microsoft.com/office/drawing/2014/main" id="{DF71A0BD-9751-40DF-C6E6-5748AEB1836F}"/>
              </a:ext>
            </a:extLst>
          </p:cNvPr>
          <p:cNvSpPr/>
          <p:nvPr/>
        </p:nvSpPr>
        <p:spPr>
          <a:xfrm rot="13320000">
            <a:off x="10972775" y="4885884"/>
            <a:ext cx="516086" cy="547842"/>
          </a:xfrm>
          <a:prstGeom prst="rtTriangle">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endParaRPr lang="en-US" sz="4050" noProof="0"/>
          </a:p>
        </p:txBody>
      </p:sp>
      <p:sp>
        <p:nvSpPr>
          <p:cNvPr id="6" name="Freeform 2" descr="Logotipo  Descrição gerada automaticamente">
            <a:extLst>
              <a:ext uri="{FF2B5EF4-FFF2-40B4-BE49-F238E27FC236}">
                <a16:creationId xmlns:a16="http://schemas.microsoft.com/office/drawing/2014/main" id="{30D946CF-0DDF-C87C-64FF-30CA31E63C62}"/>
              </a:ext>
            </a:extLst>
          </p:cNvPr>
          <p:cNvSpPr/>
          <p:nvPr/>
        </p:nvSpPr>
        <p:spPr>
          <a:xfrm>
            <a:off x="16454691" y="446337"/>
            <a:ext cx="1454033" cy="367334"/>
          </a:xfrm>
          <a:custGeom>
            <a:avLst/>
            <a:gdLst/>
            <a:ahLst/>
            <a:cxnLst/>
            <a:rect l="l" t="t" r="r" b="b"/>
            <a:pathLst>
              <a:path w="1454032" h="367334">
                <a:moveTo>
                  <a:pt x="0" y="0"/>
                </a:moveTo>
                <a:lnTo>
                  <a:pt x="1454032" y="0"/>
                </a:lnTo>
                <a:lnTo>
                  <a:pt x="1454032" y="367333"/>
                </a:lnTo>
                <a:lnTo>
                  <a:pt x="0" y="367333"/>
                </a:lnTo>
                <a:lnTo>
                  <a:pt x="0" y="0"/>
                </a:lnTo>
                <a:close/>
              </a:path>
            </a:pathLst>
          </a:custGeom>
          <a:blipFill>
            <a:blip r:embed="rId6"/>
            <a:stretch>
              <a:fillRect t="-41" b="-41"/>
            </a:stretch>
          </a:blipFill>
        </p:spPr>
        <p:txBody>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endParaRPr lang="en-US" sz="1800" noProof="0"/>
          </a:p>
        </p:txBody>
      </p:sp>
    </p:spTree>
    <p:extLst>
      <p:ext uri="{BB962C8B-B14F-4D97-AF65-F5344CB8AC3E}">
        <p14:creationId xmlns:p14="http://schemas.microsoft.com/office/powerpoint/2010/main" val="121528997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7A6905E-B225-8E4B-CD5E-9C6C0739A85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68327" y="1240889"/>
            <a:ext cx="6565688" cy="3079737"/>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pic>
        <p:nvPicPr>
          <p:cNvPr id="15" name="Picture 14">
            <a:extLst>
              <a:ext uri="{FF2B5EF4-FFF2-40B4-BE49-F238E27FC236}">
                <a16:creationId xmlns:a16="http://schemas.microsoft.com/office/drawing/2014/main" id="{3D7D60E9-EF06-3021-4C8C-DF94EEDD8C3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525318" y="339032"/>
            <a:ext cx="7930884" cy="4394052"/>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pic>
        <p:nvPicPr>
          <p:cNvPr id="13" name="Picture 12">
            <a:extLst>
              <a:ext uri="{FF2B5EF4-FFF2-40B4-BE49-F238E27FC236}">
                <a16:creationId xmlns:a16="http://schemas.microsoft.com/office/drawing/2014/main" id="{4C07F03B-B138-66D2-9567-F668E157593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484378" y="4175943"/>
            <a:ext cx="6423108" cy="4336861"/>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pic>
        <p:nvPicPr>
          <p:cNvPr id="17" name="Picture 16">
            <a:extLst>
              <a:ext uri="{FF2B5EF4-FFF2-40B4-BE49-F238E27FC236}">
                <a16:creationId xmlns:a16="http://schemas.microsoft.com/office/drawing/2014/main" id="{A215BF0F-3B75-6D0C-337B-E78F4ECAC622}"/>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1278198" y="1996289"/>
            <a:ext cx="6478002" cy="4653797"/>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grpSp>
        <p:nvGrpSpPr>
          <p:cNvPr id="24" name="Group 23">
            <a:extLst>
              <a:ext uri="{FF2B5EF4-FFF2-40B4-BE49-F238E27FC236}">
                <a16:creationId xmlns:a16="http://schemas.microsoft.com/office/drawing/2014/main" id="{71FDFEB1-D2D4-5A04-23B3-8FF11EBFBB74}"/>
              </a:ext>
            </a:extLst>
          </p:cNvPr>
          <p:cNvGrpSpPr/>
          <p:nvPr/>
        </p:nvGrpSpPr>
        <p:grpSpPr>
          <a:xfrm>
            <a:off x="6869030" y="4477826"/>
            <a:ext cx="8306478" cy="5036775"/>
            <a:chOff x="7154052" y="5621158"/>
            <a:chExt cx="10368647" cy="6224806"/>
          </a:xfrm>
        </p:grpSpPr>
        <p:pic>
          <p:nvPicPr>
            <p:cNvPr id="23" name="Picture 22">
              <a:extLst>
                <a:ext uri="{FF2B5EF4-FFF2-40B4-BE49-F238E27FC236}">
                  <a16:creationId xmlns:a16="http://schemas.microsoft.com/office/drawing/2014/main" id="{53EE3E7C-1C10-78AA-3B40-D2A2F8D967B1}"/>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154052" y="5621158"/>
              <a:ext cx="6347239" cy="3456000"/>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pic>
          <p:nvPicPr>
            <p:cNvPr id="21" name="Picture 20">
              <a:extLst>
                <a:ext uri="{FF2B5EF4-FFF2-40B4-BE49-F238E27FC236}">
                  <a16:creationId xmlns:a16="http://schemas.microsoft.com/office/drawing/2014/main" id="{4CC66BEB-1E4B-35BC-2EF5-0F5F188EAC1E}"/>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197808" y="7093963"/>
              <a:ext cx="6078070" cy="3456000"/>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pic>
          <p:nvPicPr>
            <p:cNvPr id="19" name="Picture 18">
              <a:extLst>
                <a:ext uri="{FF2B5EF4-FFF2-40B4-BE49-F238E27FC236}">
                  <a16:creationId xmlns:a16="http://schemas.microsoft.com/office/drawing/2014/main" id="{93D235F9-689F-B069-6179-446732D9396B}"/>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1381482" y="8389964"/>
              <a:ext cx="6141217" cy="3456000"/>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grpSp>
    </p:spTree>
    <p:extLst>
      <p:ext uri="{BB962C8B-B14F-4D97-AF65-F5344CB8AC3E}">
        <p14:creationId xmlns:p14="http://schemas.microsoft.com/office/powerpoint/2010/main" val="349838190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6950BFC3-D8DA-4A85-94F7-54DA5524770B}">
      <p188:commentRel xmlns:p188="http://schemas.microsoft.com/office/powerpoint/2018/8/main" r:id="rId2"/>
    </p:ext>
  </p:extLs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E3AF0E-46A1-650C-FF95-28DFD407BC5B}"/>
            </a:ext>
          </a:extLst>
        </p:cNvPr>
        <p:cNvGrpSpPr/>
        <p:nvPr/>
      </p:nvGrpSpPr>
      <p:grpSpPr>
        <a:xfrm>
          <a:off x="0" y="0"/>
          <a:ext cx="0" cy="0"/>
          <a:chOff x="0" y="0"/>
          <a:chExt cx="0" cy="0"/>
        </a:xfrm>
      </p:grpSpPr>
      <p:sp>
        <p:nvSpPr>
          <p:cNvPr id="10" name="Retângulo com Único Canto Aparado e Arredondado 9">
            <a:extLst>
              <a:ext uri="{FF2B5EF4-FFF2-40B4-BE49-F238E27FC236}">
                <a16:creationId xmlns:a16="http://schemas.microsoft.com/office/drawing/2014/main" id="{8744952C-D829-8310-FF5E-60DDB1E336B8}"/>
              </a:ext>
            </a:extLst>
          </p:cNvPr>
          <p:cNvSpPr/>
          <p:nvPr/>
        </p:nvSpPr>
        <p:spPr>
          <a:xfrm>
            <a:off x="12353798" y="2702841"/>
            <a:ext cx="5266808" cy="6276753"/>
          </a:xfrm>
          <a:prstGeom prst="snipRoundRect">
            <a:avLst/>
          </a:prstGeom>
          <a:gradFill>
            <a:gsLst>
              <a:gs pos="0">
                <a:schemeClr val="tx1">
                  <a:lumMod val="95000"/>
                </a:schemeClr>
              </a:gs>
              <a:gs pos="73000">
                <a:schemeClr val="tx1">
                  <a:lumMod val="85000"/>
                </a:schemeClr>
              </a:gs>
              <a:gs pos="96000">
                <a:schemeClr val="tx1">
                  <a:lumMod val="75000"/>
                </a:schemeClr>
              </a:gs>
              <a:gs pos="99000">
                <a:srgbClr val="7D43FF"/>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endParaRPr lang="en-US" sz="4050" noProof="0"/>
          </a:p>
        </p:txBody>
      </p:sp>
      <p:sp>
        <p:nvSpPr>
          <p:cNvPr id="9" name="Retângulo com Único Canto Aparado e Arredondado 8">
            <a:extLst>
              <a:ext uri="{FF2B5EF4-FFF2-40B4-BE49-F238E27FC236}">
                <a16:creationId xmlns:a16="http://schemas.microsoft.com/office/drawing/2014/main" id="{2DBDD355-4030-FD17-FD6D-7DC8291D380C}"/>
              </a:ext>
            </a:extLst>
          </p:cNvPr>
          <p:cNvSpPr/>
          <p:nvPr/>
        </p:nvSpPr>
        <p:spPr>
          <a:xfrm>
            <a:off x="6509437" y="2703305"/>
            <a:ext cx="5266808" cy="6276753"/>
          </a:xfrm>
          <a:prstGeom prst="snipRoundRect">
            <a:avLst/>
          </a:prstGeom>
          <a:gradFill>
            <a:gsLst>
              <a:gs pos="0">
                <a:schemeClr val="tx1">
                  <a:lumMod val="95000"/>
                </a:schemeClr>
              </a:gs>
              <a:gs pos="73000">
                <a:schemeClr val="tx1">
                  <a:lumMod val="85000"/>
                </a:schemeClr>
              </a:gs>
              <a:gs pos="96000">
                <a:schemeClr val="tx1">
                  <a:lumMod val="75000"/>
                </a:schemeClr>
              </a:gs>
              <a:gs pos="99000">
                <a:srgbClr val="7D43FF"/>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endParaRPr lang="en-US" sz="4050" noProof="0"/>
          </a:p>
        </p:txBody>
      </p:sp>
      <p:sp>
        <p:nvSpPr>
          <p:cNvPr id="6" name="Retângulo com Único Canto Aparado e Arredondado 5">
            <a:extLst>
              <a:ext uri="{FF2B5EF4-FFF2-40B4-BE49-F238E27FC236}">
                <a16:creationId xmlns:a16="http://schemas.microsoft.com/office/drawing/2014/main" id="{C6476937-7F49-BC99-23EB-D86C5B98C27D}"/>
              </a:ext>
            </a:extLst>
          </p:cNvPr>
          <p:cNvSpPr/>
          <p:nvPr/>
        </p:nvSpPr>
        <p:spPr>
          <a:xfrm>
            <a:off x="667396" y="2702841"/>
            <a:ext cx="5266808" cy="6276753"/>
          </a:xfrm>
          <a:prstGeom prst="snipRoundRect">
            <a:avLst/>
          </a:prstGeom>
          <a:gradFill>
            <a:gsLst>
              <a:gs pos="0">
                <a:schemeClr val="tx1">
                  <a:lumMod val="95000"/>
                </a:schemeClr>
              </a:gs>
              <a:gs pos="73000">
                <a:schemeClr val="tx1">
                  <a:lumMod val="85000"/>
                </a:schemeClr>
              </a:gs>
              <a:gs pos="96000">
                <a:schemeClr val="tx1">
                  <a:lumMod val="75000"/>
                </a:schemeClr>
              </a:gs>
              <a:gs pos="99000">
                <a:srgbClr val="7D43FF"/>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endParaRPr lang="en-US" sz="4050" noProof="0"/>
          </a:p>
        </p:txBody>
      </p:sp>
      <p:sp>
        <p:nvSpPr>
          <p:cNvPr id="12" name="TextBox 5">
            <a:extLst>
              <a:ext uri="{FF2B5EF4-FFF2-40B4-BE49-F238E27FC236}">
                <a16:creationId xmlns:a16="http://schemas.microsoft.com/office/drawing/2014/main" id="{AD37E814-BD98-975E-66B5-5128D062F4EB}"/>
              </a:ext>
            </a:extLst>
          </p:cNvPr>
          <p:cNvSpPr txBox="1"/>
          <p:nvPr/>
        </p:nvSpPr>
        <p:spPr>
          <a:xfrm>
            <a:off x="729706" y="860003"/>
            <a:ext cx="9896709" cy="1077218"/>
          </a:xfrm>
          <a:prstGeom prst="rect">
            <a:avLst/>
          </a:prstGeom>
        </p:spPr>
        <p:txBody>
          <a:bodyPr wrap="square" lIns="0" tIns="0" rIns="0" bIns="0" rtlCol="0" anchor="t">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4200" b="1" noProof="0">
                <a:solidFill>
                  <a:srgbClr val="000000"/>
                </a:solidFill>
                <a:latin typeface="Montserrat Medium"/>
                <a:ea typeface="+mn-lt"/>
                <a:cs typeface="+mn-lt"/>
                <a:sym typeface="Montserrat Medium"/>
              </a:rPr>
              <a:t>Adding Value with</a:t>
            </a:r>
          </a:p>
          <a:p>
            <a:r>
              <a:rPr lang="en-US" sz="2800" noProof="0">
                <a:solidFill>
                  <a:srgbClr val="713BFE"/>
                </a:solidFill>
                <a:latin typeface="Montserrat Medium"/>
                <a:ea typeface="+mn-lt"/>
                <a:cs typeface="+mn-lt"/>
                <a:sym typeface="Montserrat Medium"/>
              </a:rPr>
              <a:t>Scalable knowledge</a:t>
            </a:r>
            <a:endParaRPr lang="en-US" sz="2800" noProof="0">
              <a:solidFill>
                <a:srgbClr val="713BFE"/>
              </a:solidFill>
            </a:endParaRPr>
          </a:p>
        </p:txBody>
      </p:sp>
      <p:grpSp>
        <p:nvGrpSpPr>
          <p:cNvPr id="16" name="Group 24">
            <a:extLst>
              <a:ext uri="{FF2B5EF4-FFF2-40B4-BE49-F238E27FC236}">
                <a16:creationId xmlns:a16="http://schemas.microsoft.com/office/drawing/2014/main" id="{AD41E772-B851-C74C-81CC-6C750A671543}"/>
              </a:ext>
            </a:extLst>
          </p:cNvPr>
          <p:cNvGrpSpPr/>
          <p:nvPr/>
        </p:nvGrpSpPr>
        <p:grpSpPr>
          <a:xfrm>
            <a:off x="5893761" y="1341263"/>
            <a:ext cx="612363" cy="56823"/>
            <a:chOff x="0" y="0"/>
            <a:chExt cx="1078484" cy="100076"/>
          </a:xfrm>
        </p:grpSpPr>
        <p:sp>
          <p:nvSpPr>
            <p:cNvPr id="14" name="Freeform 25">
              <a:extLst>
                <a:ext uri="{FF2B5EF4-FFF2-40B4-BE49-F238E27FC236}">
                  <a16:creationId xmlns:a16="http://schemas.microsoft.com/office/drawing/2014/main" id="{DD9C534A-3399-0F9D-DE63-19C6844DFA0E}"/>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endParaRPr lang="en-US" sz="1800" noProof="0"/>
            </a:p>
          </p:txBody>
        </p:sp>
      </p:grpSp>
      <p:sp>
        <p:nvSpPr>
          <p:cNvPr id="38" name="TextBox 5">
            <a:extLst>
              <a:ext uri="{FF2B5EF4-FFF2-40B4-BE49-F238E27FC236}">
                <a16:creationId xmlns:a16="http://schemas.microsoft.com/office/drawing/2014/main" id="{7E47517B-C4DE-EA11-A2DF-E4DE946B85EF}"/>
              </a:ext>
            </a:extLst>
          </p:cNvPr>
          <p:cNvSpPr txBox="1"/>
          <p:nvPr/>
        </p:nvSpPr>
        <p:spPr>
          <a:xfrm>
            <a:off x="1727424" y="2942513"/>
            <a:ext cx="2623440" cy="788678"/>
          </a:xfrm>
          <a:prstGeom prst="rect">
            <a:avLst/>
          </a:prstGeom>
        </p:spPr>
        <p:txBody>
          <a:bodyPr wrap="square" lIns="0" tIns="0" rIns="0" bIns="0" rtlCol="0" anchor="t">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nSpc>
                <a:spcPts val="7200"/>
              </a:lnSpc>
            </a:pPr>
            <a:r>
              <a:rPr lang="en-US" sz="3000" b="1" i="1" noProof="0">
                <a:solidFill>
                  <a:srgbClr val="8709FB"/>
                </a:solidFill>
                <a:latin typeface="Roboto"/>
                <a:ea typeface="Roboto"/>
                <a:cs typeface="Roboto"/>
              </a:rPr>
              <a:t>Time is money</a:t>
            </a:r>
          </a:p>
        </p:txBody>
      </p:sp>
      <p:pic>
        <p:nvPicPr>
          <p:cNvPr id="39" name="Imagem 38" descr="Ícone&#10;&#10;O conteúdo gerado por IA pode estar incorreto.">
            <a:extLst>
              <a:ext uri="{FF2B5EF4-FFF2-40B4-BE49-F238E27FC236}">
                <a16:creationId xmlns:a16="http://schemas.microsoft.com/office/drawing/2014/main" id="{7E301936-9A61-92B3-CC5E-26CEB173DD88}"/>
              </a:ext>
            </a:extLst>
          </p:cNvPr>
          <p:cNvPicPr>
            <a:picLocks noChangeAspect="1"/>
          </p:cNvPicPr>
          <p:nvPr/>
        </p:nvPicPr>
        <p:blipFill>
          <a:blip r:embed="rId3"/>
          <a:stretch>
            <a:fillRect/>
          </a:stretch>
        </p:blipFill>
        <p:spPr>
          <a:xfrm>
            <a:off x="864296" y="2938919"/>
            <a:ext cx="792272" cy="792272"/>
          </a:xfrm>
          <a:prstGeom prst="rect">
            <a:avLst/>
          </a:prstGeom>
        </p:spPr>
      </p:pic>
      <p:pic>
        <p:nvPicPr>
          <p:cNvPr id="41" name="Imagem 40" descr="Ícone&#10;&#10;O conteúdo gerado por IA pode estar incorreto.">
            <a:extLst>
              <a:ext uri="{FF2B5EF4-FFF2-40B4-BE49-F238E27FC236}">
                <a16:creationId xmlns:a16="http://schemas.microsoft.com/office/drawing/2014/main" id="{0ACBE561-AFBE-FA4B-2E19-B3A52A07D48F}"/>
              </a:ext>
            </a:extLst>
          </p:cNvPr>
          <p:cNvPicPr>
            <a:picLocks noChangeAspect="1"/>
          </p:cNvPicPr>
          <p:nvPr/>
        </p:nvPicPr>
        <p:blipFill>
          <a:blip r:embed="rId4"/>
          <a:stretch>
            <a:fillRect/>
          </a:stretch>
        </p:blipFill>
        <p:spPr>
          <a:xfrm>
            <a:off x="6706579" y="2931896"/>
            <a:ext cx="792272" cy="792272"/>
          </a:xfrm>
          <a:prstGeom prst="rect">
            <a:avLst/>
          </a:prstGeom>
        </p:spPr>
      </p:pic>
      <p:pic>
        <p:nvPicPr>
          <p:cNvPr id="42" name="Imagem 41" descr="Ícone&#10;&#10;O conteúdo gerado por IA pode estar incorreto.">
            <a:extLst>
              <a:ext uri="{FF2B5EF4-FFF2-40B4-BE49-F238E27FC236}">
                <a16:creationId xmlns:a16="http://schemas.microsoft.com/office/drawing/2014/main" id="{61C48892-9ED7-E936-FD1A-168D78F92EDC}"/>
              </a:ext>
            </a:extLst>
          </p:cNvPr>
          <p:cNvPicPr>
            <a:picLocks noChangeAspect="1"/>
          </p:cNvPicPr>
          <p:nvPr/>
        </p:nvPicPr>
        <p:blipFill>
          <a:blip r:embed="rId5"/>
          <a:stretch>
            <a:fillRect/>
          </a:stretch>
        </p:blipFill>
        <p:spPr>
          <a:xfrm>
            <a:off x="12685735" y="2907604"/>
            <a:ext cx="792272" cy="792272"/>
          </a:xfrm>
          <a:prstGeom prst="rect">
            <a:avLst/>
          </a:prstGeom>
        </p:spPr>
      </p:pic>
      <p:sp>
        <p:nvSpPr>
          <p:cNvPr id="47" name="TextBox 5">
            <a:extLst>
              <a:ext uri="{FF2B5EF4-FFF2-40B4-BE49-F238E27FC236}">
                <a16:creationId xmlns:a16="http://schemas.microsoft.com/office/drawing/2014/main" id="{167115F4-886F-F651-0445-9CDDB1055F66}"/>
              </a:ext>
            </a:extLst>
          </p:cNvPr>
          <p:cNvSpPr txBox="1"/>
          <p:nvPr/>
        </p:nvSpPr>
        <p:spPr>
          <a:xfrm>
            <a:off x="7581445" y="2919340"/>
            <a:ext cx="3320504" cy="796661"/>
          </a:xfrm>
          <a:prstGeom prst="rect">
            <a:avLst/>
          </a:prstGeom>
        </p:spPr>
        <p:txBody>
          <a:bodyPr wrap="square" lIns="0" tIns="0" rIns="0" bIns="0" rtlCol="0" anchor="t">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nSpc>
                <a:spcPts val="7200"/>
              </a:lnSpc>
            </a:pPr>
            <a:r>
              <a:rPr lang="en-US" sz="3000" b="1" i="1" noProof="0">
                <a:solidFill>
                  <a:srgbClr val="8709FB"/>
                </a:solidFill>
                <a:latin typeface="Roboto"/>
                <a:ea typeface="Roboto"/>
                <a:cs typeface="Roboto"/>
              </a:rPr>
              <a:t>Knowledge is value</a:t>
            </a:r>
            <a:endParaRPr lang="en-US" sz="4050" noProof="0">
              <a:solidFill>
                <a:srgbClr val="8709FB"/>
              </a:solidFill>
            </a:endParaRPr>
          </a:p>
        </p:txBody>
      </p:sp>
      <p:sp>
        <p:nvSpPr>
          <p:cNvPr id="50" name="TextBox 5">
            <a:extLst>
              <a:ext uri="{FF2B5EF4-FFF2-40B4-BE49-F238E27FC236}">
                <a16:creationId xmlns:a16="http://schemas.microsoft.com/office/drawing/2014/main" id="{9DC5D528-1262-6616-45DD-A593770AD9BB}"/>
              </a:ext>
            </a:extLst>
          </p:cNvPr>
          <p:cNvSpPr txBox="1"/>
          <p:nvPr/>
        </p:nvSpPr>
        <p:spPr>
          <a:xfrm>
            <a:off x="13559919" y="2905360"/>
            <a:ext cx="3778881" cy="796757"/>
          </a:xfrm>
          <a:prstGeom prst="rect">
            <a:avLst/>
          </a:prstGeom>
        </p:spPr>
        <p:txBody>
          <a:bodyPr wrap="square" lIns="0" tIns="0" rIns="0" bIns="0" rtlCol="0" anchor="t">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nSpc>
                <a:spcPts val="7200"/>
              </a:lnSpc>
            </a:pPr>
            <a:r>
              <a:rPr lang="en-US" sz="3000" b="1" i="1" noProof="0">
                <a:solidFill>
                  <a:srgbClr val="8709FB"/>
                </a:solidFill>
                <a:latin typeface="Roboto"/>
                <a:ea typeface="Roboto"/>
                <a:cs typeface="Roboto"/>
              </a:rPr>
              <a:t>Consistency is a must</a:t>
            </a:r>
            <a:endParaRPr lang="en-US" sz="4050" noProof="0">
              <a:solidFill>
                <a:srgbClr val="8709FB"/>
              </a:solidFill>
            </a:endParaRPr>
          </a:p>
        </p:txBody>
      </p:sp>
      <p:sp>
        <p:nvSpPr>
          <p:cNvPr id="51" name="CaixaDeTexto 50">
            <a:extLst>
              <a:ext uri="{FF2B5EF4-FFF2-40B4-BE49-F238E27FC236}">
                <a16:creationId xmlns:a16="http://schemas.microsoft.com/office/drawing/2014/main" id="{11480220-B509-4933-9EDE-2D16B34BB15A}"/>
              </a:ext>
            </a:extLst>
          </p:cNvPr>
          <p:cNvSpPr txBox="1"/>
          <p:nvPr/>
        </p:nvSpPr>
        <p:spPr>
          <a:xfrm>
            <a:off x="870558" y="4268245"/>
            <a:ext cx="4807503" cy="3374963"/>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257175" indent="-257175">
              <a:lnSpc>
                <a:spcPts val="1887"/>
              </a:lnSpc>
              <a:buFont typeface="Arial,Sans-Serif"/>
              <a:buChar char="•"/>
            </a:pPr>
            <a:r>
              <a:rPr lang="en-US" sz="1650" b="1" noProof="0">
                <a:solidFill>
                  <a:srgbClr val="713BFE"/>
                </a:solidFill>
                <a:latin typeface="Roboto"/>
                <a:ea typeface="Roboto"/>
                <a:cs typeface="Roboto"/>
              </a:rPr>
              <a:t>Saves Time:</a:t>
            </a:r>
            <a:r>
              <a:rPr lang="en-US" sz="1650" b="1" noProof="0">
                <a:solidFill>
                  <a:srgbClr val="222222"/>
                </a:solidFill>
                <a:latin typeface="Roboto"/>
                <a:ea typeface="Roboto"/>
                <a:cs typeface="Roboto"/>
              </a:rPr>
              <a:t> </a:t>
            </a:r>
            <a:r>
              <a:rPr lang="en-US" sz="1650" noProof="0">
                <a:solidFill>
                  <a:srgbClr val="222222"/>
                </a:solidFill>
                <a:latin typeface="Roboto"/>
                <a:ea typeface="Roboto"/>
                <a:cs typeface="Roboto"/>
              </a:rPr>
              <a:t>Businesses that implement </a:t>
            </a:r>
            <a:r>
              <a:rPr lang="en-US" sz="1650" b="1" noProof="0">
                <a:solidFill>
                  <a:srgbClr val="222222"/>
                </a:solidFill>
                <a:latin typeface="Roboto"/>
                <a:ea typeface="Roboto"/>
                <a:cs typeface="Roboto"/>
              </a:rPr>
              <a:t>document analysis and verification </a:t>
            </a:r>
            <a:r>
              <a:rPr lang="en-US" sz="1650" noProof="0">
                <a:solidFill>
                  <a:srgbClr val="222222"/>
                </a:solidFill>
                <a:latin typeface="Roboto"/>
                <a:ea typeface="Roboto"/>
                <a:cs typeface="Roboto"/>
              </a:rPr>
              <a:t>that could reduce document processing time by up to 50%, leading to improved productivity.</a:t>
            </a:r>
            <a:endParaRPr lang="en-US" sz="1650" noProof="0"/>
          </a:p>
          <a:p>
            <a:pPr algn="r">
              <a:lnSpc>
                <a:spcPts val="1887"/>
              </a:lnSpc>
            </a:pPr>
            <a:r>
              <a:rPr lang="en-US" sz="1650" i="1" noProof="0">
                <a:solidFill>
                  <a:srgbClr val="222222"/>
                </a:solidFill>
                <a:latin typeface="Roboto"/>
                <a:ea typeface="Roboto"/>
                <a:cs typeface="Roboto"/>
              </a:rPr>
              <a:t>(Source: Forrester – 2023, “</a:t>
            </a:r>
            <a:r>
              <a:rPr lang="en-US" sz="1650" i="1" noProof="0">
                <a:solidFill>
                  <a:srgbClr val="1F2733"/>
                </a:solidFill>
                <a:latin typeface="Roboto"/>
                <a:ea typeface="Roboto"/>
                <a:cs typeface="Roboto"/>
              </a:rPr>
              <a:t>Forrester’s Predictions 2024</a:t>
            </a:r>
            <a:r>
              <a:rPr lang="en-US" sz="1650" i="1" noProof="0">
                <a:latin typeface="Roboto"/>
                <a:ea typeface="Roboto"/>
                <a:cs typeface="Roboto"/>
              </a:rPr>
              <a:t>"</a:t>
            </a:r>
            <a:r>
              <a:rPr lang="en-US" sz="1650" i="1" noProof="0">
                <a:solidFill>
                  <a:srgbClr val="222222"/>
                </a:solidFill>
                <a:latin typeface="Roboto"/>
                <a:ea typeface="Roboto"/>
                <a:cs typeface="Roboto"/>
              </a:rPr>
              <a:t>) </a:t>
            </a:r>
            <a:r>
              <a:rPr lang="en-US" sz="1650" i="1" noProof="0">
                <a:latin typeface="Roboto"/>
                <a:ea typeface="Roboto"/>
                <a:cs typeface="Roboto"/>
              </a:rPr>
              <a:t>​</a:t>
            </a:r>
            <a:endParaRPr lang="en-US" sz="1650" noProof="0"/>
          </a:p>
          <a:p>
            <a:pPr marL="257175" indent="-257175">
              <a:lnSpc>
                <a:spcPts val="1887"/>
              </a:lnSpc>
              <a:buFont typeface="Arial,Sans-Serif"/>
              <a:buChar char="•"/>
            </a:pPr>
            <a:endParaRPr lang="en-US" sz="1650" noProof="0">
              <a:solidFill>
                <a:srgbClr val="000000"/>
              </a:solidFill>
              <a:latin typeface="Roboto"/>
              <a:ea typeface="Roboto"/>
              <a:cs typeface="Roboto"/>
            </a:endParaRPr>
          </a:p>
          <a:p>
            <a:pPr marL="257175" indent="-257175">
              <a:lnSpc>
                <a:spcPts val="1887"/>
              </a:lnSpc>
              <a:buFont typeface="Arial,Sans-Serif"/>
              <a:buChar char="•"/>
            </a:pPr>
            <a:r>
              <a:rPr lang="en-US" sz="1650" b="1" noProof="0">
                <a:solidFill>
                  <a:srgbClr val="713BFE"/>
                </a:solidFill>
                <a:latin typeface="Roboto"/>
                <a:ea typeface="Roboto"/>
                <a:cs typeface="Roboto"/>
              </a:rPr>
              <a:t>Reduces Operational Cost:</a:t>
            </a:r>
            <a:r>
              <a:rPr lang="en-US" sz="1650" b="1" noProof="0">
                <a:solidFill>
                  <a:srgbClr val="222222"/>
                </a:solidFill>
                <a:latin typeface="Roboto"/>
                <a:ea typeface="Roboto"/>
                <a:cs typeface="Roboto"/>
              </a:rPr>
              <a:t> </a:t>
            </a:r>
            <a:r>
              <a:rPr lang="en-US" sz="1650" b="1" noProof="0">
                <a:solidFill>
                  <a:schemeClr val="bg1"/>
                </a:solidFill>
                <a:latin typeface="Roboto"/>
                <a:ea typeface="Roboto"/>
                <a:cs typeface="Roboto"/>
              </a:rPr>
              <a:t>Simplifying and enabling document generation</a:t>
            </a:r>
            <a:r>
              <a:rPr lang="en-US" sz="1650" noProof="0">
                <a:solidFill>
                  <a:schemeClr val="bg1"/>
                </a:solidFill>
                <a:latin typeface="Roboto"/>
                <a:ea typeface="Roboto"/>
                <a:cs typeface="Roboto"/>
              </a:rPr>
              <a:t> </a:t>
            </a:r>
            <a:r>
              <a:rPr lang="en-US" sz="1650" noProof="0">
                <a:solidFill>
                  <a:srgbClr val="222222"/>
                </a:solidFill>
                <a:latin typeface="Roboto"/>
                <a:ea typeface="Roboto"/>
                <a:cs typeface="Roboto"/>
              </a:rPr>
              <a:t>with the </a:t>
            </a:r>
            <a:r>
              <a:rPr lang="en-US" sz="1650" b="1" noProof="0">
                <a:solidFill>
                  <a:srgbClr val="222222"/>
                </a:solidFill>
                <a:latin typeface="Roboto"/>
                <a:ea typeface="Roboto"/>
                <a:cs typeface="Roboto"/>
              </a:rPr>
              <a:t>right  knowledge</a:t>
            </a:r>
            <a:r>
              <a:rPr lang="en-US" sz="1650" noProof="0">
                <a:solidFill>
                  <a:srgbClr val="222222"/>
                </a:solidFill>
                <a:latin typeface="Roboto"/>
                <a:ea typeface="Roboto"/>
                <a:cs typeface="Roboto"/>
              </a:rPr>
              <a:t> can save organizations between 20% to 30% in operational costs by lowering labor expenses and minimizing errors.</a:t>
            </a:r>
          </a:p>
          <a:p>
            <a:pPr algn="r">
              <a:lnSpc>
                <a:spcPts val="1887"/>
              </a:lnSpc>
            </a:pPr>
            <a:r>
              <a:rPr lang="en-US" sz="1650" i="1" noProof="0">
                <a:solidFill>
                  <a:srgbClr val="222222"/>
                </a:solidFill>
                <a:latin typeface="Roboto"/>
                <a:ea typeface="+mn-lt"/>
                <a:cs typeface="+mn-lt"/>
              </a:rPr>
              <a:t>(Source: Gartner-2022) </a:t>
            </a:r>
            <a:endParaRPr lang="en-US" sz="1650" i="1" noProof="0">
              <a:solidFill>
                <a:srgbClr val="222222"/>
              </a:solidFill>
              <a:latin typeface="Roboto"/>
              <a:ea typeface="Roboto"/>
              <a:cs typeface="Roboto"/>
            </a:endParaRPr>
          </a:p>
        </p:txBody>
      </p:sp>
      <p:sp>
        <p:nvSpPr>
          <p:cNvPr id="52" name="CaixaDeTexto 51">
            <a:extLst>
              <a:ext uri="{FF2B5EF4-FFF2-40B4-BE49-F238E27FC236}">
                <a16:creationId xmlns:a16="http://schemas.microsoft.com/office/drawing/2014/main" id="{C517E7FA-2A44-55DC-9F43-0557B8ECF7E5}"/>
              </a:ext>
            </a:extLst>
          </p:cNvPr>
          <p:cNvSpPr txBox="1"/>
          <p:nvPr/>
        </p:nvSpPr>
        <p:spPr>
          <a:xfrm>
            <a:off x="6621871" y="4268243"/>
            <a:ext cx="5226482" cy="2319866"/>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257175" indent="-257175">
              <a:buFont typeface="Arial,Sans-Serif"/>
              <a:buChar char="•"/>
            </a:pPr>
            <a:r>
              <a:rPr lang="en-US" sz="1575" b="1" noProof="0">
                <a:solidFill>
                  <a:srgbClr val="713BFE"/>
                </a:solidFill>
                <a:latin typeface="Roboto"/>
                <a:ea typeface="Roboto"/>
                <a:cs typeface="Roboto"/>
              </a:rPr>
              <a:t>Scalable and persistent:</a:t>
            </a:r>
            <a:r>
              <a:rPr lang="en-US" sz="1575" noProof="0">
                <a:solidFill>
                  <a:srgbClr val="000000"/>
                </a:solidFill>
                <a:latin typeface="Roboto"/>
                <a:ea typeface="Roboto"/>
                <a:cs typeface="Roboto"/>
              </a:rPr>
              <a:t> By leveraging innovative technologies and fostering a culture of continuous learning, the creation of a scalable and persistent knowledge system ensures </a:t>
            </a:r>
            <a:r>
              <a:rPr lang="en-US" sz="1575" b="1" i="1" noProof="0">
                <a:solidFill>
                  <a:srgbClr val="000000"/>
                </a:solidFill>
                <a:latin typeface="Roboto"/>
                <a:ea typeface="Roboto"/>
                <a:cs typeface="Roboto"/>
              </a:rPr>
              <a:t>"doing the right thing with the right knowledge"</a:t>
            </a:r>
            <a:r>
              <a:rPr lang="en-US" sz="1575" noProof="0">
                <a:solidFill>
                  <a:srgbClr val="000000"/>
                </a:solidFill>
                <a:latin typeface="Roboto"/>
                <a:ea typeface="Roboto"/>
                <a:cs typeface="Roboto"/>
              </a:rPr>
              <a:t>. Scalable knowledge acquires significant relevance through </a:t>
            </a:r>
            <a:r>
              <a:rPr lang="en-US" sz="1575" b="1" noProof="0">
                <a:solidFill>
                  <a:srgbClr val="000000"/>
                </a:solidFill>
                <a:latin typeface="Roboto"/>
                <a:ea typeface="Roboto"/>
                <a:cs typeface="Roboto"/>
              </a:rPr>
              <a:t>the persistence of content, ensuring that its dissemination occurs in a solid and consistent </a:t>
            </a:r>
            <a:r>
              <a:rPr lang="en-US" sz="1575" noProof="0">
                <a:solidFill>
                  <a:srgbClr val="000000"/>
                </a:solidFill>
                <a:latin typeface="Roboto"/>
                <a:ea typeface="Roboto"/>
                <a:cs typeface="Roboto"/>
              </a:rPr>
              <a:t>manner (at scale).</a:t>
            </a:r>
            <a:endParaRPr lang="en-US" sz="1575" noProof="0">
              <a:latin typeface="Roboto"/>
              <a:ea typeface="Roboto"/>
              <a:cs typeface="Roboto"/>
            </a:endParaRPr>
          </a:p>
        </p:txBody>
      </p:sp>
      <p:sp>
        <p:nvSpPr>
          <p:cNvPr id="53" name="CaixaDeTexto 52">
            <a:extLst>
              <a:ext uri="{FF2B5EF4-FFF2-40B4-BE49-F238E27FC236}">
                <a16:creationId xmlns:a16="http://schemas.microsoft.com/office/drawing/2014/main" id="{020F8675-D8DD-89E3-78F7-4FB89025732C}"/>
              </a:ext>
            </a:extLst>
          </p:cNvPr>
          <p:cNvSpPr txBox="1"/>
          <p:nvPr/>
        </p:nvSpPr>
        <p:spPr>
          <a:xfrm>
            <a:off x="12472790" y="4106497"/>
            <a:ext cx="4490580" cy="4689746"/>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257175" indent="-257175">
              <a:buFont typeface="Arial,Sans-Serif"/>
              <a:buChar char="•"/>
            </a:pPr>
            <a:r>
              <a:rPr lang="en-US" sz="1650" b="1" noProof="0">
                <a:solidFill>
                  <a:srgbClr val="713BFE"/>
                </a:solidFill>
                <a:latin typeface="Roboto"/>
                <a:ea typeface="Roboto"/>
                <a:cs typeface="Roboto"/>
              </a:rPr>
              <a:t>Improves Accuracy and Reliability: </a:t>
            </a:r>
            <a:r>
              <a:rPr lang="en-US" sz="1650" b="1" noProof="0">
                <a:solidFill>
                  <a:srgbClr val="000000"/>
                </a:solidFill>
                <a:latin typeface="Roboto"/>
                <a:ea typeface="Roboto"/>
                <a:cs typeface="Roboto"/>
              </a:rPr>
              <a:t>Standardized document and information analysis</a:t>
            </a:r>
            <a:r>
              <a:rPr lang="en-US" sz="1650" noProof="0">
                <a:solidFill>
                  <a:srgbClr val="000000"/>
                </a:solidFill>
                <a:latin typeface="Roboto"/>
                <a:ea typeface="Roboto"/>
                <a:cs typeface="Roboto"/>
              </a:rPr>
              <a:t> ensures that data is interpreted consistently, mitigating the risk of errors and supported by a </a:t>
            </a:r>
            <a:r>
              <a:rPr lang="en-US" sz="1650" b="1" noProof="0">
                <a:solidFill>
                  <a:srgbClr val="000000"/>
                </a:solidFill>
                <a:latin typeface="Roboto"/>
                <a:ea typeface="Roboto"/>
                <a:cs typeface="Roboto"/>
              </a:rPr>
              <a:t>community of knowledge</a:t>
            </a:r>
            <a:r>
              <a:rPr lang="en-US" sz="1650" noProof="0">
                <a:solidFill>
                  <a:srgbClr val="000000"/>
                </a:solidFill>
                <a:latin typeface="Roboto"/>
                <a:ea typeface="Roboto"/>
                <a:cs typeface="Roboto"/>
              </a:rPr>
              <a:t>. </a:t>
            </a:r>
          </a:p>
          <a:p>
            <a:endParaRPr lang="en-US" sz="1650" noProof="0">
              <a:latin typeface="Roboto"/>
              <a:ea typeface="Roboto"/>
              <a:cs typeface="Roboto"/>
            </a:endParaRPr>
          </a:p>
          <a:p>
            <a:pPr marL="257175" indent="-257175">
              <a:buFont typeface="Arial,Sans-Serif"/>
              <a:buChar char="•"/>
            </a:pPr>
            <a:r>
              <a:rPr lang="en-US" sz="1650" b="1" noProof="0">
                <a:solidFill>
                  <a:srgbClr val="713BFE"/>
                </a:solidFill>
                <a:latin typeface="Roboto"/>
                <a:ea typeface="Roboto"/>
                <a:cs typeface="Roboto"/>
              </a:rPr>
              <a:t>Streamlines Information Processing: </a:t>
            </a:r>
            <a:r>
              <a:rPr lang="en-US" sz="1650" b="1" noProof="0">
                <a:solidFill>
                  <a:srgbClr val="000000"/>
                </a:solidFill>
                <a:latin typeface="Roboto"/>
                <a:ea typeface="Roboto"/>
                <a:cs typeface="Roboto"/>
              </a:rPr>
              <a:t>Consistency</a:t>
            </a:r>
            <a:r>
              <a:rPr lang="en-US" sz="1650" noProof="0">
                <a:solidFill>
                  <a:srgbClr val="000000"/>
                </a:solidFill>
                <a:latin typeface="Roboto"/>
                <a:ea typeface="Roboto"/>
                <a:cs typeface="Roboto"/>
              </a:rPr>
              <a:t> in document analysis improves efficiency by </a:t>
            </a:r>
            <a:r>
              <a:rPr lang="en-US" sz="1650" b="1" noProof="0">
                <a:solidFill>
                  <a:srgbClr val="000000"/>
                </a:solidFill>
                <a:latin typeface="Roboto"/>
                <a:ea typeface="Roboto"/>
                <a:cs typeface="Roboto"/>
              </a:rPr>
              <a:t>automating data interpretation and extraction</a:t>
            </a:r>
            <a:r>
              <a:rPr lang="en-US" sz="1650" noProof="0">
                <a:latin typeface="Roboto"/>
                <a:ea typeface="Roboto"/>
                <a:cs typeface="Roboto"/>
              </a:rPr>
              <a:t>, </a:t>
            </a:r>
            <a:r>
              <a:rPr lang="en-US" sz="1650" noProof="0">
                <a:solidFill>
                  <a:srgbClr val="000000"/>
                </a:solidFill>
                <a:latin typeface="Roboto"/>
                <a:ea typeface="Roboto"/>
                <a:cs typeface="Roboto"/>
              </a:rPr>
              <a:t>reducing manual overload. </a:t>
            </a:r>
          </a:p>
          <a:p>
            <a:endParaRPr lang="en-US" sz="1650" noProof="0">
              <a:latin typeface="Roboto"/>
              <a:ea typeface="Roboto"/>
              <a:cs typeface="Roboto"/>
            </a:endParaRPr>
          </a:p>
          <a:p>
            <a:pPr marL="257175" indent="-257175">
              <a:lnSpc>
                <a:spcPts val="1887"/>
              </a:lnSpc>
              <a:buFont typeface="Arial,Sans-Serif"/>
              <a:buChar char="•"/>
            </a:pPr>
            <a:r>
              <a:rPr lang="en-US" sz="1650" b="1" noProof="0">
                <a:solidFill>
                  <a:srgbClr val="713BFE"/>
                </a:solidFill>
                <a:latin typeface="Roboto"/>
                <a:ea typeface="Roboto"/>
                <a:cs typeface="Roboto"/>
              </a:rPr>
              <a:t>Supports Better Data Management: </a:t>
            </a:r>
            <a:r>
              <a:rPr lang="en-US" sz="1650" b="1" noProof="0">
                <a:solidFill>
                  <a:srgbClr val="000000"/>
                </a:solidFill>
                <a:latin typeface="Roboto"/>
                <a:ea typeface="Roboto"/>
                <a:cs typeface="Roboto"/>
              </a:rPr>
              <a:t>Standardized and knowledgeable analysis </a:t>
            </a:r>
            <a:r>
              <a:rPr lang="en-US" sz="1650" noProof="0">
                <a:solidFill>
                  <a:srgbClr val="000000"/>
                </a:solidFill>
                <a:latin typeface="Roboto"/>
                <a:ea typeface="Roboto"/>
                <a:cs typeface="Roboto"/>
              </a:rPr>
              <a:t>enables easier data categorization, retrieval, and utilization, leading to more informed business insights.</a:t>
            </a:r>
            <a:r>
              <a:rPr lang="en-US" sz="1500" noProof="0">
                <a:solidFill>
                  <a:srgbClr val="000000"/>
                </a:solidFill>
                <a:latin typeface="Roboto"/>
                <a:ea typeface="Roboto"/>
                <a:cs typeface="Roboto"/>
              </a:rPr>
              <a:t> </a:t>
            </a:r>
          </a:p>
        </p:txBody>
      </p:sp>
    </p:spTree>
    <p:extLst>
      <p:ext uri="{BB962C8B-B14F-4D97-AF65-F5344CB8AC3E}">
        <p14:creationId xmlns:p14="http://schemas.microsoft.com/office/powerpoint/2010/main" val="30711182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946537-8DC2-3F8A-0A4B-AA5092D89559}"/>
            </a:ext>
          </a:extLst>
        </p:cNvPr>
        <p:cNvGrpSpPr/>
        <p:nvPr/>
      </p:nvGrpSpPr>
      <p:grpSpPr>
        <a:xfrm>
          <a:off x="0" y="0"/>
          <a:ext cx="0" cy="0"/>
          <a:chOff x="0" y="0"/>
          <a:chExt cx="0" cy="0"/>
        </a:xfrm>
      </p:grpSpPr>
      <p:pic>
        <p:nvPicPr>
          <p:cNvPr id="6" name="Picture 5" descr="A computer with purple rectangles&#10;&#10;AI-generated content may be incorrect.">
            <a:extLst>
              <a:ext uri="{FF2B5EF4-FFF2-40B4-BE49-F238E27FC236}">
                <a16:creationId xmlns:a16="http://schemas.microsoft.com/office/drawing/2014/main" id="{64FC21F1-148D-EF62-369D-9D8B5A4FE363}"/>
              </a:ext>
            </a:extLst>
          </p:cNvPr>
          <p:cNvPicPr>
            <a:picLocks noChangeAspect="1"/>
          </p:cNvPicPr>
          <p:nvPr/>
        </p:nvPicPr>
        <p:blipFill>
          <a:blip r:embed="rId2"/>
          <a:srcRect l="2013" t="11621" r="12475" b="22063"/>
          <a:stretch/>
        </p:blipFill>
        <p:spPr>
          <a:xfrm>
            <a:off x="1425007" y="2573125"/>
            <a:ext cx="14041460" cy="6132788"/>
          </a:xfrm>
          <a:prstGeom prst="rect">
            <a:avLst/>
          </a:prstGeom>
        </p:spPr>
      </p:pic>
      <p:sp>
        <p:nvSpPr>
          <p:cNvPr id="44" name="TextBox 5">
            <a:extLst>
              <a:ext uri="{FF2B5EF4-FFF2-40B4-BE49-F238E27FC236}">
                <a16:creationId xmlns:a16="http://schemas.microsoft.com/office/drawing/2014/main" id="{7AF6B74E-0FAF-2DDC-D269-30EA4EE081D9}"/>
              </a:ext>
            </a:extLst>
          </p:cNvPr>
          <p:cNvSpPr txBox="1"/>
          <p:nvPr/>
        </p:nvSpPr>
        <p:spPr>
          <a:xfrm>
            <a:off x="1040813" y="836447"/>
            <a:ext cx="14809848" cy="1231106"/>
          </a:xfrm>
          <a:prstGeom prst="rect">
            <a:avLst/>
          </a:prstGeom>
        </p:spPr>
        <p:txBody>
          <a:bodyPr wrap="square" lIns="0" tIns="0" rIns="0" bIns="0" rtlCol="0" anchor="t">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4000" b="1" noProof="0">
                <a:solidFill>
                  <a:schemeClr val="bg1"/>
                </a:solidFill>
                <a:latin typeface="Montserrat Medium"/>
                <a:ea typeface="+mn-lt"/>
                <a:cs typeface="+mn-lt"/>
                <a:sym typeface="Montserrat Medium"/>
              </a:rPr>
              <a:t>Our solution ensures a </a:t>
            </a:r>
            <a:r>
              <a:rPr lang="en-US" sz="4000" b="1" i="1" noProof="0">
                <a:solidFill>
                  <a:srgbClr val="6900FF"/>
                </a:solidFill>
                <a:latin typeface="Montserrat Medium"/>
                <a:ea typeface="+mn-lt"/>
                <a:cs typeface="+mn-lt"/>
                <a:sym typeface="Montserrat Medium"/>
              </a:rPr>
              <a:t>knowledge-driven</a:t>
            </a:r>
            <a:r>
              <a:rPr lang="en-US" sz="4000" b="1" noProof="0">
                <a:solidFill>
                  <a:srgbClr val="6900FF"/>
                </a:solidFill>
                <a:latin typeface="Montserrat Medium"/>
                <a:ea typeface="+mn-lt"/>
                <a:cs typeface="+mn-lt"/>
                <a:sym typeface="Montserrat Medium"/>
              </a:rPr>
              <a:t> </a:t>
            </a:r>
            <a:r>
              <a:rPr lang="en-US" sz="4000" b="1" noProof="0">
                <a:solidFill>
                  <a:schemeClr val="bg1"/>
                </a:solidFill>
                <a:latin typeface="Montserrat Medium"/>
                <a:ea typeface="+mn-lt"/>
                <a:cs typeface="+mn-lt"/>
                <a:sym typeface="Montserrat Medium"/>
              </a:rPr>
              <a:t>operational efficiency scalable model across the organization</a:t>
            </a:r>
            <a:endParaRPr lang="en-US" sz="4000" b="1" noProof="0">
              <a:solidFill>
                <a:schemeClr val="bg1"/>
              </a:solidFill>
              <a:latin typeface="Montserrat Medium"/>
            </a:endParaRPr>
          </a:p>
        </p:txBody>
      </p:sp>
      <p:grpSp>
        <p:nvGrpSpPr>
          <p:cNvPr id="47" name="Group 24">
            <a:extLst>
              <a:ext uri="{FF2B5EF4-FFF2-40B4-BE49-F238E27FC236}">
                <a16:creationId xmlns:a16="http://schemas.microsoft.com/office/drawing/2014/main" id="{4DAF654D-641F-3B01-8312-5069B1A36181}"/>
              </a:ext>
            </a:extLst>
          </p:cNvPr>
          <p:cNvGrpSpPr/>
          <p:nvPr/>
        </p:nvGrpSpPr>
        <p:grpSpPr>
          <a:xfrm>
            <a:off x="13873769" y="1836608"/>
            <a:ext cx="612363" cy="56823"/>
            <a:chOff x="3277631" y="0"/>
            <a:chExt cx="1078484" cy="100076"/>
          </a:xfrm>
        </p:grpSpPr>
        <p:sp>
          <p:nvSpPr>
            <p:cNvPr id="46" name="Freeform 25">
              <a:extLst>
                <a:ext uri="{FF2B5EF4-FFF2-40B4-BE49-F238E27FC236}">
                  <a16:creationId xmlns:a16="http://schemas.microsoft.com/office/drawing/2014/main" id="{B32D4C40-9D22-3F17-6F45-4C142FE533CF}"/>
                </a:ext>
              </a:extLst>
            </p:cNvPr>
            <p:cNvSpPr/>
            <p:nvPr/>
          </p:nvSpPr>
          <p:spPr>
            <a:xfrm>
              <a:off x="3277631"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endParaRPr lang="en-US" sz="1800" noProof="0"/>
            </a:p>
          </p:txBody>
        </p:sp>
      </p:grpSp>
      <p:sp>
        <p:nvSpPr>
          <p:cNvPr id="16" name="CaixaDeTexto 15">
            <a:extLst>
              <a:ext uri="{FF2B5EF4-FFF2-40B4-BE49-F238E27FC236}">
                <a16:creationId xmlns:a16="http://schemas.microsoft.com/office/drawing/2014/main" id="{6B092E1B-DA73-7579-70AD-F8CF4FD6EAE9}"/>
              </a:ext>
            </a:extLst>
          </p:cNvPr>
          <p:cNvSpPr txBox="1"/>
          <p:nvPr/>
        </p:nvSpPr>
        <p:spPr>
          <a:xfrm>
            <a:off x="2220452" y="3037346"/>
            <a:ext cx="2602413" cy="415499"/>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1800" b="1" noProof="0">
                <a:solidFill>
                  <a:srgbClr val="FFFFFF"/>
                </a:solidFill>
                <a:latin typeface="Roboto"/>
                <a:ea typeface="Roboto"/>
                <a:cs typeface="Roboto"/>
              </a:rPr>
              <a:t>Consistent Answers</a:t>
            </a:r>
            <a:endParaRPr lang="en-US" sz="4050" b="1" noProof="0">
              <a:solidFill>
                <a:srgbClr val="FFFFFF"/>
              </a:solidFill>
              <a:latin typeface="Aptos" panose="02110004020202020204"/>
              <a:ea typeface="Roboto"/>
              <a:cs typeface="Roboto"/>
            </a:endParaRPr>
          </a:p>
        </p:txBody>
      </p:sp>
      <p:sp>
        <p:nvSpPr>
          <p:cNvPr id="20" name="CaixaDeTexto 19">
            <a:extLst>
              <a:ext uri="{FF2B5EF4-FFF2-40B4-BE49-F238E27FC236}">
                <a16:creationId xmlns:a16="http://schemas.microsoft.com/office/drawing/2014/main" id="{DA4BC277-8A9A-E70C-8E23-1D997858FFE0}"/>
              </a:ext>
            </a:extLst>
          </p:cNvPr>
          <p:cNvSpPr txBox="1"/>
          <p:nvPr/>
        </p:nvSpPr>
        <p:spPr>
          <a:xfrm>
            <a:off x="2324361" y="5961947"/>
            <a:ext cx="2904693" cy="415499"/>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1800" b="1" noProof="0">
                <a:solidFill>
                  <a:srgbClr val="FFFFFF"/>
                </a:solidFill>
                <a:latin typeface="Roboto"/>
                <a:ea typeface="Roboto"/>
                <a:cs typeface="Roboto"/>
              </a:rPr>
              <a:t>Trusted Comparisons</a:t>
            </a:r>
            <a:endParaRPr lang="en-US" sz="4050" noProof="0">
              <a:solidFill>
                <a:srgbClr val="FFFFFF"/>
              </a:solidFill>
            </a:endParaRPr>
          </a:p>
        </p:txBody>
      </p:sp>
      <p:sp>
        <p:nvSpPr>
          <p:cNvPr id="24" name="CaixaDeTexto 23">
            <a:extLst>
              <a:ext uri="{FF2B5EF4-FFF2-40B4-BE49-F238E27FC236}">
                <a16:creationId xmlns:a16="http://schemas.microsoft.com/office/drawing/2014/main" id="{A79EE2CB-8CF1-954F-2492-E5C8B033C94A}"/>
              </a:ext>
            </a:extLst>
          </p:cNvPr>
          <p:cNvSpPr txBox="1"/>
          <p:nvPr/>
        </p:nvSpPr>
        <p:spPr>
          <a:xfrm>
            <a:off x="7869327" y="8166926"/>
            <a:ext cx="2542284" cy="415499"/>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1800" b="1" noProof="0">
                <a:solidFill>
                  <a:srgbClr val="FFFFFF"/>
                </a:solidFill>
                <a:latin typeface="Roboto"/>
                <a:ea typeface="Roboto"/>
                <a:cs typeface="Roboto"/>
              </a:rPr>
              <a:t>Real time Data</a:t>
            </a:r>
          </a:p>
        </p:txBody>
      </p:sp>
      <p:sp>
        <p:nvSpPr>
          <p:cNvPr id="26" name="CaixaDeTexto 25">
            <a:extLst>
              <a:ext uri="{FF2B5EF4-FFF2-40B4-BE49-F238E27FC236}">
                <a16:creationId xmlns:a16="http://schemas.microsoft.com/office/drawing/2014/main" id="{41294FB7-E62B-0EC2-1433-C5B044FCE123}"/>
              </a:ext>
            </a:extLst>
          </p:cNvPr>
          <p:cNvSpPr txBox="1"/>
          <p:nvPr/>
        </p:nvSpPr>
        <p:spPr>
          <a:xfrm>
            <a:off x="12205171" y="3042367"/>
            <a:ext cx="2451272" cy="415499"/>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1800" b="1" noProof="0">
                <a:solidFill>
                  <a:srgbClr val="FFFFFF"/>
                </a:solidFill>
                <a:latin typeface="Roboto"/>
                <a:ea typeface="Roboto"/>
                <a:cs typeface="Roboto"/>
              </a:rPr>
              <a:t>Policy Compliance</a:t>
            </a:r>
            <a:endParaRPr lang="en-US" sz="4050" b="1" noProof="0">
              <a:solidFill>
                <a:srgbClr val="FFFFFF"/>
              </a:solidFill>
              <a:latin typeface="Aptos" panose="02110004020202020204"/>
              <a:ea typeface="Roboto"/>
              <a:cs typeface="Roboto"/>
            </a:endParaRPr>
          </a:p>
        </p:txBody>
      </p:sp>
      <p:sp>
        <p:nvSpPr>
          <p:cNvPr id="28" name="CaixaDeTexto 27">
            <a:extLst>
              <a:ext uri="{FF2B5EF4-FFF2-40B4-BE49-F238E27FC236}">
                <a16:creationId xmlns:a16="http://schemas.microsoft.com/office/drawing/2014/main" id="{7AB41F14-0088-A8F2-7529-B8C422749F91}"/>
              </a:ext>
            </a:extLst>
          </p:cNvPr>
          <p:cNvSpPr txBox="1"/>
          <p:nvPr/>
        </p:nvSpPr>
        <p:spPr>
          <a:xfrm>
            <a:off x="12554682" y="6028309"/>
            <a:ext cx="2649645" cy="415499"/>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1800" b="1" noProof="0">
                <a:solidFill>
                  <a:srgbClr val="FFFFFF"/>
                </a:solidFill>
                <a:latin typeface="Roboto"/>
                <a:ea typeface="Roboto"/>
                <a:cs typeface="Roboto"/>
              </a:rPr>
              <a:t>Process Knowledge</a:t>
            </a:r>
            <a:endParaRPr lang="en-US" sz="4050" noProof="0">
              <a:solidFill>
                <a:srgbClr val="FFFFFF"/>
              </a:solidFill>
            </a:endParaRPr>
          </a:p>
        </p:txBody>
      </p:sp>
      <p:sp>
        <p:nvSpPr>
          <p:cNvPr id="1027" name="CaixaDeTexto 1026">
            <a:extLst>
              <a:ext uri="{FF2B5EF4-FFF2-40B4-BE49-F238E27FC236}">
                <a16:creationId xmlns:a16="http://schemas.microsoft.com/office/drawing/2014/main" id="{D79DE354-03B1-7B83-41BB-FF8031C06D4D}"/>
              </a:ext>
            </a:extLst>
          </p:cNvPr>
          <p:cNvSpPr txBox="1"/>
          <p:nvPr/>
        </p:nvSpPr>
        <p:spPr>
          <a:xfrm>
            <a:off x="1677347" y="3597494"/>
            <a:ext cx="4455374" cy="1436417"/>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1650" noProof="0">
                <a:solidFill>
                  <a:srgbClr val="292929"/>
                </a:solidFill>
                <a:latin typeface="Roboto"/>
                <a:ea typeface="Roboto"/>
                <a:cs typeface="Roboto"/>
              </a:rPr>
              <a:t>Creating consistent answers through a </a:t>
            </a:r>
            <a:r>
              <a:rPr lang="en-US" sz="1650" b="1" noProof="0">
                <a:solidFill>
                  <a:srgbClr val="292929"/>
                </a:solidFill>
                <a:latin typeface="Roboto"/>
                <a:ea typeface="Roboto"/>
                <a:cs typeface="Roboto"/>
              </a:rPr>
              <a:t>combination of research, clear structure, use of a knowledge base</a:t>
            </a:r>
            <a:r>
              <a:rPr lang="en-US" sz="1650" noProof="0">
                <a:solidFill>
                  <a:srgbClr val="292929"/>
                </a:solidFill>
                <a:latin typeface="Roboto"/>
                <a:ea typeface="Roboto"/>
                <a:cs typeface="Roboto"/>
              </a:rPr>
              <a:t> and careful review of regulations, patterns, compliance rules or any other type of standard.</a:t>
            </a:r>
            <a:endParaRPr lang="en-US" sz="1650" noProof="0">
              <a:latin typeface="Roboto"/>
              <a:ea typeface="Roboto"/>
              <a:cs typeface="Roboto"/>
            </a:endParaRPr>
          </a:p>
        </p:txBody>
      </p:sp>
      <p:sp>
        <p:nvSpPr>
          <p:cNvPr id="1028" name="CaixaDeTexto 1027">
            <a:extLst>
              <a:ext uri="{FF2B5EF4-FFF2-40B4-BE49-F238E27FC236}">
                <a16:creationId xmlns:a16="http://schemas.microsoft.com/office/drawing/2014/main" id="{1355FFE4-B9E8-F3DC-90D1-78C4372A0C2D}"/>
              </a:ext>
            </a:extLst>
          </p:cNvPr>
          <p:cNvSpPr txBox="1"/>
          <p:nvPr/>
        </p:nvSpPr>
        <p:spPr>
          <a:xfrm>
            <a:off x="1705685" y="6582919"/>
            <a:ext cx="4545108" cy="1153201"/>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nSpc>
                <a:spcPts val="2025"/>
              </a:lnSpc>
            </a:pPr>
            <a:r>
              <a:rPr lang="en-US" sz="1650" b="1" noProof="0">
                <a:solidFill>
                  <a:srgbClr val="292929"/>
                </a:solidFill>
                <a:latin typeface="Roboto"/>
                <a:ea typeface="Roboto"/>
                <a:cs typeface="Roboto"/>
              </a:rPr>
              <a:t>Reliable analysis</a:t>
            </a:r>
            <a:r>
              <a:rPr lang="en-US" sz="1650" noProof="0">
                <a:solidFill>
                  <a:srgbClr val="292929"/>
                </a:solidFill>
                <a:latin typeface="Roboto"/>
                <a:ea typeface="Roboto"/>
                <a:cs typeface="Roboto"/>
              </a:rPr>
              <a:t> through reliable knowledgeable sources, acting as the basis of recommendations and content generation (e.g. legal decisions or legislation). </a:t>
            </a:r>
            <a:r>
              <a:rPr lang="en-US" sz="1650" noProof="0">
                <a:latin typeface="Roboto"/>
                <a:ea typeface="Roboto"/>
                <a:cs typeface="Roboto"/>
              </a:rPr>
              <a:t>​</a:t>
            </a:r>
          </a:p>
        </p:txBody>
      </p:sp>
      <p:sp>
        <p:nvSpPr>
          <p:cNvPr id="1029" name="CaixaDeTexto 1028">
            <a:extLst>
              <a:ext uri="{FF2B5EF4-FFF2-40B4-BE49-F238E27FC236}">
                <a16:creationId xmlns:a16="http://schemas.microsoft.com/office/drawing/2014/main" id="{2AAF7C69-DC44-DE78-FF6D-C7157C89A588}"/>
              </a:ext>
            </a:extLst>
          </p:cNvPr>
          <p:cNvSpPr txBox="1"/>
          <p:nvPr/>
        </p:nvSpPr>
        <p:spPr>
          <a:xfrm>
            <a:off x="7212869" y="8661413"/>
            <a:ext cx="4175663" cy="646331"/>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1650" noProof="0">
                <a:solidFill>
                  <a:srgbClr val="292929"/>
                </a:solidFill>
                <a:latin typeface="Roboto"/>
                <a:ea typeface="Roboto"/>
                <a:cs typeface="Roboto"/>
              </a:rPr>
              <a:t>Connected to </a:t>
            </a:r>
            <a:r>
              <a:rPr lang="en-US" sz="1650" b="1" noProof="0">
                <a:solidFill>
                  <a:srgbClr val="292929"/>
                </a:solidFill>
                <a:latin typeface="Roboto"/>
                <a:ea typeface="Roboto"/>
                <a:cs typeface="Roboto"/>
              </a:rPr>
              <a:t>online sources</a:t>
            </a:r>
            <a:r>
              <a:rPr lang="en-US" sz="1650" noProof="0">
                <a:solidFill>
                  <a:srgbClr val="292929"/>
                </a:solidFill>
                <a:latin typeface="Roboto"/>
                <a:ea typeface="Roboto"/>
                <a:cs typeface="Roboto"/>
              </a:rPr>
              <a:t> ensuring real-time updates.</a:t>
            </a:r>
            <a:endParaRPr lang="en-US" sz="1650" noProof="0">
              <a:latin typeface="Roboto"/>
              <a:ea typeface="Roboto"/>
              <a:cs typeface="Roboto"/>
            </a:endParaRPr>
          </a:p>
        </p:txBody>
      </p:sp>
      <p:sp>
        <p:nvSpPr>
          <p:cNvPr id="1030" name="CaixaDeTexto 1029">
            <a:extLst>
              <a:ext uri="{FF2B5EF4-FFF2-40B4-BE49-F238E27FC236}">
                <a16:creationId xmlns:a16="http://schemas.microsoft.com/office/drawing/2014/main" id="{84CA077B-39CD-4764-10C6-76080BEF3CAD}"/>
              </a:ext>
            </a:extLst>
          </p:cNvPr>
          <p:cNvSpPr txBox="1"/>
          <p:nvPr/>
        </p:nvSpPr>
        <p:spPr>
          <a:xfrm>
            <a:off x="11620427" y="3626221"/>
            <a:ext cx="4084043" cy="1408079"/>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1650" noProof="0">
                <a:solidFill>
                  <a:srgbClr val="292929"/>
                </a:solidFill>
                <a:latin typeface="Roboto"/>
                <a:ea typeface="Roboto"/>
                <a:cs typeface="Roboto"/>
              </a:rPr>
              <a:t>Using structured knowledge that ensure </a:t>
            </a:r>
            <a:r>
              <a:rPr lang="en-US" sz="1650" b="1" noProof="0">
                <a:solidFill>
                  <a:srgbClr val="292929"/>
                </a:solidFill>
                <a:latin typeface="Roboto"/>
                <a:ea typeface="Roboto"/>
                <a:cs typeface="Roboto"/>
              </a:rPr>
              <a:t>compliance with the format and content</a:t>
            </a:r>
            <a:r>
              <a:rPr lang="en-US" sz="1650" noProof="0">
                <a:solidFill>
                  <a:srgbClr val="292929"/>
                </a:solidFill>
                <a:latin typeface="Roboto"/>
                <a:ea typeface="Roboto"/>
                <a:cs typeface="Roboto"/>
              </a:rPr>
              <a:t>, as well as </a:t>
            </a:r>
            <a:r>
              <a:rPr lang="en-US" sz="1650" b="1" noProof="0">
                <a:solidFill>
                  <a:srgbClr val="292929"/>
                </a:solidFill>
                <a:latin typeface="Roboto"/>
                <a:ea typeface="Roboto"/>
                <a:cs typeface="Roboto"/>
              </a:rPr>
              <a:t>keeping track on the versions and approvals</a:t>
            </a:r>
            <a:r>
              <a:rPr lang="en-US" sz="1650" noProof="0">
                <a:solidFill>
                  <a:srgbClr val="292929"/>
                </a:solidFill>
                <a:latin typeface="Roboto"/>
                <a:ea typeface="Roboto"/>
                <a:cs typeface="Roboto"/>
              </a:rPr>
              <a:t> of the document to ensure transparency and traceability.</a:t>
            </a:r>
            <a:endParaRPr lang="en-US" sz="1650" noProof="0">
              <a:latin typeface="Roboto"/>
              <a:ea typeface="Roboto"/>
              <a:cs typeface="Roboto"/>
            </a:endParaRPr>
          </a:p>
        </p:txBody>
      </p:sp>
      <p:sp>
        <p:nvSpPr>
          <p:cNvPr id="1031" name="CaixaDeTexto 1030">
            <a:extLst>
              <a:ext uri="{FF2B5EF4-FFF2-40B4-BE49-F238E27FC236}">
                <a16:creationId xmlns:a16="http://schemas.microsoft.com/office/drawing/2014/main" id="{1C787E26-B136-8E29-188D-7C7696CC839B}"/>
              </a:ext>
            </a:extLst>
          </p:cNvPr>
          <p:cNvSpPr txBox="1"/>
          <p:nvPr/>
        </p:nvSpPr>
        <p:spPr>
          <a:xfrm>
            <a:off x="11926564" y="6581814"/>
            <a:ext cx="5152100" cy="900246"/>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1650" noProof="0">
                <a:solidFill>
                  <a:srgbClr val="292929"/>
                </a:solidFill>
                <a:latin typeface="Roboto"/>
                <a:ea typeface="Roboto"/>
                <a:cs typeface="Roboto"/>
              </a:rPr>
              <a:t>Consists of creating a </a:t>
            </a:r>
            <a:r>
              <a:rPr lang="en-US" sz="1650" b="1" noProof="0">
                <a:solidFill>
                  <a:srgbClr val="292929"/>
                </a:solidFill>
                <a:latin typeface="Roboto"/>
                <a:ea typeface="Roboto"/>
                <a:cs typeface="Roboto"/>
              </a:rPr>
              <a:t>repository of pre-existing analyses</a:t>
            </a:r>
            <a:r>
              <a:rPr lang="en-US" sz="1650" noProof="0">
                <a:solidFill>
                  <a:srgbClr val="292929"/>
                </a:solidFill>
                <a:latin typeface="Roboto"/>
                <a:ea typeface="Roboto"/>
                <a:cs typeface="Roboto"/>
              </a:rPr>
              <a:t> so that the processes on legal, compliance or risks areas can be continuously improved.</a:t>
            </a:r>
            <a:r>
              <a:rPr lang="en-US" sz="1650" noProof="0">
                <a:latin typeface="Roboto"/>
                <a:ea typeface="Roboto"/>
                <a:cs typeface="Roboto"/>
              </a:rPr>
              <a:t>​</a:t>
            </a:r>
          </a:p>
        </p:txBody>
      </p:sp>
      <p:sp>
        <p:nvSpPr>
          <p:cNvPr id="5" name="CaixaDeTexto 1030">
            <a:extLst>
              <a:ext uri="{FF2B5EF4-FFF2-40B4-BE49-F238E27FC236}">
                <a16:creationId xmlns:a16="http://schemas.microsoft.com/office/drawing/2014/main" id="{82CC1746-FEF8-5A62-720E-1A64A0F8D2F1}"/>
              </a:ext>
            </a:extLst>
          </p:cNvPr>
          <p:cNvSpPr txBox="1"/>
          <p:nvPr/>
        </p:nvSpPr>
        <p:spPr>
          <a:xfrm>
            <a:off x="7316777" y="6440119"/>
            <a:ext cx="2771637" cy="692498"/>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r>
              <a:rPr lang="en-US" sz="1800" b="1" i="1" noProof="0">
                <a:latin typeface="Roboto"/>
                <a:ea typeface="Roboto"/>
                <a:cs typeface="Roboto"/>
              </a:rPr>
              <a:t>Knowledge-driven</a:t>
            </a:r>
            <a:r>
              <a:rPr lang="en-US" sz="1800" noProof="0">
                <a:latin typeface="Roboto"/>
                <a:ea typeface="Roboto"/>
                <a:cs typeface="Roboto"/>
              </a:rPr>
              <a:t> Operational Efficiency</a:t>
            </a:r>
          </a:p>
        </p:txBody>
      </p:sp>
      <p:sp>
        <p:nvSpPr>
          <p:cNvPr id="10" name="CaixaDeTexto 23">
            <a:extLst>
              <a:ext uri="{FF2B5EF4-FFF2-40B4-BE49-F238E27FC236}">
                <a16:creationId xmlns:a16="http://schemas.microsoft.com/office/drawing/2014/main" id="{B84C0978-38AF-497A-479A-F9D147E838E2}"/>
              </a:ext>
            </a:extLst>
          </p:cNvPr>
          <p:cNvSpPr txBox="1"/>
          <p:nvPr/>
        </p:nvSpPr>
        <p:spPr>
          <a:xfrm>
            <a:off x="7680311" y="3311537"/>
            <a:ext cx="2039937" cy="369332"/>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1500" b="1" noProof="0">
                <a:solidFill>
                  <a:srgbClr val="FFFFFF"/>
                </a:solidFill>
                <a:latin typeface="Roboto"/>
                <a:ea typeface="Roboto"/>
                <a:cs typeface="Roboto"/>
              </a:rPr>
              <a:t>Scalable Knowledge</a:t>
            </a:r>
            <a:endParaRPr lang="en-US" sz="1500" noProof="0"/>
          </a:p>
        </p:txBody>
      </p:sp>
    </p:spTree>
    <p:extLst>
      <p:ext uri="{BB962C8B-B14F-4D97-AF65-F5344CB8AC3E}">
        <p14:creationId xmlns:p14="http://schemas.microsoft.com/office/powerpoint/2010/main" val="14289706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CBD18D-847D-E4BD-E205-88947A89BC21}"/>
            </a:ext>
          </a:extLst>
        </p:cNvPr>
        <p:cNvGrpSpPr/>
        <p:nvPr/>
      </p:nvGrpSpPr>
      <p:grpSpPr>
        <a:xfrm>
          <a:off x="0" y="0"/>
          <a:ext cx="0" cy="0"/>
          <a:chOff x="0" y="0"/>
          <a:chExt cx="0" cy="0"/>
        </a:xfrm>
      </p:grpSpPr>
      <p:pic>
        <p:nvPicPr>
          <p:cNvPr id="9" name="Imagem 8">
            <a:extLst>
              <a:ext uri="{FF2B5EF4-FFF2-40B4-BE49-F238E27FC236}">
                <a16:creationId xmlns:a16="http://schemas.microsoft.com/office/drawing/2014/main" id="{3A930B7D-36CB-F128-A164-5A6E3B65B761}"/>
              </a:ext>
            </a:extLst>
          </p:cNvPr>
          <p:cNvPicPr>
            <a:picLocks noChangeAspect="1"/>
          </p:cNvPicPr>
          <p:nvPr/>
        </p:nvPicPr>
        <p:blipFill>
          <a:blip r:embed="rId3"/>
          <a:stretch>
            <a:fillRect/>
          </a:stretch>
        </p:blipFill>
        <p:spPr>
          <a:xfrm>
            <a:off x="0" y="0"/>
            <a:ext cx="6858000" cy="10287000"/>
          </a:xfrm>
          <a:prstGeom prst="rect">
            <a:avLst/>
          </a:prstGeom>
        </p:spPr>
      </p:pic>
      <p:sp>
        <p:nvSpPr>
          <p:cNvPr id="17" name="Freeform 3">
            <a:extLst>
              <a:ext uri="{FF2B5EF4-FFF2-40B4-BE49-F238E27FC236}">
                <a16:creationId xmlns:a16="http://schemas.microsoft.com/office/drawing/2014/main" id="{C473683B-9875-ED22-7A13-01552B53C4EA}"/>
              </a:ext>
            </a:extLst>
          </p:cNvPr>
          <p:cNvSpPr/>
          <p:nvPr/>
        </p:nvSpPr>
        <p:spPr>
          <a:xfrm>
            <a:off x="5295" y="3132"/>
            <a:ext cx="6852705" cy="10283868"/>
          </a:xfrm>
          <a:custGeom>
            <a:avLst/>
            <a:gdLst/>
            <a:ahLst/>
            <a:cxnLst/>
            <a:rect l="l" t="t" r="r" b="b"/>
            <a:pathLst>
              <a:path w="18461729" h="10519862">
                <a:moveTo>
                  <a:pt x="0" y="0"/>
                </a:moveTo>
                <a:lnTo>
                  <a:pt x="18461729" y="0"/>
                </a:lnTo>
                <a:lnTo>
                  <a:pt x="18461729" y="10519862"/>
                </a:lnTo>
                <a:lnTo>
                  <a:pt x="0" y="10519862"/>
                </a:lnTo>
                <a:lnTo>
                  <a:pt x="0" y="0"/>
                </a:lnTo>
                <a:close/>
              </a:path>
            </a:pathLst>
          </a:custGeom>
          <a:solidFill>
            <a:srgbClr val="713BFE">
              <a:alpha val="53000"/>
            </a:srgbClr>
          </a:solidFill>
          <a:ln>
            <a:noFill/>
          </a:ln>
        </p:spPr>
        <p:txBody>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endParaRPr lang="en-US" sz="1800" noProof="0"/>
          </a:p>
        </p:txBody>
      </p:sp>
      <p:sp>
        <p:nvSpPr>
          <p:cNvPr id="12" name="TextBox 5">
            <a:extLst>
              <a:ext uri="{FF2B5EF4-FFF2-40B4-BE49-F238E27FC236}">
                <a16:creationId xmlns:a16="http://schemas.microsoft.com/office/drawing/2014/main" id="{9EDDB769-719C-8B79-5303-2F27CB18810F}"/>
              </a:ext>
            </a:extLst>
          </p:cNvPr>
          <p:cNvSpPr txBox="1"/>
          <p:nvPr/>
        </p:nvSpPr>
        <p:spPr>
          <a:xfrm>
            <a:off x="1964546" y="1009236"/>
            <a:ext cx="3006011" cy="2562240"/>
          </a:xfrm>
          <a:prstGeom prst="rect">
            <a:avLst/>
          </a:prstGeom>
        </p:spPr>
        <p:txBody>
          <a:bodyPr wrap="square" lIns="0" tIns="0" rIns="0" bIns="0" rtlCol="0" anchor="t">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endParaRPr lang="en-US" sz="4050" b="1" i="1" noProof="0">
              <a:solidFill>
                <a:srgbClr val="FFFFFF"/>
              </a:solidFill>
            </a:endParaRPr>
          </a:p>
          <a:p>
            <a:pPr algn="ctr"/>
            <a:r>
              <a:rPr lang="en-US" sz="4200" i="1" noProof="0">
                <a:solidFill>
                  <a:srgbClr val="FFFFFF"/>
                </a:solidFill>
                <a:latin typeface="Montserrat Medium"/>
                <a:ea typeface="+mn-lt"/>
                <a:cs typeface="+mn-lt"/>
                <a:sym typeface="Montserrat Medium"/>
              </a:rPr>
              <a:t>Work with</a:t>
            </a:r>
            <a:r>
              <a:rPr lang="en-US" sz="4200" b="1" i="1" noProof="0">
                <a:solidFill>
                  <a:srgbClr val="FFFFFF"/>
                </a:solidFill>
                <a:latin typeface="Montserrat Medium"/>
                <a:ea typeface="+mn-lt"/>
                <a:cs typeface="+mn-lt"/>
                <a:sym typeface="Montserrat Medium"/>
              </a:rPr>
              <a:t> </a:t>
            </a:r>
            <a:r>
              <a:rPr lang="en-US" sz="4200" b="1" i="1" noProof="0" err="1">
                <a:solidFill>
                  <a:srgbClr val="FFFFFF"/>
                </a:solidFill>
                <a:latin typeface="Montserrat Medium"/>
                <a:ea typeface="+mn-lt"/>
                <a:cs typeface="+mn-lt"/>
                <a:sym typeface="Montserrat Medium"/>
              </a:rPr>
              <a:t>Qonform</a:t>
            </a:r>
            <a:r>
              <a:rPr lang="en-US" sz="4200" b="1" i="1" noProof="0">
                <a:solidFill>
                  <a:srgbClr val="FFFFFF"/>
                </a:solidFill>
                <a:latin typeface="Montserrat Medium"/>
                <a:ea typeface="+mn-lt"/>
                <a:cs typeface="+mn-lt"/>
                <a:sym typeface="Montserrat Medium"/>
              </a:rPr>
              <a:t> </a:t>
            </a:r>
            <a:r>
              <a:rPr lang="en-US" sz="4200" i="1" noProof="0">
                <a:solidFill>
                  <a:srgbClr val="FFFFFF"/>
                </a:solidFill>
                <a:latin typeface="Montserrat Medium"/>
                <a:ea typeface="+mn-lt"/>
                <a:cs typeface="+mn-lt"/>
                <a:sym typeface="Montserrat Medium"/>
              </a:rPr>
              <a:t>to get the</a:t>
            </a:r>
            <a:endParaRPr lang="en-US" sz="4050" i="1" noProof="0">
              <a:solidFill>
                <a:srgbClr val="FFFFFF"/>
              </a:solidFill>
              <a:latin typeface="Aptos"/>
              <a:ea typeface="+mn-lt"/>
              <a:cs typeface="+mn-lt"/>
            </a:endParaRPr>
          </a:p>
        </p:txBody>
      </p:sp>
      <p:sp>
        <p:nvSpPr>
          <p:cNvPr id="15" name="CaixaDeTexto 14">
            <a:extLst>
              <a:ext uri="{FF2B5EF4-FFF2-40B4-BE49-F238E27FC236}">
                <a16:creationId xmlns:a16="http://schemas.microsoft.com/office/drawing/2014/main" id="{61129711-AFA2-EE21-F0D2-72999EAF72FF}"/>
              </a:ext>
            </a:extLst>
          </p:cNvPr>
          <p:cNvSpPr txBox="1"/>
          <p:nvPr/>
        </p:nvSpPr>
        <p:spPr>
          <a:xfrm>
            <a:off x="1408604" y="6100177"/>
            <a:ext cx="4114800" cy="2077493"/>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r>
              <a:rPr lang="en-US" sz="4200" b="1" i="1" noProof="0">
                <a:solidFill>
                  <a:srgbClr val="FFFFFF"/>
                </a:solidFill>
                <a:latin typeface="Montserrat Medium"/>
                <a:cs typeface="Segoe UI"/>
              </a:rPr>
              <a:t>​Scalable Knowledge </a:t>
            </a:r>
            <a:r>
              <a:rPr lang="en-US" sz="4200" i="1" noProof="0">
                <a:solidFill>
                  <a:srgbClr val="FFFFFF"/>
                </a:solidFill>
                <a:latin typeface="Montserrat Medium"/>
                <a:cs typeface="Segoe UI"/>
              </a:rPr>
              <a:t>at your disposal</a:t>
            </a:r>
            <a:endParaRPr lang="en-US" sz="4050" i="1" noProof="0">
              <a:solidFill>
                <a:srgbClr val="FFFFFF"/>
              </a:solidFill>
            </a:endParaRPr>
          </a:p>
        </p:txBody>
      </p:sp>
      <p:pic>
        <p:nvPicPr>
          <p:cNvPr id="18" name="Imagem 17" descr="Ícone&#10;&#10;O conteúdo gerado por IA pode estar incorreto.">
            <a:extLst>
              <a:ext uri="{FF2B5EF4-FFF2-40B4-BE49-F238E27FC236}">
                <a16:creationId xmlns:a16="http://schemas.microsoft.com/office/drawing/2014/main" id="{02AEA7B2-87E0-AF3A-7D7D-E58C4319EC66}"/>
              </a:ext>
            </a:extLst>
          </p:cNvPr>
          <p:cNvPicPr>
            <a:picLocks noChangeAspect="1"/>
          </p:cNvPicPr>
          <p:nvPr/>
        </p:nvPicPr>
        <p:blipFill>
          <a:blip r:embed="rId4"/>
          <a:stretch>
            <a:fillRect/>
          </a:stretch>
        </p:blipFill>
        <p:spPr>
          <a:xfrm>
            <a:off x="2598578" y="3892591"/>
            <a:ext cx="1716066" cy="1669094"/>
          </a:xfrm>
          <a:prstGeom prst="rect">
            <a:avLst/>
          </a:prstGeom>
        </p:spPr>
      </p:pic>
      <p:sp>
        <p:nvSpPr>
          <p:cNvPr id="21" name="CaixaDeTexto 20">
            <a:extLst>
              <a:ext uri="{FF2B5EF4-FFF2-40B4-BE49-F238E27FC236}">
                <a16:creationId xmlns:a16="http://schemas.microsoft.com/office/drawing/2014/main" id="{48816AD1-0B7D-5C3A-653B-6014BC2FA457}"/>
              </a:ext>
            </a:extLst>
          </p:cNvPr>
          <p:cNvSpPr txBox="1"/>
          <p:nvPr/>
        </p:nvSpPr>
        <p:spPr>
          <a:xfrm>
            <a:off x="8050350" y="1199884"/>
            <a:ext cx="8640975" cy="9002465"/>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2400" noProof="0">
                <a:solidFill>
                  <a:schemeClr val="bg1"/>
                </a:solidFill>
                <a:latin typeface="Montserrat" pitchFamily="2" charset="77"/>
                <a:ea typeface="Roboto"/>
                <a:cs typeface="Roboto"/>
              </a:rPr>
              <a:t>As a knowledge platform, we focus on intellectual work, elaboration and inquire of complex documents.</a:t>
            </a:r>
            <a:br>
              <a:rPr lang="en-US" sz="2400" noProof="0">
                <a:solidFill>
                  <a:schemeClr val="bg1"/>
                </a:solidFill>
                <a:latin typeface="Montserrat" pitchFamily="2" charset="77"/>
                <a:ea typeface="Roboto"/>
                <a:cs typeface="Roboto"/>
              </a:rPr>
            </a:br>
            <a:br>
              <a:rPr lang="en-US" sz="2400" noProof="0">
                <a:solidFill>
                  <a:schemeClr val="bg1"/>
                </a:solidFill>
                <a:latin typeface="Montserrat" pitchFamily="2" charset="77"/>
                <a:ea typeface="Roboto"/>
                <a:cs typeface="Roboto"/>
              </a:rPr>
            </a:br>
            <a:r>
              <a:rPr lang="en-US" sz="2400" noProof="0">
                <a:solidFill>
                  <a:schemeClr val="bg1"/>
                </a:solidFill>
                <a:latin typeface="Montserrat" pitchFamily="2" charset="77"/>
                <a:ea typeface="Roboto"/>
                <a:cs typeface="Roboto"/>
              </a:rPr>
              <a:t>The system keeps all data secure, since all sources, information and results are kept inside the platform and with access permissions policies.</a:t>
            </a:r>
            <a:br>
              <a:rPr lang="en-US" sz="2400" noProof="0">
                <a:solidFill>
                  <a:schemeClr val="bg1"/>
                </a:solidFill>
                <a:latin typeface="Montserrat" pitchFamily="2" charset="77"/>
                <a:ea typeface="Roboto"/>
                <a:cs typeface="Roboto"/>
              </a:rPr>
            </a:br>
            <a:br>
              <a:rPr lang="en-US" sz="2400" noProof="0">
                <a:solidFill>
                  <a:schemeClr val="bg1"/>
                </a:solidFill>
                <a:latin typeface="Montserrat" pitchFamily="2" charset="77"/>
                <a:ea typeface="Roboto"/>
                <a:cs typeface="Roboto"/>
              </a:rPr>
            </a:br>
            <a:r>
              <a:rPr lang="en-US" sz="2400" noProof="0">
                <a:solidFill>
                  <a:schemeClr val="bg1"/>
                </a:solidFill>
                <a:latin typeface="Montserrat" pitchFamily="2" charset="77"/>
                <a:ea typeface="Roboto"/>
                <a:cs typeface="Roboto"/>
              </a:rPr>
              <a:t>It consists of 2 main functionalities – </a:t>
            </a:r>
            <a:r>
              <a:rPr lang="en-US" sz="2400" b="1" noProof="0">
                <a:solidFill>
                  <a:schemeClr val="bg1"/>
                </a:solidFill>
                <a:latin typeface="Montserrat" pitchFamily="2" charset="77"/>
                <a:ea typeface="Roboto"/>
                <a:cs typeface="Roboto"/>
              </a:rPr>
              <a:t>Knowledge center </a:t>
            </a:r>
            <a:r>
              <a:rPr lang="en-US" sz="2400" noProof="0">
                <a:solidFill>
                  <a:schemeClr val="bg1"/>
                </a:solidFill>
                <a:latin typeface="Montserrat" pitchFamily="2" charset="77"/>
                <a:ea typeface="Roboto"/>
                <a:cs typeface="Roboto"/>
              </a:rPr>
              <a:t>and </a:t>
            </a:r>
            <a:r>
              <a:rPr lang="en-US" sz="2400" b="1" noProof="0">
                <a:solidFill>
                  <a:schemeClr val="bg1"/>
                </a:solidFill>
                <a:latin typeface="Montserrat" pitchFamily="2" charset="77"/>
                <a:ea typeface="Roboto"/>
                <a:cs typeface="Roboto"/>
              </a:rPr>
              <a:t>Action triggers.</a:t>
            </a:r>
          </a:p>
          <a:p>
            <a:endParaRPr lang="en-US" sz="2400" noProof="0">
              <a:solidFill>
                <a:schemeClr val="bg1"/>
              </a:solidFill>
              <a:latin typeface="Montserrat" pitchFamily="2" charset="77"/>
              <a:ea typeface="Roboto"/>
              <a:cs typeface="Roboto"/>
            </a:endParaRPr>
          </a:p>
          <a:p>
            <a:r>
              <a:rPr lang="en-US" sz="2400" b="1" noProof="0">
                <a:solidFill>
                  <a:schemeClr val="bg1"/>
                </a:solidFill>
                <a:latin typeface="Montserrat" pitchFamily="2" charset="77"/>
                <a:ea typeface="Roboto"/>
                <a:cs typeface="Roboto"/>
              </a:rPr>
              <a:t>Knowledge centers (KC) </a:t>
            </a:r>
            <a:r>
              <a:rPr lang="en-US" sz="2400" noProof="0">
                <a:solidFill>
                  <a:schemeClr val="bg1"/>
                </a:solidFill>
                <a:latin typeface="Montserrat" pitchFamily="2" charset="77"/>
                <a:ea typeface="Roboto"/>
                <a:cs typeface="Roboto"/>
              </a:rPr>
              <a:t>are the sources from which the system will collect information. You can create numerous different knowledge groups and "feed" each of them with specific files and sources. This makes each one segmented and categorized, generating better results.</a:t>
            </a:r>
            <a:br>
              <a:rPr lang="en-US" sz="2400" noProof="0">
                <a:solidFill>
                  <a:schemeClr val="bg1"/>
                </a:solidFill>
                <a:latin typeface="Montserrat" pitchFamily="2" charset="77"/>
                <a:ea typeface="Roboto"/>
                <a:cs typeface="Roboto"/>
              </a:rPr>
            </a:br>
            <a:br>
              <a:rPr lang="en-US" sz="2400" noProof="0">
                <a:solidFill>
                  <a:schemeClr val="bg1"/>
                </a:solidFill>
                <a:latin typeface="Montserrat" pitchFamily="2" charset="77"/>
                <a:ea typeface="Roboto"/>
                <a:cs typeface="Roboto"/>
              </a:rPr>
            </a:br>
            <a:r>
              <a:rPr lang="en-US" sz="2400" b="1" noProof="0">
                <a:solidFill>
                  <a:schemeClr val="bg1"/>
                </a:solidFill>
                <a:latin typeface="Montserrat" pitchFamily="2" charset="77"/>
                <a:ea typeface="Roboto"/>
                <a:cs typeface="Roboto"/>
              </a:rPr>
              <a:t>Action triggers</a:t>
            </a:r>
            <a:r>
              <a:rPr lang="en-US" sz="2400" noProof="0">
                <a:solidFill>
                  <a:schemeClr val="bg1"/>
                </a:solidFill>
                <a:latin typeface="Montserrat" pitchFamily="2" charset="77"/>
                <a:ea typeface="Roboto"/>
                <a:cs typeface="Roboto"/>
              </a:rPr>
              <a:t>, in turn, allow the creation of "blocks" with predefined functionalities, such as checking for document's updates or compare information, which can be used individually or together to automate workflows.</a:t>
            </a:r>
          </a:p>
          <a:p>
            <a:endParaRPr lang="en-US" sz="2400" noProof="0">
              <a:solidFill>
                <a:schemeClr val="bg1"/>
              </a:solidFill>
              <a:latin typeface="Roboto"/>
              <a:ea typeface="Roboto"/>
              <a:cs typeface="Roboto"/>
            </a:endParaRPr>
          </a:p>
          <a:p>
            <a:endParaRPr lang="en-US" sz="2400" noProof="0">
              <a:solidFill>
                <a:schemeClr val="bg1"/>
              </a:solidFill>
              <a:latin typeface="Roboto"/>
              <a:ea typeface="Roboto"/>
              <a:cs typeface="Roboto"/>
            </a:endParaRPr>
          </a:p>
        </p:txBody>
      </p:sp>
      <p:sp>
        <p:nvSpPr>
          <p:cNvPr id="5" name="Freeform 2" descr="Logotipo  Descrição gerada automaticamente">
            <a:extLst>
              <a:ext uri="{FF2B5EF4-FFF2-40B4-BE49-F238E27FC236}">
                <a16:creationId xmlns:a16="http://schemas.microsoft.com/office/drawing/2014/main" id="{05095DBA-4FCB-9B8C-4985-D905EEB3365F}"/>
              </a:ext>
            </a:extLst>
          </p:cNvPr>
          <p:cNvSpPr/>
          <p:nvPr/>
        </p:nvSpPr>
        <p:spPr>
          <a:xfrm>
            <a:off x="16454691" y="446337"/>
            <a:ext cx="1454033" cy="367334"/>
          </a:xfrm>
          <a:custGeom>
            <a:avLst/>
            <a:gdLst/>
            <a:ahLst/>
            <a:cxnLst/>
            <a:rect l="l" t="t" r="r" b="b"/>
            <a:pathLst>
              <a:path w="1454032" h="367334">
                <a:moveTo>
                  <a:pt x="0" y="0"/>
                </a:moveTo>
                <a:lnTo>
                  <a:pt x="1454032" y="0"/>
                </a:lnTo>
                <a:lnTo>
                  <a:pt x="1454032" y="367333"/>
                </a:lnTo>
                <a:lnTo>
                  <a:pt x="0" y="367333"/>
                </a:lnTo>
                <a:lnTo>
                  <a:pt x="0" y="0"/>
                </a:lnTo>
                <a:close/>
              </a:path>
            </a:pathLst>
          </a:custGeom>
          <a:blipFill>
            <a:blip r:embed="rId5"/>
            <a:stretch>
              <a:fillRect t="-41" b="-41"/>
            </a:stretch>
          </a:blipFill>
        </p:spPr>
        <p:txBody>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endParaRPr lang="en-US" sz="1800" noProof="0"/>
          </a:p>
        </p:txBody>
      </p:sp>
    </p:spTree>
    <p:extLst>
      <p:ext uri="{BB962C8B-B14F-4D97-AF65-F5344CB8AC3E}">
        <p14:creationId xmlns:p14="http://schemas.microsoft.com/office/powerpoint/2010/main" val="16849432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descr="A black and purple hexagon&#10;&#10;AI-generated content may be incorrect.">
            <a:extLst>
              <a:ext uri="{FF2B5EF4-FFF2-40B4-BE49-F238E27FC236}">
                <a16:creationId xmlns:a16="http://schemas.microsoft.com/office/drawing/2014/main" id="{40B8248C-CCB5-EFB0-E8E1-3ED9A331DFEF}"/>
              </a:ext>
            </a:extLst>
          </p:cNvPr>
          <p:cNvPicPr>
            <a:picLocks noChangeAspect="1"/>
          </p:cNvPicPr>
          <p:nvPr/>
        </p:nvPicPr>
        <p:blipFill>
          <a:blip r:embed="rId2">
            <a:alphaModFix amt="35000"/>
          </a:blip>
          <a:stretch>
            <a:fillRect/>
          </a:stretch>
        </p:blipFill>
        <p:spPr>
          <a:xfrm>
            <a:off x="9547874" y="2841891"/>
            <a:ext cx="4010555" cy="5864754"/>
          </a:xfrm>
          <a:prstGeom prst="rect">
            <a:avLst/>
          </a:prstGeom>
        </p:spPr>
      </p:pic>
      <p:pic>
        <p:nvPicPr>
          <p:cNvPr id="12" name="Picture 11" descr="A black background with a black rectangle&#10;&#10;AI-generated content may be incorrect.">
            <a:extLst>
              <a:ext uri="{FF2B5EF4-FFF2-40B4-BE49-F238E27FC236}">
                <a16:creationId xmlns:a16="http://schemas.microsoft.com/office/drawing/2014/main" id="{4ED13A3E-50EB-A7D7-F215-0871A7F0C706}"/>
              </a:ext>
            </a:extLst>
          </p:cNvPr>
          <p:cNvPicPr>
            <a:picLocks noChangeAspect="1"/>
          </p:cNvPicPr>
          <p:nvPr/>
        </p:nvPicPr>
        <p:blipFill>
          <a:blip r:embed="rId3"/>
          <a:srcRect r="53061" b="31453"/>
          <a:stretch/>
        </p:blipFill>
        <p:spPr>
          <a:xfrm>
            <a:off x="560016" y="2076014"/>
            <a:ext cx="3962613" cy="6620456"/>
          </a:xfrm>
          <a:prstGeom prst="rect">
            <a:avLst/>
          </a:prstGeom>
        </p:spPr>
      </p:pic>
      <p:pic>
        <p:nvPicPr>
          <p:cNvPr id="15" name="Picture 14" descr="A black background with a black rectangle&#10;&#10;AI-generated content may be incorrect.">
            <a:extLst>
              <a:ext uri="{FF2B5EF4-FFF2-40B4-BE49-F238E27FC236}">
                <a16:creationId xmlns:a16="http://schemas.microsoft.com/office/drawing/2014/main" id="{684D6F9F-78F7-DD3B-F926-0158A6D91CFB}"/>
              </a:ext>
            </a:extLst>
          </p:cNvPr>
          <p:cNvPicPr>
            <a:picLocks noChangeAspect="1"/>
          </p:cNvPicPr>
          <p:nvPr/>
        </p:nvPicPr>
        <p:blipFill>
          <a:blip r:embed="rId3"/>
          <a:srcRect r="53061" b="31453"/>
          <a:stretch/>
        </p:blipFill>
        <p:spPr>
          <a:xfrm>
            <a:off x="5475036" y="2076013"/>
            <a:ext cx="3799506" cy="6620456"/>
          </a:xfrm>
          <a:prstGeom prst="rect">
            <a:avLst/>
          </a:prstGeom>
        </p:spPr>
      </p:pic>
      <p:sp>
        <p:nvSpPr>
          <p:cNvPr id="3" name="TextBox 5">
            <a:extLst>
              <a:ext uri="{FF2B5EF4-FFF2-40B4-BE49-F238E27FC236}">
                <a16:creationId xmlns:a16="http://schemas.microsoft.com/office/drawing/2014/main" id="{FA1045D8-9C44-14DE-8EBE-DB6623D0C451}"/>
              </a:ext>
            </a:extLst>
          </p:cNvPr>
          <p:cNvSpPr txBox="1"/>
          <p:nvPr/>
        </p:nvSpPr>
        <p:spPr>
          <a:xfrm>
            <a:off x="798292" y="669890"/>
            <a:ext cx="14908286" cy="2128403"/>
          </a:xfrm>
          <a:prstGeom prst="rect">
            <a:avLst/>
          </a:prstGeom>
        </p:spPr>
        <p:txBody>
          <a:bodyPr wrap="square" lIns="0" tIns="0" rIns="0" bIns="0" rtlCol="0" anchor="t">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nSpc>
                <a:spcPts val="7200"/>
              </a:lnSpc>
            </a:pPr>
            <a:r>
              <a:rPr lang="en-US" sz="4000" b="1" noProof="0">
                <a:solidFill>
                  <a:srgbClr val="000000"/>
                </a:solidFill>
                <a:latin typeface="Montserrat Medium"/>
                <a:ea typeface="+mn-lt"/>
                <a:cs typeface="+mn-lt"/>
                <a:sym typeface="Montserrat Medium"/>
              </a:rPr>
              <a:t>HOW QONFORM WORKS</a:t>
            </a:r>
          </a:p>
          <a:p>
            <a:r>
              <a:rPr lang="en-US" sz="2800" noProof="0">
                <a:solidFill>
                  <a:srgbClr val="6816FF"/>
                </a:solidFill>
                <a:latin typeface="Montserrat Medium"/>
                <a:ea typeface="+mn-lt"/>
                <a:cs typeface="+mn-lt"/>
                <a:sym typeface="Montserrat Medium"/>
              </a:rPr>
              <a:t>Scalable knowledge achieving efficiency through targeted actions </a:t>
            </a:r>
          </a:p>
          <a:p>
            <a:pPr>
              <a:lnSpc>
                <a:spcPts val="7200"/>
              </a:lnSpc>
            </a:pPr>
            <a:endParaRPr lang="en-US" sz="2800" noProof="0">
              <a:solidFill>
                <a:srgbClr val="6816FF"/>
              </a:solidFill>
            </a:endParaRPr>
          </a:p>
        </p:txBody>
      </p:sp>
      <p:grpSp>
        <p:nvGrpSpPr>
          <p:cNvPr id="6" name="Group 24">
            <a:extLst>
              <a:ext uri="{FF2B5EF4-FFF2-40B4-BE49-F238E27FC236}">
                <a16:creationId xmlns:a16="http://schemas.microsoft.com/office/drawing/2014/main" id="{8641F1CF-A5F7-AD3C-B9CC-3D34732B0644}"/>
              </a:ext>
            </a:extLst>
          </p:cNvPr>
          <p:cNvGrpSpPr/>
          <p:nvPr/>
        </p:nvGrpSpPr>
        <p:grpSpPr>
          <a:xfrm>
            <a:off x="7379642" y="1282687"/>
            <a:ext cx="612363" cy="56823"/>
            <a:chOff x="0" y="0"/>
            <a:chExt cx="1078484" cy="100076"/>
          </a:xfrm>
        </p:grpSpPr>
        <p:sp>
          <p:nvSpPr>
            <p:cNvPr id="5" name="Freeform 25">
              <a:extLst>
                <a:ext uri="{FF2B5EF4-FFF2-40B4-BE49-F238E27FC236}">
                  <a16:creationId xmlns:a16="http://schemas.microsoft.com/office/drawing/2014/main" id="{71EA9A2A-005B-BED5-F93B-36C4BBAFD769}"/>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endParaRPr lang="en-US" sz="1800" noProof="0"/>
            </a:p>
          </p:txBody>
        </p:sp>
      </p:grpSp>
      <p:sp>
        <p:nvSpPr>
          <p:cNvPr id="8" name="CaixaDeTexto 7">
            <a:extLst>
              <a:ext uri="{FF2B5EF4-FFF2-40B4-BE49-F238E27FC236}">
                <a16:creationId xmlns:a16="http://schemas.microsoft.com/office/drawing/2014/main" id="{30330E89-7DF8-80D1-9544-0863DB6A0814}"/>
              </a:ext>
            </a:extLst>
          </p:cNvPr>
          <p:cNvSpPr txBox="1"/>
          <p:nvPr/>
        </p:nvSpPr>
        <p:spPr>
          <a:xfrm>
            <a:off x="11359681" y="5390533"/>
            <a:ext cx="5442206" cy="461666"/>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2100" b="1" noProof="0">
                <a:solidFill>
                  <a:srgbClr val="8709FB"/>
                </a:solidFill>
                <a:latin typeface="Montserrat"/>
              </a:rPr>
              <a:t>Feed your Knowledge centers:</a:t>
            </a:r>
          </a:p>
        </p:txBody>
      </p:sp>
      <p:sp>
        <p:nvSpPr>
          <p:cNvPr id="69" name="CaixaDeTexto 68">
            <a:extLst>
              <a:ext uri="{FF2B5EF4-FFF2-40B4-BE49-F238E27FC236}">
                <a16:creationId xmlns:a16="http://schemas.microsoft.com/office/drawing/2014/main" id="{18632CAD-4FD0-C989-9D39-03E5ABDC67CF}"/>
              </a:ext>
            </a:extLst>
          </p:cNvPr>
          <p:cNvSpPr txBox="1"/>
          <p:nvPr/>
        </p:nvSpPr>
        <p:spPr>
          <a:xfrm>
            <a:off x="11359681" y="5885687"/>
            <a:ext cx="4782506" cy="1754327"/>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1500" noProof="0">
                <a:solidFill>
                  <a:schemeClr val="bg1"/>
                </a:solidFill>
                <a:latin typeface="Roboto"/>
                <a:ea typeface="Roboto"/>
                <a:cs typeface="Roboto"/>
              </a:rPr>
              <a:t>You can maintain your knowledge centers updated using files or existent content in sources you trust as:</a:t>
            </a:r>
            <a:endParaRPr lang="en-US" sz="4050" noProof="0">
              <a:solidFill>
                <a:schemeClr val="bg1"/>
              </a:solidFill>
              <a:latin typeface="Roboto"/>
              <a:ea typeface="Roboto"/>
              <a:cs typeface="Roboto"/>
            </a:endParaRPr>
          </a:p>
          <a:p>
            <a:pPr marL="257175" indent="-257175">
              <a:buFont typeface="Arial"/>
              <a:buChar char="•"/>
            </a:pPr>
            <a:r>
              <a:rPr lang="en-US" sz="1500" noProof="0">
                <a:solidFill>
                  <a:schemeClr val="bg1"/>
                </a:solidFill>
                <a:latin typeface="Roboto"/>
                <a:ea typeface="Roboto"/>
                <a:cs typeface="Roboto"/>
              </a:rPr>
              <a:t>Private files from your computer or local organization shared folders</a:t>
            </a:r>
          </a:p>
          <a:p>
            <a:pPr marL="257175" indent="-257175">
              <a:buFont typeface="Arial"/>
              <a:buChar char="•"/>
            </a:pPr>
            <a:r>
              <a:rPr lang="en-US" sz="1500" noProof="0">
                <a:solidFill>
                  <a:schemeClr val="bg1"/>
                </a:solidFill>
                <a:latin typeface="Roboto"/>
                <a:ea typeface="Roboto"/>
                <a:cs typeface="Roboto"/>
              </a:rPr>
              <a:t>Internet drives</a:t>
            </a:r>
          </a:p>
          <a:p>
            <a:pPr marL="257175" indent="-257175">
              <a:buFont typeface="Arial"/>
              <a:buChar char="•"/>
            </a:pPr>
            <a:r>
              <a:rPr lang="en-US" sz="1500" noProof="0">
                <a:solidFill>
                  <a:schemeClr val="bg1"/>
                </a:solidFill>
                <a:latin typeface="Roboto"/>
                <a:ea typeface="Roboto"/>
                <a:cs typeface="Roboto"/>
              </a:rPr>
              <a:t>URLs</a:t>
            </a:r>
          </a:p>
          <a:p>
            <a:pPr marL="257175" indent="-257175">
              <a:buFont typeface="Arial"/>
              <a:buChar char="•"/>
            </a:pPr>
            <a:r>
              <a:rPr lang="en-US" sz="1500" noProof="0">
                <a:solidFill>
                  <a:schemeClr val="bg1"/>
                </a:solidFill>
                <a:latin typeface="Roboto"/>
                <a:ea typeface="Roboto"/>
                <a:cs typeface="Roboto"/>
              </a:rPr>
              <a:t>APIs</a:t>
            </a:r>
          </a:p>
        </p:txBody>
      </p:sp>
      <p:grpSp>
        <p:nvGrpSpPr>
          <p:cNvPr id="87" name="Agrupar 86">
            <a:extLst>
              <a:ext uri="{FF2B5EF4-FFF2-40B4-BE49-F238E27FC236}">
                <a16:creationId xmlns:a16="http://schemas.microsoft.com/office/drawing/2014/main" id="{63DA86FF-5488-4689-6FE5-16D9E8DF27B2}"/>
              </a:ext>
            </a:extLst>
          </p:cNvPr>
          <p:cNvGrpSpPr/>
          <p:nvPr/>
        </p:nvGrpSpPr>
        <p:grpSpPr>
          <a:xfrm>
            <a:off x="14415530" y="6997713"/>
            <a:ext cx="1870992" cy="1561695"/>
            <a:chOff x="1510707" y="2620902"/>
            <a:chExt cx="1697181" cy="1353277"/>
          </a:xfrm>
        </p:grpSpPr>
        <p:pic>
          <p:nvPicPr>
            <p:cNvPr id="14" name="Imagem 13">
              <a:extLst>
                <a:ext uri="{FF2B5EF4-FFF2-40B4-BE49-F238E27FC236}">
                  <a16:creationId xmlns:a16="http://schemas.microsoft.com/office/drawing/2014/main" id="{A1057B3F-20F6-3A01-402D-C7EE7F3968EA}"/>
                </a:ext>
              </a:extLst>
            </p:cNvPr>
            <p:cNvPicPr>
              <a:picLocks noChangeAspect="1"/>
            </p:cNvPicPr>
            <p:nvPr/>
          </p:nvPicPr>
          <p:blipFill>
            <a:blip r:embed="rId4"/>
            <a:stretch>
              <a:fillRect/>
            </a:stretch>
          </p:blipFill>
          <p:spPr>
            <a:xfrm>
              <a:off x="1510707" y="3014622"/>
              <a:ext cx="316375" cy="364602"/>
            </a:xfrm>
            <a:prstGeom prst="rect">
              <a:avLst/>
            </a:prstGeom>
          </p:spPr>
        </p:pic>
        <p:pic>
          <p:nvPicPr>
            <p:cNvPr id="65" name="Imagem 64">
              <a:extLst>
                <a:ext uri="{FF2B5EF4-FFF2-40B4-BE49-F238E27FC236}">
                  <a16:creationId xmlns:a16="http://schemas.microsoft.com/office/drawing/2014/main" id="{BEB0E0F3-5D45-A088-955F-F3B649B1E892}"/>
                </a:ext>
              </a:extLst>
            </p:cNvPr>
            <p:cNvPicPr>
              <a:picLocks noChangeAspect="1"/>
            </p:cNvPicPr>
            <p:nvPr/>
          </p:nvPicPr>
          <p:blipFill>
            <a:blip r:embed="rId5"/>
            <a:stretch>
              <a:fillRect/>
            </a:stretch>
          </p:blipFill>
          <p:spPr>
            <a:xfrm>
              <a:off x="2813699" y="3038538"/>
              <a:ext cx="394189" cy="386861"/>
            </a:xfrm>
            <a:prstGeom prst="rect">
              <a:avLst/>
            </a:prstGeom>
          </p:spPr>
        </p:pic>
        <p:pic>
          <p:nvPicPr>
            <p:cNvPr id="66" name="Imagem 65" descr="Ícone&#10;&#10;O conteúdo gerado por IA pode estar incorreto.">
              <a:extLst>
                <a:ext uri="{FF2B5EF4-FFF2-40B4-BE49-F238E27FC236}">
                  <a16:creationId xmlns:a16="http://schemas.microsoft.com/office/drawing/2014/main" id="{148EEBDE-AEB8-CC22-8E73-268A2C5FA257}"/>
                </a:ext>
              </a:extLst>
            </p:cNvPr>
            <p:cNvPicPr>
              <a:picLocks noChangeAspect="1"/>
            </p:cNvPicPr>
            <p:nvPr/>
          </p:nvPicPr>
          <p:blipFill>
            <a:blip r:embed="rId6"/>
            <a:stretch>
              <a:fillRect/>
            </a:stretch>
          </p:blipFill>
          <p:spPr>
            <a:xfrm rot="5400000">
              <a:off x="1952977" y="3001331"/>
              <a:ext cx="253124" cy="217230"/>
            </a:xfrm>
            <a:prstGeom prst="rect">
              <a:avLst/>
            </a:prstGeom>
          </p:spPr>
        </p:pic>
        <p:pic>
          <p:nvPicPr>
            <p:cNvPr id="67" name="Imagem 66">
              <a:extLst>
                <a:ext uri="{FF2B5EF4-FFF2-40B4-BE49-F238E27FC236}">
                  <a16:creationId xmlns:a16="http://schemas.microsoft.com/office/drawing/2014/main" id="{1325B393-1F48-1200-6657-849D02C13292}"/>
                </a:ext>
              </a:extLst>
            </p:cNvPr>
            <p:cNvPicPr>
              <a:picLocks noChangeAspect="1"/>
            </p:cNvPicPr>
            <p:nvPr/>
          </p:nvPicPr>
          <p:blipFill>
            <a:blip r:embed="rId7"/>
            <a:stretch>
              <a:fillRect/>
            </a:stretch>
          </p:blipFill>
          <p:spPr>
            <a:xfrm>
              <a:off x="1905161" y="2657538"/>
              <a:ext cx="364880" cy="364881"/>
            </a:xfrm>
            <a:prstGeom prst="rect">
              <a:avLst/>
            </a:prstGeom>
          </p:spPr>
        </p:pic>
        <p:pic>
          <p:nvPicPr>
            <p:cNvPr id="68" name="Imagem 67" descr="Ícone&#10;&#10;O conteúdo gerado por IA pode estar incorreto.">
              <a:extLst>
                <a:ext uri="{FF2B5EF4-FFF2-40B4-BE49-F238E27FC236}">
                  <a16:creationId xmlns:a16="http://schemas.microsoft.com/office/drawing/2014/main" id="{BB8B46FA-1039-C962-E146-87333C37F516}"/>
                </a:ext>
              </a:extLst>
            </p:cNvPr>
            <p:cNvPicPr>
              <a:picLocks noChangeAspect="1"/>
            </p:cNvPicPr>
            <p:nvPr/>
          </p:nvPicPr>
          <p:blipFill>
            <a:blip r:embed="rId8"/>
            <a:stretch>
              <a:fillRect/>
            </a:stretch>
          </p:blipFill>
          <p:spPr>
            <a:xfrm>
              <a:off x="2352104" y="2620902"/>
              <a:ext cx="364880" cy="364881"/>
            </a:xfrm>
            <a:prstGeom prst="rect">
              <a:avLst/>
            </a:prstGeom>
          </p:spPr>
        </p:pic>
        <p:pic>
          <p:nvPicPr>
            <p:cNvPr id="72" name="Imagem 71">
              <a:extLst>
                <a:ext uri="{FF2B5EF4-FFF2-40B4-BE49-F238E27FC236}">
                  <a16:creationId xmlns:a16="http://schemas.microsoft.com/office/drawing/2014/main" id="{285AAC97-5C92-018E-17E7-8E773A54512B}"/>
                </a:ext>
              </a:extLst>
            </p:cNvPr>
            <p:cNvPicPr>
              <a:picLocks noChangeAspect="1"/>
            </p:cNvPicPr>
            <p:nvPr/>
          </p:nvPicPr>
          <p:blipFill>
            <a:blip r:embed="rId9"/>
            <a:stretch>
              <a:fillRect/>
            </a:stretch>
          </p:blipFill>
          <p:spPr>
            <a:xfrm rot="5400000">
              <a:off x="2740429" y="3382905"/>
              <a:ext cx="313592" cy="284285"/>
            </a:xfrm>
            <a:prstGeom prst="rect">
              <a:avLst/>
            </a:prstGeom>
          </p:spPr>
        </p:pic>
        <p:pic>
          <p:nvPicPr>
            <p:cNvPr id="73" name="Imagem 72" descr="Ícone&#10;&#10;O conteúdo gerado por IA pode estar incorreto.">
              <a:extLst>
                <a:ext uri="{FF2B5EF4-FFF2-40B4-BE49-F238E27FC236}">
                  <a16:creationId xmlns:a16="http://schemas.microsoft.com/office/drawing/2014/main" id="{AE0EE94A-2F2C-4473-4ED3-E81F290C6997}"/>
                </a:ext>
              </a:extLst>
            </p:cNvPr>
            <p:cNvPicPr>
              <a:picLocks noChangeAspect="1"/>
            </p:cNvPicPr>
            <p:nvPr/>
          </p:nvPicPr>
          <p:blipFill>
            <a:blip r:embed="rId10"/>
            <a:stretch>
              <a:fillRect/>
            </a:stretch>
          </p:blipFill>
          <p:spPr>
            <a:xfrm rot="5400000">
              <a:off x="1612083" y="3404884"/>
              <a:ext cx="284287" cy="269630"/>
            </a:xfrm>
            <a:prstGeom prst="rect">
              <a:avLst/>
            </a:prstGeom>
          </p:spPr>
        </p:pic>
        <p:pic>
          <p:nvPicPr>
            <p:cNvPr id="74" name="Imagem 73" descr="Ícone&#10;&#10;O conteúdo gerado por IA pode estar incorreto.">
              <a:extLst>
                <a:ext uri="{FF2B5EF4-FFF2-40B4-BE49-F238E27FC236}">
                  <a16:creationId xmlns:a16="http://schemas.microsoft.com/office/drawing/2014/main" id="{A91B6E9F-1217-7CE3-317F-D385FC15D8BD}"/>
                </a:ext>
              </a:extLst>
            </p:cNvPr>
            <p:cNvPicPr>
              <a:picLocks noChangeAspect="1"/>
            </p:cNvPicPr>
            <p:nvPr/>
          </p:nvPicPr>
          <p:blipFill>
            <a:blip r:embed="rId6"/>
            <a:stretch>
              <a:fillRect/>
            </a:stretch>
          </p:blipFill>
          <p:spPr>
            <a:xfrm rot="5400000">
              <a:off x="2399919" y="2994004"/>
              <a:ext cx="253124" cy="217230"/>
            </a:xfrm>
            <a:prstGeom prst="rect">
              <a:avLst/>
            </a:prstGeom>
          </p:spPr>
        </p:pic>
        <p:pic>
          <p:nvPicPr>
            <p:cNvPr id="86" name="Imagem 85">
              <a:extLst>
                <a:ext uri="{FF2B5EF4-FFF2-40B4-BE49-F238E27FC236}">
                  <a16:creationId xmlns:a16="http://schemas.microsoft.com/office/drawing/2014/main" id="{A4E984F1-BEB7-94C3-A838-6C363C25D45D}"/>
                </a:ext>
              </a:extLst>
            </p:cNvPr>
            <p:cNvPicPr>
              <a:picLocks noChangeAspect="1"/>
            </p:cNvPicPr>
            <p:nvPr/>
          </p:nvPicPr>
          <p:blipFill>
            <a:blip r:embed="rId11"/>
            <a:stretch>
              <a:fillRect/>
            </a:stretch>
          </p:blipFill>
          <p:spPr>
            <a:xfrm>
              <a:off x="1943741" y="3186779"/>
              <a:ext cx="797169" cy="787400"/>
            </a:xfrm>
            <a:prstGeom prst="rect">
              <a:avLst/>
            </a:prstGeom>
          </p:spPr>
        </p:pic>
      </p:grpSp>
      <p:sp>
        <p:nvSpPr>
          <p:cNvPr id="79" name="CaixaDeTexto 78">
            <a:extLst>
              <a:ext uri="{FF2B5EF4-FFF2-40B4-BE49-F238E27FC236}">
                <a16:creationId xmlns:a16="http://schemas.microsoft.com/office/drawing/2014/main" id="{E3C7D365-3AB1-71E6-5342-FC16988DE430}"/>
              </a:ext>
            </a:extLst>
          </p:cNvPr>
          <p:cNvSpPr txBox="1"/>
          <p:nvPr/>
        </p:nvSpPr>
        <p:spPr>
          <a:xfrm>
            <a:off x="12868463" y="2743170"/>
            <a:ext cx="2252642" cy="1061829"/>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3000" b="1" noProof="0" err="1">
                <a:solidFill>
                  <a:srgbClr val="8709FB"/>
                </a:solidFill>
                <a:latin typeface="Montserrat"/>
              </a:rPr>
              <a:t>Qonform</a:t>
            </a:r>
            <a:r>
              <a:rPr lang="en-US" sz="3000" b="1" noProof="0">
                <a:solidFill>
                  <a:srgbClr val="8709FB"/>
                </a:solidFill>
                <a:latin typeface="Montserrat"/>
              </a:rPr>
              <a:t> </a:t>
            </a:r>
            <a:r>
              <a:rPr lang="en-US" sz="3000" b="1" i="1" noProof="0">
                <a:solidFill>
                  <a:srgbClr val="8709FB"/>
                </a:solidFill>
                <a:latin typeface="Montserrat"/>
              </a:rPr>
              <a:t>in action</a:t>
            </a:r>
            <a:r>
              <a:rPr lang="en-US" sz="3000" b="1" noProof="0">
                <a:solidFill>
                  <a:srgbClr val="8709FB"/>
                </a:solidFill>
                <a:latin typeface="Montserrat"/>
              </a:rPr>
              <a:t>:</a:t>
            </a:r>
            <a:endParaRPr lang="en-US" sz="3000" noProof="0"/>
          </a:p>
        </p:txBody>
      </p:sp>
      <p:sp>
        <p:nvSpPr>
          <p:cNvPr id="80" name="CaixaDeTexto 79">
            <a:extLst>
              <a:ext uri="{FF2B5EF4-FFF2-40B4-BE49-F238E27FC236}">
                <a16:creationId xmlns:a16="http://schemas.microsoft.com/office/drawing/2014/main" id="{7565DB62-7BFB-6B96-1318-3BE4ECFDC81B}"/>
              </a:ext>
            </a:extLst>
          </p:cNvPr>
          <p:cNvSpPr txBox="1"/>
          <p:nvPr/>
        </p:nvSpPr>
        <p:spPr>
          <a:xfrm>
            <a:off x="11180866" y="4241235"/>
            <a:ext cx="4961321" cy="830997"/>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1500" noProof="0">
                <a:solidFill>
                  <a:schemeClr val="bg1"/>
                </a:solidFill>
                <a:latin typeface="Roboto"/>
                <a:ea typeface="Roboto"/>
                <a:cs typeface="Roboto"/>
              </a:rPr>
              <a:t>Choose an activity based on the action triggers and define from which and how many Knowledge Centers the information will be collected. Simple as that!</a:t>
            </a:r>
            <a:endParaRPr lang="en-US" sz="4050" noProof="0">
              <a:solidFill>
                <a:schemeClr val="bg1"/>
              </a:solidFill>
            </a:endParaRPr>
          </a:p>
        </p:txBody>
      </p:sp>
      <p:sp>
        <p:nvSpPr>
          <p:cNvPr id="113" name="CaixaDeTexto 112">
            <a:extLst>
              <a:ext uri="{FF2B5EF4-FFF2-40B4-BE49-F238E27FC236}">
                <a16:creationId xmlns:a16="http://schemas.microsoft.com/office/drawing/2014/main" id="{41200638-4479-DEDE-B062-70EDA60AE716}"/>
              </a:ext>
            </a:extLst>
          </p:cNvPr>
          <p:cNvSpPr txBox="1"/>
          <p:nvPr/>
        </p:nvSpPr>
        <p:spPr>
          <a:xfrm>
            <a:off x="943677" y="4418837"/>
            <a:ext cx="3428874" cy="3831818"/>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257175" indent="-257175">
              <a:buFont typeface="Arial"/>
              <a:buChar char="•"/>
            </a:pPr>
            <a:r>
              <a:rPr lang="en-US" sz="1500" noProof="0">
                <a:solidFill>
                  <a:srgbClr val="292929"/>
                </a:solidFill>
                <a:latin typeface="Roboto"/>
                <a:ea typeface="Roboto"/>
                <a:cs typeface="Roboto"/>
              </a:rPr>
              <a:t>It is the source of the information to be used </a:t>
            </a:r>
          </a:p>
          <a:p>
            <a:endParaRPr lang="en-US" sz="1500" noProof="0">
              <a:solidFill>
                <a:srgbClr val="292929"/>
              </a:solidFill>
              <a:latin typeface="Roboto"/>
              <a:ea typeface="Roboto"/>
              <a:cs typeface="Roboto"/>
            </a:endParaRPr>
          </a:p>
          <a:p>
            <a:pPr marL="257175" indent="-257175">
              <a:buFont typeface="Arial"/>
              <a:buChar char="•"/>
            </a:pPr>
            <a:r>
              <a:rPr lang="en-US" sz="1500" noProof="0">
                <a:solidFill>
                  <a:srgbClr val="292929"/>
                </a:solidFill>
                <a:latin typeface="Roboto"/>
                <a:ea typeface="Roboto"/>
                <a:cs typeface="Roboto"/>
              </a:rPr>
              <a:t>Can be applied to several file types, linked to drives or URLs</a:t>
            </a:r>
            <a:br>
              <a:rPr lang="en-US" sz="1500" noProof="0">
                <a:solidFill>
                  <a:srgbClr val="292929"/>
                </a:solidFill>
                <a:latin typeface="Roboto"/>
                <a:ea typeface="Roboto"/>
                <a:cs typeface="Roboto"/>
              </a:rPr>
            </a:br>
            <a:endParaRPr lang="en-US" sz="1500" noProof="0">
              <a:solidFill>
                <a:srgbClr val="292929"/>
              </a:solidFill>
              <a:latin typeface="Roboto"/>
              <a:ea typeface="Roboto"/>
              <a:cs typeface="Roboto"/>
            </a:endParaRPr>
          </a:p>
          <a:p>
            <a:pPr marL="257175" indent="-257175">
              <a:buFont typeface="Arial"/>
              <a:buChar char="•"/>
            </a:pPr>
            <a:r>
              <a:rPr lang="en-US" sz="1500" noProof="0">
                <a:solidFill>
                  <a:srgbClr val="292929"/>
                </a:solidFill>
                <a:latin typeface="Roboto"/>
                <a:ea typeface="Roboto"/>
                <a:cs typeface="Roboto"/>
              </a:rPr>
              <a:t>Unlimited number of KC’s</a:t>
            </a:r>
          </a:p>
          <a:p>
            <a:endParaRPr lang="en-US" sz="1500" noProof="0">
              <a:solidFill>
                <a:srgbClr val="292929"/>
              </a:solidFill>
              <a:latin typeface="Roboto"/>
              <a:ea typeface="Roboto"/>
              <a:cs typeface="Roboto"/>
            </a:endParaRPr>
          </a:p>
          <a:p>
            <a:pPr marL="257175" indent="-257175">
              <a:buFont typeface="Arial"/>
              <a:buChar char="•"/>
            </a:pPr>
            <a:r>
              <a:rPr lang="en-US" sz="1500" noProof="0">
                <a:solidFill>
                  <a:srgbClr val="292929"/>
                </a:solidFill>
                <a:latin typeface="Roboto"/>
                <a:ea typeface="Roboto"/>
                <a:cs typeface="Roboto"/>
              </a:rPr>
              <a:t>More than 1 can be used as a source for cross-referencing information</a:t>
            </a:r>
          </a:p>
          <a:p>
            <a:pPr marL="257175" indent="-257175">
              <a:buFont typeface="Arial"/>
              <a:buChar char="•"/>
            </a:pPr>
            <a:endParaRPr lang="en-US" sz="1500" noProof="0">
              <a:solidFill>
                <a:srgbClr val="292929"/>
              </a:solidFill>
              <a:latin typeface="Roboto"/>
              <a:ea typeface="Roboto"/>
              <a:cs typeface="Roboto"/>
            </a:endParaRPr>
          </a:p>
          <a:p>
            <a:pPr marL="257175" indent="-257175">
              <a:buFont typeface="Arial"/>
              <a:buChar char="•"/>
            </a:pPr>
            <a:r>
              <a:rPr lang="en-US" sz="1500" noProof="0">
                <a:solidFill>
                  <a:srgbClr val="292929"/>
                </a:solidFill>
                <a:latin typeface="Roboto"/>
                <a:ea typeface="Roboto"/>
                <a:cs typeface="Roboto"/>
              </a:rPr>
              <a:t>Can be used at different times in the detailed sequence of activities where Action Triggers will be activated</a:t>
            </a:r>
            <a:endParaRPr lang="en-US" sz="1500" noProof="0"/>
          </a:p>
        </p:txBody>
      </p:sp>
      <p:sp>
        <p:nvSpPr>
          <p:cNvPr id="115" name="CaixaDeTexto 114">
            <a:extLst>
              <a:ext uri="{FF2B5EF4-FFF2-40B4-BE49-F238E27FC236}">
                <a16:creationId xmlns:a16="http://schemas.microsoft.com/office/drawing/2014/main" id="{6DCCB23C-6788-92CE-FFFA-40C8C32EF6FE}"/>
              </a:ext>
            </a:extLst>
          </p:cNvPr>
          <p:cNvSpPr txBox="1"/>
          <p:nvPr/>
        </p:nvSpPr>
        <p:spPr>
          <a:xfrm>
            <a:off x="1823390" y="2819447"/>
            <a:ext cx="2223225" cy="877163"/>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2400" b="1" noProof="0">
                <a:solidFill>
                  <a:srgbClr val="8709FB"/>
                </a:solidFill>
                <a:latin typeface="Montserrat"/>
              </a:rPr>
              <a:t>Knowledge Center</a:t>
            </a:r>
          </a:p>
        </p:txBody>
      </p:sp>
      <p:sp>
        <p:nvSpPr>
          <p:cNvPr id="117" name="CaixaDeTexto 116">
            <a:extLst>
              <a:ext uri="{FF2B5EF4-FFF2-40B4-BE49-F238E27FC236}">
                <a16:creationId xmlns:a16="http://schemas.microsoft.com/office/drawing/2014/main" id="{EBC376F8-EA64-8793-236F-FB7A5A854202}"/>
              </a:ext>
            </a:extLst>
          </p:cNvPr>
          <p:cNvSpPr txBox="1"/>
          <p:nvPr/>
        </p:nvSpPr>
        <p:spPr>
          <a:xfrm>
            <a:off x="5605771" y="4523969"/>
            <a:ext cx="3428874" cy="2446824"/>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257175" indent="-257175">
              <a:buFont typeface="Arial"/>
              <a:buChar char="•"/>
            </a:pPr>
            <a:r>
              <a:rPr lang="en-US" sz="1500" noProof="0">
                <a:solidFill>
                  <a:schemeClr val="bg1"/>
                </a:solidFill>
                <a:latin typeface="Roboto"/>
                <a:ea typeface="Roboto"/>
                <a:cs typeface="Roboto"/>
              </a:rPr>
              <a:t>Will be defined in the local language and the same way as a human thinks.</a:t>
            </a:r>
          </a:p>
          <a:p>
            <a:endParaRPr lang="en-US" sz="1500" noProof="0">
              <a:solidFill>
                <a:schemeClr val="bg1"/>
              </a:solidFill>
              <a:latin typeface="Roboto"/>
              <a:ea typeface="Roboto"/>
              <a:cs typeface="Roboto"/>
            </a:endParaRPr>
          </a:p>
          <a:p>
            <a:pPr marL="257175" indent="-257175">
              <a:buFont typeface="Arial"/>
              <a:buChar char="•"/>
            </a:pPr>
            <a:r>
              <a:rPr lang="en-US" sz="1500" noProof="0">
                <a:solidFill>
                  <a:schemeClr val="bg1"/>
                </a:solidFill>
                <a:latin typeface="Roboto"/>
                <a:ea typeface="Roboto"/>
                <a:cs typeface="Roboto"/>
              </a:rPr>
              <a:t>Can be used individually or in sequence for more </a:t>
            </a:r>
            <a:r>
              <a:rPr lang="en-US" sz="1500" noProof="0">
                <a:latin typeface="Roboto"/>
                <a:ea typeface="Roboto"/>
                <a:cs typeface="Roboto"/>
              </a:rPr>
              <a:t>complex </a:t>
            </a:r>
            <a:r>
              <a:rPr lang="en-US" sz="1500" noProof="0">
                <a:solidFill>
                  <a:schemeClr val="bg1"/>
                </a:solidFill>
                <a:latin typeface="Roboto"/>
                <a:ea typeface="Roboto"/>
                <a:cs typeface="Roboto"/>
              </a:rPr>
              <a:t>activities.</a:t>
            </a:r>
            <a:br>
              <a:rPr lang="en-US" sz="1500" noProof="0">
                <a:solidFill>
                  <a:schemeClr val="bg1"/>
                </a:solidFill>
                <a:latin typeface="Roboto"/>
                <a:ea typeface="Roboto"/>
                <a:cs typeface="Roboto"/>
              </a:rPr>
            </a:br>
            <a:endParaRPr lang="en-US" sz="1500" noProof="0">
              <a:solidFill>
                <a:schemeClr val="bg1"/>
              </a:solidFill>
              <a:latin typeface="Roboto"/>
              <a:ea typeface="Roboto"/>
              <a:cs typeface="Roboto"/>
            </a:endParaRPr>
          </a:p>
          <a:p>
            <a:pPr marL="257175" indent="-257175">
              <a:buFont typeface="Arial"/>
              <a:buChar char="•"/>
            </a:pPr>
            <a:r>
              <a:rPr lang="en-US" sz="1500" noProof="0">
                <a:solidFill>
                  <a:schemeClr val="bg1"/>
                </a:solidFill>
                <a:latin typeface="Roboto"/>
                <a:ea typeface="Roboto"/>
                <a:cs typeface="Roboto"/>
              </a:rPr>
              <a:t>Unlimited number can be created and used</a:t>
            </a:r>
          </a:p>
        </p:txBody>
      </p:sp>
      <p:sp>
        <p:nvSpPr>
          <p:cNvPr id="119" name="CaixaDeTexto 118">
            <a:extLst>
              <a:ext uri="{FF2B5EF4-FFF2-40B4-BE49-F238E27FC236}">
                <a16:creationId xmlns:a16="http://schemas.microsoft.com/office/drawing/2014/main" id="{3ED27C8A-2B31-435B-A5CA-48E60380F71A}"/>
              </a:ext>
            </a:extLst>
          </p:cNvPr>
          <p:cNvSpPr txBox="1"/>
          <p:nvPr/>
        </p:nvSpPr>
        <p:spPr>
          <a:xfrm>
            <a:off x="6691612" y="2740898"/>
            <a:ext cx="1871657" cy="877163"/>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2400" b="1" noProof="0">
                <a:solidFill>
                  <a:srgbClr val="8709FB"/>
                </a:solidFill>
                <a:latin typeface="Montserrat"/>
              </a:rPr>
              <a:t>Action</a:t>
            </a:r>
            <a:endParaRPr lang="en-US" sz="2400" noProof="0">
              <a:solidFill>
                <a:srgbClr val="000000"/>
              </a:solidFill>
              <a:latin typeface="Aptos" panose="02110004020202020204"/>
            </a:endParaRPr>
          </a:p>
          <a:p>
            <a:r>
              <a:rPr lang="en-US" sz="2400" b="1" noProof="0">
                <a:solidFill>
                  <a:srgbClr val="8709FB"/>
                </a:solidFill>
                <a:latin typeface="Montserrat"/>
              </a:rPr>
              <a:t>triggers</a:t>
            </a:r>
            <a:endParaRPr lang="en-US" sz="2400" noProof="0"/>
          </a:p>
        </p:txBody>
      </p:sp>
      <p:pic>
        <p:nvPicPr>
          <p:cNvPr id="126" name="Imagem 125">
            <a:extLst>
              <a:ext uri="{FF2B5EF4-FFF2-40B4-BE49-F238E27FC236}">
                <a16:creationId xmlns:a16="http://schemas.microsoft.com/office/drawing/2014/main" id="{3C268806-5D65-1403-26E9-D58042B554FB}"/>
              </a:ext>
            </a:extLst>
          </p:cNvPr>
          <p:cNvPicPr>
            <a:picLocks noChangeAspect="1"/>
          </p:cNvPicPr>
          <p:nvPr/>
        </p:nvPicPr>
        <p:blipFill>
          <a:blip r:embed="rId11"/>
          <a:stretch>
            <a:fillRect/>
          </a:stretch>
        </p:blipFill>
        <p:spPr>
          <a:xfrm>
            <a:off x="1153569" y="2918558"/>
            <a:ext cx="665841" cy="671573"/>
          </a:xfrm>
          <a:prstGeom prst="rect">
            <a:avLst/>
          </a:prstGeom>
        </p:spPr>
      </p:pic>
      <p:pic>
        <p:nvPicPr>
          <p:cNvPr id="128" name="Imagem 127">
            <a:extLst>
              <a:ext uri="{FF2B5EF4-FFF2-40B4-BE49-F238E27FC236}">
                <a16:creationId xmlns:a16="http://schemas.microsoft.com/office/drawing/2014/main" id="{BB4A730E-BA3B-DD6B-23B0-2C8269AF6B7B}"/>
              </a:ext>
            </a:extLst>
          </p:cNvPr>
          <p:cNvPicPr>
            <a:picLocks noChangeAspect="1"/>
          </p:cNvPicPr>
          <p:nvPr/>
        </p:nvPicPr>
        <p:blipFill>
          <a:blip r:embed="rId12"/>
          <a:stretch>
            <a:fillRect/>
          </a:stretch>
        </p:blipFill>
        <p:spPr>
          <a:xfrm>
            <a:off x="5869308" y="2840281"/>
            <a:ext cx="726489" cy="728909"/>
          </a:xfrm>
          <a:prstGeom prst="rect">
            <a:avLst/>
          </a:prstGeom>
        </p:spPr>
      </p:pic>
      <p:pic>
        <p:nvPicPr>
          <p:cNvPr id="16" name="Picture 15" descr="A blue arrows in a circle&#10;&#10;AI-generated content may be incorrect.">
            <a:extLst>
              <a:ext uri="{FF2B5EF4-FFF2-40B4-BE49-F238E27FC236}">
                <a16:creationId xmlns:a16="http://schemas.microsoft.com/office/drawing/2014/main" id="{887C1A51-9F01-AD18-6959-B2E986C2D783}"/>
              </a:ext>
            </a:extLst>
          </p:cNvPr>
          <p:cNvPicPr>
            <a:picLocks noChangeAspect="1"/>
          </p:cNvPicPr>
          <p:nvPr/>
        </p:nvPicPr>
        <p:blipFill>
          <a:blip r:embed="rId13"/>
          <a:stretch>
            <a:fillRect/>
          </a:stretch>
        </p:blipFill>
        <p:spPr>
          <a:xfrm rot="2880000">
            <a:off x="4487262" y="6078818"/>
            <a:ext cx="1013280" cy="983840"/>
          </a:xfrm>
          <a:prstGeom prst="rect">
            <a:avLst/>
          </a:prstGeom>
        </p:spPr>
      </p:pic>
      <p:sp>
        <p:nvSpPr>
          <p:cNvPr id="18" name="Rectangle 17">
            <a:extLst>
              <a:ext uri="{FF2B5EF4-FFF2-40B4-BE49-F238E27FC236}">
                <a16:creationId xmlns:a16="http://schemas.microsoft.com/office/drawing/2014/main" id="{17EE674E-1C1E-062D-1B90-0526135CFEB5}"/>
              </a:ext>
            </a:extLst>
          </p:cNvPr>
          <p:cNvSpPr/>
          <p:nvPr/>
        </p:nvSpPr>
        <p:spPr>
          <a:xfrm>
            <a:off x="4637142" y="5867399"/>
            <a:ext cx="762000" cy="71966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endParaRPr lang="en-US" sz="4050" noProof="0"/>
          </a:p>
        </p:txBody>
      </p:sp>
      <p:pic>
        <p:nvPicPr>
          <p:cNvPr id="20" name="Picture 19" descr="A blue arrows in a circle&#10;&#10;AI-generated content may be incorrect.">
            <a:extLst>
              <a:ext uri="{FF2B5EF4-FFF2-40B4-BE49-F238E27FC236}">
                <a16:creationId xmlns:a16="http://schemas.microsoft.com/office/drawing/2014/main" id="{4003F8B5-D6F2-104E-1FA7-B7B2EB84C9CA}"/>
              </a:ext>
            </a:extLst>
          </p:cNvPr>
          <p:cNvPicPr>
            <a:picLocks noChangeAspect="1"/>
          </p:cNvPicPr>
          <p:nvPr/>
        </p:nvPicPr>
        <p:blipFill>
          <a:blip r:embed="rId13"/>
          <a:stretch>
            <a:fillRect/>
          </a:stretch>
        </p:blipFill>
        <p:spPr>
          <a:xfrm rot="2880000">
            <a:off x="4495728" y="4588685"/>
            <a:ext cx="1013280" cy="983840"/>
          </a:xfrm>
          <a:prstGeom prst="rect">
            <a:avLst/>
          </a:prstGeom>
        </p:spPr>
      </p:pic>
      <p:sp>
        <p:nvSpPr>
          <p:cNvPr id="21" name="Rectangle 20">
            <a:extLst>
              <a:ext uri="{FF2B5EF4-FFF2-40B4-BE49-F238E27FC236}">
                <a16:creationId xmlns:a16="http://schemas.microsoft.com/office/drawing/2014/main" id="{BFC808BB-2942-E57B-3985-3AAE972E9B4B}"/>
              </a:ext>
            </a:extLst>
          </p:cNvPr>
          <p:cNvSpPr/>
          <p:nvPr/>
        </p:nvSpPr>
        <p:spPr>
          <a:xfrm>
            <a:off x="4628676" y="5079998"/>
            <a:ext cx="770466" cy="70273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endParaRPr lang="en-US" sz="4050" noProof="0"/>
          </a:p>
        </p:txBody>
      </p:sp>
      <p:pic>
        <p:nvPicPr>
          <p:cNvPr id="24" name="Picture 23">
            <a:extLst>
              <a:ext uri="{FF2B5EF4-FFF2-40B4-BE49-F238E27FC236}">
                <a16:creationId xmlns:a16="http://schemas.microsoft.com/office/drawing/2014/main" id="{F46A2849-17E2-CC97-7C94-B67DC30D5640}"/>
              </a:ext>
            </a:extLst>
          </p:cNvPr>
          <p:cNvPicPr>
            <a:picLocks noChangeAspect="1"/>
          </p:cNvPicPr>
          <p:nvPr/>
        </p:nvPicPr>
        <p:blipFill>
          <a:blip r:embed="rId14"/>
          <a:stretch>
            <a:fillRect/>
          </a:stretch>
        </p:blipFill>
        <p:spPr>
          <a:xfrm>
            <a:off x="11201747" y="2418494"/>
            <a:ext cx="1574801" cy="1574801"/>
          </a:xfrm>
          <a:prstGeom prst="rect">
            <a:avLst/>
          </a:prstGeom>
        </p:spPr>
      </p:pic>
    </p:spTree>
    <p:extLst>
      <p:ext uri="{BB962C8B-B14F-4D97-AF65-F5344CB8AC3E}">
        <p14:creationId xmlns:p14="http://schemas.microsoft.com/office/powerpoint/2010/main" val="35808831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4" descr="A black background with a black rectangle&#10;&#10;AI-generated content may be incorrect.">
            <a:extLst>
              <a:ext uri="{FF2B5EF4-FFF2-40B4-BE49-F238E27FC236}">
                <a16:creationId xmlns:a16="http://schemas.microsoft.com/office/drawing/2014/main" id="{C61D2840-8BAD-8CB2-0EC5-A5AA6B202FD3}"/>
              </a:ext>
            </a:extLst>
          </p:cNvPr>
          <p:cNvPicPr>
            <a:picLocks noChangeAspect="1"/>
          </p:cNvPicPr>
          <p:nvPr/>
        </p:nvPicPr>
        <p:blipFill>
          <a:blip r:embed="rId2">
            <a:alphaModFix/>
          </a:blip>
          <a:srcRect r="53061" b="31453"/>
          <a:stretch/>
        </p:blipFill>
        <p:spPr>
          <a:xfrm>
            <a:off x="697866" y="5099879"/>
            <a:ext cx="5802117" cy="2551719"/>
          </a:xfrm>
          <a:prstGeom prst="rect">
            <a:avLst/>
          </a:prstGeom>
        </p:spPr>
      </p:pic>
      <p:pic>
        <p:nvPicPr>
          <p:cNvPr id="2" name="Picture 1" descr="A black background with a black rectangle&#10;&#10;AI-generated content may be incorrect.">
            <a:extLst>
              <a:ext uri="{FF2B5EF4-FFF2-40B4-BE49-F238E27FC236}">
                <a16:creationId xmlns:a16="http://schemas.microsoft.com/office/drawing/2014/main" id="{C37078BA-3127-4060-BB08-F8AE7E97789C}"/>
              </a:ext>
            </a:extLst>
          </p:cNvPr>
          <p:cNvPicPr>
            <a:picLocks noChangeAspect="1"/>
          </p:cNvPicPr>
          <p:nvPr/>
        </p:nvPicPr>
        <p:blipFill>
          <a:blip r:embed="rId3"/>
          <a:srcRect r="53061" b="31453"/>
          <a:stretch/>
        </p:blipFill>
        <p:spPr>
          <a:xfrm>
            <a:off x="7463203" y="4421989"/>
            <a:ext cx="10145552" cy="4329359"/>
          </a:xfrm>
          <a:prstGeom prst="rect">
            <a:avLst/>
          </a:prstGeom>
        </p:spPr>
      </p:pic>
      <p:pic>
        <p:nvPicPr>
          <p:cNvPr id="57" name="Picture 56" descr="A black background with a black rectangle&#10;&#10;AI-generated content may be incorrect.">
            <a:extLst>
              <a:ext uri="{FF2B5EF4-FFF2-40B4-BE49-F238E27FC236}">
                <a16:creationId xmlns:a16="http://schemas.microsoft.com/office/drawing/2014/main" id="{612916FF-DAB4-23D8-F0AB-295BA39B78DF}"/>
              </a:ext>
            </a:extLst>
          </p:cNvPr>
          <p:cNvPicPr>
            <a:picLocks noChangeAspect="1"/>
          </p:cNvPicPr>
          <p:nvPr/>
        </p:nvPicPr>
        <p:blipFill>
          <a:blip r:embed="rId3"/>
          <a:srcRect r="53061" b="31453"/>
          <a:stretch/>
        </p:blipFill>
        <p:spPr>
          <a:xfrm>
            <a:off x="7454858" y="7728732"/>
            <a:ext cx="10129160" cy="971615"/>
          </a:xfrm>
          <a:prstGeom prst="rect">
            <a:avLst/>
          </a:prstGeom>
          <a:noFill/>
          <a:ln w="3175">
            <a:solidFill>
              <a:schemeClr val="tx1"/>
            </a:solidFill>
            <a:prstDash val="sysDot"/>
          </a:ln>
        </p:spPr>
      </p:pic>
      <p:pic>
        <p:nvPicPr>
          <p:cNvPr id="25" name="Picture 24" descr="A black background with a black rectangle&#10;&#10;AI-generated content may be incorrect.">
            <a:extLst>
              <a:ext uri="{FF2B5EF4-FFF2-40B4-BE49-F238E27FC236}">
                <a16:creationId xmlns:a16="http://schemas.microsoft.com/office/drawing/2014/main" id="{0B8D9395-705E-F032-6459-F3B6107D09EC}"/>
              </a:ext>
            </a:extLst>
          </p:cNvPr>
          <p:cNvPicPr>
            <a:picLocks noChangeAspect="1"/>
          </p:cNvPicPr>
          <p:nvPr/>
        </p:nvPicPr>
        <p:blipFill>
          <a:blip r:embed="rId2">
            <a:alphaModFix/>
          </a:blip>
          <a:srcRect r="53061" b="31453"/>
          <a:stretch/>
        </p:blipFill>
        <p:spPr>
          <a:xfrm>
            <a:off x="9636950" y="4920261"/>
            <a:ext cx="5802117" cy="2732525"/>
          </a:xfrm>
          <a:prstGeom prst="rect">
            <a:avLst/>
          </a:prstGeom>
        </p:spPr>
      </p:pic>
      <p:pic>
        <p:nvPicPr>
          <p:cNvPr id="18" name="Picture 17" descr="A black background with a black rectangle&#10;&#10;AI-generated content may be incorrect.">
            <a:extLst>
              <a:ext uri="{FF2B5EF4-FFF2-40B4-BE49-F238E27FC236}">
                <a16:creationId xmlns:a16="http://schemas.microsoft.com/office/drawing/2014/main" id="{AB8CB0A8-1928-1F81-A389-7B768DD46CC8}"/>
              </a:ext>
            </a:extLst>
          </p:cNvPr>
          <p:cNvPicPr>
            <a:picLocks noChangeAspect="1"/>
          </p:cNvPicPr>
          <p:nvPr/>
        </p:nvPicPr>
        <p:blipFill>
          <a:blip r:embed="rId3"/>
          <a:srcRect r="53061" b="31453"/>
          <a:stretch/>
        </p:blipFill>
        <p:spPr>
          <a:xfrm>
            <a:off x="15739245" y="4910815"/>
            <a:ext cx="1863018" cy="2740784"/>
          </a:xfrm>
          <a:prstGeom prst="rect">
            <a:avLst/>
          </a:prstGeom>
        </p:spPr>
      </p:pic>
      <p:pic>
        <p:nvPicPr>
          <p:cNvPr id="7" name="Picture 6" descr="A black background with a black rectangle&#10;&#10;AI-generated content may be incorrect.">
            <a:extLst>
              <a:ext uri="{FF2B5EF4-FFF2-40B4-BE49-F238E27FC236}">
                <a16:creationId xmlns:a16="http://schemas.microsoft.com/office/drawing/2014/main" id="{42278C97-2E34-98AF-9C6F-3667821AB934}"/>
              </a:ext>
            </a:extLst>
          </p:cNvPr>
          <p:cNvPicPr>
            <a:picLocks noChangeAspect="1"/>
          </p:cNvPicPr>
          <p:nvPr/>
        </p:nvPicPr>
        <p:blipFill>
          <a:blip r:embed="rId3"/>
          <a:srcRect r="53061" b="31453"/>
          <a:stretch/>
        </p:blipFill>
        <p:spPr>
          <a:xfrm>
            <a:off x="7454858" y="4910817"/>
            <a:ext cx="1863018" cy="2740784"/>
          </a:xfrm>
          <a:prstGeom prst="rect">
            <a:avLst/>
          </a:prstGeom>
        </p:spPr>
      </p:pic>
      <p:sp>
        <p:nvSpPr>
          <p:cNvPr id="26" name="Freeform 7">
            <a:extLst>
              <a:ext uri="{FF2B5EF4-FFF2-40B4-BE49-F238E27FC236}">
                <a16:creationId xmlns:a16="http://schemas.microsoft.com/office/drawing/2014/main" id="{E1D4DCF4-F745-A6D4-5A34-2F263B7A2D1B}"/>
              </a:ext>
            </a:extLst>
          </p:cNvPr>
          <p:cNvSpPr/>
          <p:nvPr/>
        </p:nvSpPr>
        <p:spPr>
          <a:xfrm>
            <a:off x="4376201" y="5511289"/>
            <a:ext cx="679616" cy="750894"/>
          </a:xfrm>
          <a:custGeom>
            <a:avLst/>
            <a:gdLst/>
            <a:ahLst/>
            <a:cxnLst/>
            <a:rect l="l" t="t" r="r" b="b"/>
            <a:pathLst>
              <a:path w="1316559" h="1316559">
                <a:moveTo>
                  <a:pt x="0" y="0"/>
                </a:moveTo>
                <a:lnTo>
                  <a:pt x="1316559" y="0"/>
                </a:lnTo>
                <a:lnTo>
                  <a:pt x="1316559" y="1316559"/>
                </a:lnTo>
                <a:lnTo>
                  <a:pt x="0" y="1316559"/>
                </a:lnTo>
                <a:lnTo>
                  <a:pt x="0" y="0"/>
                </a:lnTo>
                <a:close/>
              </a:path>
            </a:pathLst>
          </a:custGeom>
          <a:blipFill>
            <a:blip r:embed="rId4"/>
            <a:stretch>
              <a:fillRect/>
            </a:stretch>
          </a:blipFill>
        </p:spPr>
        <p:txBody>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endParaRPr lang="en-US" sz="4050" noProof="0">
              <a:solidFill>
                <a:schemeClr val="bg1"/>
              </a:solidFill>
            </a:endParaRPr>
          </a:p>
        </p:txBody>
      </p:sp>
      <p:pic>
        <p:nvPicPr>
          <p:cNvPr id="38" name="Imagem 37">
            <a:extLst>
              <a:ext uri="{FF2B5EF4-FFF2-40B4-BE49-F238E27FC236}">
                <a16:creationId xmlns:a16="http://schemas.microsoft.com/office/drawing/2014/main" id="{3521BEA8-3094-A7E9-1C93-219F05C56023}"/>
              </a:ext>
            </a:extLst>
          </p:cNvPr>
          <p:cNvPicPr>
            <a:picLocks noChangeAspect="1"/>
          </p:cNvPicPr>
          <p:nvPr/>
        </p:nvPicPr>
        <p:blipFill>
          <a:blip r:embed="rId5"/>
          <a:stretch>
            <a:fillRect/>
          </a:stretch>
        </p:blipFill>
        <p:spPr>
          <a:xfrm>
            <a:off x="941698" y="5910714"/>
            <a:ext cx="817322" cy="740429"/>
          </a:xfrm>
          <a:prstGeom prst="rect">
            <a:avLst/>
          </a:prstGeom>
        </p:spPr>
      </p:pic>
      <p:pic>
        <p:nvPicPr>
          <p:cNvPr id="83" name="Imagem 82" descr="Ícone&#10;&#10;O conteúdo gerado por IA pode estar incorreto.">
            <a:extLst>
              <a:ext uri="{FF2B5EF4-FFF2-40B4-BE49-F238E27FC236}">
                <a16:creationId xmlns:a16="http://schemas.microsoft.com/office/drawing/2014/main" id="{AE11EF45-DAB1-6703-FAE8-B7CFA2296846}"/>
              </a:ext>
            </a:extLst>
          </p:cNvPr>
          <p:cNvPicPr>
            <a:picLocks noChangeAspect="1"/>
          </p:cNvPicPr>
          <p:nvPr/>
        </p:nvPicPr>
        <p:blipFill>
          <a:blip r:embed="rId6"/>
          <a:stretch>
            <a:fillRect/>
          </a:stretch>
        </p:blipFill>
        <p:spPr>
          <a:xfrm rot="2760000">
            <a:off x="1819778" y="6080170"/>
            <a:ext cx="451209" cy="453057"/>
          </a:xfrm>
          <a:prstGeom prst="rect">
            <a:avLst/>
          </a:prstGeom>
        </p:spPr>
      </p:pic>
      <p:pic>
        <p:nvPicPr>
          <p:cNvPr id="84" name="Imagem 83">
            <a:extLst>
              <a:ext uri="{FF2B5EF4-FFF2-40B4-BE49-F238E27FC236}">
                <a16:creationId xmlns:a16="http://schemas.microsoft.com/office/drawing/2014/main" id="{D147A598-BEE8-08E9-DBAD-F4E05B5C9701}"/>
              </a:ext>
            </a:extLst>
          </p:cNvPr>
          <p:cNvPicPr>
            <a:picLocks noChangeAspect="1"/>
          </p:cNvPicPr>
          <p:nvPr/>
        </p:nvPicPr>
        <p:blipFill>
          <a:blip r:embed="rId7"/>
          <a:stretch>
            <a:fillRect/>
          </a:stretch>
        </p:blipFill>
        <p:spPr>
          <a:xfrm>
            <a:off x="2314329" y="5912803"/>
            <a:ext cx="726489" cy="728909"/>
          </a:xfrm>
          <a:prstGeom prst="rect">
            <a:avLst/>
          </a:prstGeom>
        </p:spPr>
      </p:pic>
      <p:sp>
        <p:nvSpPr>
          <p:cNvPr id="88" name="CaixaDeTexto 87">
            <a:extLst>
              <a:ext uri="{FF2B5EF4-FFF2-40B4-BE49-F238E27FC236}">
                <a16:creationId xmlns:a16="http://schemas.microsoft.com/office/drawing/2014/main" id="{A299DE8D-A99E-B979-0B7D-F946152E3BD3}"/>
              </a:ext>
            </a:extLst>
          </p:cNvPr>
          <p:cNvSpPr txBox="1"/>
          <p:nvPr/>
        </p:nvSpPr>
        <p:spPr>
          <a:xfrm>
            <a:off x="720080" y="3475025"/>
            <a:ext cx="3641832" cy="461666"/>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2100" b="1" noProof="0">
                <a:solidFill>
                  <a:srgbClr val="7D43FF"/>
                </a:solidFill>
                <a:latin typeface="Montserrat"/>
              </a:rPr>
              <a:t>Single usage:</a:t>
            </a:r>
            <a:endParaRPr lang="en-US" sz="2100" noProof="0">
              <a:solidFill>
                <a:srgbClr val="7D43FF"/>
              </a:solidFill>
              <a:latin typeface="Aptos" panose="02110004020202020204"/>
            </a:endParaRPr>
          </a:p>
        </p:txBody>
      </p:sp>
      <p:sp>
        <p:nvSpPr>
          <p:cNvPr id="89" name="CaixaDeTexto 88">
            <a:extLst>
              <a:ext uri="{FF2B5EF4-FFF2-40B4-BE49-F238E27FC236}">
                <a16:creationId xmlns:a16="http://schemas.microsoft.com/office/drawing/2014/main" id="{763F0D67-2997-F5F8-55C5-5D8E37B7B945}"/>
              </a:ext>
            </a:extLst>
          </p:cNvPr>
          <p:cNvSpPr txBox="1"/>
          <p:nvPr/>
        </p:nvSpPr>
        <p:spPr>
          <a:xfrm>
            <a:off x="721882" y="3868426"/>
            <a:ext cx="5030729" cy="369332"/>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1500" noProof="0">
                <a:solidFill>
                  <a:schemeClr val="bg1"/>
                </a:solidFill>
                <a:latin typeface="Roboto"/>
                <a:ea typeface="Roboto"/>
                <a:cs typeface="Roboto"/>
              </a:rPr>
              <a:t>One Action trigger connected to one Knowledge Center</a:t>
            </a:r>
          </a:p>
        </p:txBody>
      </p:sp>
      <p:sp>
        <p:nvSpPr>
          <p:cNvPr id="91" name="CaixaDeTexto 90">
            <a:extLst>
              <a:ext uri="{FF2B5EF4-FFF2-40B4-BE49-F238E27FC236}">
                <a16:creationId xmlns:a16="http://schemas.microsoft.com/office/drawing/2014/main" id="{B57E5D16-EB97-28C9-325E-F55ACF04A31A}"/>
              </a:ext>
            </a:extLst>
          </p:cNvPr>
          <p:cNvSpPr txBox="1"/>
          <p:nvPr/>
        </p:nvSpPr>
        <p:spPr>
          <a:xfrm>
            <a:off x="7712646" y="3468115"/>
            <a:ext cx="3641832" cy="461666"/>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2100" b="1" noProof="0">
                <a:solidFill>
                  <a:srgbClr val="7D43FF"/>
                </a:solidFill>
                <a:latin typeface="Montserrat"/>
              </a:rPr>
              <a:t>Composite usage:</a:t>
            </a:r>
            <a:endParaRPr lang="en-US" sz="2100" noProof="0">
              <a:solidFill>
                <a:srgbClr val="7D43FF"/>
              </a:solidFill>
              <a:latin typeface="Aptos" panose="02110004020202020204"/>
            </a:endParaRPr>
          </a:p>
        </p:txBody>
      </p:sp>
      <p:sp>
        <p:nvSpPr>
          <p:cNvPr id="92" name="CaixaDeTexto 91">
            <a:extLst>
              <a:ext uri="{FF2B5EF4-FFF2-40B4-BE49-F238E27FC236}">
                <a16:creationId xmlns:a16="http://schemas.microsoft.com/office/drawing/2014/main" id="{7C95420F-16A4-C438-47B4-FF74A4311B64}"/>
              </a:ext>
            </a:extLst>
          </p:cNvPr>
          <p:cNvSpPr txBox="1"/>
          <p:nvPr/>
        </p:nvSpPr>
        <p:spPr>
          <a:xfrm>
            <a:off x="7723193" y="3833976"/>
            <a:ext cx="8392085" cy="369332"/>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1500" noProof="0">
                <a:solidFill>
                  <a:schemeClr val="bg1"/>
                </a:solidFill>
                <a:latin typeface="Roboto"/>
                <a:ea typeface="Roboto"/>
                <a:cs typeface="Roboto"/>
              </a:rPr>
              <a:t>Action Triggers activity flow created using more than one knowledge centers (shared or private)</a:t>
            </a:r>
            <a:endParaRPr lang="en-US" sz="4050" noProof="0">
              <a:solidFill>
                <a:schemeClr val="bg1"/>
              </a:solidFill>
            </a:endParaRPr>
          </a:p>
        </p:txBody>
      </p:sp>
      <p:pic>
        <p:nvPicPr>
          <p:cNvPr id="16" name="Imagem 15" descr="Ícone&#10;&#10;O conteúdo gerado por IA pode estar incorreto.">
            <a:extLst>
              <a:ext uri="{FF2B5EF4-FFF2-40B4-BE49-F238E27FC236}">
                <a16:creationId xmlns:a16="http://schemas.microsoft.com/office/drawing/2014/main" id="{E773FC1F-9C0A-EFA8-CF06-1C75655E1088}"/>
              </a:ext>
            </a:extLst>
          </p:cNvPr>
          <p:cNvPicPr>
            <a:picLocks noChangeAspect="1"/>
          </p:cNvPicPr>
          <p:nvPr/>
        </p:nvPicPr>
        <p:blipFill>
          <a:blip r:embed="rId8"/>
          <a:stretch>
            <a:fillRect/>
          </a:stretch>
        </p:blipFill>
        <p:spPr>
          <a:xfrm>
            <a:off x="11969189" y="6953232"/>
            <a:ext cx="445626" cy="358817"/>
          </a:xfrm>
          <a:prstGeom prst="rect">
            <a:avLst/>
          </a:prstGeom>
        </p:spPr>
      </p:pic>
      <p:pic>
        <p:nvPicPr>
          <p:cNvPr id="34" name="Imagem 33" descr="Ícone&#10;&#10;O conteúdo gerado por IA pode estar incorreto.">
            <a:extLst>
              <a:ext uri="{FF2B5EF4-FFF2-40B4-BE49-F238E27FC236}">
                <a16:creationId xmlns:a16="http://schemas.microsoft.com/office/drawing/2014/main" id="{EFD0CA58-8269-D18B-6F67-289767B07DFE}"/>
              </a:ext>
            </a:extLst>
          </p:cNvPr>
          <p:cNvPicPr>
            <a:picLocks noChangeAspect="1"/>
          </p:cNvPicPr>
          <p:nvPr/>
        </p:nvPicPr>
        <p:blipFill>
          <a:blip r:embed="rId8"/>
          <a:stretch>
            <a:fillRect/>
          </a:stretch>
        </p:blipFill>
        <p:spPr>
          <a:xfrm>
            <a:off x="13340466" y="6965140"/>
            <a:ext cx="445626" cy="358817"/>
          </a:xfrm>
          <a:prstGeom prst="rect">
            <a:avLst/>
          </a:prstGeom>
        </p:spPr>
      </p:pic>
      <p:pic>
        <p:nvPicPr>
          <p:cNvPr id="52" name="Imagem 51">
            <a:extLst>
              <a:ext uri="{FF2B5EF4-FFF2-40B4-BE49-F238E27FC236}">
                <a16:creationId xmlns:a16="http://schemas.microsoft.com/office/drawing/2014/main" id="{43514107-3050-1FB4-F533-FD31BA5CB282}"/>
              </a:ext>
            </a:extLst>
          </p:cNvPr>
          <p:cNvPicPr>
            <a:picLocks noChangeAspect="1"/>
          </p:cNvPicPr>
          <p:nvPr/>
        </p:nvPicPr>
        <p:blipFill>
          <a:blip r:embed="rId7"/>
          <a:stretch>
            <a:fillRect/>
          </a:stretch>
        </p:blipFill>
        <p:spPr>
          <a:xfrm>
            <a:off x="11195114" y="6728592"/>
            <a:ext cx="844062" cy="858716"/>
          </a:xfrm>
          <a:prstGeom prst="rect">
            <a:avLst/>
          </a:prstGeom>
        </p:spPr>
      </p:pic>
      <p:pic>
        <p:nvPicPr>
          <p:cNvPr id="54" name="Imagem 53">
            <a:extLst>
              <a:ext uri="{FF2B5EF4-FFF2-40B4-BE49-F238E27FC236}">
                <a16:creationId xmlns:a16="http://schemas.microsoft.com/office/drawing/2014/main" id="{900ADF97-3EEF-5EAD-C74C-480966FE9A68}"/>
              </a:ext>
            </a:extLst>
          </p:cNvPr>
          <p:cNvPicPr>
            <a:picLocks noChangeAspect="1"/>
          </p:cNvPicPr>
          <p:nvPr/>
        </p:nvPicPr>
        <p:blipFill>
          <a:blip r:embed="rId7"/>
          <a:stretch>
            <a:fillRect/>
          </a:stretch>
        </p:blipFill>
        <p:spPr>
          <a:xfrm>
            <a:off x="12440690" y="6728592"/>
            <a:ext cx="844062" cy="858716"/>
          </a:xfrm>
          <a:prstGeom prst="rect">
            <a:avLst/>
          </a:prstGeom>
        </p:spPr>
      </p:pic>
      <p:pic>
        <p:nvPicPr>
          <p:cNvPr id="58" name="Imagem 57">
            <a:extLst>
              <a:ext uri="{FF2B5EF4-FFF2-40B4-BE49-F238E27FC236}">
                <a16:creationId xmlns:a16="http://schemas.microsoft.com/office/drawing/2014/main" id="{735C5F0B-9171-EFDF-DC79-094A8EA06BD4}"/>
              </a:ext>
            </a:extLst>
          </p:cNvPr>
          <p:cNvPicPr>
            <a:picLocks noChangeAspect="1"/>
          </p:cNvPicPr>
          <p:nvPr/>
        </p:nvPicPr>
        <p:blipFill>
          <a:blip r:embed="rId7"/>
          <a:stretch>
            <a:fillRect/>
          </a:stretch>
        </p:blipFill>
        <p:spPr>
          <a:xfrm>
            <a:off x="13787112" y="6740685"/>
            <a:ext cx="844062" cy="858716"/>
          </a:xfrm>
          <a:prstGeom prst="rect">
            <a:avLst/>
          </a:prstGeom>
        </p:spPr>
      </p:pic>
      <p:pic>
        <p:nvPicPr>
          <p:cNvPr id="62" name="Imagem 61">
            <a:extLst>
              <a:ext uri="{FF2B5EF4-FFF2-40B4-BE49-F238E27FC236}">
                <a16:creationId xmlns:a16="http://schemas.microsoft.com/office/drawing/2014/main" id="{42DA5FB2-CA15-686A-C33B-A8C301953875}"/>
              </a:ext>
            </a:extLst>
          </p:cNvPr>
          <p:cNvPicPr>
            <a:picLocks noChangeAspect="1"/>
          </p:cNvPicPr>
          <p:nvPr/>
        </p:nvPicPr>
        <p:blipFill>
          <a:blip r:embed="rId9"/>
          <a:stretch>
            <a:fillRect/>
          </a:stretch>
        </p:blipFill>
        <p:spPr>
          <a:xfrm>
            <a:off x="11304579" y="5769382"/>
            <a:ext cx="596184" cy="582413"/>
          </a:xfrm>
          <a:prstGeom prst="rect">
            <a:avLst/>
          </a:prstGeom>
        </p:spPr>
      </p:pic>
      <p:pic>
        <p:nvPicPr>
          <p:cNvPr id="93" name="Imagem 92" descr="Ícone&#10;&#10;O conteúdo gerado por IA pode estar incorreto.">
            <a:extLst>
              <a:ext uri="{FF2B5EF4-FFF2-40B4-BE49-F238E27FC236}">
                <a16:creationId xmlns:a16="http://schemas.microsoft.com/office/drawing/2014/main" id="{FFD57FDC-E951-7102-C711-7903D942B113}"/>
              </a:ext>
            </a:extLst>
          </p:cNvPr>
          <p:cNvPicPr>
            <a:picLocks noChangeAspect="1"/>
          </p:cNvPicPr>
          <p:nvPr/>
        </p:nvPicPr>
        <p:blipFill>
          <a:blip r:embed="rId10"/>
          <a:stretch>
            <a:fillRect/>
          </a:stretch>
        </p:blipFill>
        <p:spPr>
          <a:xfrm>
            <a:off x="12566215" y="5747491"/>
            <a:ext cx="600425" cy="600422"/>
          </a:xfrm>
          <a:prstGeom prst="rect">
            <a:avLst/>
          </a:prstGeom>
        </p:spPr>
      </p:pic>
      <p:pic>
        <p:nvPicPr>
          <p:cNvPr id="102" name="Imagem 101" descr="Ícone&#10;&#10;O conteúdo gerado por IA pode estar incorreto.">
            <a:extLst>
              <a:ext uri="{FF2B5EF4-FFF2-40B4-BE49-F238E27FC236}">
                <a16:creationId xmlns:a16="http://schemas.microsoft.com/office/drawing/2014/main" id="{697BA5BF-18EA-15E0-5EA7-F462D8056289}"/>
              </a:ext>
            </a:extLst>
          </p:cNvPr>
          <p:cNvPicPr>
            <a:picLocks noChangeAspect="1"/>
          </p:cNvPicPr>
          <p:nvPr/>
        </p:nvPicPr>
        <p:blipFill>
          <a:blip r:embed="rId6"/>
          <a:stretch>
            <a:fillRect/>
          </a:stretch>
        </p:blipFill>
        <p:spPr>
          <a:xfrm rot="8100000">
            <a:off x="11394057" y="6302761"/>
            <a:ext cx="451209" cy="453057"/>
          </a:xfrm>
          <a:prstGeom prst="rect">
            <a:avLst/>
          </a:prstGeom>
        </p:spPr>
      </p:pic>
      <p:pic>
        <p:nvPicPr>
          <p:cNvPr id="103" name="Imagem 102" descr="Ícone&#10;&#10;O conteúdo gerado por IA pode estar incorreto.">
            <a:extLst>
              <a:ext uri="{FF2B5EF4-FFF2-40B4-BE49-F238E27FC236}">
                <a16:creationId xmlns:a16="http://schemas.microsoft.com/office/drawing/2014/main" id="{B3788DEE-7217-6174-BDF5-BEA0E3D1364C}"/>
              </a:ext>
            </a:extLst>
          </p:cNvPr>
          <p:cNvPicPr>
            <a:picLocks noChangeAspect="1"/>
          </p:cNvPicPr>
          <p:nvPr/>
        </p:nvPicPr>
        <p:blipFill>
          <a:blip r:embed="rId6"/>
          <a:stretch>
            <a:fillRect/>
          </a:stretch>
        </p:blipFill>
        <p:spPr>
          <a:xfrm rot="8100000">
            <a:off x="12633453" y="6330302"/>
            <a:ext cx="451209" cy="453057"/>
          </a:xfrm>
          <a:prstGeom prst="rect">
            <a:avLst/>
          </a:prstGeom>
        </p:spPr>
      </p:pic>
      <p:pic>
        <p:nvPicPr>
          <p:cNvPr id="105" name="Imagem 104" descr="Ícone&#10;&#10;O conteúdo gerado por IA pode estar incorreto.">
            <a:extLst>
              <a:ext uri="{FF2B5EF4-FFF2-40B4-BE49-F238E27FC236}">
                <a16:creationId xmlns:a16="http://schemas.microsoft.com/office/drawing/2014/main" id="{DF9ED4DC-C092-98E6-8205-DF489EB063D7}"/>
              </a:ext>
            </a:extLst>
          </p:cNvPr>
          <p:cNvPicPr>
            <a:picLocks noChangeAspect="1"/>
          </p:cNvPicPr>
          <p:nvPr/>
        </p:nvPicPr>
        <p:blipFill>
          <a:blip r:embed="rId6"/>
          <a:stretch>
            <a:fillRect/>
          </a:stretch>
        </p:blipFill>
        <p:spPr>
          <a:xfrm rot="8100000">
            <a:off x="13987998" y="6327743"/>
            <a:ext cx="451209" cy="453057"/>
          </a:xfrm>
          <a:prstGeom prst="rect">
            <a:avLst/>
          </a:prstGeom>
        </p:spPr>
      </p:pic>
      <p:pic>
        <p:nvPicPr>
          <p:cNvPr id="106" name="Imagem 105" descr="Ícone&#10;&#10;O conteúdo gerado por IA pode estar incorreto.">
            <a:extLst>
              <a:ext uri="{FF2B5EF4-FFF2-40B4-BE49-F238E27FC236}">
                <a16:creationId xmlns:a16="http://schemas.microsoft.com/office/drawing/2014/main" id="{438F8CAC-C877-3E06-427E-A3B7B77915B4}"/>
              </a:ext>
            </a:extLst>
          </p:cNvPr>
          <p:cNvPicPr>
            <a:picLocks noChangeAspect="1"/>
          </p:cNvPicPr>
          <p:nvPr/>
        </p:nvPicPr>
        <p:blipFill>
          <a:blip r:embed="rId6"/>
          <a:stretch>
            <a:fillRect/>
          </a:stretch>
        </p:blipFill>
        <p:spPr>
          <a:xfrm rot="5700000">
            <a:off x="10953380" y="6454241"/>
            <a:ext cx="451209" cy="453057"/>
          </a:xfrm>
          <a:prstGeom prst="rect">
            <a:avLst/>
          </a:prstGeom>
        </p:spPr>
      </p:pic>
      <p:pic>
        <p:nvPicPr>
          <p:cNvPr id="107" name="Imagem 106" descr="Ícone&#10;&#10;O conteúdo gerado por IA pode estar incorreto.">
            <a:extLst>
              <a:ext uri="{FF2B5EF4-FFF2-40B4-BE49-F238E27FC236}">
                <a16:creationId xmlns:a16="http://schemas.microsoft.com/office/drawing/2014/main" id="{86888225-D6CD-EFA2-A43C-EFEE9FDB03DD}"/>
              </a:ext>
            </a:extLst>
          </p:cNvPr>
          <p:cNvPicPr>
            <a:picLocks noChangeAspect="1"/>
          </p:cNvPicPr>
          <p:nvPr/>
        </p:nvPicPr>
        <p:blipFill>
          <a:blip r:embed="rId10"/>
          <a:stretch>
            <a:fillRect/>
          </a:stretch>
        </p:blipFill>
        <p:spPr>
          <a:xfrm>
            <a:off x="10486780" y="5995371"/>
            <a:ext cx="600425" cy="600422"/>
          </a:xfrm>
          <a:prstGeom prst="rect">
            <a:avLst/>
          </a:prstGeom>
        </p:spPr>
      </p:pic>
      <p:pic>
        <p:nvPicPr>
          <p:cNvPr id="108" name="Imagem 107">
            <a:extLst>
              <a:ext uri="{FF2B5EF4-FFF2-40B4-BE49-F238E27FC236}">
                <a16:creationId xmlns:a16="http://schemas.microsoft.com/office/drawing/2014/main" id="{B20711B4-978D-BF87-B662-66FC336925A4}"/>
              </a:ext>
            </a:extLst>
          </p:cNvPr>
          <p:cNvPicPr>
            <a:picLocks noChangeAspect="1"/>
          </p:cNvPicPr>
          <p:nvPr/>
        </p:nvPicPr>
        <p:blipFill>
          <a:blip r:embed="rId9"/>
          <a:stretch>
            <a:fillRect/>
          </a:stretch>
        </p:blipFill>
        <p:spPr>
          <a:xfrm>
            <a:off x="13912293" y="5794365"/>
            <a:ext cx="596184" cy="582413"/>
          </a:xfrm>
          <a:prstGeom prst="rect">
            <a:avLst/>
          </a:prstGeom>
        </p:spPr>
      </p:pic>
      <p:pic>
        <p:nvPicPr>
          <p:cNvPr id="110" name="Imagem 109" descr="Ícone&#10;&#10;O conteúdo gerado por IA pode estar incorreto.">
            <a:extLst>
              <a:ext uri="{FF2B5EF4-FFF2-40B4-BE49-F238E27FC236}">
                <a16:creationId xmlns:a16="http://schemas.microsoft.com/office/drawing/2014/main" id="{51DD43FF-403F-91FF-8FC8-6019599853CF}"/>
              </a:ext>
            </a:extLst>
          </p:cNvPr>
          <p:cNvPicPr>
            <a:picLocks noChangeAspect="1"/>
          </p:cNvPicPr>
          <p:nvPr/>
        </p:nvPicPr>
        <p:blipFill>
          <a:blip r:embed="rId6"/>
          <a:stretch>
            <a:fillRect/>
          </a:stretch>
        </p:blipFill>
        <p:spPr>
          <a:xfrm rot="2760000">
            <a:off x="10760585" y="6908687"/>
            <a:ext cx="451209" cy="453057"/>
          </a:xfrm>
          <a:prstGeom prst="rect">
            <a:avLst/>
          </a:prstGeom>
        </p:spPr>
      </p:pic>
      <p:pic>
        <p:nvPicPr>
          <p:cNvPr id="111" name="Imagem 110" descr="Ícone&#10;&#10;O conteúdo gerado por IA pode estar incorreto.">
            <a:extLst>
              <a:ext uri="{FF2B5EF4-FFF2-40B4-BE49-F238E27FC236}">
                <a16:creationId xmlns:a16="http://schemas.microsoft.com/office/drawing/2014/main" id="{3FA6F475-CBC6-A0E8-FB9B-5B3DA02F4050}"/>
              </a:ext>
            </a:extLst>
          </p:cNvPr>
          <p:cNvPicPr>
            <a:picLocks noChangeAspect="1"/>
          </p:cNvPicPr>
          <p:nvPr/>
        </p:nvPicPr>
        <p:blipFill>
          <a:blip r:embed="rId11"/>
          <a:stretch>
            <a:fillRect/>
          </a:stretch>
        </p:blipFill>
        <p:spPr>
          <a:xfrm>
            <a:off x="10132268" y="6840869"/>
            <a:ext cx="600597" cy="588594"/>
          </a:xfrm>
          <a:prstGeom prst="rect">
            <a:avLst/>
          </a:prstGeom>
        </p:spPr>
      </p:pic>
      <p:sp>
        <p:nvSpPr>
          <p:cNvPr id="8" name="TextBox 5">
            <a:extLst>
              <a:ext uri="{FF2B5EF4-FFF2-40B4-BE49-F238E27FC236}">
                <a16:creationId xmlns:a16="http://schemas.microsoft.com/office/drawing/2014/main" id="{22D42C03-D3D4-AB24-1F41-8049E516E845}"/>
              </a:ext>
            </a:extLst>
          </p:cNvPr>
          <p:cNvSpPr txBox="1"/>
          <p:nvPr/>
        </p:nvSpPr>
        <p:spPr>
          <a:xfrm>
            <a:off x="720080" y="795767"/>
            <a:ext cx="16888675" cy="1785104"/>
          </a:xfrm>
          <a:prstGeom prst="rect">
            <a:avLst/>
          </a:prstGeom>
        </p:spPr>
        <p:txBody>
          <a:bodyPr wrap="square" lIns="0" tIns="0" rIns="0" bIns="0" rtlCol="0" anchor="t">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nSpc>
                <a:spcPts val="7200"/>
              </a:lnSpc>
            </a:pPr>
            <a:r>
              <a:rPr lang="en-US" sz="4000" b="1" noProof="0">
                <a:solidFill>
                  <a:srgbClr val="000000"/>
                </a:solidFill>
                <a:latin typeface="Montserrat Medium"/>
                <a:ea typeface="+mn-lt"/>
                <a:cs typeface="+mn-lt"/>
                <a:sym typeface="Montserrat Medium"/>
              </a:rPr>
              <a:t>A </a:t>
            </a:r>
            <a:r>
              <a:rPr lang="en-US" sz="4000" b="1">
                <a:solidFill>
                  <a:srgbClr val="000000"/>
                </a:solidFill>
                <a:latin typeface="Montserrat Medium"/>
                <a:ea typeface="+mn-lt"/>
                <a:cs typeface="+mn-lt"/>
                <a:sym typeface="Montserrat Medium"/>
              </a:rPr>
              <a:t>deeper understanding</a:t>
            </a:r>
            <a:endParaRPr lang="en-US" sz="4000" b="1" noProof="0">
              <a:solidFill>
                <a:srgbClr val="000000"/>
              </a:solidFill>
              <a:latin typeface="Montserrat Medium"/>
              <a:ea typeface="+mn-lt"/>
              <a:cs typeface="+mn-lt"/>
              <a:sym typeface="Montserrat Medium"/>
            </a:endParaRPr>
          </a:p>
          <a:p>
            <a:r>
              <a:rPr lang="en-US" sz="2800" noProof="0">
                <a:solidFill>
                  <a:srgbClr val="6816FF"/>
                </a:solidFill>
                <a:latin typeface="Montserrat Medium"/>
              </a:rPr>
              <a:t>Understand the potential for improvement between activities and processes to make performance more agile and scalable</a:t>
            </a:r>
          </a:p>
        </p:txBody>
      </p:sp>
      <p:pic>
        <p:nvPicPr>
          <p:cNvPr id="9" name="Imagem 107" descr="A red and black logo&#10;&#10;AI-generated content may be incorrect.">
            <a:extLst>
              <a:ext uri="{FF2B5EF4-FFF2-40B4-BE49-F238E27FC236}">
                <a16:creationId xmlns:a16="http://schemas.microsoft.com/office/drawing/2014/main" id="{3C5CE939-596E-9C5B-3C78-4269073A9C69}"/>
              </a:ext>
            </a:extLst>
          </p:cNvPr>
          <p:cNvPicPr>
            <a:picLocks noChangeAspect="1"/>
          </p:cNvPicPr>
          <p:nvPr/>
        </p:nvPicPr>
        <p:blipFill>
          <a:blip r:embed="rId9"/>
          <a:stretch>
            <a:fillRect/>
          </a:stretch>
        </p:blipFill>
        <p:spPr>
          <a:xfrm>
            <a:off x="7491297" y="8895166"/>
            <a:ext cx="326610" cy="366752"/>
          </a:xfrm>
          <a:prstGeom prst="rect">
            <a:avLst/>
          </a:prstGeom>
        </p:spPr>
      </p:pic>
      <p:pic>
        <p:nvPicPr>
          <p:cNvPr id="10" name="Imagem 99" descr="Ícone&#10;&#10;O conteúdo gerado por IA pode estar incorreto.">
            <a:extLst>
              <a:ext uri="{FF2B5EF4-FFF2-40B4-BE49-F238E27FC236}">
                <a16:creationId xmlns:a16="http://schemas.microsoft.com/office/drawing/2014/main" id="{6E380C2B-EC55-5CD6-4DC9-07C616493739}"/>
              </a:ext>
            </a:extLst>
          </p:cNvPr>
          <p:cNvPicPr>
            <a:picLocks noChangeAspect="1"/>
          </p:cNvPicPr>
          <p:nvPr/>
        </p:nvPicPr>
        <p:blipFill>
          <a:blip r:embed="rId11"/>
          <a:stretch>
            <a:fillRect/>
          </a:stretch>
        </p:blipFill>
        <p:spPr>
          <a:xfrm>
            <a:off x="10508009" y="8893876"/>
            <a:ext cx="333897" cy="369519"/>
          </a:xfrm>
          <a:prstGeom prst="rect">
            <a:avLst/>
          </a:prstGeom>
        </p:spPr>
      </p:pic>
      <p:sp>
        <p:nvSpPr>
          <p:cNvPr id="11" name="CaixaDeTexto 91">
            <a:extLst>
              <a:ext uri="{FF2B5EF4-FFF2-40B4-BE49-F238E27FC236}">
                <a16:creationId xmlns:a16="http://schemas.microsoft.com/office/drawing/2014/main" id="{38A9BA02-207B-76FD-BC04-05C5AD29AEAF}"/>
              </a:ext>
            </a:extLst>
          </p:cNvPr>
          <p:cNvSpPr txBox="1"/>
          <p:nvPr/>
        </p:nvSpPr>
        <p:spPr>
          <a:xfrm>
            <a:off x="10827981" y="8897620"/>
            <a:ext cx="2460579" cy="600164"/>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1500" noProof="0">
                <a:solidFill>
                  <a:schemeClr val="bg1"/>
                </a:solidFill>
                <a:latin typeface="Roboto"/>
                <a:ea typeface="Roboto"/>
                <a:cs typeface="Roboto"/>
              </a:rPr>
              <a:t>Shared Knowledge Center</a:t>
            </a:r>
            <a:endParaRPr lang="en-US" sz="4050" noProof="0">
              <a:solidFill>
                <a:schemeClr val="bg1"/>
              </a:solidFill>
            </a:endParaRPr>
          </a:p>
        </p:txBody>
      </p:sp>
      <p:sp>
        <p:nvSpPr>
          <p:cNvPr id="12" name="CaixaDeTexto 91">
            <a:extLst>
              <a:ext uri="{FF2B5EF4-FFF2-40B4-BE49-F238E27FC236}">
                <a16:creationId xmlns:a16="http://schemas.microsoft.com/office/drawing/2014/main" id="{62B9DABF-CEF4-86C8-A2F4-2B34AD433A1E}"/>
              </a:ext>
            </a:extLst>
          </p:cNvPr>
          <p:cNvSpPr txBox="1"/>
          <p:nvPr/>
        </p:nvSpPr>
        <p:spPr>
          <a:xfrm>
            <a:off x="7821494" y="8893876"/>
            <a:ext cx="2573751" cy="369332"/>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1500" noProof="0">
                <a:solidFill>
                  <a:schemeClr val="bg1"/>
                </a:solidFill>
                <a:latin typeface="Roboto"/>
                <a:ea typeface="Roboto"/>
                <a:cs typeface="Roboto"/>
              </a:rPr>
              <a:t>Private Knowledge Center</a:t>
            </a:r>
            <a:endParaRPr lang="en-US" sz="4050" noProof="0">
              <a:solidFill>
                <a:schemeClr val="bg1"/>
              </a:solidFill>
            </a:endParaRPr>
          </a:p>
        </p:txBody>
      </p:sp>
      <p:sp>
        <p:nvSpPr>
          <p:cNvPr id="13" name="CaixaDeTexto 88">
            <a:extLst>
              <a:ext uri="{FF2B5EF4-FFF2-40B4-BE49-F238E27FC236}">
                <a16:creationId xmlns:a16="http://schemas.microsoft.com/office/drawing/2014/main" id="{A9E38186-09C3-BB4E-F425-B901DDE03B35}"/>
              </a:ext>
            </a:extLst>
          </p:cNvPr>
          <p:cNvSpPr txBox="1"/>
          <p:nvPr/>
        </p:nvSpPr>
        <p:spPr>
          <a:xfrm>
            <a:off x="697866" y="2878442"/>
            <a:ext cx="11202897" cy="507831"/>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2400" noProof="0" err="1">
                <a:solidFill>
                  <a:schemeClr val="bg1"/>
                </a:solidFill>
                <a:latin typeface="Roboto"/>
                <a:ea typeface="Roboto"/>
                <a:cs typeface="Roboto"/>
              </a:rPr>
              <a:t>Qonform</a:t>
            </a:r>
            <a:r>
              <a:rPr lang="en-US" sz="2400" noProof="0">
                <a:solidFill>
                  <a:schemeClr val="bg1"/>
                </a:solidFill>
                <a:latin typeface="Roboto"/>
                <a:ea typeface="Roboto"/>
                <a:cs typeface="Roboto"/>
              </a:rPr>
              <a:t> can be integrated in existing processes or used as a single platform.</a:t>
            </a:r>
          </a:p>
        </p:txBody>
      </p:sp>
      <p:sp>
        <p:nvSpPr>
          <p:cNvPr id="6" name="TextBox 5">
            <a:extLst>
              <a:ext uri="{FF2B5EF4-FFF2-40B4-BE49-F238E27FC236}">
                <a16:creationId xmlns:a16="http://schemas.microsoft.com/office/drawing/2014/main" id="{927E4F03-AE78-42EC-39C2-949D91ADDB1F}"/>
              </a:ext>
            </a:extLst>
          </p:cNvPr>
          <p:cNvSpPr txBox="1"/>
          <p:nvPr/>
        </p:nvSpPr>
        <p:spPr>
          <a:xfrm>
            <a:off x="11427625" y="8089331"/>
            <a:ext cx="2491986" cy="692497"/>
          </a:xfrm>
          <a:prstGeom prst="rect">
            <a:avLst/>
          </a:prstGeom>
          <a:noFill/>
        </p:spPr>
        <p:txBody>
          <a:bodyPr wrap="square" lIns="137160" tIns="68580" rIns="137160" bIns="68580" rtlCol="0" anchor="t">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1800" b="1" noProof="0">
                <a:solidFill>
                  <a:schemeClr val="bg1"/>
                </a:solidFill>
              </a:rPr>
              <a:t>API</a:t>
            </a:r>
            <a:r>
              <a:rPr lang="en-US" sz="1800" noProof="0">
                <a:solidFill>
                  <a:schemeClr val="bg1"/>
                </a:solidFill>
              </a:rPr>
              <a:t> to feed  Knowledge Centers</a:t>
            </a:r>
            <a:endParaRPr lang="en-US" sz="1800" b="1" noProof="0">
              <a:solidFill>
                <a:schemeClr val="bg1"/>
              </a:solidFill>
            </a:endParaRPr>
          </a:p>
        </p:txBody>
      </p:sp>
      <p:sp>
        <p:nvSpPr>
          <p:cNvPr id="35" name="TextBox 2">
            <a:extLst>
              <a:ext uri="{FF2B5EF4-FFF2-40B4-BE49-F238E27FC236}">
                <a16:creationId xmlns:a16="http://schemas.microsoft.com/office/drawing/2014/main" id="{6CF20609-F13B-8FEE-5871-25AFBAC0C64E}"/>
              </a:ext>
            </a:extLst>
          </p:cNvPr>
          <p:cNvSpPr txBox="1"/>
          <p:nvPr/>
        </p:nvSpPr>
        <p:spPr>
          <a:xfrm>
            <a:off x="4340164" y="6859392"/>
            <a:ext cx="1865264" cy="400110"/>
          </a:xfrm>
          <a:prstGeom prst="rect">
            <a:avLst/>
          </a:prstGeom>
          <a:noFill/>
        </p:spPr>
        <p:txBody>
          <a:bodyPr wrap="square" rtlCol="0">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2000" b="1" noProof="0">
                <a:solidFill>
                  <a:schemeClr val="bg1"/>
                </a:solidFill>
              </a:rPr>
              <a:t>API</a:t>
            </a:r>
            <a:r>
              <a:rPr lang="en-US" sz="2000" noProof="0">
                <a:solidFill>
                  <a:schemeClr val="bg1"/>
                </a:solidFill>
              </a:rPr>
              <a:t> with result</a:t>
            </a:r>
          </a:p>
        </p:txBody>
      </p:sp>
      <p:pic>
        <p:nvPicPr>
          <p:cNvPr id="37" name="Picture 36">
            <a:extLst>
              <a:ext uri="{FF2B5EF4-FFF2-40B4-BE49-F238E27FC236}">
                <a16:creationId xmlns:a16="http://schemas.microsoft.com/office/drawing/2014/main" id="{B6DD5588-B96A-3551-EF5F-FACBBD06032A}"/>
              </a:ext>
            </a:extLst>
          </p:cNvPr>
          <p:cNvPicPr>
            <a:picLocks noChangeAspect="1"/>
          </p:cNvPicPr>
          <p:nvPr/>
        </p:nvPicPr>
        <p:blipFill>
          <a:blip r:embed="rId12"/>
          <a:stretch>
            <a:fillRect/>
          </a:stretch>
        </p:blipFill>
        <p:spPr>
          <a:xfrm rot="10800000">
            <a:off x="8140451" y="4554869"/>
            <a:ext cx="437222" cy="416781"/>
          </a:xfrm>
          <a:prstGeom prst="rect">
            <a:avLst/>
          </a:prstGeom>
        </p:spPr>
      </p:pic>
      <p:sp>
        <p:nvSpPr>
          <p:cNvPr id="40" name="TextBox 39">
            <a:extLst>
              <a:ext uri="{FF2B5EF4-FFF2-40B4-BE49-F238E27FC236}">
                <a16:creationId xmlns:a16="http://schemas.microsoft.com/office/drawing/2014/main" id="{813B1BE9-368E-8FB1-E7EA-154D072C4EC0}"/>
              </a:ext>
            </a:extLst>
          </p:cNvPr>
          <p:cNvSpPr txBox="1"/>
          <p:nvPr/>
        </p:nvSpPr>
        <p:spPr>
          <a:xfrm>
            <a:off x="7927960" y="4928934"/>
            <a:ext cx="863210" cy="369332"/>
          </a:xfrm>
          <a:prstGeom prst="rect">
            <a:avLst/>
          </a:prstGeom>
          <a:noFill/>
          <a:ln>
            <a:noFill/>
          </a:ln>
        </p:spPr>
        <p:txBody>
          <a:bodyPr wrap="square" lIns="137160" tIns="68580" rIns="137160" bIns="68580" rtlCol="0" anchor="t">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r>
              <a:rPr lang="en-US" sz="1500" b="1" i="1" noProof="0">
                <a:solidFill>
                  <a:schemeClr val="bg1"/>
                </a:solidFill>
              </a:rPr>
              <a:t>Inputs</a:t>
            </a:r>
          </a:p>
        </p:txBody>
      </p:sp>
      <p:sp>
        <p:nvSpPr>
          <p:cNvPr id="96" name="Freeform 7">
            <a:extLst>
              <a:ext uri="{FF2B5EF4-FFF2-40B4-BE49-F238E27FC236}">
                <a16:creationId xmlns:a16="http://schemas.microsoft.com/office/drawing/2014/main" id="{CCE7C1B6-F54A-D85E-4BA7-787786EF638B}"/>
              </a:ext>
            </a:extLst>
          </p:cNvPr>
          <p:cNvSpPr/>
          <p:nvPr/>
        </p:nvSpPr>
        <p:spPr>
          <a:xfrm>
            <a:off x="16408053" y="5772389"/>
            <a:ext cx="525402" cy="578538"/>
          </a:xfrm>
          <a:custGeom>
            <a:avLst/>
            <a:gdLst/>
            <a:ahLst/>
            <a:cxnLst/>
            <a:rect l="l" t="t" r="r" b="b"/>
            <a:pathLst>
              <a:path w="1316559" h="1316559">
                <a:moveTo>
                  <a:pt x="0" y="0"/>
                </a:moveTo>
                <a:lnTo>
                  <a:pt x="1316559" y="0"/>
                </a:lnTo>
                <a:lnTo>
                  <a:pt x="1316559" y="1316559"/>
                </a:lnTo>
                <a:lnTo>
                  <a:pt x="0" y="1316559"/>
                </a:lnTo>
                <a:lnTo>
                  <a:pt x="0" y="0"/>
                </a:lnTo>
                <a:close/>
              </a:path>
            </a:pathLst>
          </a:custGeom>
          <a:blipFill>
            <a:blip r:embed="rId4"/>
            <a:stretch>
              <a:fillRect/>
            </a:stretch>
          </a:blipFill>
        </p:spPr>
        <p:txBody>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endParaRPr lang="en-US" sz="4050" noProof="0">
              <a:solidFill>
                <a:schemeClr val="bg1"/>
              </a:solidFill>
            </a:endParaRPr>
          </a:p>
        </p:txBody>
      </p:sp>
      <p:sp>
        <p:nvSpPr>
          <p:cNvPr id="3" name="TextBox 2">
            <a:extLst>
              <a:ext uri="{FF2B5EF4-FFF2-40B4-BE49-F238E27FC236}">
                <a16:creationId xmlns:a16="http://schemas.microsoft.com/office/drawing/2014/main" id="{C43B3541-95CF-5C21-9DD1-8D5F0A33F18D}"/>
              </a:ext>
            </a:extLst>
          </p:cNvPr>
          <p:cNvSpPr txBox="1"/>
          <p:nvPr/>
        </p:nvSpPr>
        <p:spPr>
          <a:xfrm>
            <a:off x="15995082" y="8116126"/>
            <a:ext cx="1259952" cy="600164"/>
          </a:xfrm>
          <a:prstGeom prst="rect">
            <a:avLst/>
          </a:prstGeom>
          <a:noFill/>
        </p:spPr>
        <p:txBody>
          <a:bodyPr wrap="square" rtlCol="0">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1650" b="1" noProof="0">
                <a:solidFill>
                  <a:schemeClr val="bg1"/>
                </a:solidFill>
              </a:rPr>
              <a:t>API</a:t>
            </a:r>
            <a:r>
              <a:rPr lang="en-US" sz="1650" noProof="0">
                <a:solidFill>
                  <a:schemeClr val="bg1"/>
                </a:solidFill>
              </a:rPr>
              <a:t> </a:t>
            </a:r>
          </a:p>
          <a:p>
            <a:r>
              <a:rPr lang="en-US" sz="1650" noProof="0">
                <a:solidFill>
                  <a:schemeClr val="bg1"/>
                </a:solidFill>
              </a:rPr>
              <a:t>with result</a:t>
            </a:r>
          </a:p>
        </p:txBody>
      </p:sp>
      <p:sp>
        <p:nvSpPr>
          <p:cNvPr id="47" name="Freeform 7">
            <a:extLst>
              <a:ext uri="{FF2B5EF4-FFF2-40B4-BE49-F238E27FC236}">
                <a16:creationId xmlns:a16="http://schemas.microsoft.com/office/drawing/2014/main" id="{93343CF4-C9B3-74F3-2469-2F5044937444}"/>
              </a:ext>
            </a:extLst>
          </p:cNvPr>
          <p:cNvSpPr/>
          <p:nvPr/>
        </p:nvSpPr>
        <p:spPr>
          <a:xfrm>
            <a:off x="8110060" y="5772390"/>
            <a:ext cx="552617" cy="642038"/>
          </a:xfrm>
          <a:custGeom>
            <a:avLst/>
            <a:gdLst/>
            <a:ahLst/>
            <a:cxnLst/>
            <a:rect l="l" t="t" r="r" b="b"/>
            <a:pathLst>
              <a:path w="1316559" h="1316559">
                <a:moveTo>
                  <a:pt x="0" y="0"/>
                </a:moveTo>
                <a:lnTo>
                  <a:pt x="1316559" y="0"/>
                </a:lnTo>
                <a:lnTo>
                  <a:pt x="1316559" y="1316559"/>
                </a:lnTo>
                <a:lnTo>
                  <a:pt x="0" y="1316559"/>
                </a:lnTo>
                <a:lnTo>
                  <a:pt x="0" y="0"/>
                </a:lnTo>
                <a:close/>
              </a:path>
            </a:pathLst>
          </a:custGeom>
          <a:blipFill>
            <a:blip r:embed="rId4"/>
            <a:stretch>
              <a:fillRect/>
            </a:stretch>
          </a:blipFill>
        </p:spPr>
        <p:txBody>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endParaRPr lang="en-US" sz="4050" noProof="0">
              <a:solidFill>
                <a:schemeClr val="bg1"/>
              </a:solidFill>
            </a:endParaRPr>
          </a:p>
        </p:txBody>
      </p:sp>
      <p:sp>
        <p:nvSpPr>
          <p:cNvPr id="48" name="TextBox 2">
            <a:extLst>
              <a:ext uri="{FF2B5EF4-FFF2-40B4-BE49-F238E27FC236}">
                <a16:creationId xmlns:a16="http://schemas.microsoft.com/office/drawing/2014/main" id="{43227879-74B1-D0CF-706A-A85A395117C3}"/>
              </a:ext>
            </a:extLst>
          </p:cNvPr>
          <p:cNvSpPr txBox="1"/>
          <p:nvPr/>
        </p:nvSpPr>
        <p:spPr>
          <a:xfrm>
            <a:off x="7491999" y="8116126"/>
            <a:ext cx="1588935" cy="600164"/>
          </a:xfrm>
          <a:prstGeom prst="rect">
            <a:avLst/>
          </a:prstGeom>
          <a:noFill/>
        </p:spPr>
        <p:txBody>
          <a:bodyPr wrap="square" rtlCol="0">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1650" b="1" noProof="0">
                <a:solidFill>
                  <a:schemeClr val="bg1"/>
                </a:solidFill>
              </a:rPr>
              <a:t>API</a:t>
            </a:r>
            <a:r>
              <a:rPr lang="en-US" sz="1650" noProof="0">
                <a:solidFill>
                  <a:schemeClr val="bg1"/>
                </a:solidFill>
              </a:rPr>
              <a:t> to </a:t>
            </a:r>
          </a:p>
          <a:p>
            <a:r>
              <a:rPr lang="en-US" sz="1650" noProof="0">
                <a:solidFill>
                  <a:schemeClr val="bg1"/>
                </a:solidFill>
              </a:rPr>
              <a:t>Start the flow</a:t>
            </a:r>
          </a:p>
        </p:txBody>
      </p:sp>
      <p:grpSp>
        <p:nvGrpSpPr>
          <p:cNvPr id="51" name="Group 24">
            <a:extLst>
              <a:ext uri="{FF2B5EF4-FFF2-40B4-BE49-F238E27FC236}">
                <a16:creationId xmlns:a16="http://schemas.microsoft.com/office/drawing/2014/main" id="{F1C353D7-0334-8E49-CF3C-AC16854DC2DF}"/>
              </a:ext>
            </a:extLst>
          </p:cNvPr>
          <p:cNvGrpSpPr/>
          <p:nvPr/>
        </p:nvGrpSpPr>
        <p:grpSpPr>
          <a:xfrm>
            <a:off x="7139352" y="1437469"/>
            <a:ext cx="612363" cy="56823"/>
            <a:chOff x="0" y="0"/>
            <a:chExt cx="1078484" cy="100076"/>
          </a:xfrm>
        </p:grpSpPr>
        <p:sp>
          <p:nvSpPr>
            <p:cNvPr id="50" name="Freeform 25">
              <a:extLst>
                <a:ext uri="{FF2B5EF4-FFF2-40B4-BE49-F238E27FC236}">
                  <a16:creationId xmlns:a16="http://schemas.microsoft.com/office/drawing/2014/main" id="{4F8C9E69-6F3A-3DD7-EAF8-49E7430EB0DC}"/>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endParaRPr lang="en-US" sz="1800" noProof="0"/>
            </a:p>
          </p:txBody>
        </p:sp>
      </p:grpSp>
      <p:cxnSp>
        <p:nvCxnSpPr>
          <p:cNvPr id="4" name="Straight Arrow Connector 3">
            <a:extLst>
              <a:ext uri="{FF2B5EF4-FFF2-40B4-BE49-F238E27FC236}">
                <a16:creationId xmlns:a16="http://schemas.microsoft.com/office/drawing/2014/main" id="{012829E4-81FE-801F-322E-9FF17DCD9CF5}"/>
              </a:ext>
            </a:extLst>
          </p:cNvPr>
          <p:cNvCxnSpPr/>
          <p:nvPr/>
        </p:nvCxnSpPr>
        <p:spPr>
          <a:xfrm flipH="1">
            <a:off x="6786105" y="3546426"/>
            <a:ext cx="6117" cy="5114753"/>
          </a:xfrm>
          <a:prstGeom prst="straightConnector1">
            <a:avLst/>
          </a:prstGeom>
          <a:ln w="12700">
            <a:solidFill>
              <a:srgbClr val="713BFE"/>
            </a:solidFill>
            <a:prstDash val="solid"/>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9F7C99D7-2616-1E87-377F-17269B1906D7}"/>
              </a:ext>
            </a:extLst>
          </p:cNvPr>
          <p:cNvCxnSpPr/>
          <p:nvPr/>
        </p:nvCxnSpPr>
        <p:spPr>
          <a:xfrm flipH="1">
            <a:off x="3209845" y="5932239"/>
            <a:ext cx="968246" cy="443033"/>
          </a:xfrm>
          <a:prstGeom prst="straightConnector1">
            <a:avLst/>
          </a:prstGeom>
          <a:ln>
            <a:solidFill>
              <a:schemeClr val="tx1"/>
            </a:solidFill>
            <a:headEnd type="arrow"/>
            <a:tailEnd type="none"/>
          </a:ln>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748DF6FD-EA7F-AEF5-27C8-54149ACA78A1}"/>
              </a:ext>
            </a:extLst>
          </p:cNvPr>
          <p:cNvCxnSpPr>
            <a:cxnSpLocks/>
          </p:cNvCxnSpPr>
          <p:nvPr/>
        </p:nvCxnSpPr>
        <p:spPr>
          <a:xfrm flipH="1" flipV="1">
            <a:off x="3238182" y="6375270"/>
            <a:ext cx="911568" cy="681077"/>
          </a:xfrm>
          <a:prstGeom prst="straightConnector1">
            <a:avLst/>
          </a:prstGeom>
          <a:ln>
            <a:solidFill>
              <a:schemeClr val="tx1"/>
            </a:solidFill>
            <a:headEnd type="arrow"/>
            <a:tailEnd type="none"/>
          </a:ln>
        </p:spPr>
        <p:style>
          <a:lnRef idx="2">
            <a:schemeClr val="accent1"/>
          </a:lnRef>
          <a:fillRef idx="0">
            <a:schemeClr val="accent1"/>
          </a:fillRef>
          <a:effectRef idx="1">
            <a:schemeClr val="accent1"/>
          </a:effectRef>
          <a:fontRef idx="minor">
            <a:schemeClr val="tx1"/>
          </a:fontRef>
        </p:style>
      </p:cxnSp>
      <p:pic>
        <p:nvPicPr>
          <p:cNvPr id="21" name="Picture 20">
            <a:extLst>
              <a:ext uri="{FF2B5EF4-FFF2-40B4-BE49-F238E27FC236}">
                <a16:creationId xmlns:a16="http://schemas.microsoft.com/office/drawing/2014/main" id="{0C4178B6-7656-ECED-C7E9-F91010DEE1F5}"/>
              </a:ext>
            </a:extLst>
          </p:cNvPr>
          <p:cNvPicPr>
            <a:picLocks noChangeAspect="1"/>
          </p:cNvPicPr>
          <p:nvPr/>
        </p:nvPicPr>
        <p:blipFill>
          <a:blip r:embed="rId12"/>
          <a:stretch>
            <a:fillRect/>
          </a:stretch>
        </p:blipFill>
        <p:spPr>
          <a:xfrm>
            <a:off x="16396499" y="4535977"/>
            <a:ext cx="437222" cy="416781"/>
          </a:xfrm>
          <a:prstGeom prst="rect">
            <a:avLst/>
          </a:prstGeom>
        </p:spPr>
      </p:pic>
      <p:sp>
        <p:nvSpPr>
          <p:cNvPr id="22" name="TextBox 21">
            <a:extLst>
              <a:ext uri="{FF2B5EF4-FFF2-40B4-BE49-F238E27FC236}">
                <a16:creationId xmlns:a16="http://schemas.microsoft.com/office/drawing/2014/main" id="{7A1955FB-AB37-A5CF-2569-7DBD81CD6733}"/>
              </a:ext>
            </a:extLst>
          </p:cNvPr>
          <p:cNvSpPr txBox="1"/>
          <p:nvPr/>
        </p:nvSpPr>
        <p:spPr>
          <a:xfrm>
            <a:off x="15995082" y="4921105"/>
            <a:ext cx="1259952" cy="380874"/>
          </a:xfrm>
          <a:prstGeom prst="rect">
            <a:avLst/>
          </a:prstGeom>
          <a:noFill/>
          <a:ln>
            <a:noFill/>
          </a:ln>
        </p:spPr>
        <p:txBody>
          <a:bodyPr wrap="square" lIns="137160" tIns="68580" rIns="137160" bIns="68580" rtlCol="0" anchor="t">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r>
              <a:rPr lang="en-US" sz="1500" b="1" i="1" noProof="0">
                <a:solidFill>
                  <a:schemeClr val="bg1"/>
                </a:solidFill>
              </a:rPr>
              <a:t>Outputs</a:t>
            </a:r>
          </a:p>
        </p:txBody>
      </p:sp>
      <p:sp>
        <p:nvSpPr>
          <p:cNvPr id="24" name="TextBox 23">
            <a:extLst>
              <a:ext uri="{FF2B5EF4-FFF2-40B4-BE49-F238E27FC236}">
                <a16:creationId xmlns:a16="http://schemas.microsoft.com/office/drawing/2014/main" id="{38EF0939-FBB9-5455-C14E-7C5EB44B02F1}"/>
              </a:ext>
            </a:extLst>
          </p:cNvPr>
          <p:cNvSpPr txBox="1"/>
          <p:nvPr/>
        </p:nvSpPr>
        <p:spPr>
          <a:xfrm>
            <a:off x="11697023" y="4921103"/>
            <a:ext cx="1259952" cy="380874"/>
          </a:xfrm>
          <a:prstGeom prst="rect">
            <a:avLst/>
          </a:prstGeom>
          <a:noFill/>
          <a:ln>
            <a:noFill/>
          </a:ln>
        </p:spPr>
        <p:txBody>
          <a:bodyPr wrap="square" lIns="137160" tIns="68580" rIns="137160" bIns="68580" rtlCol="0" anchor="t">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r>
              <a:rPr lang="en-US" sz="1500" b="1" i="1" noProof="0">
                <a:solidFill>
                  <a:schemeClr val="bg1"/>
                </a:solidFill>
              </a:rPr>
              <a:t>Platform</a:t>
            </a:r>
          </a:p>
        </p:txBody>
      </p:sp>
      <p:pic>
        <p:nvPicPr>
          <p:cNvPr id="27" name="Picture 26">
            <a:extLst>
              <a:ext uri="{FF2B5EF4-FFF2-40B4-BE49-F238E27FC236}">
                <a16:creationId xmlns:a16="http://schemas.microsoft.com/office/drawing/2014/main" id="{1E4D79E6-DFEC-37B1-4C85-11FAEB6915AF}"/>
              </a:ext>
            </a:extLst>
          </p:cNvPr>
          <p:cNvPicPr>
            <a:picLocks noChangeAspect="1"/>
          </p:cNvPicPr>
          <p:nvPr/>
        </p:nvPicPr>
        <p:blipFill>
          <a:blip r:embed="rId13"/>
          <a:stretch>
            <a:fillRect/>
          </a:stretch>
        </p:blipFill>
        <p:spPr>
          <a:xfrm>
            <a:off x="12074656" y="4475339"/>
            <a:ext cx="485540" cy="504432"/>
          </a:xfrm>
          <a:prstGeom prst="rect">
            <a:avLst/>
          </a:prstGeom>
        </p:spPr>
      </p:pic>
      <p:pic>
        <p:nvPicPr>
          <p:cNvPr id="53" name="Imagem 57">
            <a:extLst>
              <a:ext uri="{FF2B5EF4-FFF2-40B4-BE49-F238E27FC236}">
                <a16:creationId xmlns:a16="http://schemas.microsoft.com/office/drawing/2014/main" id="{B5988423-C2CD-7335-3142-CBE990D2ACB4}"/>
              </a:ext>
            </a:extLst>
          </p:cNvPr>
          <p:cNvPicPr>
            <a:picLocks noChangeAspect="1"/>
          </p:cNvPicPr>
          <p:nvPr/>
        </p:nvPicPr>
        <p:blipFill>
          <a:blip r:embed="rId7"/>
          <a:stretch>
            <a:fillRect/>
          </a:stretch>
        </p:blipFill>
        <p:spPr>
          <a:xfrm>
            <a:off x="14635608" y="8857327"/>
            <a:ext cx="434880" cy="442430"/>
          </a:xfrm>
          <a:prstGeom prst="rect">
            <a:avLst/>
          </a:prstGeom>
        </p:spPr>
      </p:pic>
      <p:sp>
        <p:nvSpPr>
          <p:cNvPr id="55" name="CaixaDeTexto 91">
            <a:extLst>
              <a:ext uri="{FF2B5EF4-FFF2-40B4-BE49-F238E27FC236}">
                <a16:creationId xmlns:a16="http://schemas.microsoft.com/office/drawing/2014/main" id="{048BE9E6-5FEF-4E26-4A2C-6328337D9AF1}"/>
              </a:ext>
            </a:extLst>
          </p:cNvPr>
          <p:cNvSpPr txBox="1"/>
          <p:nvPr/>
        </p:nvSpPr>
        <p:spPr>
          <a:xfrm>
            <a:off x="15010497" y="8893876"/>
            <a:ext cx="2573751" cy="369332"/>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1500" noProof="0">
                <a:solidFill>
                  <a:schemeClr val="bg1"/>
                </a:solidFill>
                <a:latin typeface="Roboto"/>
                <a:ea typeface="Roboto"/>
                <a:cs typeface="Roboto"/>
              </a:rPr>
              <a:t>Action triggers</a:t>
            </a:r>
            <a:endParaRPr lang="en-US" sz="4050" noProof="0">
              <a:solidFill>
                <a:schemeClr val="bg1"/>
              </a:solidFill>
            </a:endParaRPr>
          </a:p>
        </p:txBody>
      </p:sp>
      <p:sp>
        <p:nvSpPr>
          <p:cNvPr id="59" name="TextBox 2">
            <a:extLst>
              <a:ext uri="{FF2B5EF4-FFF2-40B4-BE49-F238E27FC236}">
                <a16:creationId xmlns:a16="http://schemas.microsoft.com/office/drawing/2014/main" id="{F9C9025C-C5D2-BB14-FF19-4F39BCEF01BC}"/>
              </a:ext>
            </a:extLst>
          </p:cNvPr>
          <p:cNvSpPr txBox="1"/>
          <p:nvPr/>
        </p:nvSpPr>
        <p:spPr>
          <a:xfrm>
            <a:off x="7367411" y="7660864"/>
            <a:ext cx="1976807" cy="346249"/>
          </a:xfrm>
          <a:prstGeom prst="rect">
            <a:avLst/>
          </a:prstGeom>
          <a:noFill/>
        </p:spPr>
        <p:txBody>
          <a:bodyPr wrap="square" rtlCol="0">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1650" b="1" noProof="0">
                <a:solidFill>
                  <a:schemeClr val="bg1"/>
                </a:solidFill>
              </a:rPr>
              <a:t>Integration layer</a:t>
            </a:r>
            <a:endParaRPr lang="en-US" sz="1650" noProof="0">
              <a:solidFill>
                <a:schemeClr val="bg1"/>
              </a:solidFill>
            </a:endParaRPr>
          </a:p>
        </p:txBody>
      </p:sp>
    </p:spTree>
    <p:extLst>
      <p:ext uri="{BB962C8B-B14F-4D97-AF65-F5344CB8AC3E}">
        <p14:creationId xmlns:p14="http://schemas.microsoft.com/office/powerpoint/2010/main" val="13326519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89ECDE-A54C-B44F-73CF-0FAA2B5BD059}"/>
            </a:ext>
          </a:extLst>
        </p:cNvPr>
        <p:cNvGrpSpPr/>
        <p:nvPr/>
      </p:nvGrpSpPr>
      <p:grpSpPr>
        <a:xfrm>
          <a:off x="0" y="0"/>
          <a:ext cx="0" cy="0"/>
          <a:chOff x="0" y="0"/>
          <a:chExt cx="0" cy="0"/>
        </a:xfrm>
      </p:grpSpPr>
      <p:pic>
        <p:nvPicPr>
          <p:cNvPr id="31" name="Picture 30" descr="A newspaper with a graph on it&#10;&#10;AI-generated content may be incorrect.">
            <a:extLst>
              <a:ext uri="{FF2B5EF4-FFF2-40B4-BE49-F238E27FC236}">
                <a16:creationId xmlns:a16="http://schemas.microsoft.com/office/drawing/2014/main" id="{C79B5C7C-7ABA-3A03-9D7B-7C7EF01E4A64}"/>
              </a:ext>
            </a:extLst>
          </p:cNvPr>
          <p:cNvPicPr>
            <a:picLocks noChangeAspect="1"/>
          </p:cNvPicPr>
          <p:nvPr/>
        </p:nvPicPr>
        <p:blipFill>
          <a:blip r:embed="rId2"/>
          <a:srcRect l="39993" r="23928" b="4"/>
          <a:stretch/>
        </p:blipFill>
        <p:spPr>
          <a:xfrm>
            <a:off x="12720791" y="0"/>
            <a:ext cx="5567943" cy="10286577"/>
          </a:xfrm>
          <a:prstGeom prst="rect">
            <a:avLst/>
          </a:prstGeom>
        </p:spPr>
      </p:pic>
      <p:sp>
        <p:nvSpPr>
          <p:cNvPr id="12" name="CaixaDeTexto 11">
            <a:extLst>
              <a:ext uri="{FF2B5EF4-FFF2-40B4-BE49-F238E27FC236}">
                <a16:creationId xmlns:a16="http://schemas.microsoft.com/office/drawing/2014/main" id="{BD19A9C6-A781-5CA5-5DEC-AAD433004C01}"/>
              </a:ext>
            </a:extLst>
          </p:cNvPr>
          <p:cNvSpPr txBox="1"/>
          <p:nvPr/>
        </p:nvSpPr>
        <p:spPr>
          <a:xfrm>
            <a:off x="724906" y="3393669"/>
            <a:ext cx="4734254" cy="5678478"/>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p>
            <a:pPr marL="514350" indent="-514350">
              <a:buAutoNum type="arabicPeriod"/>
            </a:pPr>
            <a:r>
              <a:rPr lang="en-US" sz="1800" b="1" noProof="0">
                <a:solidFill>
                  <a:srgbClr val="8709FB"/>
                </a:solidFill>
                <a:latin typeface="Montserrat Medium"/>
                <a:ea typeface="+mn-lt"/>
              </a:rPr>
              <a:t>Extract key clauses from NDA ​​</a:t>
            </a:r>
          </a:p>
          <a:p>
            <a:pPr marL="514350" indent="-514350">
              <a:buAutoNum type="arabicPeriod"/>
            </a:pPr>
            <a:endParaRPr lang="en-US" sz="1800" b="1" noProof="0">
              <a:solidFill>
                <a:srgbClr val="8709FB"/>
              </a:solidFill>
              <a:latin typeface="Montserrat Medium"/>
              <a:ea typeface="+mn-lt"/>
            </a:endParaRPr>
          </a:p>
          <a:p>
            <a:pPr marL="514350" indent="-514350">
              <a:buAutoNum type="arabicPeriod"/>
            </a:pPr>
            <a:r>
              <a:rPr lang="en-US" sz="1800" b="1" noProof="0">
                <a:solidFill>
                  <a:srgbClr val="8709FB"/>
                </a:solidFill>
                <a:latin typeface="Montserrat Medium"/>
                <a:ea typeface="+mn-lt"/>
              </a:rPr>
              <a:t>Analyze supplier proposals based on predefined criteria and existent knowledge</a:t>
            </a:r>
          </a:p>
          <a:p>
            <a:pPr marL="514350" indent="-514350">
              <a:buAutoNum type="arabicPeriod"/>
            </a:pPr>
            <a:endParaRPr lang="en-US" sz="1800" b="1" noProof="0">
              <a:solidFill>
                <a:srgbClr val="8709FB"/>
              </a:solidFill>
              <a:latin typeface="Montserrat Medium"/>
              <a:ea typeface="+mn-lt"/>
            </a:endParaRPr>
          </a:p>
          <a:p>
            <a:pPr marL="514350" indent="-514350">
              <a:buAutoNum type="arabicPeriod"/>
            </a:pPr>
            <a:r>
              <a:rPr lang="en-US" sz="1800" b="1" noProof="0">
                <a:solidFill>
                  <a:srgbClr val="8709FB"/>
                </a:solidFill>
                <a:latin typeface="Montserrat Medium"/>
                <a:ea typeface="+mn-lt"/>
              </a:rPr>
              <a:t>Review documents to be signed based on previous requested amendments</a:t>
            </a:r>
          </a:p>
          <a:p>
            <a:pPr marL="514350" indent="-514350">
              <a:buAutoNum type="arabicPeriod"/>
            </a:pPr>
            <a:endParaRPr lang="en-US" sz="1800" b="1" noProof="0">
              <a:solidFill>
                <a:srgbClr val="8709FB"/>
              </a:solidFill>
              <a:latin typeface="Montserrat Medium"/>
              <a:ea typeface="+mn-lt"/>
            </a:endParaRPr>
          </a:p>
          <a:p>
            <a:pPr marL="514350" indent="-514350">
              <a:buFontTx/>
              <a:buAutoNum type="arabicPeriod"/>
            </a:pPr>
            <a:r>
              <a:rPr lang="en-US" sz="1800" b="1" noProof="0">
                <a:solidFill>
                  <a:srgbClr val="8709FB"/>
                </a:solidFill>
                <a:latin typeface="Montserrat Medium"/>
                <a:ea typeface="+mn-lt"/>
              </a:rPr>
              <a:t>Due diligence support</a:t>
            </a:r>
          </a:p>
          <a:p>
            <a:pPr marL="514350" indent="-514350">
              <a:buFontTx/>
              <a:buAutoNum type="arabicPeriod"/>
            </a:pPr>
            <a:endParaRPr lang="en-US" sz="1800" b="1" noProof="0">
              <a:solidFill>
                <a:srgbClr val="8709FB"/>
              </a:solidFill>
              <a:latin typeface="Montserrat Medium"/>
              <a:ea typeface="+mn-lt"/>
            </a:endParaRPr>
          </a:p>
          <a:p>
            <a:pPr marL="514350" indent="-514350">
              <a:buFontTx/>
              <a:buAutoNum type="arabicPeriod"/>
            </a:pPr>
            <a:r>
              <a:rPr lang="en-US" sz="1800" b="1" noProof="0">
                <a:solidFill>
                  <a:srgbClr val="8709FB"/>
                </a:solidFill>
                <a:latin typeface="Montserrat Medium"/>
                <a:ea typeface="+mn-lt"/>
              </a:rPr>
              <a:t>Create and checked compliance with ISO standards, making processes more efficient, accurate and up-to-date</a:t>
            </a:r>
          </a:p>
          <a:p>
            <a:pPr marL="514350" indent="-514350">
              <a:buAutoNum type="arabicPeriod"/>
            </a:pPr>
            <a:endParaRPr lang="en-US" sz="1800" b="1" noProof="0">
              <a:solidFill>
                <a:srgbClr val="8709FB"/>
              </a:solidFill>
              <a:latin typeface="Montserrat Medium"/>
              <a:ea typeface="+mn-lt"/>
            </a:endParaRPr>
          </a:p>
          <a:p>
            <a:pPr marL="514350" indent="-514350">
              <a:buAutoNum type="arabicPeriod"/>
            </a:pPr>
            <a:r>
              <a:rPr lang="en-US" sz="1800" b="1" noProof="0">
                <a:solidFill>
                  <a:srgbClr val="8709FB"/>
                </a:solidFill>
                <a:latin typeface="Montserrat Medium"/>
                <a:ea typeface="+mn-lt"/>
              </a:rPr>
              <a:t>Policies draft generation and validating that must adhere to company standards</a:t>
            </a:r>
          </a:p>
        </p:txBody>
      </p:sp>
      <p:sp>
        <p:nvSpPr>
          <p:cNvPr id="22" name="CaixaDeTexto 21">
            <a:extLst>
              <a:ext uri="{FF2B5EF4-FFF2-40B4-BE49-F238E27FC236}">
                <a16:creationId xmlns:a16="http://schemas.microsoft.com/office/drawing/2014/main" id="{05E36B53-71B1-F187-546C-D2A35DBC287B}"/>
              </a:ext>
            </a:extLst>
          </p:cNvPr>
          <p:cNvSpPr txBox="1"/>
          <p:nvPr/>
        </p:nvSpPr>
        <p:spPr>
          <a:xfrm>
            <a:off x="6160110" y="3396225"/>
            <a:ext cx="6035598" cy="5955476"/>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p>
            <a:pPr marL="514350" indent="-514350">
              <a:buFont typeface=""/>
              <a:buAutoNum type="arabicPeriod"/>
            </a:pPr>
            <a:r>
              <a:rPr lang="en-US" sz="1800" noProof="0">
                <a:latin typeface="Montserrat Medium"/>
                <a:ea typeface="+mn-lt"/>
              </a:rPr>
              <a:t>“When the NDA with a company is ending?” </a:t>
            </a:r>
          </a:p>
          <a:p>
            <a:pPr marL="514350" indent="-514350">
              <a:buFont typeface=""/>
              <a:buAutoNum type="arabicPeriod"/>
            </a:pPr>
            <a:endParaRPr lang="en-US" sz="1800" noProof="0">
              <a:latin typeface="Montserrat Medium"/>
              <a:ea typeface="+mn-lt"/>
            </a:endParaRPr>
          </a:p>
          <a:p>
            <a:pPr marL="514350" indent="-514350">
              <a:buFont typeface=""/>
              <a:buAutoNum type="arabicPeriod" startAt="2"/>
            </a:pPr>
            <a:r>
              <a:rPr lang="en-US" sz="1800" noProof="0">
                <a:latin typeface="Montserrat Medium"/>
                <a:ea typeface="+mn-lt"/>
              </a:rPr>
              <a:t>“Analyze the 5 different proposals for project management solutions focusing on cost, quality, and delivery timelines.”  </a:t>
            </a:r>
          </a:p>
          <a:p>
            <a:pPr marL="514350" indent="-514350">
              <a:buFont typeface=""/>
              <a:buAutoNum type="arabicPeriod" startAt="2"/>
            </a:pPr>
            <a:endParaRPr lang="en-US" sz="1800" noProof="0">
              <a:latin typeface="Montserrat Medium"/>
              <a:ea typeface="+mn-lt"/>
            </a:endParaRPr>
          </a:p>
          <a:p>
            <a:pPr marL="514350" indent="-514350">
              <a:buFont typeface=""/>
              <a:buAutoNum type="arabicPeriod" startAt="3"/>
            </a:pPr>
            <a:r>
              <a:rPr lang="en-US" sz="1800" noProof="0">
                <a:latin typeface="Montserrat Medium"/>
                <a:ea typeface="+mn-lt"/>
              </a:rPr>
              <a:t>“Summarize the concerns from the analysts and locate policies or standards that are related with those topics.”</a:t>
            </a:r>
          </a:p>
          <a:p>
            <a:pPr marL="514350" indent="-514350">
              <a:buFont typeface=""/>
              <a:buAutoNum type="arabicPeriod" startAt="3"/>
            </a:pPr>
            <a:endParaRPr lang="en-US" sz="1800" noProof="0">
              <a:latin typeface="Montserrat Medium"/>
              <a:ea typeface="+mn-lt"/>
            </a:endParaRPr>
          </a:p>
          <a:p>
            <a:pPr marL="514350" indent="-514350">
              <a:buFont typeface=""/>
              <a:buAutoNum type="arabicPeriod" startAt="4"/>
            </a:pPr>
            <a:r>
              <a:rPr lang="en-US" sz="1800" noProof="0">
                <a:latin typeface="Montserrat Medium"/>
                <a:ea typeface="+mn-lt"/>
              </a:rPr>
              <a:t>“Generate draft engagement policies based on existing standards and knowledge. Check that the requisition adheres to the policy and display the items that do or do not adhere using a traffic light. “</a:t>
            </a:r>
          </a:p>
          <a:p>
            <a:pPr marL="514350" indent="-514350">
              <a:buFont typeface=""/>
              <a:buAutoNum type="arabicPeriod" startAt="4"/>
            </a:pPr>
            <a:endParaRPr lang="en-US" sz="1800" noProof="0">
              <a:latin typeface="Montserrat Medium"/>
              <a:ea typeface="+mn-lt"/>
            </a:endParaRPr>
          </a:p>
          <a:p>
            <a:pPr marL="514350" indent="-514350">
              <a:buFont typeface=""/>
              <a:buAutoNum type="arabicPeriod" startAt="4"/>
            </a:pPr>
            <a:r>
              <a:rPr lang="en-US" sz="1800" noProof="0">
                <a:latin typeface="Montserrat Medium"/>
                <a:ea typeface="+mn-lt"/>
              </a:rPr>
              <a:t>“Based on existing standards and knowledge. Check that the document complies with ISO 27.000 and display the items that do or do not comply using a traffic light. ”</a:t>
            </a:r>
          </a:p>
        </p:txBody>
      </p:sp>
      <p:sp>
        <p:nvSpPr>
          <p:cNvPr id="4" name="Triângulo Retângulo 17">
            <a:extLst>
              <a:ext uri="{FF2B5EF4-FFF2-40B4-BE49-F238E27FC236}">
                <a16:creationId xmlns:a16="http://schemas.microsoft.com/office/drawing/2014/main" id="{EF53292F-AE55-2AD0-A414-8F10A69830DB}"/>
              </a:ext>
            </a:extLst>
          </p:cNvPr>
          <p:cNvSpPr/>
          <p:nvPr/>
        </p:nvSpPr>
        <p:spPr>
          <a:xfrm rot="-5400000">
            <a:off x="14527612" y="6574172"/>
            <a:ext cx="3756332" cy="3767117"/>
          </a:xfrm>
          <a:prstGeom prst="rtTriangl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700" noProof="0"/>
          </a:p>
        </p:txBody>
      </p:sp>
      <p:sp>
        <p:nvSpPr>
          <p:cNvPr id="7" name="Triângulo Retângulo 17">
            <a:extLst>
              <a:ext uri="{FF2B5EF4-FFF2-40B4-BE49-F238E27FC236}">
                <a16:creationId xmlns:a16="http://schemas.microsoft.com/office/drawing/2014/main" id="{220FEAFE-A7E1-4694-EDC4-F1B3B202A2AD}"/>
              </a:ext>
            </a:extLst>
          </p:cNvPr>
          <p:cNvSpPr/>
          <p:nvPr/>
        </p:nvSpPr>
        <p:spPr>
          <a:xfrm rot="5400000">
            <a:off x="12721454" y="1922"/>
            <a:ext cx="3519105" cy="3519107"/>
          </a:xfrm>
          <a:prstGeom prst="rtTriangl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700" noProof="0"/>
          </a:p>
        </p:txBody>
      </p:sp>
      <p:pic>
        <p:nvPicPr>
          <p:cNvPr id="9" name="Picture 8" descr="Logotipo  Descrição gerada automaticamente">
            <a:extLst>
              <a:ext uri="{FF2B5EF4-FFF2-40B4-BE49-F238E27FC236}">
                <a16:creationId xmlns:a16="http://schemas.microsoft.com/office/drawing/2014/main" id="{789B54E5-08D4-1E55-B05C-33C059B86268}"/>
              </a:ext>
            </a:extLst>
          </p:cNvPr>
          <p:cNvPicPr>
            <a:picLocks noChangeAspect="1"/>
          </p:cNvPicPr>
          <p:nvPr/>
        </p:nvPicPr>
        <p:blipFill>
          <a:blip r:embed="rId3"/>
          <a:stretch>
            <a:fillRect/>
          </a:stretch>
        </p:blipFill>
        <p:spPr>
          <a:xfrm>
            <a:off x="16440196" y="9609422"/>
            <a:ext cx="1539008" cy="384686"/>
          </a:xfrm>
          <a:prstGeom prst="rect">
            <a:avLst/>
          </a:prstGeom>
        </p:spPr>
      </p:pic>
      <p:sp>
        <p:nvSpPr>
          <p:cNvPr id="16" name="TextBox 5">
            <a:extLst>
              <a:ext uri="{FF2B5EF4-FFF2-40B4-BE49-F238E27FC236}">
                <a16:creationId xmlns:a16="http://schemas.microsoft.com/office/drawing/2014/main" id="{D2109F3B-7A76-589B-A528-25288DE66EF4}"/>
              </a:ext>
            </a:extLst>
          </p:cNvPr>
          <p:cNvSpPr txBox="1"/>
          <p:nvPr/>
        </p:nvSpPr>
        <p:spPr>
          <a:xfrm>
            <a:off x="730452" y="816767"/>
            <a:ext cx="9584415" cy="1767920"/>
          </a:xfrm>
          <a:prstGeom prst="rect">
            <a:avLst/>
          </a:prstGeom>
        </p:spPr>
        <p:txBody>
          <a:bodyPr wrap="square" lIns="0" tIns="0" rIns="0" bIns="0" rtlCol="0" anchor="t">
            <a:spAutoFit/>
          </a:bodyPr>
          <a:lstStyle/>
          <a:p>
            <a:pPr>
              <a:lnSpc>
                <a:spcPts val="7200"/>
              </a:lnSpc>
            </a:pPr>
            <a:r>
              <a:rPr lang="en-US" sz="4800" b="1" err="1">
                <a:latin typeface="Montserrat Medium"/>
                <a:ea typeface="+mn-lt"/>
                <a:cs typeface="+mn-lt"/>
                <a:sym typeface="Montserrat Medium"/>
              </a:rPr>
              <a:t>Qonform</a:t>
            </a:r>
            <a:r>
              <a:rPr lang="en-US" sz="4800" b="1">
                <a:latin typeface="Montserrat Medium"/>
                <a:ea typeface="+mn-lt"/>
                <a:cs typeface="+mn-lt"/>
                <a:sym typeface="Montserrat Medium"/>
              </a:rPr>
              <a:t> applied to</a:t>
            </a:r>
            <a:endParaRPr lang="en-US" sz="4800" b="1" noProof="0">
              <a:latin typeface="Montserrat Medium"/>
              <a:ea typeface="+mn-lt"/>
              <a:cs typeface="+mn-lt"/>
              <a:sym typeface="Montserrat Medium"/>
            </a:endParaRPr>
          </a:p>
          <a:p>
            <a:pPr>
              <a:lnSpc>
                <a:spcPts val="7200"/>
              </a:lnSpc>
            </a:pPr>
            <a:r>
              <a:rPr lang="en-US" sz="4800" b="1" noProof="0">
                <a:solidFill>
                  <a:srgbClr val="8709FB"/>
                </a:solidFill>
                <a:latin typeface="Montserrat Medium"/>
                <a:ea typeface="+mn-lt"/>
                <a:cs typeface="+mn-lt"/>
                <a:sym typeface="Montserrat Medium"/>
              </a:rPr>
              <a:t> </a:t>
            </a:r>
            <a:r>
              <a:rPr lang="en-US" sz="2800" noProof="0">
                <a:solidFill>
                  <a:srgbClr val="8709FB"/>
                </a:solidFill>
                <a:latin typeface="Montserrat Medium"/>
                <a:ea typeface="+mn-lt"/>
                <a:cs typeface="+mn-lt"/>
                <a:sym typeface="Montserrat Medium"/>
              </a:rPr>
              <a:t>Legal, Risk and Compliance</a:t>
            </a:r>
            <a:endParaRPr lang="en-US" sz="2800" noProof="0">
              <a:solidFill>
                <a:srgbClr val="8709FB"/>
              </a:solidFill>
              <a:latin typeface="Montserrat Medium"/>
            </a:endParaRPr>
          </a:p>
        </p:txBody>
      </p:sp>
      <p:grpSp>
        <p:nvGrpSpPr>
          <p:cNvPr id="19" name="Group 24">
            <a:extLst>
              <a:ext uri="{FF2B5EF4-FFF2-40B4-BE49-F238E27FC236}">
                <a16:creationId xmlns:a16="http://schemas.microsoft.com/office/drawing/2014/main" id="{178F2305-A453-1653-743C-EE854BBCD145}"/>
              </a:ext>
            </a:extLst>
          </p:cNvPr>
          <p:cNvGrpSpPr/>
          <p:nvPr/>
        </p:nvGrpSpPr>
        <p:grpSpPr>
          <a:xfrm>
            <a:off x="6966947" y="1504566"/>
            <a:ext cx="612363" cy="56823"/>
            <a:chOff x="0" y="0"/>
            <a:chExt cx="1078484" cy="100076"/>
          </a:xfrm>
        </p:grpSpPr>
        <p:sp>
          <p:nvSpPr>
            <p:cNvPr id="18" name="Freeform 25">
              <a:extLst>
                <a:ext uri="{FF2B5EF4-FFF2-40B4-BE49-F238E27FC236}">
                  <a16:creationId xmlns:a16="http://schemas.microsoft.com/office/drawing/2014/main" id="{6B94B3D5-19B5-2856-E635-39060808A225}"/>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en-US" sz="1800" noProof="0"/>
            </a:p>
          </p:txBody>
        </p:sp>
      </p:grpSp>
      <p:sp>
        <p:nvSpPr>
          <p:cNvPr id="21" name="CaixaDeTexto 10">
            <a:extLst>
              <a:ext uri="{FF2B5EF4-FFF2-40B4-BE49-F238E27FC236}">
                <a16:creationId xmlns:a16="http://schemas.microsoft.com/office/drawing/2014/main" id="{BD347277-88CA-7E80-A499-0E1798BA4CB0}"/>
              </a:ext>
            </a:extLst>
          </p:cNvPr>
          <p:cNvSpPr txBox="1"/>
          <p:nvPr/>
        </p:nvSpPr>
        <p:spPr>
          <a:xfrm>
            <a:off x="735686" y="2904010"/>
            <a:ext cx="2634690" cy="369332"/>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p>
            <a:r>
              <a:rPr lang="en-US" sz="1500" b="1" i="1" noProof="0">
                <a:latin typeface="Montserrat"/>
                <a:ea typeface="+mn-lt"/>
                <a:cs typeface="+mn-lt"/>
              </a:rPr>
              <a:t>Expected results:</a:t>
            </a:r>
            <a:endParaRPr lang="en-US" sz="1500" b="1" i="1" noProof="0">
              <a:latin typeface="Aptos" panose="02110004020202020204"/>
              <a:cs typeface="Segoe UI"/>
            </a:endParaRPr>
          </a:p>
        </p:txBody>
      </p:sp>
      <p:sp>
        <p:nvSpPr>
          <p:cNvPr id="24" name="CaixaDeTexto 12">
            <a:extLst>
              <a:ext uri="{FF2B5EF4-FFF2-40B4-BE49-F238E27FC236}">
                <a16:creationId xmlns:a16="http://schemas.microsoft.com/office/drawing/2014/main" id="{659C4384-4926-BB10-CCC0-4DE765B0509A}"/>
              </a:ext>
            </a:extLst>
          </p:cNvPr>
          <p:cNvSpPr txBox="1"/>
          <p:nvPr/>
        </p:nvSpPr>
        <p:spPr>
          <a:xfrm>
            <a:off x="6160110" y="2904011"/>
            <a:ext cx="2629014" cy="369332"/>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p>
            <a:r>
              <a:rPr lang="en-US" sz="1500" b="1" i="1" noProof="0">
                <a:latin typeface="Montserrat"/>
                <a:ea typeface="+mn-lt"/>
                <a:cs typeface="+mn-lt"/>
              </a:rPr>
              <a:t>Action triggers:</a:t>
            </a:r>
            <a:endParaRPr lang="en-US" sz="1500" b="1" i="1" noProof="0">
              <a:latin typeface="Montserrat"/>
            </a:endParaRPr>
          </a:p>
        </p:txBody>
      </p:sp>
      <p:cxnSp>
        <p:nvCxnSpPr>
          <p:cNvPr id="30" name="Straight Arrow Connector 29">
            <a:extLst>
              <a:ext uri="{FF2B5EF4-FFF2-40B4-BE49-F238E27FC236}">
                <a16:creationId xmlns:a16="http://schemas.microsoft.com/office/drawing/2014/main" id="{98EFA6B3-F20C-7982-3987-854269894C3F}"/>
              </a:ext>
            </a:extLst>
          </p:cNvPr>
          <p:cNvCxnSpPr/>
          <p:nvPr/>
        </p:nvCxnSpPr>
        <p:spPr>
          <a:xfrm>
            <a:off x="5857042" y="3066017"/>
            <a:ext cx="3329" cy="5813777"/>
          </a:xfrm>
          <a:prstGeom prst="straightConnector1">
            <a:avLst/>
          </a:prstGeom>
          <a:ln w="12700">
            <a:solidFill>
              <a:srgbClr val="713BFE"/>
            </a:solidFill>
            <a:prstDash val="solid"/>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866876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D37C3E-B247-F495-CCA3-1596291A0F1E}"/>
            </a:ext>
          </a:extLst>
        </p:cNvPr>
        <p:cNvGrpSpPr/>
        <p:nvPr/>
      </p:nvGrpSpPr>
      <p:grpSpPr>
        <a:xfrm>
          <a:off x="0" y="0"/>
          <a:ext cx="0" cy="0"/>
          <a:chOff x="0" y="0"/>
          <a:chExt cx="0" cy="0"/>
        </a:xfrm>
      </p:grpSpPr>
      <p:sp>
        <p:nvSpPr>
          <p:cNvPr id="20" name="Freeform 3">
            <a:extLst>
              <a:ext uri="{FF2B5EF4-FFF2-40B4-BE49-F238E27FC236}">
                <a16:creationId xmlns:a16="http://schemas.microsoft.com/office/drawing/2014/main" id="{827D76FF-3433-21BD-B876-63FCD886D55D}"/>
              </a:ext>
            </a:extLst>
          </p:cNvPr>
          <p:cNvSpPr/>
          <p:nvPr/>
        </p:nvSpPr>
        <p:spPr>
          <a:xfrm>
            <a:off x="14051801" y="3132"/>
            <a:ext cx="4236200" cy="10283868"/>
          </a:xfrm>
          <a:custGeom>
            <a:avLst/>
            <a:gdLst/>
            <a:ahLst/>
            <a:cxnLst/>
            <a:rect l="l" t="t" r="r" b="b"/>
            <a:pathLst>
              <a:path w="18461729" h="10519862">
                <a:moveTo>
                  <a:pt x="0" y="0"/>
                </a:moveTo>
                <a:lnTo>
                  <a:pt x="18461729" y="0"/>
                </a:lnTo>
                <a:lnTo>
                  <a:pt x="18461729" y="10519862"/>
                </a:lnTo>
                <a:lnTo>
                  <a:pt x="0" y="10519862"/>
                </a:lnTo>
                <a:lnTo>
                  <a:pt x="0" y="0"/>
                </a:lnTo>
                <a:close/>
              </a:path>
            </a:pathLst>
          </a:custGeom>
          <a:solidFill>
            <a:srgbClr val="713BFE"/>
          </a:solidFill>
          <a:ln>
            <a:noFill/>
          </a:ln>
        </p:spPr>
        <p:txBody>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endParaRPr lang="en-US" sz="1800" noProof="0"/>
          </a:p>
        </p:txBody>
      </p:sp>
      <p:sp>
        <p:nvSpPr>
          <p:cNvPr id="3" name="TextBox 5">
            <a:extLst>
              <a:ext uri="{FF2B5EF4-FFF2-40B4-BE49-F238E27FC236}">
                <a16:creationId xmlns:a16="http://schemas.microsoft.com/office/drawing/2014/main" id="{EAD92C15-4E24-A3EF-1479-C960B71B11FC}"/>
              </a:ext>
            </a:extLst>
          </p:cNvPr>
          <p:cNvSpPr txBox="1"/>
          <p:nvPr/>
        </p:nvSpPr>
        <p:spPr>
          <a:xfrm>
            <a:off x="764788" y="633457"/>
            <a:ext cx="10947398" cy="646331"/>
          </a:xfrm>
          <a:prstGeom prst="rect">
            <a:avLst/>
          </a:prstGeom>
        </p:spPr>
        <p:txBody>
          <a:bodyPr wrap="square" lIns="0" tIns="0" rIns="0" bIns="0" rtlCol="0" anchor="t">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4200" b="1" noProof="0">
                <a:solidFill>
                  <a:srgbClr val="000000"/>
                </a:solidFill>
                <a:latin typeface="Montserrat Medium"/>
                <a:ea typeface="+mn-lt"/>
                <a:cs typeface="+mn-lt"/>
                <a:sym typeface="Montserrat Medium"/>
              </a:rPr>
              <a:t>Use Case: </a:t>
            </a:r>
            <a:r>
              <a:rPr lang="en-US" sz="4200" noProof="0">
                <a:solidFill>
                  <a:srgbClr val="000000"/>
                </a:solidFill>
                <a:latin typeface="Montserrat Medium"/>
                <a:ea typeface="+mn-lt"/>
                <a:cs typeface="+mn-lt"/>
                <a:sym typeface="Montserrat Medium"/>
              </a:rPr>
              <a:t>Optimizing Contract Analysis </a:t>
            </a:r>
            <a:endParaRPr lang="en-US" sz="4200" noProof="0">
              <a:latin typeface="Montserrat Medium"/>
            </a:endParaRPr>
          </a:p>
        </p:txBody>
      </p:sp>
      <p:grpSp>
        <p:nvGrpSpPr>
          <p:cNvPr id="7" name="Group 24">
            <a:extLst>
              <a:ext uri="{FF2B5EF4-FFF2-40B4-BE49-F238E27FC236}">
                <a16:creationId xmlns:a16="http://schemas.microsoft.com/office/drawing/2014/main" id="{0DA3948C-F9FB-05EB-6395-88769415C5A1}"/>
              </a:ext>
            </a:extLst>
          </p:cNvPr>
          <p:cNvGrpSpPr/>
          <p:nvPr/>
        </p:nvGrpSpPr>
        <p:grpSpPr>
          <a:xfrm>
            <a:off x="11423091" y="1077132"/>
            <a:ext cx="612363" cy="56823"/>
            <a:chOff x="0" y="0"/>
            <a:chExt cx="1078484" cy="100076"/>
          </a:xfrm>
        </p:grpSpPr>
        <p:sp>
          <p:nvSpPr>
            <p:cNvPr id="6" name="Freeform 25">
              <a:extLst>
                <a:ext uri="{FF2B5EF4-FFF2-40B4-BE49-F238E27FC236}">
                  <a16:creationId xmlns:a16="http://schemas.microsoft.com/office/drawing/2014/main" id="{FE237737-5B20-70A6-F42F-57DF5F99F48A}"/>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endParaRPr lang="en-US" sz="1800" noProof="0"/>
            </a:p>
          </p:txBody>
        </p:sp>
      </p:grpSp>
      <p:grpSp>
        <p:nvGrpSpPr>
          <p:cNvPr id="8" name="Agrupar 7">
            <a:extLst>
              <a:ext uri="{FF2B5EF4-FFF2-40B4-BE49-F238E27FC236}">
                <a16:creationId xmlns:a16="http://schemas.microsoft.com/office/drawing/2014/main" id="{513F5F82-34E0-8F92-DCE4-CFF4F0883538}"/>
              </a:ext>
            </a:extLst>
          </p:cNvPr>
          <p:cNvGrpSpPr/>
          <p:nvPr/>
        </p:nvGrpSpPr>
        <p:grpSpPr>
          <a:xfrm>
            <a:off x="779218" y="1682504"/>
            <a:ext cx="7346495" cy="1949766"/>
            <a:chOff x="519478" y="1121669"/>
            <a:chExt cx="4897663" cy="1299844"/>
          </a:xfrm>
        </p:grpSpPr>
        <p:sp>
          <p:nvSpPr>
            <p:cNvPr id="5" name="CaixaDeTexto 4">
              <a:extLst>
                <a:ext uri="{FF2B5EF4-FFF2-40B4-BE49-F238E27FC236}">
                  <a16:creationId xmlns:a16="http://schemas.microsoft.com/office/drawing/2014/main" id="{8BBB8A69-D85A-5483-4EE8-C36C4761E292}"/>
                </a:ext>
              </a:extLst>
            </p:cNvPr>
            <p:cNvSpPr txBox="1"/>
            <p:nvPr/>
          </p:nvSpPr>
          <p:spPr>
            <a:xfrm>
              <a:off x="519478" y="1396670"/>
              <a:ext cx="4897663" cy="1024843"/>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1800" noProof="0">
                  <a:solidFill>
                    <a:schemeClr val="bg1"/>
                  </a:solidFill>
                  <a:latin typeface="Montserrat Light"/>
                  <a:ea typeface="Roboto"/>
                  <a:cs typeface="Roboto"/>
                </a:rPr>
                <a:t>The Facilities team struggled to interpret and compare information in complex and inconsistent contracts, making it hard to identify coverage, terms, and agreed amounts. This scenario required thorough document analysis, making the process time-consuming and prone to manual errors.</a:t>
              </a:r>
              <a:endParaRPr lang="en-US" sz="4050" noProof="0">
                <a:solidFill>
                  <a:schemeClr val="bg1"/>
                </a:solidFill>
                <a:latin typeface="Montserrat Light"/>
                <a:cs typeface="Arial"/>
              </a:endParaRPr>
            </a:p>
          </p:txBody>
        </p:sp>
        <p:sp>
          <p:nvSpPr>
            <p:cNvPr id="9" name="TextBox 5">
              <a:extLst>
                <a:ext uri="{FF2B5EF4-FFF2-40B4-BE49-F238E27FC236}">
                  <a16:creationId xmlns:a16="http://schemas.microsoft.com/office/drawing/2014/main" id="{5DCDB90A-2DA9-F5C1-2B50-6EFBF9109851}"/>
                </a:ext>
              </a:extLst>
            </p:cNvPr>
            <p:cNvSpPr txBox="1"/>
            <p:nvPr/>
          </p:nvSpPr>
          <p:spPr>
            <a:xfrm>
              <a:off x="519478" y="1121669"/>
              <a:ext cx="3950630" cy="276999"/>
            </a:xfrm>
            <a:prstGeom prst="rect">
              <a:avLst/>
            </a:prstGeom>
          </p:spPr>
          <p:txBody>
            <a:bodyPr wrap="square" lIns="0" tIns="0" rIns="0" bIns="0" rtlCol="0" anchor="t">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4050" b="1" i="1" noProof="0">
                  <a:solidFill>
                    <a:srgbClr val="713BFE"/>
                  </a:solidFill>
                  <a:latin typeface="Montserrat Medium"/>
                  <a:ea typeface="+mn-lt"/>
                  <a:cs typeface="+mn-lt"/>
                  <a:sym typeface="Montserrat Medium"/>
                </a:rPr>
                <a:t>Context</a:t>
              </a:r>
              <a:endParaRPr lang="en-US" sz="4050" b="1" noProof="0">
                <a:solidFill>
                  <a:srgbClr val="713BFE"/>
                </a:solidFill>
                <a:latin typeface="Montserrat Medium"/>
              </a:endParaRPr>
            </a:p>
          </p:txBody>
        </p:sp>
      </p:grpSp>
      <p:grpSp>
        <p:nvGrpSpPr>
          <p:cNvPr id="10" name="Agrupar 9">
            <a:extLst>
              <a:ext uri="{FF2B5EF4-FFF2-40B4-BE49-F238E27FC236}">
                <a16:creationId xmlns:a16="http://schemas.microsoft.com/office/drawing/2014/main" id="{6559F823-594B-6F65-4E22-B04005424212}"/>
              </a:ext>
            </a:extLst>
          </p:cNvPr>
          <p:cNvGrpSpPr/>
          <p:nvPr/>
        </p:nvGrpSpPr>
        <p:grpSpPr>
          <a:xfrm>
            <a:off x="779217" y="3631805"/>
            <a:ext cx="7346496" cy="2766991"/>
            <a:chOff x="519478" y="2664030"/>
            <a:chExt cx="4897664" cy="1844660"/>
          </a:xfrm>
        </p:grpSpPr>
        <p:sp>
          <p:nvSpPr>
            <p:cNvPr id="15" name="CaixaDeTexto 14">
              <a:extLst>
                <a:ext uri="{FF2B5EF4-FFF2-40B4-BE49-F238E27FC236}">
                  <a16:creationId xmlns:a16="http://schemas.microsoft.com/office/drawing/2014/main" id="{45A007F1-2280-A9CF-E323-0D819DD24400}"/>
                </a:ext>
              </a:extLst>
            </p:cNvPr>
            <p:cNvSpPr txBox="1"/>
            <p:nvPr/>
          </p:nvSpPr>
          <p:spPr>
            <a:xfrm>
              <a:off x="519478" y="2939030"/>
              <a:ext cx="4897664" cy="1569660"/>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1800" noProof="0">
                  <a:solidFill>
                    <a:schemeClr val="bg1"/>
                  </a:solidFill>
                  <a:latin typeface="Montserrat Light"/>
                  <a:ea typeface="Roboto"/>
                  <a:cs typeface="Roboto"/>
                </a:rPr>
                <a:t>To address the issue,</a:t>
              </a:r>
              <a:r>
                <a:rPr lang="en-US" sz="1800">
                  <a:solidFill>
                    <a:schemeClr val="bg1"/>
                  </a:solidFill>
                  <a:latin typeface="Montserrat Light"/>
                  <a:ea typeface="Roboto"/>
                  <a:cs typeface="Roboto"/>
                </a:rPr>
                <a:t> after speaking with the knowledge experts that understand their daily activities in detail, a Kn</a:t>
              </a:r>
              <a:r>
                <a:rPr lang="en-US" sz="1800" noProof="0">
                  <a:solidFill>
                    <a:schemeClr val="bg1"/>
                  </a:solidFill>
                  <a:latin typeface="Montserrat Light"/>
                  <a:ea typeface="Roboto"/>
                  <a:cs typeface="Roboto"/>
                </a:rPr>
                <a:t>owledge Center was created on the platform to store contracts and action triggers defined, aiming to automatically extract key contract terms, identify validity and coverage values, compare coverage percentages across contracts, and organize the information clearly, reducing the need for manual searches.</a:t>
              </a:r>
              <a:endParaRPr lang="en-US" sz="4050" noProof="0">
                <a:solidFill>
                  <a:schemeClr val="bg1"/>
                </a:solidFill>
                <a:latin typeface="Montserrat Light"/>
              </a:endParaRPr>
            </a:p>
          </p:txBody>
        </p:sp>
        <p:sp>
          <p:nvSpPr>
            <p:cNvPr id="16" name="TextBox 5">
              <a:extLst>
                <a:ext uri="{FF2B5EF4-FFF2-40B4-BE49-F238E27FC236}">
                  <a16:creationId xmlns:a16="http://schemas.microsoft.com/office/drawing/2014/main" id="{852FB106-9AE0-2D67-9410-235C3105722E}"/>
                </a:ext>
              </a:extLst>
            </p:cNvPr>
            <p:cNvSpPr txBox="1"/>
            <p:nvPr/>
          </p:nvSpPr>
          <p:spPr>
            <a:xfrm>
              <a:off x="519478" y="2664030"/>
              <a:ext cx="3950630" cy="276999"/>
            </a:xfrm>
            <a:prstGeom prst="rect">
              <a:avLst/>
            </a:prstGeom>
          </p:spPr>
          <p:txBody>
            <a:bodyPr wrap="square" lIns="0" tIns="0" rIns="0" bIns="0" rtlCol="0" anchor="t">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4050" b="1" i="1" noProof="0">
                  <a:solidFill>
                    <a:srgbClr val="713BFE"/>
                  </a:solidFill>
                  <a:latin typeface="Montserrat Medium"/>
                  <a:ea typeface="+mn-lt"/>
                  <a:cs typeface="+mn-lt"/>
                  <a:sym typeface="Montserrat Medium"/>
                </a:rPr>
                <a:t>Solution</a:t>
              </a:r>
              <a:endParaRPr lang="en-US" sz="4050" noProof="0"/>
            </a:p>
          </p:txBody>
        </p:sp>
      </p:grpSp>
      <p:grpSp>
        <p:nvGrpSpPr>
          <p:cNvPr id="11" name="Agrupar 10">
            <a:extLst>
              <a:ext uri="{FF2B5EF4-FFF2-40B4-BE49-F238E27FC236}">
                <a16:creationId xmlns:a16="http://schemas.microsoft.com/office/drawing/2014/main" id="{63B9A330-2337-0184-BAFE-3648A5BA7331}"/>
              </a:ext>
            </a:extLst>
          </p:cNvPr>
          <p:cNvGrpSpPr/>
          <p:nvPr/>
        </p:nvGrpSpPr>
        <p:grpSpPr>
          <a:xfrm>
            <a:off x="779218" y="6571238"/>
            <a:ext cx="7346495" cy="2226766"/>
            <a:chOff x="519478" y="4380824"/>
            <a:chExt cx="4897663" cy="1484510"/>
          </a:xfrm>
        </p:grpSpPr>
        <p:sp>
          <p:nvSpPr>
            <p:cNvPr id="17" name="CaixaDeTexto 16">
              <a:extLst>
                <a:ext uri="{FF2B5EF4-FFF2-40B4-BE49-F238E27FC236}">
                  <a16:creationId xmlns:a16="http://schemas.microsoft.com/office/drawing/2014/main" id="{18006F6A-9017-29DC-0F0C-3B603785563B}"/>
                </a:ext>
              </a:extLst>
            </p:cNvPr>
            <p:cNvSpPr txBox="1"/>
            <p:nvPr/>
          </p:nvSpPr>
          <p:spPr>
            <a:xfrm>
              <a:off x="519478" y="4665006"/>
              <a:ext cx="4897663" cy="1200328"/>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1800" noProof="0">
                  <a:solidFill>
                    <a:schemeClr val="bg1"/>
                  </a:solidFill>
                  <a:latin typeface="Montserrat Light"/>
                  <a:ea typeface="Roboto"/>
                  <a:cs typeface="Roboto"/>
                </a:rPr>
                <a:t>After implementation, the team received a structured preliminary result, easing contract understanding without full manual reading. Facilities professionals were satisfied with the data accuracy, noting benefits like reduced analysis time, greater assertiveness in contract comparisons, and more agile decision-makin</a:t>
              </a:r>
              <a:r>
                <a:rPr lang="en-US" sz="1800" noProof="0">
                  <a:latin typeface="Montserrat Light"/>
                  <a:ea typeface="Roboto"/>
                  <a:cs typeface="Roboto"/>
                </a:rPr>
                <a:t>g with organized data.</a:t>
              </a:r>
              <a:endParaRPr lang="en-US" sz="4050" noProof="0">
                <a:latin typeface="Montserrat Light"/>
              </a:endParaRPr>
            </a:p>
          </p:txBody>
        </p:sp>
        <p:sp>
          <p:nvSpPr>
            <p:cNvPr id="18" name="TextBox 5">
              <a:extLst>
                <a:ext uri="{FF2B5EF4-FFF2-40B4-BE49-F238E27FC236}">
                  <a16:creationId xmlns:a16="http://schemas.microsoft.com/office/drawing/2014/main" id="{A0F274D5-F55A-4075-B8CA-AF7A533B3F06}"/>
                </a:ext>
              </a:extLst>
            </p:cNvPr>
            <p:cNvSpPr txBox="1"/>
            <p:nvPr/>
          </p:nvSpPr>
          <p:spPr>
            <a:xfrm>
              <a:off x="519478" y="4380824"/>
              <a:ext cx="3950630" cy="276999"/>
            </a:xfrm>
            <a:prstGeom prst="rect">
              <a:avLst/>
            </a:prstGeom>
          </p:spPr>
          <p:txBody>
            <a:bodyPr wrap="square" lIns="0" tIns="0" rIns="0" bIns="0" rtlCol="0" anchor="t">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4050" b="1" i="1" noProof="0">
                  <a:solidFill>
                    <a:srgbClr val="713BFE"/>
                  </a:solidFill>
                  <a:latin typeface="Montserrat Medium"/>
                  <a:ea typeface="+mn-lt"/>
                  <a:cs typeface="+mn-lt"/>
                  <a:sym typeface="Montserrat Medium"/>
                </a:rPr>
                <a:t>Results</a:t>
              </a:r>
              <a:endParaRPr lang="en-US" sz="4050" noProof="0"/>
            </a:p>
          </p:txBody>
        </p:sp>
      </p:grpSp>
      <p:pic>
        <p:nvPicPr>
          <p:cNvPr id="24" name="Imagem 23" descr="Interface gráfica do usuário&#10;&#10;O conteúdo gerado por IA pode estar incorreto.">
            <a:extLst>
              <a:ext uri="{FF2B5EF4-FFF2-40B4-BE49-F238E27FC236}">
                <a16:creationId xmlns:a16="http://schemas.microsoft.com/office/drawing/2014/main" id="{14C45243-74D8-1194-E55E-7BDC1555F7C9}"/>
              </a:ext>
            </a:extLst>
          </p:cNvPr>
          <p:cNvPicPr>
            <a:picLocks noChangeAspect="1"/>
          </p:cNvPicPr>
          <p:nvPr/>
        </p:nvPicPr>
        <p:blipFill>
          <a:blip r:embed="rId2"/>
          <a:srcRect t="36559" r="535" b="37459"/>
          <a:stretch/>
        </p:blipFill>
        <p:spPr>
          <a:xfrm>
            <a:off x="15873955" y="9343148"/>
            <a:ext cx="1787384" cy="459804"/>
          </a:xfrm>
          <a:prstGeom prst="rect">
            <a:avLst/>
          </a:prstGeom>
        </p:spPr>
      </p:pic>
      <p:pic>
        <p:nvPicPr>
          <p:cNvPr id="19" name="Imagem 18" descr="Interface gráfica do usuário, Texto, Aplicativo&#10;&#10;O conteúdo gerado por IA pode estar incorreto.">
            <a:extLst>
              <a:ext uri="{FF2B5EF4-FFF2-40B4-BE49-F238E27FC236}">
                <a16:creationId xmlns:a16="http://schemas.microsoft.com/office/drawing/2014/main" id="{5646BAFE-7931-F83B-6763-3BF3C8FBE31B}"/>
              </a:ext>
            </a:extLst>
          </p:cNvPr>
          <p:cNvPicPr>
            <a:picLocks noChangeAspect="1"/>
          </p:cNvPicPr>
          <p:nvPr/>
        </p:nvPicPr>
        <p:blipFill>
          <a:blip r:embed="rId3"/>
          <a:stretch>
            <a:fillRect/>
          </a:stretch>
        </p:blipFill>
        <p:spPr>
          <a:xfrm>
            <a:off x="9175316" y="2068854"/>
            <a:ext cx="8439411" cy="4301703"/>
          </a:xfrm>
          <a:prstGeom prst="rect">
            <a:avLst/>
          </a:prstGeom>
        </p:spPr>
      </p:pic>
      <p:pic>
        <p:nvPicPr>
          <p:cNvPr id="4" name="Imagem 3" descr="Interface gráfica do usuário, Texto, Aplicativo, Email&#10;&#10;O conteúdo gerado por IA pode estar incorreto.">
            <a:extLst>
              <a:ext uri="{FF2B5EF4-FFF2-40B4-BE49-F238E27FC236}">
                <a16:creationId xmlns:a16="http://schemas.microsoft.com/office/drawing/2014/main" id="{816D3F3A-98DD-418C-4663-EB0930EF28EF}"/>
              </a:ext>
            </a:extLst>
          </p:cNvPr>
          <p:cNvPicPr>
            <a:picLocks noChangeAspect="1"/>
          </p:cNvPicPr>
          <p:nvPr/>
        </p:nvPicPr>
        <p:blipFill>
          <a:blip r:embed="rId4"/>
          <a:stretch>
            <a:fillRect/>
          </a:stretch>
        </p:blipFill>
        <p:spPr>
          <a:xfrm>
            <a:off x="8533357" y="4213940"/>
            <a:ext cx="7922714" cy="3972894"/>
          </a:xfrm>
          <a:prstGeom prst="rect">
            <a:avLst/>
          </a:prstGeom>
        </p:spPr>
      </p:pic>
    </p:spTree>
    <p:extLst>
      <p:ext uri="{BB962C8B-B14F-4D97-AF65-F5344CB8AC3E}">
        <p14:creationId xmlns:p14="http://schemas.microsoft.com/office/powerpoint/2010/main" val="20723674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902902-924C-9323-9B86-D6C9B6B29C76}"/>
            </a:ext>
          </a:extLst>
        </p:cNvPr>
        <p:cNvGrpSpPr/>
        <p:nvPr/>
      </p:nvGrpSpPr>
      <p:grpSpPr>
        <a:xfrm>
          <a:off x="0" y="0"/>
          <a:ext cx="0" cy="0"/>
          <a:chOff x="0" y="0"/>
          <a:chExt cx="0" cy="0"/>
        </a:xfrm>
      </p:grpSpPr>
      <p:sp>
        <p:nvSpPr>
          <p:cNvPr id="20" name="Freeform 3">
            <a:extLst>
              <a:ext uri="{FF2B5EF4-FFF2-40B4-BE49-F238E27FC236}">
                <a16:creationId xmlns:a16="http://schemas.microsoft.com/office/drawing/2014/main" id="{40A42F2B-6D85-AF77-0B0E-90A6DDC27A8B}"/>
              </a:ext>
            </a:extLst>
          </p:cNvPr>
          <p:cNvSpPr/>
          <p:nvPr/>
        </p:nvSpPr>
        <p:spPr>
          <a:xfrm>
            <a:off x="14051801" y="3132"/>
            <a:ext cx="4236200" cy="10283868"/>
          </a:xfrm>
          <a:custGeom>
            <a:avLst/>
            <a:gdLst/>
            <a:ahLst/>
            <a:cxnLst/>
            <a:rect l="l" t="t" r="r" b="b"/>
            <a:pathLst>
              <a:path w="18461729" h="10519862">
                <a:moveTo>
                  <a:pt x="0" y="0"/>
                </a:moveTo>
                <a:lnTo>
                  <a:pt x="18461729" y="0"/>
                </a:lnTo>
                <a:lnTo>
                  <a:pt x="18461729" y="10519862"/>
                </a:lnTo>
                <a:lnTo>
                  <a:pt x="0" y="10519862"/>
                </a:lnTo>
                <a:lnTo>
                  <a:pt x="0" y="0"/>
                </a:lnTo>
                <a:close/>
              </a:path>
            </a:pathLst>
          </a:custGeom>
          <a:solidFill>
            <a:srgbClr val="713BFE"/>
          </a:solidFill>
          <a:ln>
            <a:noFill/>
          </a:ln>
        </p:spPr>
        <p:txBody>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endParaRPr lang="en-US" sz="1800" noProof="0"/>
          </a:p>
        </p:txBody>
      </p:sp>
      <p:sp>
        <p:nvSpPr>
          <p:cNvPr id="3" name="TextBox 5">
            <a:extLst>
              <a:ext uri="{FF2B5EF4-FFF2-40B4-BE49-F238E27FC236}">
                <a16:creationId xmlns:a16="http://schemas.microsoft.com/office/drawing/2014/main" id="{A42305E4-9C27-DD8E-5A26-4ECAAFAA92C0}"/>
              </a:ext>
            </a:extLst>
          </p:cNvPr>
          <p:cNvSpPr txBox="1"/>
          <p:nvPr/>
        </p:nvSpPr>
        <p:spPr>
          <a:xfrm>
            <a:off x="764788" y="633457"/>
            <a:ext cx="11643908" cy="646331"/>
          </a:xfrm>
          <a:prstGeom prst="rect">
            <a:avLst/>
          </a:prstGeom>
        </p:spPr>
        <p:txBody>
          <a:bodyPr wrap="square" lIns="0" tIns="0" rIns="0" bIns="0" rtlCol="0" anchor="t">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4200" b="1" noProof="0">
                <a:solidFill>
                  <a:srgbClr val="000000"/>
                </a:solidFill>
                <a:latin typeface="Montserrat Medium"/>
                <a:ea typeface="+mn-lt"/>
                <a:cs typeface="+mn-lt"/>
                <a:sym typeface="Montserrat Medium"/>
              </a:rPr>
              <a:t>Use Case: </a:t>
            </a:r>
            <a:r>
              <a:rPr lang="en-US" sz="4200" noProof="0">
                <a:solidFill>
                  <a:srgbClr val="000000"/>
                </a:solidFill>
                <a:latin typeface="Montserrat Medium"/>
                <a:ea typeface="+mn-lt"/>
                <a:cs typeface="+mn-lt"/>
                <a:sym typeface="Montserrat Medium"/>
              </a:rPr>
              <a:t>Insurance policies compliance</a:t>
            </a:r>
            <a:endParaRPr lang="en-US" sz="4200" noProof="0">
              <a:latin typeface="Montserrat Medium"/>
            </a:endParaRPr>
          </a:p>
        </p:txBody>
      </p:sp>
      <p:grpSp>
        <p:nvGrpSpPr>
          <p:cNvPr id="7" name="Group 24">
            <a:extLst>
              <a:ext uri="{FF2B5EF4-FFF2-40B4-BE49-F238E27FC236}">
                <a16:creationId xmlns:a16="http://schemas.microsoft.com/office/drawing/2014/main" id="{0CC21449-79C2-45F7-5F83-57EB56418C7F}"/>
              </a:ext>
            </a:extLst>
          </p:cNvPr>
          <p:cNvGrpSpPr/>
          <p:nvPr/>
        </p:nvGrpSpPr>
        <p:grpSpPr>
          <a:xfrm>
            <a:off x="11780675" y="1079142"/>
            <a:ext cx="612363" cy="56823"/>
            <a:chOff x="0" y="0"/>
            <a:chExt cx="1078484" cy="100076"/>
          </a:xfrm>
        </p:grpSpPr>
        <p:sp>
          <p:nvSpPr>
            <p:cNvPr id="6" name="Freeform 25">
              <a:extLst>
                <a:ext uri="{FF2B5EF4-FFF2-40B4-BE49-F238E27FC236}">
                  <a16:creationId xmlns:a16="http://schemas.microsoft.com/office/drawing/2014/main" id="{AEE189DF-238C-32A3-B529-679C176548B4}"/>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endParaRPr lang="en-US" sz="1800" noProof="0"/>
            </a:p>
          </p:txBody>
        </p:sp>
      </p:grpSp>
      <p:grpSp>
        <p:nvGrpSpPr>
          <p:cNvPr id="8" name="Agrupar 7">
            <a:extLst>
              <a:ext uri="{FF2B5EF4-FFF2-40B4-BE49-F238E27FC236}">
                <a16:creationId xmlns:a16="http://schemas.microsoft.com/office/drawing/2014/main" id="{15F3E4F9-91B9-370C-06B3-095EFC2F39B3}"/>
              </a:ext>
            </a:extLst>
          </p:cNvPr>
          <p:cNvGrpSpPr/>
          <p:nvPr/>
        </p:nvGrpSpPr>
        <p:grpSpPr>
          <a:xfrm>
            <a:off x="779218" y="1682504"/>
            <a:ext cx="7346495" cy="2559244"/>
            <a:chOff x="519478" y="1121669"/>
            <a:chExt cx="4897663" cy="1706162"/>
          </a:xfrm>
        </p:grpSpPr>
        <p:sp>
          <p:nvSpPr>
            <p:cNvPr id="5" name="CaixaDeTexto 4">
              <a:extLst>
                <a:ext uri="{FF2B5EF4-FFF2-40B4-BE49-F238E27FC236}">
                  <a16:creationId xmlns:a16="http://schemas.microsoft.com/office/drawing/2014/main" id="{09EF7E07-0A8B-92D6-D7DF-C343DC2C25EA}"/>
                </a:ext>
              </a:extLst>
            </p:cNvPr>
            <p:cNvSpPr txBox="1"/>
            <p:nvPr/>
          </p:nvSpPr>
          <p:spPr>
            <a:xfrm>
              <a:off x="519478" y="1396670"/>
              <a:ext cx="4897663" cy="1431161"/>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pt-BR" sz="1800">
                  <a:solidFill>
                    <a:srgbClr val="212121"/>
                  </a:solidFill>
                  <a:latin typeface="Montserrat Light"/>
                  <a:ea typeface="Roboto"/>
                  <a:cs typeface="Roboto"/>
                </a:rPr>
                <a:t>The compliance </a:t>
              </a:r>
              <a:r>
                <a:rPr lang="pt-BR" sz="1800" err="1">
                  <a:solidFill>
                    <a:srgbClr val="212121"/>
                  </a:solidFill>
                  <a:latin typeface="Montserrat Light"/>
                  <a:ea typeface="Roboto"/>
                  <a:cs typeface="Roboto"/>
                </a:rPr>
                <a:t>team</a:t>
              </a:r>
              <a:r>
                <a:rPr lang="pt-BR" sz="1800">
                  <a:solidFill>
                    <a:srgbClr val="212121"/>
                  </a:solidFill>
                  <a:latin typeface="Montserrat Light"/>
                  <a:ea typeface="Roboto"/>
                  <a:cs typeface="Roboto"/>
                </a:rPr>
                <a:t> </a:t>
              </a:r>
              <a:r>
                <a:rPr lang="pt-BR" sz="1800" err="1">
                  <a:solidFill>
                    <a:srgbClr val="212121"/>
                  </a:solidFill>
                  <a:latin typeface="Montserrat Light"/>
                  <a:ea typeface="Roboto"/>
                  <a:cs typeface="Roboto"/>
                </a:rPr>
                <a:t>handles</a:t>
              </a:r>
              <a:r>
                <a:rPr lang="pt-BR" sz="1800">
                  <a:solidFill>
                    <a:srgbClr val="212121"/>
                  </a:solidFill>
                  <a:latin typeface="Montserrat Light"/>
                  <a:ea typeface="Roboto"/>
                  <a:cs typeface="Roboto"/>
                </a:rPr>
                <a:t> a </a:t>
              </a:r>
              <a:r>
                <a:rPr lang="pt-BR" sz="1800" err="1">
                  <a:solidFill>
                    <a:srgbClr val="212121"/>
                  </a:solidFill>
                  <a:latin typeface="Montserrat Light"/>
                  <a:ea typeface="Roboto"/>
                  <a:cs typeface="Roboto"/>
                </a:rPr>
                <a:t>substantial</a:t>
              </a:r>
              <a:r>
                <a:rPr lang="pt-BR" sz="1800">
                  <a:solidFill>
                    <a:srgbClr val="212121"/>
                  </a:solidFill>
                  <a:latin typeface="Montserrat Light"/>
                  <a:ea typeface="Roboto"/>
                  <a:cs typeface="Roboto"/>
                </a:rPr>
                <a:t> </a:t>
              </a:r>
              <a:r>
                <a:rPr lang="pt-BR" sz="1800" err="1">
                  <a:solidFill>
                    <a:srgbClr val="212121"/>
                  </a:solidFill>
                  <a:latin typeface="Montserrat Light"/>
                  <a:ea typeface="Roboto"/>
                  <a:cs typeface="Roboto"/>
                </a:rPr>
                <a:t>daily</a:t>
              </a:r>
              <a:r>
                <a:rPr lang="pt-BR" sz="1800">
                  <a:solidFill>
                    <a:srgbClr val="212121"/>
                  </a:solidFill>
                  <a:latin typeface="Montserrat Light"/>
                  <a:ea typeface="Roboto"/>
                  <a:cs typeface="Roboto"/>
                </a:rPr>
                <a:t> volume </a:t>
              </a:r>
              <a:r>
                <a:rPr lang="pt-BR" sz="1800" err="1">
                  <a:solidFill>
                    <a:srgbClr val="212121"/>
                  </a:solidFill>
                  <a:latin typeface="Montserrat Light"/>
                  <a:ea typeface="Roboto"/>
                  <a:cs typeface="Roboto"/>
                </a:rPr>
                <a:t>of</a:t>
              </a:r>
              <a:r>
                <a:rPr lang="pt-BR" sz="1800">
                  <a:solidFill>
                    <a:srgbClr val="212121"/>
                  </a:solidFill>
                  <a:latin typeface="Montserrat Light"/>
                  <a:ea typeface="Roboto"/>
                  <a:cs typeface="Roboto"/>
                </a:rPr>
                <a:t> </a:t>
              </a:r>
              <a:r>
                <a:rPr lang="pt-BR" sz="1800" err="1">
                  <a:solidFill>
                    <a:srgbClr val="212121"/>
                  </a:solidFill>
                  <a:latin typeface="Montserrat Light"/>
                  <a:ea typeface="Roboto"/>
                  <a:cs typeface="Roboto"/>
                </a:rPr>
                <a:t>intricate</a:t>
              </a:r>
              <a:r>
                <a:rPr lang="pt-BR" sz="1800">
                  <a:solidFill>
                    <a:srgbClr val="212121"/>
                  </a:solidFill>
                  <a:latin typeface="Montserrat Light"/>
                  <a:ea typeface="Roboto"/>
                  <a:cs typeface="Roboto"/>
                </a:rPr>
                <a:t> </a:t>
              </a:r>
              <a:r>
                <a:rPr lang="pt-BR" sz="1800" err="1">
                  <a:solidFill>
                    <a:srgbClr val="212121"/>
                  </a:solidFill>
                  <a:latin typeface="Montserrat Light"/>
                  <a:ea typeface="Roboto"/>
                  <a:cs typeface="Roboto"/>
                </a:rPr>
                <a:t>contracts</a:t>
              </a:r>
              <a:r>
                <a:rPr lang="pt-BR" sz="1800">
                  <a:solidFill>
                    <a:srgbClr val="212121"/>
                  </a:solidFill>
                  <a:latin typeface="Montserrat Light"/>
                  <a:ea typeface="Roboto"/>
                  <a:cs typeface="Roboto"/>
                </a:rPr>
                <a:t> </a:t>
              </a:r>
              <a:r>
                <a:rPr lang="pt-BR" sz="1800" err="1">
                  <a:solidFill>
                    <a:srgbClr val="212121"/>
                  </a:solidFill>
                  <a:latin typeface="Montserrat Light"/>
                  <a:ea typeface="Roboto"/>
                  <a:cs typeface="Roboto"/>
                </a:rPr>
                <a:t>that</a:t>
              </a:r>
              <a:r>
                <a:rPr lang="pt-BR" sz="1800">
                  <a:solidFill>
                    <a:srgbClr val="212121"/>
                  </a:solidFill>
                  <a:latin typeface="Montserrat Light"/>
                  <a:ea typeface="Roboto"/>
                  <a:cs typeface="Roboto"/>
                </a:rPr>
                <a:t> </a:t>
              </a:r>
              <a:r>
                <a:rPr lang="pt-BR" sz="1800" err="1">
                  <a:solidFill>
                    <a:srgbClr val="212121"/>
                  </a:solidFill>
                  <a:latin typeface="Montserrat Light"/>
                  <a:ea typeface="Roboto"/>
                  <a:cs typeface="Roboto"/>
                </a:rPr>
                <a:t>necessitate</a:t>
              </a:r>
              <a:r>
                <a:rPr lang="pt-BR" sz="1800">
                  <a:solidFill>
                    <a:srgbClr val="212121"/>
                  </a:solidFill>
                  <a:latin typeface="Montserrat Light"/>
                  <a:ea typeface="Roboto"/>
                  <a:cs typeface="Roboto"/>
                </a:rPr>
                <a:t> </a:t>
              </a:r>
              <a:r>
                <a:rPr lang="pt-BR" sz="1800" err="1">
                  <a:solidFill>
                    <a:srgbClr val="212121"/>
                  </a:solidFill>
                  <a:latin typeface="Montserrat Light"/>
                  <a:ea typeface="Roboto"/>
                  <a:cs typeface="Roboto"/>
                </a:rPr>
                <a:t>evaluation</a:t>
              </a:r>
              <a:r>
                <a:rPr lang="pt-BR" sz="1800">
                  <a:solidFill>
                    <a:srgbClr val="212121"/>
                  </a:solidFill>
                  <a:latin typeface="Montserrat Light"/>
                  <a:ea typeface="Roboto"/>
                  <a:cs typeface="Roboto"/>
                </a:rPr>
                <a:t> </a:t>
              </a:r>
              <a:r>
                <a:rPr lang="pt-BR" sz="1800" err="1">
                  <a:solidFill>
                    <a:srgbClr val="212121"/>
                  </a:solidFill>
                  <a:latin typeface="Montserrat Light"/>
                  <a:ea typeface="Roboto"/>
                  <a:cs typeface="Roboto"/>
                </a:rPr>
                <a:t>of</a:t>
              </a:r>
              <a:r>
                <a:rPr lang="pt-BR" sz="1800">
                  <a:solidFill>
                    <a:srgbClr val="212121"/>
                  </a:solidFill>
                  <a:latin typeface="Montserrat Light"/>
                  <a:ea typeface="Roboto"/>
                  <a:cs typeface="Roboto"/>
                </a:rPr>
                <a:t> </a:t>
              </a:r>
              <a:r>
                <a:rPr lang="pt-BR" sz="1800" err="1">
                  <a:solidFill>
                    <a:srgbClr val="212121"/>
                  </a:solidFill>
                  <a:latin typeface="Montserrat Light"/>
                  <a:ea typeface="Roboto"/>
                  <a:cs typeface="Roboto"/>
                </a:rPr>
                <a:t>insurance</a:t>
              </a:r>
              <a:r>
                <a:rPr lang="pt-BR" sz="1800">
                  <a:solidFill>
                    <a:srgbClr val="212121"/>
                  </a:solidFill>
                  <a:latin typeface="Montserrat Light"/>
                  <a:ea typeface="Roboto"/>
                  <a:cs typeface="Roboto"/>
                </a:rPr>
                <a:t> </a:t>
              </a:r>
              <a:r>
                <a:rPr lang="pt-BR" sz="1800" err="1">
                  <a:solidFill>
                    <a:srgbClr val="212121"/>
                  </a:solidFill>
                  <a:latin typeface="Montserrat Light"/>
                  <a:ea typeface="Roboto"/>
                  <a:cs typeface="Roboto"/>
                </a:rPr>
                <a:t>coverage</a:t>
              </a:r>
              <a:r>
                <a:rPr lang="pt-BR" sz="1800">
                  <a:solidFill>
                    <a:srgbClr val="212121"/>
                  </a:solidFill>
                  <a:latin typeface="Montserrat Light"/>
                  <a:ea typeface="Roboto"/>
                  <a:cs typeface="Roboto"/>
                </a:rPr>
                <a:t> policies. </a:t>
              </a:r>
              <a:r>
                <a:rPr lang="pt-BR" sz="1800" err="1">
                  <a:solidFill>
                    <a:srgbClr val="212121"/>
                  </a:solidFill>
                  <a:latin typeface="Montserrat Light"/>
                  <a:ea typeface="Roboto"/>
                  <a:cs typeface="Roboto"/>
                </a:rPr>
                <a:t>This</a:t>
              </a:r>
              <a:r>
                <a:rPr lang="pt-BR" sz="1800">
                  <a:solidFill>
                    <a:srgbClr val="212121"/>
                  </a:solidFill>
                  <a:latin typeface="Montserrat Light"/>
                  <a:ea typeface="Roboto"/>
                  <a:cs typeface="Roboto"/>
                </a:rPr>
                <a:t> </a:t>
              </a:r>
              <a:r>
                <a:rPr lang="pt-BR" sz="1800" err="1">
                  <a:solidFill>
                    <a:srgbClr val="212121"/>
                  </a:solidFill>
                  <a:latin typeface="Montserrat Light"/>
                  <a:ea typeface="Roboto"/>
                  <a:cs typeface="Roboto"/>
                </a:rPr>
                <a:t>situation</a:t>
              </a:r>
              <a:r>
                <a:rPr lang="pt-BR" sz="1800">
                  <a:solidFill>
                    <a:srgbClr val="212121"/>
                  </a:solidFill>
                  <a:latin typeface="Montserrat Light"/>
                  <a:ea typeface="Roboto"/>
                  <a:cs typeface="Roboto"/>
                </a:rPr>
                <a:t> </a:t>
              </a:r>
              <a:r>
                <a:rPr lang="pt-BR" sz="1800" err="1">
                  <a:solidFill>
                    <a:srgbClr val="212121"/>
                  </a:solidFill>
                  <a:latin typeface="Montserrat Light"/>
                  <a:ea typeface="Roboto"/>
                  <a:cs typeface="Roboto"/>
                </a:rPr>
                <a:t>demands</a:t>
              </a:r>
              <a:r>
                <a:rPr lang="pt-BR" sz="1800">
                  <a:solidFill>
                    <a:srgbClr val="212121"/>
                  </a:solidFill>
                  <a:latin typeface="Montserrat Light"/>
                  <a:ea typeface="Roboto"/>
                  <a:cs typeface="Roboto"/>
                </a:rPr>
                <a:t> a </a:t>
              </a:r>
              <a:r>
                <a:rPr lang="pt-BR" sz="1800" err="1">
                  <a:solidFill>
                    <a:srgbClr val="212121"/>
                  </a:solidFill>
                  <a:latin typeface="Montserrat Light"/>
                  <a:ea typeface="Roboto"/>
                  <a:cs typeface="Roboto"/>
                </a:rPr>
                <a:t>comprehensive</a:t>
              </a:r>
              <a:r>
                <a:rPr lang="pt-BR" sz="1800">
                  <a:solidFill>
                    <a:srgbClr val="212121"/>
                  </a:solidFill>
                  <a:latin typeface="Montserrat Light"/>
                  <a:ea typeface="Roboto"/>
                  <a:cs typeface="Roboto"/>
                </a:rPr>
                <a:t> </a:t>
              </a:r>
              <a:r>
                <a:rPr lang="pt-BR" sz="1800" err="1">
                  <a:solidFill>
                    <a:srgbClr val="212121"/>
                  </a:solidFill>
                  <a:latin typeface="Montserrat Light"/>
                  <a:ea typeface="Roboto"/>
                  <a:cs typeface="Roboto"/>
                </a:rPr>
                <a:t>analysis</a:t>
              </a:r>
              <a:r>
                <a:rPr lang="pt-BR" sz="1800">
                  <a:solidFill>
                    <a:srgbClr val="212121"/>
                  </a:solidFill>
                  <a:latin typeface="Montserrat Light"/>
                  <a:ea typeface="Roboto"/>
                  <a:cs typeface="Roboto"/>
                </a:rPr>
                <a:t> </a:t>
              </a:r>
              <a:r>
                <a:rPr lang="pt-BR" sz="1800" err="1">
                  <a:solidFill>
                    <a:srgbClr val="212121"/>
                  </a:solidFill>
                  <a:latin typeface="Montserrat Light"/>
                  <a:ea typeface="Roboto"/>
                  <a:cs typeface="Roboto"/>
                </a:rPr>
                <a:t>of</a:t>
              </a:r>
              <a:r>
                <a:rPr lang="pt-BR" sz="1800">
                  <a:solidFill>
                    <a:srgbClr val="212121"/>
                  </a:solidFill>
                  <a:latin typeface="Montserrat Light"/>
                  <a:ea typeface="Roboto"/>
                  <a:cs typeface="Roboto"/>
                </a:rPr>
                <a:t> </a:t>
              </a:r>
              <a:r>
                <a:rPr lang="pt-BR" sz="1800" err="1">
                  <a:solidFill>
                    <a:srgbClr val="212121"/>
                  </a:solidFill>
                  <a:latin typeface="Montserrat Light"/>
                  <a:ea typeface="Roboto"/>
                  <a:cs typeface="Roboto"/>
                </a:rPr>
                <a:t>the</a:t>
              </a:r>
              <a:r>
                <a:rPr lang="pt-BR" sz="1800">
                  <a:solidFill>
                    <a:srgbClr val="212121"/>
                  </a:solidFill>
                  <a:latin typeface="Montserrat Light"/>
                  <a:ea typeface="Roboto"/>
                  <a:cs typeface="Roboto"/>
                </a:rPr>
                <a:t> </a:t>
              </a:r>
              <a:r>
                <a:rPr lang="pt-BR" sz="1800" err="1">
                  <a:solidFill>
                    <a:srgbClr val="212121"/>
                  </a:solidFill>
                  <a:latin typeface="Montserrat Light"/>
                  <a:ea typeface="Roboto"/>
                  <a:cs typeface="Roboto"/>
                </a:rPr>
                <a:t>documents</a:t>
              </a:r>
              <a:r>
                <a:rPr lang="pt-BR" sz="1800">
                  <a:solidFill>
                    <a:srgbClr val="212121"/>
                  </a:solidFill>
                  <a:latin typeface="Montserrat Light"/>
                  <a:ea typeface="Roboto"/>
                  <a:cs typeface="Roboto"/>
                </a:rPr>
                <a:t>, </a:t>
              </a:r>
              <a:r>
                <a:rPr lang="pt-BR" sz="1800" err="1">
                  <a:solidFill>
                    <a:srgbClr val="212121"/>
                  </a:solidFill>
                  <a:latin typeface="Montserrat Light"/>
                  <a:ea typeface="Roboto"/>
                  <a:cs typeface="Roboto"/>
                </a:rPr>
                <a:t>resulting</a:t>
              </a:r>
              <a:r>
                <a:rPr lang="pt-BR" sz="1800">
                  <a:solidFill>
                    <a:srgbClr val="212121"/>
                  </a:solidFill>
                  <a:latin typeface="Montserrat Light"/>
                  <a:ea typeface="Roboto"/>
                  <a:cs typeface="Roboto"/>
                </a:rPr>
                <a:t> in </a:t>
              </a:r>
              <a:r>
                <a:rPr lang="pt-BR" sz="1800" err="1">
                  <a:solidFill>
                    <a:srgbClr val="212121"/>
                  </a:solidFill>
                  <a:latin typeface="Montserrat Light"/>
                  <a:ea typeface="Roboto"/>
                  <a:cs typeface="Roboto"/>
                </a:rPr>
                <a:t>an</a:t>
              </a:r>
              <a:r>
                <a:rPr lang="pt-BR" sz="1800">
                  <a:solidFill>
                    <a:srgbClr val="212121"/>
                  </a:solidFill>
                  <a:latin typeface="Montserrat Light"/>
                  <a:ea typeface="Roboto"/>
                  <a:cs typeface="Roboto"/>
                </a:rPr>
                <a:t> </a:t>
              </a:r>
              <a:r>
                <a:rPr lang="pt-BR" sz="1800" err="1">
                  <a:solidFill>
                    <a:srgbClr val="212121"/>
                  </a:solidFill>
                  <a:latin typeface="Montserrat Light"/>
                  <a:ea typeface="Roboto"/>
                  <a:cs typeface="Roboto"/>
                </a:rPr>
                <a:t>initial</a:t>
              </a:r>
              <a:r>
                <a:rPr lang="pt-BR" sz="1800">
                  <a:solidFill>
                    <a:srgbClr val="212121"/>
                  </a:solidFill>
                  <a:latin typeface="Montserrat Light"/>
                  <a:ea typeface="Roboto"/>
                  <a:cs typeface="Roboto"/>
                </a:rPr>
                <a:t> </a:t>
              </a:r>
              <a:r>
                <a:rPr lang="pt-BR" sz="1800" err="1">
                  <a:solidFill>
                    <a:srgbClr val="212121"/>
                  </a:solidFill>
                  <a:latin typeface="Montserrat Light"/>
                  <a:ea typeface="Roboto"/>
                  <a:cs typeface="Roboto"/>
                </a:rPr>
                <a:t>process</a:t>
              </a:r>
              <a:r>
                <a:rPr lang="pt-BR" sz="1800">
                  <a:solidFill>
                    <a:srgbClr val="212121"/>
                  </a:solidFill>
                  <a:latin typeface="Montserrat Light"/>
                  <a:ea typeface="Roboto"/>
                  <a:cs typeface="Roboto"/>
                </a:rPr>
                <a:t> </a:t>
              </a:r>
              <a:r>
                <a:rPr lang="pt-BR" sz="1800" err="1">
                  <a:solidFill>
                    <a:srgbClr val="212121"/>
                  </a:solidFill>
                  <a:latin typeface="Montserrat Light"/>
                  <a:ea typeface="Roboto"/>
                  <a:cs typeface="Roboto"/>
                </a:rPr>
                <a:t>duration</a:t>
              </a:r>
              <a:r>
                <a:rPr lang="pt-BR" sz="1800">
                  <a:solidFill>
                    <a:srgbClr val="212121"/>
                  </a:solidFill>
                  <a:latin typeface="Montserrat Light"/>
                  <a:ea typeface="Roboto"/>
                  <a:cs typeface="Roboto"/>
                </a:rPr>
                <a:t> </a:t>
              </a:r>
              <a:r>
                <a:rPr lang="pt-BR" sz="1800" err="1">
                  <a:solidFill>
                    <a:srgbClr val="212121"/>
                  </a:solidFill>
                  <a:latin typeface="Montserrat Light"/>
                  <a:ea typeface="Roboto"/>
                  <a:cs typeface="Roboto"/>
                </a:rPr>
                <a:t>of</a:t>
              </a:r>
              <a:r>
                <a:rPr lang="pt-BR" sz="1800">
                  <a:solidFill>
                    <a:srgbClr val="212121"/>
                  </a:solidFill>
                  <a:latin typeface="Montserrat Light"/>
                  <a:ea typeface="Roboto"/>
                  <a:cs typeface="Roboto"/>
                </a:rPr>
                <a:t> </a:t>
              </a:r>
              <a:r>
                <a:rPr lang="pt-BR" sz="1800" err="1">
                  <a:solidFill>
                    <a:srgbClr val="212121"/>
                  </a:solidFill>
                  <a:latin typeface="Montserrat Light"/>
                  <a:ea typeface="Roboto"/>
                  <a:cs typeface="Roboto"/>
                </a:rPr>
                <a:t>five</a:t>
              </a:r>
              <a:r>
                <a:rPr lang="pt-BR" sz="1800">
                  <a:solidFill>
                    <a:srgbClr val="212121"/>
                  </a:solidFill>
                  <a:latin typeface="Montserrat Light"/>
                  <a:ea typeface="Roboto"/>
                  <a:cs typeface="Roboto"/>
                </a:rPr>
                <a:t> </a:t>
              </a:r>
              <a:r>
                <a:rPr lang="pt-BR" sz="1800" err="1">
                  <a:solidFill>
                    <a:srgbClr val="212121"/>
                  </a:solidFill>
                  <a:latin typeface="Montserrat Light"/>
                  <a:ea typeface="Roboto"/>
                  <a:cs typeface="Roboto"/>
                </a:rPr>
                <a:t>days</a:t>
              </a:r>
              <a:r>
                <a:rPr lang="pt-BR" sz="1800">
                  <a:solidFill>
                    <a:srgbClr val="212121"/>
                  </a:solidFill>
                  <a:latin typeface="Montserrat Light"/>
                  <a:ea typeface="Roboto"/>
                  <a:cs typeface="Roboto"/>
                </a:rPr>
                <a:t> </a:t>
              </a:r>
              <a:r>
                <a:rPr lang="pt-BR" sz="1800" err="1">
                  <a:solidFill>
                    <a:srgbClr val="212121"/>
                  </a:solidFill>
                  <a:latin typeface="Montserrat Light"/>
                  <a:ea typeface="Roboto"/>
                  <a:cs typeface="Roboto"/>
                </a:rPr>
                <a:t>and</a:t>
              </a:r>
              <a:r>
                <a:rPr lang="pt-BR" sz="1800">
                  <a:solidFill>
                    <a:srgbClr val="212121"/>
                  </a:solidFill>
                  <a:latin typeface="Montserrat Light"/>
                  <a:ea typeface="Roboto"/>
                  <a:cs typeface="Roboto"/>
                </a:rPr>
                <a:t> a </a:t>
              </a:r>
              <a:r>
                <a:rPr lang="pt-BR" sz="1800" err="1">
                  <a:solidFill>
                    <a:srgbClr val="212121"/>
                  </a:solidFill>
                  <a:latin typeface="Montserrat Light"/>
                  <a:ea typeface="Roboto"/>
                  <a:cs typeface="Roboto"/>
                </a:rPr>
                <a:t>susceptibility</a:t>
              </a:r>
              <a:r>
                <a:rPr lang="pt-BR" sz="1800">
                  <a:solidFill>
                    <a:srgbClr val="212121"/>
                  </a:solidFill>
                  <a:latin typeface="Montserrat Light"/>
                  <a:ea typeface="Roboto"/>
                  <a:cs typeface="Roboto"/>
                </a:rPr>
                <a:t> </a:t>
              </a:r>
              <a:r>
                <a:rPr lang="pt-BR" sz="1800" err="1">
                  <a:solidFill>
                    <a:srgbClr val="212121"/>
                  </a:solidFill>
                  <a:latin typeface="Montserrat Light"/>
                  <a:ea typeface="Roboto"/>
                  <a:cs typeface="Roboto"/>
                </a:rPr>
                <a:t>to</a:t>
              </a:r>
              <a:r>
                <a:rPr lang="pt-BR" sz="1800">
                  <a:solidFill>
                    <a:srgbClr val="212121"/>
                  </a:solidFill>
                  <a:latin typeface="Montserrat Light"/>
                  <a:ea typeface="Roboto"/>
                  <a:cs typeface="Roboto"/>
                </a:rPr>
                <a:t> manual </a:t>
              </a:r>
              <a:r>
                <a:rPr lang="pt-BR" sz="1800" err="1">
                  <a:solidFill>
                    <a:srgbClr val="212121"/>
                  </a:solidFill>
                  <a:latin typeface="Montserrat Light"/>
                  <a:ea typeface="Roboto"/>
                  <a:cs typeface="Roboto"/>
                </a:rPr>
                <a:t>errors</a:t>
              </a:r>
              <a:r>
                <a:rPr lang="pt-BR" sz="1800" b="0" i="0">
                  <a:solidFill>
                    <a:srgbClr val="212121"/>
                  </a:solidFill>
                  <a:effectLst/>
                  <a:latin typeface="Montserrat Light"/>
                </a:rPr>
                <a:t>.</a:t>
              </a:r>
            </a:p>
            <a:p>
              <a:endParaRPr lang="en-US" sz="4050" noProof="0">
                <a:solidFill>
                  <a:srgbClr val="212121"/>
                </a:solidFill>
                <a:latin typeface="Montserrat Light"/>
              </a:endParaRPr>
            </a:p>
          </p:txBody>
        </p:sp>
        <p:sp>
          <p:nvSpPr>
            <p:cNvPr id="9" name="TextBox 5">
              <a:extLst>
                <a:ext uri="{FF2B5EF4-FFF2-40B4-BE49-F238E27FC236}">
                  <a16:creationId xmlns:a16="http://schemas.microsoft.com/office/drawing/2014/main" id="{8A41F59D-A0FA-81F5-0FAA-BD7D8D1C8685}"/>
                </a:ext>
              </a:extLst>
            </p:cNvPr>
            <p:cNvSpPr txBox="1"/>
            <p:nvPr/>
          </p:nvSpPr>
          <p:spPr>
            <a:xfrm>
              <a:off x="519478" y="1121669"/>
              <a:ext cx="3950630" cy="276999"/>
            </a:xfrm>
            <a:prstGeom prst="rect">
              <a:avLst/>
            </a:prstGeom>
          </p:spPr>
          <p:txBody>
            <a:bodyPr wrap="square" lIns="0" tIns="0" rIns="0" bIns="0" rtlCol="0" anchor="t">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4050" b="1" i="1" noProof="0">
                  <a:solidFill>
                    <a:srgbClr val="713BFE"/>
                  </a:solidFill>
                  <a:latin typeface="Montserrat Medium"/>
                  <a:ea typeface="+mn-lt"/>
                  <a:cs typeface="+mn-lt"/>
                  <a:sym typeface="Montserrat Medium"/>
                </a:rPr>
                <a:t>Context</a:t>
              </a:r>
              <a:endParaRPr lang="en-US" sz="4050" b="1" noProof="0">
                <a:solidFill>
                  <a:srgbClr val="713BFE"/>
                </a:solidFill>
                <a:latin typeface="Montserrat Medium"/>
              </a:endParaRPr>
            </a:p>
          </p:txBody>
        </p:sp>
      </p:grpSp>
      <p:grpSp>
        <p:nvGrpSpPr>
          <p:cNvPr id="10" name="Agrupar 9">
            <a:extLst>
              <a:ext uri="{FF2B5EF4-FFF2-40B4-BE49-F238E27FC236}">
                <a16:creationId xmlns:a16="http://schemas.microsoft.com/office/drawing/2014/main" id="{4AE41E16-EF6A-3921-3A01-878B3A2F32EF}"/>
              </a:ext>
            </a:extLst>
          </p:cNvPr>
          <p:cNvGrpSpPr/>
          <p:nvPr/>
        </p:nvGrpSpPr>
        <p:grpSpPr>
          <a:xfrm>
            <a:off x="779217" y="3758756"/>
            <a:ext cx="7346496" cy="2766991"/>
            <a:chOff x="519478" y="2664030"/>
            <a:chExt cx="4897664" cy="1844660"/>
          </a:xfrm>
        </p:grpSpPr>
        <p:sp>
          <p:nvSpPr>
            <p:cNvPr id="15" name="CaixaDeTexto 14">
              <a:extLst>
                <a:ext uri="{FF2B5EF4-FFF2-40B4-BE49-F238E27FC236}">
                  <a16:creationId xmlns:a16="http://schemas.microsoft.com/office/drawing/2014/main" id="{44222A80-8776-19F4-4DD6-47906C01AC3A}"/>
                </a:ext>
              </a:extLst>
            </p:cNvPr>
            <p:cNvSpPr txBox="1"/>
            <p:nvPr/>
          </p:nvSpPr>
          <p:spPr>
            <a:xfrm>
              <a:off x="519478" y="2939030"/>
              <a:ext cx="4897664" cy="1569660"/>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1800">
                  <a:solidFill>
                    <a:schemeClr val="bg1"/>
                  </a:solidFill>
                  <a:latin typeface="Montserrat Light"/>
                  <a:ea typeface="Roboto"/>
                  <a:cs typeface="Roboto"/>
                </a:rPr>
                <a:t>We organize the flow thought Discovery and after</a:t>
              </a:r>
              <a:r>
                <a:rPr lang="en-US" sz="1800" noProof="0">
                  <a:solidFill>
                    <a:schemeClr val="bg1"/>
                  </a:solidFill>
                  <a:latin typeface="Montserrat Light"/>
                  <a:ea typeface="Roboto"/>
                  <a:cs typeface="Roboto"/>
                </a:rPr>
                <a:t> </a:t>
              </a:r>
              <a:r>
                <a:rPr lang="en-US" sz="1800">
                  <a:solidFill>
                    <a:schemeClr val="bg1"/>
                  </a:solidFill>
                  <a:latin typeface="Montserrat Light"/>
                  <a:ea typeface="Roboto"/>
                  <a:cs typeface="Roboto"/>
                </a:rPr>
                <a:t>this the </a:t>
              </a:r>
              <a:r>
                <a:rPr lang="en-US" sz="1800" noProof="0">
                  <a:solidFill>
                    <a:schemeClr val="bg1"/>
                  </a:solidFill>
                  <a:latin typeface="Montserrat Light"/>
                  <a:ea typeface="Roboto"/>
                  <a:cs typeface="Roboto"/>
                </a:rPr>
                <a:t>creation of a Knowledge Center on the platform to store internal policies and regulations, as well as the use of action triggers, aimed to extract the main rules and policies from reports, identify coverage clauses and adherence to policies, compare coverage percentages between contracts and organize information clearly, reducing the need for manual checks.</a:t>
              </a:r>
              <a:endParaRPr lang="en-US" sz="4050" noProof="0">
                <a:solidFill>
                  <a:schemeClr val="bg1"/>
                </a:solidFill>
                <a:latin typeface="Montserrat Light"/>
                <a:cs typeface="Arial"/>
              </a:endParaRPr>
            </a:p>
          </p:txBody>
        </p:sp>
        <p:sp>
          <p:nvSpPr>
            <p:cNvPr id="16" name="TextBox 5">
              <a:extLst>
                <a:ext uri="{FF2B5EF4-FFF2-40B4-BE49-F238E27FC236}">
                  <a16:creationId xmlns:a16="http://schemas.microsoft.com/office/drawing/2014/main" id="{8CB6C4EC-0E9B-0DE1-7F04-08C78D104345}"/>
                </a:ext>
              </a:extLst>
            </p:cNvPr>
            <p:cNvSpPr txBox="1"/>
            <p:nvPr/>
          </p:nvSpPr>
          <p:spPr>
            <a:xfrm>
              <a:off x="519478" y="2664030"/>
              <a:ext cx="3950630" cy="276999"/>
            </a:xfrm>
            <a:prstGeom prst="rect">
              <a:avLst/>
            </a:prstGeom>
          </p:spPr>
          <p:txBody>
            <a:bodyPr wrap="square" lIns="0" tIns="0" rIns="0" bIns="0" rtlCol="0" anchor="t">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4050" b="1" i="1" noProof="0">
                  <a:solidFill>
                    <a:srgbClr val="713BFE"/>
                  </a:solidFill>
                  <a:latin typeface="Montserrat Medium"/>
                  <a:ea typeface="+mn-lt"/>
                  <a:cs typeface="+mn-lt"/>
                  <a:sym typeface="Montserrat Medium"/>
                </a:rPr>
                <a:t>Solution</a:t>
              </a:r>
              <a:endParaRPr lang="en-US" sz="4050" noProof="0"/>
            </a:p>
          </p:txBody>
        </p:sp>
      </p:grpSp>
      <p:grpSp>
        <p:nvGrpSpPr>
          <p:cNvPr id="11" name="Agrupar 10">
            <a:extLst>
              <a:ext uri="{FF2B5EF4-FFF2-40B4-BE49-F238E27FC236}">
                <a16:creationId xmlns:a16="http://schemas.microsoft.com/office/drawing/2014/main" id="{860A1BBE-9BEF-6ED0-2CB2-05177656F1B4}"/>
              </a:ext>
            </a:extLst>
          </p:cNvPr>
          <p:cNvGrpSpPr/>
          <p:nvPr/>
        </p:nvGrpSpPr>
        <p:grpSpPr>
          <a:xfrm>
            <a:off x="779218" y="6571238"/>
            <a:ext cx="7346495" cy="2780764"/>
            <a:chOff x="519478" y="4380824"/>
            <a:chExt cx="4897663" cy="1853842"/>
          </a:xfrm>
        </p:grpSpPr>
        <p:sp>
          <p:nvSpPr>
            <p:cNvPr id="17" name="CaixaDeTexto 16">
              <a:extLst>
                <a:ext uri="{FF2B5EF4-FFF2-40B4-BE49-F238E27FC236}">
                  <a16:creationId xmlns:a16="http://schemas.microsoft.com/office/drawing/2014/main" id="{B9325D18-36DB-7CA9-DE65-DCA25EF84A2F}"/>
                </a:ext>
              </a:extLst>
            </p:cNvPr>
            <p:cNvSpPr txBox="1"/>
            <p:nvPr/>
          </p:nvSpPr>
          <p:spPr>
            <a:xfrm>
              <a:off x="519478" y="4665006"/>
              <a:ext cx="4897663" cy="1569660"/>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pt-BR" sz="1800" err="1">
                  <a:solidFill>
                    <a:schemeClr val="bg1"/>
                  </a:solidFill>
                  <a:latin typeface="Montserrat Light"/>
                  <a:ea typeface="Roboto"/>
                  <a:cs typeface="Roboto"/>
                </a:rPr>
                <a:t>After</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implementation</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our</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team</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delivered</a:t>
              </a:r>
              <a:r>
                <a:rPr lang="pt-BR" sz="1800">
                  <a:solidFill>
                    <a:schemeClr val="bg1"/>
                  </a:solidFill>
                  <a:latin typeface="Montserrat Light"/>
                  <a:ea typeface="Roboto"/>
                  <a:cs typeface="Roboto"/>
                </a:rPr>
                <a:t> a </a:t>
              </a:r>
              <a:r>
                <a:rPr lang="pt-BR" sz="1800" err="1">
                  <a:solidFill>
                    <a:schemeClr val="bg1"/>
                  </a:solidFill>
                  <a:latin typeface="Montserrat Light"/>
                  <a:ea typeface="Roboto"/>
                  <a:cs typeface="Roboto"/>
                </a:rPr>
                <a:t>streamlined</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preliminary</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result</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that</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simplifies</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contract</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comprehension</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eliminating</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the</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need</a:t>
              </a:r>
              <a:r>
                <a:rPr lang="pt-BR" sz="1800">
                  <a:solidFill>
                    <a:schemeClr val="bg1"/>
                  </a:solidFill>
                  <a:latin typeface="Montserrat Light"/>
                  <a:ea typeface="Roboto"/>
                  <a:cs typeface="Roboto"/>
                </a:rPr>
                <a:t> for manual review. </a:t>
              </a:r>
              <a:r>
                <a:rPr lang="pt-BR" sz="1800" err="1">
                  <a:solidFill>
                    <a:schemeClr val="bg1"/>
                  </a:solidFill>
                  <a:latin typeface="Montserrat Light"/>
                  <a:ea typeface="Roboto"/>
                  <a:cs typeface="Roboto"/>
                </a:rPr>
                <a:t>Professionals</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appreciated</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the</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ability</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to</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quickly</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process</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large</a:t>
              </a:r>
              <a:r>
                <a:rPr lang="pt-BR" sz="1800">
                  <a:solidFill>
                    <a:schemeClr val="bg1"/>
                  </a:solidFill>
                  <a:latin typeface="Montserrat Light"/>
                  <a:ea typeface="Roboto"/>
                  <a:cs typeface="Roboto"/>
                </a:rPr>
                <a:t> volumes </a:t>
              </a:r>
              <a:r>
                <a:rPr lang="pt-BR" sz="1800" err="1">
                  <a:solidFill>
                    <a:schemeClr val="bg1"/>
                  </a:solidFill>
                  <a:latin typeface="Montserrat Light"/>
                  <a:ea typeface="Roboto"/>
                  <a:cs typeface="Roboto"/>
                </a:rPr>
                <a:t>of</a:t>
              </a:r>
              <a:r>
                <a:rPr lang="pt-BR" sz="1800">
                  <a:solidFill>
                    <a:schemeClr val="bg1"/>
                  </a:solidFill>
                  <a:latin typeface="Montserrat Light"/>
                  <a:ea typeface="Roboto"/>
                  <a:cs typeface="Roboto"/>
                </a:rPr>
                <a:t> data, </a:t>
              </a:r>
              <a:r>
                <a:rPr lang="pt-BR" sz="1800" err="1">
                  <a:solidFill>
                    <a:schemeClr val="bg1"/>
                  </a:solidFill>
                  <a:latin typeface="Montserrat Light"/>
                  <a:ea typeface="Roboto"/>
                  <a:cs typeface="Roboto"/>
                </a:rPr>
                <a:t>easily</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spotting</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inconsistencies</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and</a:t>
              </a:r>
              <a:r>
                <a:rPr lang="pt-BR" sz="1800">
                  <a:solidFill>
                    <a:schemeClr val="bg1"/>
                  </a:solidFill>
                  <a:latin typeface="Montserrat Light"/>
                  <a:ea typeface="Roboto"/>
                  <a:cs typeface="Roboto"/>
                </a:rPr>
                <a:t> non-</a:t>
              </a:r>
              <a:r>
                <a:rPr lang="pt-BR" sz="1800" err="1">
                  <a:solidFill>
                    <a:schemeClr val="bg1"/>
                  </a:solidFill>
                  <a:latin typeface="Montserrat Light"/>
                  <a:ea typeface="Roboto"/>
                  <a:cs typeface="Roboto"/>
                </a:rPr>
                <a:t>conformities</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that</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would</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have</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otherwise</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gone</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unnoticed</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This</a:t>
              </a:r>
              <a:r>
                <a:rPr lang="pt-BR" sz="1800">
                  <a:solidFill>
                    <a:schemeClr val="bg1"/>
                  </a:solidFill>
                  <a:latin typeface="Montserrat Light"/>
                  <a:ea typeface="Roboto"/>
                  <a:cs typeface="Roboto"/>
                </a:rPr>
                <a:t> shift </a:t>
              </a:r>
              <a:r>
                <a:rPr lang="pt-BR" sz="1800" err="1">
                  <a:solidFill>
                    <a:schemeClr val="bg1"/>
                  </a:solidFill>
                  <a:latin typeface="Montserrat Light"/>
                  <a:ea typeface="Roboto"/>
                  <a:cs typeface="Roboto"/>
                </a:rPr>
                <a:t>allows</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them</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to</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focus</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on</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evolving</a:t>
              </a:r>
              <a:r>
                <a:rPr lang="pt-BR" sz="1800">
                  <a:solidFill>
                    <a:schemeClr val="bg1"/>
                  </a:solidFill>
                  <a:latin typeface="Montserrat Light"/>
                  <a:ea typeface="Roboto"/>
                  <a:cs typeface="Roboto"/>
                </a:rPr>
                <a:t> processes </a:t>
              </a:r>
              <a:r>
                <a:rPr lang="pt-BR" sz="1800" err="1">
                  <a:solidFill>
                    <a:schemeClr val="bg1"/>
                  </a:solidFill>
                  <a:latin typeface="Montserrat Light"/>
                  <a:ea typeface="Roboto"/>
                  <a:cs typeface="Roboto"/>
                </a:rPr>
                <a:t>rather</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than</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just</a:t>
              </a:r>
              <a:r>
                <a:rPr lang="pt-BR" sz="1800">
                  <a:solidFill>
                    <a:schemeClr val="bg1"/>
                  </a:solidFill>
                  <a:latin typeface="Montserrat Light"/>
                  <a:ea typeface="Roboto"/>
                  <a:cs typeface="Roboto"/>
                </a:rPr>
                <a:t> </a:t>
              </a:r>
              <a:r>
                <a:rPr lang="pt-BR" sz="1800" err="1">
                  <a:solidFill>
                    <a:schemeClr val="bg1"/>
                  </a:solidFill>
                  <a:latin typeface="Montserrat Light"/>
                  <a:ea typeface="Roboto"/>
                  <a:cs typeface="Roboto"/>
                </a:rPr>
                <a:t>conducting</a:t>
              </a:r>
              <a:r>
                <a:rPr lang="pt-BR" sz="1800">
                  <a:solidFill>
                    <a:schemeClr val="bg1"/>
                  </a:solidFill>
                  <a:latin typeface="Montserrat Light"/>
                  <a:ea typeface="Roboto"/>
                  <a:cs typeface="Roboto"/>
                </a:rPr>
                <a:t> compliance </a:t>
              </a:r>
              <a:r>
                <a:rPr lang="pt-BR" sz="1800" err="1">
                  <a:solidFill>
                    <a:schemeClr val="bg1"/>
                  </a:solidFill>
                  <a:latin typeface="Montserrat Light"/>
                  <a:ea typeface="Roboto"/>
                  <a:cs typeface="Roboto"/>
                </a:rPr>
                <a:t>checks</a:t>
              </a:r>
              <a:r>
                <a:rPr lang="pt-BR" sz="1800">
                  <a:solidFill>
                    <a:schemeClr val="bg1"/>
                  </a:solidFill>
                  <a:latin typeface="Montserrat Light"/>
                  <a:ea typeface="Roboto"/>
                  <a:cs typeface="Roboto"/>
                </a:rPr>
                <a:t>.</a:t>
              </a:r>
              <a:endParaRPr lang="en-US" sz="1800">
                <a:solidFill>
                  <a:schemeClr val="bg1"/>
                </a:solidFill>
                <a:latin typeface="Montserrat Light"/>
                <a:ea typeface="Roboto"/>
                <a:cs typeface="Roboto"/>
              </a:endParaRPr>
            </a:p>
          </p:txBody>
        </p:sp>
        <p:sp>
          <p:nvSpPr>
            <p:cNvPr id="18" name="TextBox 5">
              <a:extLst>
                <a:ext uri="{FF2B5EF4-FFF2-40B4-BE49-F238E27FC236}">
                  <a16:creationId xmlns:a16="http://schemas.microsoft.com/office/drawing/2014/main" id="{6D800596-26EA-EA38-E132-2A50340ED814}"/>
                </a:ext>
              </a:extLst>
            </p:cNvPr>
            <p:cNvSpPr txBox="1"/>
            <p:nvPr/>
          </p:nvSpPr>
          <p:spPr>
            <a:xfrm>
              <a:off x="519478" y="4380824"/>
              <a:ext cx="3950630" cy="276999"/>
            </a:xfrm>
            <a:prstGeom prst="rect">
              <a:avLst/>
            </a:prstGeom>
          </p:spPr>
          <p:txBody>
            <a:bodyPr wrap="square" lIns="0" tIns="0" rIns="0" bIns="0" rtlCol="0" anchor="t">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4050" b="1" i="1" noProof="0">
                  <a:solidFill>
                    <a:srgbClr val="713BFE"/>
                  </a:solidFill>
                  <a:latin typeface="Montserrat Medium"/>
                  <a:ea typeface="+mn-lt"/>
                  <a:cs typeface="+mn-lt"/>
                  <a:sym typeface="Montserrat Medium"/>
                </a:rPr>
                <a:t>Results</a:t>
              </a:r>
              <a:endParaRPr lang="en-US" sz="4050" noProof="0"/>
            </a:p>
          </p:txBody>
        </p:sp>
      </p:grpSp>
      <p:pic>
        <p:nvPicPr>
          <p:cNvPr id="24" name="Imagem 23" descr="Interface gráfica do usuário&#10;&#10;O conteúdo gerado por IA pode estar incorreto.">
            <a:extLst>
              <a:ext uri="{FF2B5EF4-FFF2-40B4-BE49-F238E27FC236}">
                <a16:creationId xmlns:a16="http://schemas.microsoft.com/office/drawing/2014/main" id="{0DB6FE07-C9AC-08A0-BC54-BAF1A1CDF94F}"/>
              </a:ext>
            </a:extLst>
          </p:cNvPr>
          <p:cNvPicPr>
            <a:picLocks noChangeAspect="1"/>
          </p:cNvPicPr>
          <p:nvPr/>
        </p:nvPicPr>
        <p:blipFill>
          <a:blip r:embed="rId2"/>
          <a:srcRect t="36559" r="535" b="37459"/>
          <a:stretch/>
        </p:blipFill>
        <p:spPr>
          <a:xfrm>
            <a:off x="15873955" y="9343148"/>
            <a:ext cx="1787384" cy="459804"/>
          </a:xfrm>
          <a:prstGeom prst="rect">
            <a:avLst/>
          </a:prstGeom>
        </p:spPr>
      </p:pic>
      <p:pic>
        <p:nvPicPr>
          <p:cNvPr id="4" name="Imagem 3" descr="Interface gráfica do usuário, Aplicativo&#10;&#10;O conteúdo gerado por IA pode estar incorreto.">
            <a:extLst>
              <a:ext uri="{FF2B5EF4-FFF2-40B4-BE49-F238E27FC236}">
                <a16:creationId xmlns:a16="http://schemas.microsoft.com/office/drawing/2014/main" id="{7A325B3E-4F90-B7C0-D906-A639BD36BFED}"/>
              </a:ext>
            </a:extLst>
          </p:cNvPr>
          <p:cNvPicPr>
            <a:picLocks noChangeAspect="1"/>
          </p:cNvPicPr>
          <p:nvPr/>
        </p:nvPicPr>
        <p:blipFill>
          <a:blip r:embed="rId3"/>
          <a:stretch>
            <a:fillRect/>
          </a:stretch>
        </p:blipFill>
        <p:spPr>
          <a:xfrm>
            <a:off x="10287000" y="2137163"/>
            <a:ext cx="7531275" cy="3804963"/>
          </a:xfrm>
          <a:prstGeom prst="rect">
            <a:avLst/>
          </a:prstGeom>
        </p:spPr>
      </p:pic>
      <p:pic>
        <p:nvPicPr>
          <p:cNvPr id="2" name="Imagem 1" descr="Interface gráfica do usuário, Aplicativo&#10;&#10;O conteúdo gerado por IA pode estar incorreto.">
            <a:extLst>
              <a:ext uri="{FF2B5EF4-FFF2-40B4-BE49-F238E27FC236}">
                <a16:creationId xmlns:a16="http://schemas.microsoft.com/office/drawing/2014/main" id="{53EC2623-F77A-AB89-B208-A348F6FFCA15}"/>
              </a:ext>
            </a:extLst>
          </p:cNvPr>
          <p:cNvPicPr>
            <a:picLocks noChangeAspect="1"/>
          </p:cNvPicPr>
          <p:nvPr/>
        </p:nvPicPr>
        <p:blipFill>
          <a:blip r:embed="rId4"/>
          <a:stretch>
            <a:fillRect/>
          </a:stretch>
        </p:blipFill>
        <p:spPr>
          <a:xfrm>
            <a:off x="9144001" y="4786673"/>
            <a:ext cx="6889316" cy="3563328"/>
          </a:xfrm>
          <a:prstGeom prst="rect">
            <a:avLst/>
          </a:prstGeom>
        </p:spPr>
      </p:pic>
    </p:spTree>
    <p:extLst>
      <p:ext uri="{BB962C8B-B14F-4D97-AF65-F5344CB8AC3E}">
        <p14:creationId xmlns:p14="http://schemas.microsoft.com/office/powerpoint/2010/main" val="255394430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D6FBC3-FAC5-E952-C93A-35C0F5D6ED43}"/>
            </a:ext>
          </a:extLst>
        </p:cNvPr>
        <p:cNvGrpSpPr/>
        <p:nvPr/>
      </p:nvGrpSpPr>
      <p:grpSpPr>
        <a:xfrm>
          <a:off x="0" y="0"/>
          <a:ext cx="0" cy="0"/>
          <a:chOff x="0" y="0"/>
          <a:chExt cx="0" cy="0"/>
        </a:xfrm>
      </p:grpSpPr>
      <p:sp>
        <p:nvSpPr>
          <p:cNvPr id="20" name="Freeform 3">
            <a:extLst>
              <a:ext uri="{FF2B5EF4-FFF2-40B4-BE49-F238E27FC236}">
                <a16:creationId xmlns:a16="http://schemas.microsoft.com/office/drawing/2014/main" id="{AF1FB442-9700-B7F3-1A74-FC0A8D668712}"/>
              </a:ext>
            </a:extLst>
          </p:cNvPr>
          <p:cNvSpPr/>
          <p:nvPr/>
        </p:nvSpPr>
        <p:spPr>
          <a:xfrm>
            <a:off x="14051801" y="3132"/>
            <a:ext cx="4236200" cy="10283868"/>
          </a:xfrm>
          <a:custGeom>
            <a:avLst/>
            <a:gdLst/>
            <a:ahLst/>
            <a:cxnLst/>
            <a:rect l="l" t="t" r="r" b="b"/>
            <a:pathLst>
              <a:path w="18461729" h="10519862">
                <a:moveTo>
                  <a:pt x="0" y="0"/>
                </a:moveTo>
                <a:lnTo>
                  <a:pt x="18461729" y="0"/>
                </a:lnTo>
                <a:lnTo>
                  <a:pt x="18461729" y="10519862"/>
                </a:lnTo>
                <a:lnTo>
                  <a:pt x="0" y="10519862"/>
                </a:lnTo>
                <a:lnTo>
                  <a:pt x="0" y="0"/>
                </a:lnTo>
                <a:close/>
              </a:path>
            </a:pathLst>
          </a:custGeom>
          <a:solidFill>
            <a:srgbClr val="713BFE"/>
          </a:solidFill>
          <a:ln>
            <a:noFill/>
          </a:ln>
        </p:spPr>
        <p:txBody>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endParaRPr lang="en-US" sz="1800" noProof="0"/>
          </a:p>
        </p:txBody>
      </p:sp>
      <p:sp>
        <p:nvSpPr>
          <p:cNvPr id="3" name="TextBox 5">
            <a:extLst>
              <a:ext uri="{FF2B5EF4-FFF2-40B4-BE49-F238E27FC236}">
                <a16:creationId xmlns:a16="http://schemas.microsoft.com/office/drawing/2014/main" id="{83E1D1CF-690D-0A0A-EA1D-7D29EF88EA78}"/>
              </a:ext>
            </a:extLst>
          </p:cNvPr>
          <p:cNvSpPr txBox="1"/>
          <p:nvPr/>
        </p:nvSpPr>
        <p:spPr>
          <a:xfrm>
            <a:off x="685373" y="376871"/>
            <a:ext cx="11643908" cy="1292661"/>
          </a:xfrm>
          <a:prstGeom prst="rect">
            <a:avLst/>
          </a:prstGeom>
        </p:spPr>
        <p:txBody>
          <a:bodyPr wrap="square" lIns="0" tIns="0" rIns="0" bIns="0" rtlCol="0" anchor="t">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4200" b="1" noProof="0">
                <a:solidFill>
                  <a:srgbClr val="000000"/>
                </a:solidFill>
                <a:latin typeface="Montserrat Medium"/>
                <a:ea typeface="+mn-lt"/>
                <a:cs typeface="+mn-lt"/>
                <a:sym typeface="Montserrat Medium"/>
              </a:rPr>
              <a:t>Use Case: </a:t>
            </a:r>
            <a:r>
              <a:rPr lang="en-US" sz="4200" noProof="0">
                <a:solidFill>
                  <a:srgbClr val="000000"/>
                </a:solidFill>
                <a:latin typeface="Montserrat Medium"/>
                <a:ea typeface="+mn-lt"/>
                <a:cs typeface="+mn-lt"/>
                <a:sym typeface="Montserrat Medium"/>
              </a:rPr>
              <a:t>Payment's knowledge support( compliance with ISO 20020)</a:t>
            </a:r>
            <a:endParaRPr lang="en-US" sz="4200" noProof="0">
              <a:latin typeface="Montserrat Medium"/>
            </a:endParaRPr>
          </a:p>
        </p:txBody>
      </p:sp>
      <p:grpSp>
        <p:nvGrpSpPr>
          <p:cNvPr id="7" name="Group 24">
            <a:extLst>
              <a:ext uri="{FF2B5EF4-FFF2-40B4-BE49-F238E27FC236}">
                <a16:creationId xmlns:a16="http://schemas.microsoft.com/office/drawing/2014/main" id="{CFC350AE-A9D4-25A7-8696-48A8B23B0DB4}"/>
              </a:ext>
            </a:extLst>
          </p:cNvPr>
          <p:cNvGrpSpPr/>
          <p:nvPr/>
        </p:nvGrpSpPr>
        <p:grpSpPr>
          <a:xfrm>
            <a:off x="8353239" y="1590783"/>
            <a:ext cx="612363" cy="56823"/>
            <a:chOff x="0" y="0"/>
            <a:chExt cx="1078484" cy="100076"/>
          </a:xfrm>
        </p:grpSpPr>
        <p:sp>
          <p:nvSpPr>
            <p:cNvPr id="6" name="Freeform 25">
              <a:extLst>
                <a:ext uri="{FF2B5EF4-FFF2-40B4-BE49-F238E27FC236}">
                  <a16:creationId xmlns:a16="http://schemas.microsoft.com/office/drawing/2014/main" id="{F88E8C1B-D205-17CB-0739-82E4B9F75465}"/>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endParaRPr lang="en-US" sz="1800" noProof="0"/>
            </a:p>
          </p:txBody>
        </p:sp>
      </p:grpSp>
      <p:grpSp>
        <p:nvGrpSpPr>
          <p:cNvPr id="8" name="Agrupar 7">
            <a:extLst>
              <a:ext uri="{FF2B5EF4-FFF2-40B4-BE49-F238E27FC236}">
                <a16:creationId xmlns:a16="http://schemas.microsoft.com/office/drawing/2014/main" id="{FE637AE2-A061-9AA0-8F35-6B6CFCFBE4A4}"/>
              </a:ext>
            </a:extLst>
          </p:cNvPr>
          <p:cNvGrpSpPr/>
          <p:nvPr/>
        </p:nvGrpSpPr>
        <p:grpSpPr>
          <a:xfrm>
            <a:off x="779218" y="1682504"/>
            <a:ext cx="7346495" cy="1935996"/>
            <a:chOff x="519478" y="1121669"/>
            <a:chExt cx="4897663" cy="1290664"/>
          </a:xfrm>
        </p:grpSpPr>
        <p:sp>
          <p:nvSpPr>
            <p:cNvPr id="5" name="CaixaDeTexto 4">
              <a:extLst>
                <a:ext uri="{FF2B5EF4-FFF2-40B4-BE49-F238E27FC236}">
                  <a16:creationId xmlns:a16="http://schemas.microsoft.com/office/drawing/2014/main" id="{8E5F7909-439F-78FE-EFCC-F6417785E849}"/>
                </a:ext>
              </a:extLst>
            </p:cNvPr>
            <p:cNvSpPr txBox="1"/>
            <p:nvPr/>
          </p:nvSpPr>
          <p:spPr>
            <a:xfrm>
              <a:off x="519478" y="1396670"/>
              <a:ext cx="4897663" cy="1015663"/>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1800" noProof="0">
                  <a:solidFill>
                    <a:srgbClr val="212121"/>
                  </a:solidFill>
                  <a:latin typeface="Montserrat Light"/>
                  <a:ea typeface="Roboto"/>
                  <a:cs typeface="Roboto"/>
                </a:rPr>
                <a:t>The product team has a large daily volume of messages in which it needs to evaluate and understand the transformation rules. This scenario required a thorough analysis of a large volume of documents and compliance with law, which made the process hard to interpret. </a:t>
              </a:r>
              <a:endParaRPr lang="en-US" sz="1800" noProof="0">
                <a:solidFill>
                  <a:srgbClr val="212121"/>
                </a:solidFill>
                <a:highlight>
                  <a:srgbClr val="FFFF00"/>
                </a:highlight>
                <a:latin typeface="Montserrat Light"/>
                <a:ea typeface="Roboto"/>
                <a:cs typeface="Roboto"/>
              </a:endParaRPr>
            </a:p>
          </p:txBody>
        </p:sp>
        <p:sp>
          <p:nvSpPr>
            <p:cNvPr id="9" name="TextBox 5">
              <a:extLst>
                <a:ext uri="{FF2B5EF4-FFF2-40B4-BE49-F238E27FC236}">
                  <a16:creationId xmlns:a16="http://schemas.microsoft.com/office/drawing/2014/main" id="{23222E31-CF20-1DD6-8CB3-3AFCDBB86048}"/>
                </a:ext>
              </a:extLst>
            </p:cNvPr>
            <p:cNvSpPr txBox="1"/>
            <p:nvPr/>
          </p:nvSpPr>
          <p:spPr>
            <a:xfrm>
              <a:off x="519478" y="1121669"/>
              <a:ext cx="3950630" cy="276999"/>
            </a:xfrm>
            <a:prstGeom prst="rect">
              <a:avLst/>
            </a:prstGeom>
          </p:spPr>
          <p:txBody>
            <a:bodyPr wrap="square" lIns="0" tIns="0" rIns="0" bIns="0" rtlCol="0" anchor="t">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4050" b="1" i="1" noProof="0">
                  <a:solidFill>
                    <a:srgbClr val="713BFE"/>
                  </a:solidFill>
                  <a:latin typeface="Montserrat Medium"/>
                  <a:ea typeface="+mn-lt"/>
                  <a:cs typeface="+mn-lt"/>
                  <a:sym typeface="Montserrat Medium"/>
                </a:rPr>
                <a:t>Context</a:t>
              </a:r>
              <a:endParaRPr lang="en-US" sz="4050" b="1" noProof="0">
                <a:solidFill>
                  <a:srgbClr val="713BFE"/>
                </a:solidFill>
                <a:latin typeface="Montserrat Medium"/>
              </a:endParaRPr>
            </a:p>
          </p:txBody>
        </p:sp>
      </p:grpSp>
      <p:grpSp>
        <p:nvGrpSpPr>
          <p:cNvPr id="10" name="Agrupar 9">
            <a:extLst>
              <a:ext uri="{FF2B5EF4-FFF2-40B4-BE49-F238E27FC236}">
                <a16:creationId xmlns:a16="http://schemas.microsoft.com/office/drawing/2014/main" id="{D0673D8E-1ADD-6349-C481-C52B6CD86708}"/>
              </a:ext>
            </a:extLst>
          </p:cNvPr>
          <p:cNvGrpSpPr/>
          <p:nvPr/>
        </p:nvGrpSpPr>
        <p:grpSpPr>
          <a:xfrm>
            <a:off x="779217" y="4000805"/>
            <a:ext cx="7346496" cy="1935994"/>
            <a:chOff x="519478" y="2664030"/>
            <a:chExt cx="4897664" cy="1290662"/>
          </a:xfrm>
        </p:grpSpPr>
        <p:sp>
          <p:nvSpPr>
            <p:cNvPr id="15" name="CaixaDeTexto 14">
              <a:extLst>
                <a:ext uri="{FF2B5EF4-FFF2-40B4-BE49-F238E27FC236}">
                  <a16:creationId xmlns:a16="http://schemas.microsoft.com/office/drawing/2014/main" id="{D5D6F6D2-145C-C392-E661-D1170699DC36}"/>
                </a:ext>
              </a:extLst>
            </p:cNvPr>
            <p:cNvSpPr txBox="1"/>
            <p:nvPr/>
          </p:nvSpPr>
          <p:spPr>
            <a:xfrm>
              <a:off x="519478" y="2939030"/>
              <a:ext cx="4897664" cy="1015662"/>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1800" noProof="0">
                  <a:solidFill>
                    <a:srgbClr val="212121"/>
                  </a:solidFill>
                  <a:latin typeface="Montserrat Light"/>
                  <a:ea typeface="Roboto"/>
                  <a:cs typeface="Roboto"/>
                </a:rPr>
                <a:t>The creation of a Knowledge Center on the platform to store the business rules and transformation criteria for the new established standard, as well as the use of action triggers, aimed to extract the main rules and adherence to the transformation.</a:t>
              </a:r>
              <a:endParaRPr lang="en-US" sz="4050" noProof="0">
                <a:solidFill>
                  <a:srgbClr val="212121"/>
                </a:solidFill>
                <a:latin typeface="Montserrat Light"/>
              </a:endParaRPr>
            </a:p>
          </p:txBody>
        </p:sp>
        <p:sp>
          <p:nvSpPr>
            <p:cNvPr id="16" name="TextBox 5">
              <a:extLst>
                <a:ext uri="{FF2B5EF4-FFF2-40B4-BE49-F238E27FC236}">
                  <a16:creationId xmlns:a16="http://schemas.microsoft.com/office/drawing/2014/main" id="{332D52C2-EDF6-3AA3-F9AD-D397583DE3E0}"/>
                </a:ext>
              </a:extLst>
            </p:cNvPr>
            <p:cNvSpPr txBox="1"/>
            <p:nvPr/>
          </p:nvSpPr>
          <p:spPr>
            <a:xfrm>
              <a:off x="519478" y="2664030"/>
              <a:ext cx="3950630" cy="276999"/>
            </a:xfrm>
            <a:prstGeom prst="rect">
              <a:avLst/>
            </a:prstGeom>
          </p:spPr>
          <p:txBody>
            <a:bodyPr wrap="square" lIns="0" tIns="0" rIns="0" bIns="0" rtlCol="0" anchor="t">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4050" b="1" i="1" noProof="0">
                  <a:solidFill>
                    <a:srgbClr val="713BFE"/>
                  </a:solidFill>
                  <a:latin typeface="Montserrat Medium"/>
                  <a:ea typeface="+mn-lt"/>
                  <a:cs typeface="+mn-lt"/>
                  <a:sym typeface="Montserrat Medium"/>
                </a:rPr>
                <a:t>Solution</a:t>
              </a:r>
              <a:endParaRPr lang="en-US" sz="4050" noProof="0"/>
            </a:p>
          </p:txBody>
        </p:sp>
      </p:grpSp>
      <p:grpSp>
        <p:nvGrpSpPr>
          <p:cNvPr id="11" name="Agrupar 10">
            <a:extLst>
              <a:ext uri="{FF2B5EF4-FFF2-40B4-BE49-F238E27FC236}">
                <a16:creationId xmlns:a16="http://schemas.microsoft.com/office/drawing/2014/main" id="{6B3805FE-C96C-804B-ED25-1D4D87F0D569}"/>
              </a:ext>
            </a:extLst>
          </p:cNvPr>
          <p:cNvGrpSpPr/>
          <p:nvPr/>
        </p:nvGrpSpPr>
        <p:grpSpPr>
          <a:xfrm>
            <a:off x="779218" y="6571238"/>
            <a:ext cx="7346495" cy="2503765"/>
            <a:chOff x="519478" y="4380824"/>
            <a:chExt cx="4897663" cy="1669176"/>
          </a:xfrm>
        </p:grpSpPr>
        <p:sp>
          <p:nvSpPr>
            <p:cNvPr id="17" name="CaixaDeTexto 16">
              <a:extLst>
                <a:ext uri="{FF2B5EF4-FFF2-40B4-BE49-F238E27FC236}">
                  <a16:creationId xmlns:a16="http://schemas.microsoft.com/office/drawing/2014/main" id="{FA4820B6-5267-5E0F-8510-8B13B31B5855}"/>
                </a:ext>
              </a:extLst>
            </p:cNvPr>
            <p:cNvSpPr txBox="1"/>
            <p:nvPr/>
          </p:nvSpPr>
          <p:spPr>
            <a:xfrm>
              <a:off x="519478" y="4665006"/>
              <a:ext cx="4897663" cy="1384994"/>
            </a:xfrm>
            <a:prstGeom prst="rect">
              <a:avLst/>
            </a:prstGeom>
            <a:noFill/>
          </p:spPr>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1800" noProof="0">
                  <a:solidFill>
                    <a:srgbClr val="212121"/>
                  </a:solidFill>
                  <a:latin typeface="Montserrat Light"/>
                  <a:ea typeface="Roboto"/>
                  <a:cs typeface="Roboto"/>
                </a:rPr>
                <a:t>After implementation, the team received a structured preliminary result, making it easier to understand the transformations and check the ISSUES without having to read it manually. The professionals were happy to analyze quickly, identifying inconsistencies and finding information that was not consistent, reducing their analysis efforts and the time it took to submit the messages.</a:t>
              </a:r>
              <a:endParaRPr lang="en-US" sz="4050" noProof="0">
                <a:solidFill>
                  <a:srgbClr val="212121"/>
                </a:solidFill>
                <a:latin typeface="Montserrat Light"/>
              </a:endParaRPr>
            </a:p>
          </p:txBody>
        </p:sp>
        <p:sp>
          <p:nvSpPr>
            <p:cNvPr id="18" name="TextBox 5">
              <a:extLst>
                <a:ext uri="{FF2B5EF4-FFF2-40B4-BE49-F238E27FC236}">
                  <a16:creationId xmlns:a16="http://schemas.microsoft.com/office/drawing/2014/main" id="{1A5949BE-09B8-5E5E-C795-9546ED44D8DB}"/>
                </a:ext>
              </a:extLst>
            </p:cNvPr>
            <p:cNvSpPr txBox="1"/>
            <p:nvPr/>
          </p:nvSpPr>
          <p:spPr>
            <a:xfrm>
              <a:off x="519478" y="4380824"/>
              <a:ext cx="3950630" cy="276999"/>
            </a:xfrm>
            <a:prstGeom prst="rect">
              <a:avLst/>
            </a:prstGeom>
          </p:spPr>
          <p:txBody>
            <a:bodyPr wrap="square" lIns="0" tIns="0" rIns="0" bIns="0" rtlCol="0" anchor="t">
              <a:spAutoFit/>
            </a:bodyPr>
            <a:lstStyle>
              <a:defPPr>
                <a:defRPr lang="es-CO"/>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4050" b="1" i="1" noProof="0">
                  <a:solidFill>
                    <a:srgbClr val="713BFE"/>
                  </a:solidFill>
                  <a:latin typeface="Montserrat Medium"/>
                  <a:ea typeface="+mn-lt"/>
                  <a:cs typeface="+mn-lt"/>
                  <a:sym typeface="Montserrat Medium"/>
                </a:rPr>
                <a:t>Results</a:t>
              </a:r>
              <a:endParaRPr lang="en-US" sz="4050" noProof="0"/>
            </a:p>
          </p:txBody>
        </p:sp>
      </p:grpSp>
      <p:pic>
        <p:nvPicPr>
          <p:cNvPr id="24" name="Imagem 23" descr="Interface gráfica do usuário&#10;&#10;O conteúdo gerado por IA pode estar incorreto.">
            <a:extLst>
              <a:ext uri="{FF2B5EF4-FFF2-40B4-BE49-F238E27FC236}">
                <a16:creationId xmlns:a16="http://schemas.microsoft.com/office/drawing/2014/main" id="{77E3A098-84EF-58E7-74F4-F261333C069D}"/>
              </a:ext>
            </a:extLst>
          </p:cNvPr>
          <p:cNvPicPr>
            <a:picLocks noChangeAspect="1"/>
          </p:cNvPicPr>
          <p:nvPr/>
        </p:nvPicPr>
        <p:blipFill>
          <a:blip r:embed="rId2"/>
          <a:srcRect t="36559" r="535" b="37459"/>
          <a:stretch/>
        </p:blipFill>
        <p:spPr>
          <a:xfrm>
            <a:off x="15873955" y="9343148"/>
            <a:ext cx="1787384" cy="459804"/>
          </a:xfrm>
          <a:prstGeom prst="rect">
            <a:avLst/>
          </a:prstGeom>
        </p:spPr>
      </p:pic>
      <p:pic>
        <p:nvPicPr>
          <p:cNvPr id="21" name="Imagem 20" descr="Interface gráfica do usuário, Aplicativo&#10;&#10;O conteúdo gerado por IA pode estar incorreto.">
            <a:extLst>
              <a:ext uri="{FF2B5EF4-FFF2-40B4-BE49-F238E27FC236}">
                <a16:creationId xmlns:a16="http://schemas.microsoft.com/office/drawing/2014/main" id="{54449C03-B3A3-D50B-10C1-30C03222D127}"/>
              </a:ext>
            </a:extLst>
          </p:cNvPr>
          <p:cNvPicPr>
            <a:picLocks noChangeAspect="1"/>
          </p:cNvPicPr>
          <p:nvPr/>
        </p:nvPicPr>
        <p:blipFill>
          <a:blip r:embed="rId3"/>
          <a:stretch>
            <a:fillRect/>
          </a:stretch>
        </p:blipFill>
        <p:spPr>
          <a:xfrm>
            <a:off x="10287000" y="2137163"/>
            <a:ext cx="7531275" cy="3804963"/>
          </a:xfrm>
          <a:prstGeom prst="rect">
            <a:avLst/>
          </a:prstGeom>
        </p:spPr>
      </p:pic>
      <p:pic>
        <p:nvPicPr>
          <p:cNvPr id="2" name="Imagem 1" descr="Interface gráfica do usuário, Texto, Aplicativo, Email&#10;&#10;O conteúdo gerado por IA pode estar incorreto.">
            <a:extLst>
              <a:ext uri="{FF2B5EF4-FFF2-40B4-BE49-F238E27FC236}">
                <a16:creationId xmlns:a16="http://schemas.microsoft.com/office/drawing/2014/main" id="{699511A8-B02E-5DB4-D7D9-32DCDDDFE8DF}"/>
              </a:ext>
            </a:extLst>
          </p:cNvPr>
          <p:cNvPicPr>
            <a:picLocks noChangeAspect="1"/>
          </p:cNvPicPr>
          <p:nvPr/>
        </p:nvPicPr>
        <p:blipFill>
          <a:blip r:embed="rId4"/>
          <a:stretch>
            <a:fillRect/>
          </a:stretch>
        </p:blipFill>
        <p:spPr>
          <a:xfrm>
            <a:off x="8782292" y="4113239"/>
            <a:ext cx="8507393" cy="4332053"/>
          </a:xfrm>
          <a:prstGeom prst="rect">
            <a:avLst/>
          </a:prstGeom>
        </p:spPr>
      </p:pic>
    </p:spTree>
    <p:extLst>
      <p:ext uri="{BB962C8B-B14F-4D97-AF65-F5344CB8AC3E}">
        <p14:creationId xmlns:p14="http://schemas.microsoft.com/office/powerpoint/2010/main" val="32170110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480D25-31A5-EC5C-4B95-BB8D1AD272A0}"/>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A9DA1992-7FBB-298A-C5AC-F1B0F8A46328}"/>
              </a:ext>
            </a:extLst>
          </p:cNvPr>
          <p:cNvSpPr>
            <a:spLocks noGrp="1"/>
          </p:cNvSpPr>
          <p:nvPr>
            <p:ph type="title"/>
          </p:nvPr>
        </p:nvSpPr>
        <p:spPr>
          <a:xfrm>
            <a:off x="1230100" y="3009200"/>
            <a:ext cx="7079697" cy="2964600"/>
          </a:xfrm>
        </p:spPr>
        <p:txBody>
          <a:bodyPr/>
          <a:lstStyle/>
          <a:p>
            <a:r>
              <a:rPr lang="en-US" sz="4400" noProof="0">
                <a:latin typeface="Montserrat Bold"/>
              </a:rPr>
              <a:t>INNOVATION &amp; DIGITAL ENABLEMENT</a:t>
            </a:r>
          </a:p>
        </p:txBody>
      </p:sp>
    </p:spTree>
    <p:extLst>
      <p:ext uri="{BB962C8B-B14F-4D97-AF65-F5344CB8AC3E}">
        <p14:creationId xmlns:p14="http://schemas.microsoft.com/office/powerpoint/2010/main" val="17933667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Freeform 2">
            <a:extLst>
              <a:ext uri="{FF2B5EF4-FFF2-40B4-BE49-F238E27FC236}">
                <a16:creationId xmlns:a16="http://schemas.microsoft.com/office/drawing/2014/main" id="{944DF123-D82A-5D29-967F-561CFAFAF010}"/>
              </a:ext>
            </a:extLst>
          </p:cNvPr>
          <p:cNvSpPr/>
          <p:nvPr/>
        </p:nvSpPr>
        <p:spPr>
          <a:xfrm rot="5400000">
            <a:off x="7776022" y="-222353"/>
            <a:ext cx="10287000" cy="10731709"/>
          </a:xfrm>
          <a:custGeom>
            <a:avLst/>
            <a:gdLst/>
            <a:ahLst/>
            <a:cxnLst/>
            <a:rect l="l" t="t" r="r" b="b"/>
            <a:pathLst>
              <a:path w="10287000" h="9506921">
                <a:moveTo>
                  <a:pt x="0" y="0"/>
                </a:moveTo>
                <a:lnTo>
                  <a:pt x="10287000" y="0"/>
                </a:lnTo>
                <a:lnTo>
                  <a:pt x="10287000" y="9506922"/>
                </a:lnTo>
                <a:lnTo>
                  <a:pt x="0" y="9506922"/>
                </a:lnTo>
                <a:lnTo>
                  <a:pt x="0" y="0"/>
                </a:lnTo>
                <a:close/>
              </a:path>
            </a:pathLst>
          </a:custGeom>
          <a:blipFill>
            <a:blip r:embed="rId2" cstate="email">
              <a:extLst>
                <a:ext uri="{28A0092B-C50C-407E-A947-70E740481C1C}">
                  <a14:useLocalDpi xmlns:a14="http://schemas.microsoft.com/office/drawing/2010/main"/>
                </a:ext>
              </a:extLst>
            </a:blip>
            <a:stretch>
              <a:fillRect/>
            </a:stretch>
          </a:blipFill>
        </p:spPr>
        <p:txBody>
          <a:bodyPr/>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
        <p:nvSpPr>
          <p:cNvPr id="13" name="Freeform 64">
            <a:extLst>
              <a:ext uri="{FF2B5EF4-FFF2-40B4-BE49-F238E27FC236}">
                <a16:creationId xmlns:a16="http://schemas.microsoft.com/office/drawing/2014/main" id="{A649B268-DC7D-68A2-B1DB-65B9111C17D3}"/>
              </a:ext>
            </a:extLst>
          </p:cNvPr>
          <p:cNvSpPr>
            <a:spLocks noChangeArrowheads="1"/>
          </p:cNvSpPr>
          <p:nvPr/>
        </p:nvSpPr>
        <p:spPr bwMode="auto">
          <a:xfrm>
            <a:off x="8320166" y="3285804"/>
            <a:ext cx="1378222" cy="1297976"/>
          </a:xfrm>
          <a:custGeom>
            <a:avLst/>
            <a:gdLst>
              <a:gd name="T0" fmla="*/ 651639 w 2003"/>
              <a:gd name="T1" fmla="*/ 477662 h 1892"/>
              <a:gd name="T2" fmla="*/ 651639 w 2003"/>
              <a:gd name="T3" fmla="*/ 477662 h 1892"/>
              <a:gd name="T4" fmla="*/ 680425 w 2003"/>
              <a:gd name="T5" fmla="*/ 340519 h 1892"/>
              <a:gd name="T6" fmla="*/ 680425 w 2003"/>
              <a:gd name="T7" fmla="*/ 340519 h 1892"/>
              <a:gd name="T8" fmla="*/ 340392 w 2003"/>
              <a:gd name="T9" fmla="*/ 0 h 1892"/>
              <a:gd name="T10" fmla="*/ 340392 w 2003"/>
              <a:gd name="T11" fmla="*/ 0 h 1892"/>
              <a:gd name="T12" fmla="*/ 0 w 2003"/>
              <a:gd name="T13" fmla="*/ 340519 h 1892"/>
              <a:gd name="T14" fmla="*/ 0 w 2003"/>
              <a:gd name="T15" fmla="*/ 340519 h 1892"/>
              <a:gd name="T16" fmla="*/ 340392 w 2003"/>
              <a:gd name="T17" fmla="*/ 680677 h 1892"/>
              <a:gd name="T18" fmla="*/ 340392 w 2003"/>
              <a:gd name="T19" fmla="*/ 680677 h 1892"/>
              <a:gd name="T20" fmla="*/ 562763 w 2003"/>
              <a:gd name="T21" fmla="*/ 597527 h 1892"/>
              <a:gd name="T22" fmla="*/ 720365 w 2003"/>
              <a:gd name="T23" fmla="*/ 651161 h 1892"/>
              <a:gd name="T24" fmla="*/ 651639 w 2003"/>
              <a:gd name="T25" fmla="*/ 477662 h 189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03" h="1892">
                <a:moveTo>
                  <a:pt x="1811" y="1327"/>
                </a:moveTo>
                <a:lnTo>
                  <a:pt x="1811" y="1327"/>
                </a:lnTo>
                <a:cubicBezTo>
                  <a:pt x="1862" y="1210"/>
                  <a:pt x="1891" y="1081"/>
                  <a:pt x="1891" y="946"/>
                </a:cubicBezTo>
                <a:cubicBezTo>
                  <a:pt x="1891" y="423"/>
                  <a:pt x="1468" y="0"/>
                  <a:pt x="946" y="0"/>
                </a:cubicBezTo>
                <a:cubicBezTo>
                  <a:pt x="424" y="0"/>
                  <a:pt x="0" y="423"/>
                  <a:pt x="0" y="946"/>
                </a:cubicBezTo>
                <a:cubicBezTo>
                  <a:pt x="0" y="1467"/>
                  <a:pt x="424" y="1891"/>
                  <a:pt x="946" y="1891"/>
                </a:cubicBezTo>
                <a:cubicBezTo>
                  <a:pt x="1182" y="1891"/>
                  <a:pt x="1398" y="1804"/>
                  <a:pt x="1564" y="1660"/>
                </a:cubicBezTo>
                <a:lnTo>
                  <a:pt x="2002" y="1809"/>
                </a:lnTo>
                <a:lnTo>
                  <a:pt x="1811" y="1327"/>
                </a:lnTo>
              </a:path>
            </a:pathLst>
          </a:custGeom>
          <a:gradFill>
            <a:gsLst>
              <a:gs pos="62000">
                <a:srgbClr val="6800FF"/>
              </a:gs>
              <a:gs pos="13000">
                <a:srgbClr val="6800FF"/>
              </a:gs>
              <a:gs pos="85000">
                <a:srgbClr val="893BC3"/>
              </a:gs>
            </a:gsLst>
            <a:lin ang="2700000" scaled="0"/>
          </a:gradFill>
          <a:ln w="12700" cap="flat">
            <a:noFill/>
            <a:miter lim="400000"/>
          </a:ln>
          <a:effectLst/>
        </p:spPr>
        <p:txBody>
          <a:bodyPr wrap="square" lIns="0" tIns="0" rIns="0" bIns="0" numCol="1" anchor="t">
            <a:noAutofit/>
          </a:bodyPr>
          <a:lstStyle/>
          <a:p>
            <a:pPr defTabSz="1371394">
              <a:buClr>
                <a:srgbClr val="000000"/>
              </a:buClr>
            </a:pPr>
            <a:endParaRPr lang="en-US" sz="3798" kern="0" noProof="0">
              <a:solidFill>
                <a:srgbClr val="666666"/>
              </a:solidFill>
              <a:latin typeface="Montserrat" pitchFamily="2" charset="77"/>
              <a:cs typeface="Arial"/>
              <a:sym typeface="Arial"/>
            </a:endParaRPr>
          </a:p>
        </p:txBody>
      </p:sp>
      <p:sp>
        <p:nvSpPr>
          <p:cNvPr id="4" name="CaixaDeTexto 3">
            <a:extLst>
              <a:ext uri="{FF2B5EF4-FFF2-40B4-BE49-F238E27FC236}">
                <a16:creationId xmlns:a16="http://schemas.microsoft.com/office/drawing/2014/main" id="{1B80ADB8-9947-4133-C6EC-96FE21936554}"/>
              </a:ext>
            </a:extLst>
          </p:cNvPr>
          <p:cNvSpPr txBox="1"/>
          <p:nvPr/>
        </p:nvSpPr>
        <p:spPr>
          <a:xfrm>
            <a:off x="662329" y="3584770"/>
            <a:ext cx="6750410" cy="2648161"/>
          </a:xfrm>
          <a:prstGeom prst="rect">
            <a:avLst/>
          </a:prstGeom>
          <a:noFill/>
        </p:spPr>
        <p:txBody>
          <a:bodyPr wrap="square" lIns="91440" tIns="45720" rIns="91440" bIns="45720" anchor="t">
            <a:spAutoFit/>
          </a:bodyPr>
          <a:lstStyle/>
          <a:p>
            <a:pPr defTabSz="1828800">
              <a:lnSpc>
                <a:spcPts val="6800"/>
              </a:lnSpc>
              <a:buClr>
                <a:srgbClr val="000000"/>
              </a:buClr>
              <a:defRPr/>
            </a:pPr>
            <a:r>
              <a:rPr lang="en-US" sz="4800" b="1" noProof="0">
                <a:solidFill>
                  <a:schemeClr val="bg1"/>
                </a:solidFill>
                <a:latin typeface="Montserrat Bold"/>
                <a:sym typeface="Montserrat"/>
              </a:rPr>
              <a:t>The challenges</a:t>
            </a:r>
            <a:r>
              <a:rPr lang="en-US" sz="4800" b="1" noProof="0">
                <a:solidFill>
                  <a:srgbClr val="6800FF"/>
                </a:solidFill>
                <a:latin typeface="Montserrat Bold"/>
                <a:sym typeface="Montserrat"/>
              </a:rPr>
              <a:t> </a:t>
            </a:r>
            <a:r>
              <a:rPr lang="en-US" sz="4800" b="1" noProof="0">
                <a:solidFill>
                  <a:schemeClr val="bg1"/>
                </a:solidFill>
                <a:latin typeface="Montserrat Bold"/>
                <a:sym typeface="Montserrat"/>
              </a:rPr>
              <a:t>in</a:t>
            </a:r>
            <a:r>
              <a:rPr lang="en-US" sz="4800" b="1" noProof="0">
                <a:solidFill>
                  <a:srgbClr val="6800FF"/>
                </a:solidFill>
                <a:latin typeface="Montserrat Bold"/>
                <a:sym typeface="Montserrat"/>
              </a:rPr>
              <a:t> </a:t>
            </a:r>
            <a:r>
              <a:rPr lang="en-US" sz="4800" b="1" i="1" noProof="0">
                <a:solidFill>
                  <a:srgbClr val="6800FF"/>
                </a:solidFill>
                <a:latin typeface="Montserrat Bold"/>
                <a:sym typeface="Montserrat"/>
              </a:rPr>
              <a:t>traditional software development</a:t>
            </a:r>
            <a:endParaRPr lang="en-US" sz="4800" b="1" i="1" noProof="0">
              <a:solidFill>
                <a:srgbClr val="6800FF"/>
              </a:solidFill>
              <a:latin typeface="Montserrat Bold"/>
            </a:endParaRPr>
          </a:p>
        </p:txBody>
      </p:sp>
      <p:sp>
        <p:nvSpPr>
          <p:cNvPr id="8" name="TextBox 12">
            <a:extLst>
              <a:ext uri="{FF2B5EF4-FFF2-40B4-BE49-F238E27FC236}">
                <a16:creationId xmlns:a16="http://schemas.microsoft.com/office/drawing/2014/main" id="{7B6FF9DE-DB30-037C-EB6D-97192B30494D}"/>
              </a:ext>
            </a:extLst>
          </p:cNvPr>
          <p:cNvSpPr txBox="1"/>
          <p:nvPr/>
        </p:nvSpPr>
        <p:spPr>
          <a:xfrm>
            <a:off x="10440746" y="3274320"/>
            <a:ext cx="7144714" cy="1345497"/>
          </a:xfrm>
          <a:prstGeom prst="rect">
            <a:avLst/>
          </a:prstGeom>
        </p:spPr>
        <p:txBody>
          <a:bodyPr wrap="square" lIns="0" tIns="0" rIns="0" bIns="0" rtlCol="0" anchor="t">
            <a:spAutoFit/>
          </a:bodyPr>
          <a:lstStyle/>
          <a:p>
            <a:pPr algn="just">
              <a:lnSpc>
                <a:spcPts val="3633"/>
              </a:lnSpc>
            </a:pPr>
            <a:r>
              <a:rPr lang="en-US" sz="2600" noProof="0">
                <a:solidFill>
                  <a:schemeClr val="bg1"/>
                </a:solidFill>
                <a:latin typeface="Montserrat"/>
                <a:ea typeface="+mn-lt"/>
                <a:cs typeface="+mn-lt"/>
              </a:rPr>
              <a:t>Addresses the existing </a:t>
            </a:r>
            <a:r>
              <a:rPr lang="en-US" sz="2600" b="1" noProof="0">
                <a:solidFill>
                  <a:srgbClr val="5C00D6"/>
                </a:solidFill>
                <a:latin typeface="Montserrat"/>
                <a:ea typeface="+mn-lt"/>
                <a:cs typeface="+mn-lt"/>
              </a:rPr>
              <a:t>shortage of development</a:t>
            </a:r>
            <a:r>
              <a:rPr lang="en-US" sz="2600" b="1" noProof="0">
                <a:solidFill>
                  <a:srgbClr val="6800FF"/>
                </a:solidFill>
                <a:latin typeface="Montserrat"/>
                <a:ea typeface="+mn-lt"/>
                <a:cs typeface="+mn-lt"/>
              </a:rPr>
              <a:t> </a:t>
            </a:r>
            <a:r>
              <a:rPr lang="en-US" sz="2600" noProof="0">
                <a:solidFill>
                  <a:schemeClr val="bg1"/>
                </a:solidFill>
                <a:latin typeface="Montserrat"/>
                <a:ea typeface="+mn-lt"/>
                <a:cs typeface="+mn-lt"/>
              </a:rPr>
              <a:t>professionals in the market and the </a:t>
            </a:r>
            <a:r>
              <a:rPr lang="en-US" sz="2600" b="1" noProof="0">
                <a:solidFill>
                  <a:srgbClr val="6800FF"/>
                </a:solidFill>
                <a:latin typeface="Montserrat"/>
                <a:ea typeface="+mn-lt"/>
                <a:cs typeface="+mn-lt"/>
              </a:rPr>
              <a:t>turnover</a:t>
            </a:r>
            <a:r>
              <a:rPr lang="en-US" sz="2600" noProof="0">
                <a:solidFill>
                  <a:schemeClr val="bg1"/>
                </a:solidFill>
                <a:latin typeface="Montserrat"/>
                <a:ea typeface="+mn-lt"/>
                <a:cs typeface="+mn-lt"/>
              </a:rPr>
              <a:t> in the technology area</a:t>
            </a:r>
            <a:endParaRPr lang="en-US" sz="2600" noProof="0">
              <a:solidFill>
                <a:schemeClr val="bg1"/>
              </a:solidFill>
            </a:endParaRPr>
          </a:p>
        </p:txBody>
      </p:sp>
      <p:sp>
        <p:nvSpPr>
          <p:cNvPr id="14" name="Google Shape;990;g16c70d33030_0_464">
            <a:extLst>
              <a:ext uri="{FF2B5EF4-FFF2-40B4-BE49-F238E27FC236}">
                <a16:creationId xmlns:a16="http://schemas.microsoft.com/office/drawing/2014/main" id="{F6B1FAD5-0FED-EF18-9C1D-045C5402499D}"/>
              </a:ext>
            </a:extLst>
          </p:cNvPr>
          <p:cNvSpPr/>
          <p:nvPr/>
        </p:nvSpPr>
        <p:spPr>
          <a:xfrm flipH="1">
            <a:off x="10031263" y="3370371"/>
            <a:ext cx="72241" cy="1254640"/>
          </a:xfrm>
          <a:prstGeom prst="rect">
            <a:avLst/>
          </a:prstGeom>
          <a:gradFill>
            <a:gsLst>
              <a:gs pos="62000">
                <a:srgbClr val="6800FF"/>
              </a:gs>
              <a:gs pos="13000">
                <a:srgbClr val="6800FF"/>
              </a:gs>
              <a:gs pos="85000">
                <a:srgbClr val="893BC3"/>
              </a:gs>
            </a:gsLst>
            <a:lin ang="2700000" scaled="0"/>
          </a:gradFill>
          <a:ln w="12700" cap="flat">
            <a:noFill/>
            <a:miter lim="400000"/>
          </a:ln>
          <a:effectLst/>
        </p:spPr>
        <p:txBody>
          <a:bodyPr wrap="square" lIns="0" tIns="0" rIns="0" bIns="0" numCol="1" anchor="t">
            <a:noAutofit/>
          </a:bodyPr>
          <a:lstStyle/>
          <a:p>
            <a:pPr defTabSz="1371394">
              <a:buClr>
                <a:srgbClr val="000000"/>
              </a:buClr>
            </a:pPr>
            <a:endParaRPr lang="en-US" sz="3798" kern="0" noProof="0">
              <a:solidFill>
                <a:srgbClr val="666666"/>
              </a:solidFill>
              <a:latin typeface="Montserrat" pitchFamily="2" charset="77"/>
              <a:cs typeface="Arial"/>
              <a:sym typeface="Arial"/>
            </a:endParaRPr>
          </a:p>
        </p:txBody>
      </p:sp>
      <p:pic>
        <p:nvPicPr>
          <p:cNvPr id="7" name="Gráfico 6" descr="Cabeça com engrenagens estrutura de tópicos">
            <a:extLst>
              <a:ext uri="{FF2B5EF4-FFF2-40B4-BE49-F238E27FC236}">
                <a16:creationId xmlns:a16="http://schemas.microsoft.com/office/drawing/2014/main" id="{2FE71A61-37B0-8A2D-4C6E-D82B9476FED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8439626" y="3382318"/>
            <a:ext cx="1138499" cy="1134694"/>
          </a:xfrm>
          <a:prstGeom prst="rect">
            <a:avLst/>
          </a:prstGeom>
        </p:spPr>
      </p:pic>
      <p:sp>
        <p:nvSpPr>
          <p:cNvPr id="15" name="Freeform 64">
            <a:extLst>
              <a:ext uri="{FF2B5EF4-FFF2-40B4-BE49-F238E27FC236}">
                <a16:creationId xmlns:a16="http://schemas.microsoft.com/office/drawing/2014/main" id="{95782138-7E4F-6F15-73B1-EEB0FFAA684B}"/>
              </a:ext>
            </a:extLst>
          </p:cNvPr>
          <p:cNvSpPr>
            <a:spLocks noChangeArrowheads="1"/>
          </p:cNvSpPr>
          <p:nvPr/>
        </p:nvSpPr>
        <p:spPr bwMode="auto">
          <a:xfrm>
            <a:off x="8320166" y="5571808"/>
            <a:ext cx="1373616" cy="1297976"/>
          </a:xfrm>
          <a:custGeom>
            <a:avLst/>
            <a:gdLst>
              <a:gd name="T0" fmla="*/ 651639 w 2003"/>
              <a:gd name="T1" fmla="*/ 477662 h 1892"/>
              <a:gd name="T2" fmla="*/ 651639 w 2003"/>
              <a:gd name="T3" fmla="*/ 477662 h 1892"/>
              <a:gd name="T4" fmla="*/ 680425 w 2003"/>
              <a:gd name="T5" fmla="*/ 340519 h 1892"/>
              <a:gd name="T6" fmla="*/ 680425 w 2003"/>
              <a:gd name="T7" fmla="*/ 340519 h 1892"/>
              <a:gd name="T8" fmla="*/ 340392 w 2003"/>
              <a:gd name="T9" fmla="*/ 0 h 1892"/>
              <a:gd name="T10" fmla="*/ 340392 w 2003"/>
              <a:gd name="T11" fmla="*/ 0 h 1892"/>
              <a:gd name="T12" fmla="*/ 0 w 2003"/>
              <a:gd name="T13" fmla="*/ 340519 h 1892"/>
              <a:gd name="T14" fmla="*/ 0 w 2003"/>
              <a:gd name="T15" fmla="*/ 340519 h 1892"/>
              <a:gd name="T16" fmla="*/ 340392 w 2003"/>
              <a:gd name="T17" fmla="*/ 680677 h 1892"/>
              <a:gd name="T18" fmla="*/ 340392 w 2003"/>
              <a:gd name="T19" fmla="*/ 680677 h 1892"/>
              <a:gd name="T20" fmla="*/ 562763 w 2003"/>
              <a:gd name="T21" fmla="*/ 597527 h 1892"/>
              <a:gd name="T22" fmla="*/ 720365 w 2003"/>
              <a:gd name="T23" fmla="*/ 651161 h 1892"/>
              <a:gd name="T24" fmla="*/ 651639 w 2003"/>
              <a:gd name="T25" fmla="*/ 477662 h 189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03" h="1892">
                <a:moveTo>
                  <a:pt x="1811" y="1327"/>
                </a:moveTo>
                <a:lnTo>
                  <a:pt x="1811" y="1327"/>
                </a:lnTo>
                <a:cubicBezTo>
                  <a:pt x="1862" y="1210"/>
                  <a:pt x="1891" y="1081"/>
                  <a:pt x="1891" y="946"/>
                </a:cubicBezTo>
                <a:cubicBezTo>
                  <a:pt x="1891" y="423"/>
                  <a:pt x="1468" y="0"/>
                  <a:pt x="946" y="0"/>
                </a:cubicBezTo>
                <a:cubicBezTo>
                  <a:pt x="424" y="0"/>
                  <a:pt x="0" y="423"/>
                  <a:pt x="0" y="946"/>
                </a:cubicBezTo>
                <a:cubicBezTo>
                  <a:pt x="0" y="1467"/>
                  <a:pt x="424" y="1891"/>
                  <a:pt x="946" y="1891"/>
                </a:cubicBezTo>
                <a:cubicBezTo>
                  <a:pt x="1182" y="1891"/>
                  <a:pt x="1398" y="1804"/>
                  <a:pt x="1564" y="1660"/>
                </a:cubicBezTo>
                <a:lnTo>
                  <a:pt x="2002" y="1809"/>
                </a:lnTo>
                <a:lnTo>
                  <a:pt x="1811" y="1327"/>
                </a:lnTo>
              </a:path>
            </a:pathLst>
          </a:custGeom>
          <a:gradFill>
            <a:gsLst>
              <a:gs pos="62000">
                <a:srgbClr val="6800FF"/>
              </a:gs>
              <a:gs pos="13000">
                <a:srgbClr val="6800FF"/>
              </a:gs>
              <a:gs pos="85000">
                <a:srgbClr val="893BC3"/>
              </a:gs>
            </a:gsLst>
            <a:lin ang="2700000" scaled="0"/>
          </a:gradFill>
          <a:ln w="12700" cap="flat">
            <a:noFill/>
            <a:miter lim="400000"/>
          </a:ln>
          <a:effectLst/>
        </p:spPr>
        <p:txBody>
          <a:bodyPr wrap="square" lIns="0" tIns="0" rIns="0" bIns="0" numCol="1" anchor="t">
            <a:noAutofit/>
          </a:bodyPr>
          <a:lstStyle/>
          <a:p>
            <a:pPr defTabSz="1371394">
              <a:buClr>
                <a:srgbClr val="000000"/>
              </a:buClr>
            </a:pPr>
            <a:endParaRPr lang="en-US" sz="3798" kern="0" noProof="0">
              <a:solidFill>
                <a:srgbClr val="666666"/>
              </a:solidFill>
              <a:latin typeface="Montserrat" pitchFamily="2" charset="77"/>
              <a:cs typeface="Arial"/>
              <a:sym typeface="Arial"/>
            </a:endParaRPr>
          </a:p>
        </p:txBody>
      </p:sp>
      <p:sp>
        <p:nvSpPr>
          <p:cNvPr id="16" name="TextBox 12">
            <a:extLst>
              <a:ext uri="{FF2B5EF4-FFF2-40B4-BE49-F238E27FC236}">
                <a16:creationId xmlns:a16="http://schemas.microsoft.com/office/drawing/2014/main" id="{4E83610E-916B-5264-32DF-0592F25AF733}"/>
              </a:ext>
            </a:extLst>
          </p:cNvPr>
          <p:cNvSpPr txBox="1"/>
          <p:nvPr/>
        </p:nvSpPr>
        <p:spPr>
          <a:xfrm>
            <a:off x="10440746" y="5560324"/>
            <a:ext cx="7144714" cy="1345497"/>
          </a:xfrm>
          <a:prstGeom prst="rect">
            <a:avLst/>
          </a:prstGeom>
        </p:spPr>
        <p:txBody>
          <a:bodyPr wrap="square" lIns="0" tIns="0" rIns="0" bIns="0" rtlCol="0" anchor="t">
            <a:spAutoFit/>
          </a:bodyPr>
          <a:lstStyle/>
          <a:p>
            <a:pPr algn="just">
              <a:lnSpc>
                <a:spcPts val="3633"/>
              </a:lnSpc>
            </a:pPr>
            <a:r>
              <a:rPr lang="en-US" sz="2600" noProof="0">
                <a:solidFill>
                  <a:schemeClr val="bg1"/>
                </a:solidFill>
                <a:latin typeface="Montserrat"/>
                <a:ea typeface="+mn-lt"/>
                <a:cs typeface="+mn-lt"/>
              </a:rPr>
              <a:t>It can make the </a:t>
            </a:r>
            <a:r>
              <a:rPr lang="en-US" sz="2600" b="1" noProof="0">
                <a:solidFill>
                  <a:srgbClr val="5C00D6"/>
                </a:solidFill>
                <a:latin typeface="Montserrat"/>
                <a:ea typeface="+mn-lt"/>
                <a:cs typeface="+mn-lt"/>
              </a:rPr>
              <a:t>customer experience difficult</a:t>
            </a:r>
            <a:r>
              <a:rPr lang="en-US" sz="2600" noProof="0">
                <a:solidFill>
                  <a:srgbClr val="5C00D6"/>
                </a:solidFill>
                <a:latin typeface="Montserrat"/>
                <a:ea typeface="+mn-lt"/>
                <a:cs typeface="+mn-lt"/>
              </a:rPr>
              <a:t> </a:t>
            </a:r>
            <a:r>
              <a:rPr lang="en-US" sz="2600" noProof="0">
                <a:solidFill>
                  <a:schemeClr val="bg1"/>
                </a:solidFill>
                <a:latin typeface="Montserrat"/>
                <a:ea typeface="+mn-lt"/>
                <a:cs typeface="+mn-lt"/>
              </a:rPr>
              <a:t>due to the natural complexity of the development process</a:t>
            </a:r>
            <a:endParaRPr lang="en-US" sz="2600" noProof="0">
              <a:solidFill>
                <a:schemeClr val="bg1"/>
              </a:solidFill>
            </a:endParaRPr>
          </a:p>
        </p:txBody>
      </p:sp>
      <p:sp>
        <p:nvSpPr>
          <p:cNvPr id="17" name="Google Shape;990;g16c70d33030_0_464">
            <a:extLst>
              <a:ext uri="{FF2B5EF4-FFF2-40B4-BE49-F238E27FC236}">
                <a16:creationId xmlns:a16="http://schemas.microsoft.com/office/drawing/2014/main" id="{9B1AFD3C-BF80-866E-E6F9-E9136B5ED3E2}"/>
              </a:ext>
            </a:extLst>
          </p:cNvPr>
          <p:cNvSpPr/>
          <p:nvPr/>
        </p:nvSpPr>
        <p:spPr>
          <a:xfrm flipH="1">
            <a:off x="10031264" y="5656375"/>
            <a:ext cx="72000" cy="1254640"/>
          </a:xfrm>
          <a:prstGeom prst="rect">
            <a:avLst/>
          </a:prstGeom>
          <a:gradFill>
            <a:gsLst>
              <a:gs pos="62000">
                <a:srgbClr val="6800FF"/>
              </a:gs>
              <a:gs pos="13000">
                <a:srgbClr val="6800FF"/>
              </a:gs>
              <a:gs pos="85000">
                <a:srgbClr val="893BC3"/>
              </a:gs>
            </a:gsLst>
            <a:lin ang="2700000" scaled="0"/>
          </a:gradFill>
          <a:ln w="12700" cap="flat">
            <a:noFill/>
            <a:miter lim="400000"/>
          </a:ln>
          <a:effectLst/>
        </p:spPr>
        <p:txBody>
          <a:bodyPr wrap="square" lIns="0" tIns="0" rIns="0" bIns="0" numCol="1" anchor="t">
            <a:noAutofit/>
          </a:bodyPr>
          <a:lstStyle/>
          <a:p>
            <a:pPr defTabSz="1371394">
              <a:buClr>
                <a:srgbClr val="000000"/>
              </a:buClr>
            </a:pPr>
            <a:endParaRPr lang="en-US" sz="3798" kern="0" noProof="0">
              <a:solidFill>
                <a:srgbClr val="666666"/>
              </a:solidFill>
              <a:latin typeface="Montserrat" pitchFamily="2" charset="77"/>
              <a:cs typeface="Arial"/>
              <a:sym typeface="Arial"/>
            </a:endParaRPr>
          </a:p>
        </p:txBody>
      </p:sp>
      <p:pic>
        <p:nvPicPr>
          <p:cNvPr id="18" name="Gráfico 17" descr="Interface do Usuário/Experiência do Usuário com preenchimento sólido">
            <a:extLst>
              <a:ext uri="{FF2B5EF4-FFF2-40B4-BE49-F238E27FC236}">
                <a16:creationId xmlns:a16="http://schemas.microsoft.com/office/drawing/2014/main" id="{6354BAF8-9CB7-7B02-8332-A03E95138E7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8506748" y="5770623"/>
            <a:ext cx="927046" cy="927046"/>
          </a:xfrm>
          <a:prstGeom prst="rect">
            <a:avLst/>
          </a:prstGeom>
        </p:spPr>
      </p:pic>
      <p:sp>
        <p:nvSpPr>
          <p:cNvPr id="19" name="Freeform 64">
            <a:extLst>
              <a:ext uri="{FF2B5EF4-FFF2-40B4-BE49-F238E27FC236}">
                <a16:creationId xmlns:a16="http://schemas.microsoft.com/office/drawing/2014/main" id="{96CD2168-489A-1B1D-B44A-B37C399D8286}"/>
              </a:ext>
            </a:extLst>
          </p:cNvPr>
          <p:cNvSpPr>
            <a:spLocks noChangeArrowheads="1"/>
          </p:cNvSpPr>
          <p:nvPr/>
        </p:nvSpPr>
        <p:spPr bwMode="auto">
          <a:xfrm>
            <a:off x="8320166" y="7808833"/>
            <a:ext cx="1373616" cy="1297976"/>
          </a:xfrm>
          <a:custGeom>
            <a:avLst/>
            <a:gdLst>
              <a:gd name="T0" fmla="*/ 651639 w 2003"/>
              <a:gd name="T1" fmla="*/ 477662 h 1892"/>
              <a:gd name="T2" fmla="*/ 651639 w 2003"/>
              <a:gd name="T3" fmla="*/ 477662 h 1892"/>
              <a:gd name="T4" fmla="*/ 680425 w 2003"/>
              <a:gd name="T5" fmla="*/ 340519 h 1892"/>
              <a:gd name="T6" fmla="*/ 680425 w 2003"/>
              <a:gd name="T7" fmla="*/ 340519 h 1892"/>
              <a:gd name="T8" fmla="*/ 340392 w 2003"/>
              <a:gd name="T9" fmla="*/ 0 h 1892"/>
              <a:gd name="T10" fmla="*/ 340392 w 2003"/>
              <a:gd name="T11" fmla="*/ 0 h 1892"/>
              <a:gd name="T12" fmla="*/ 0 w 2003"/>
              <a:gd name="T13" fmla="*/ 340519 h 1892"/>
              <a:gd name="T14" fmla="*/ 0 w 2003"/>
              <a:gd name="T15" fmla="*/ 340519 h 1892"/>
              <a:gd name="T16" fmla="*/ 340392 w 2003"/>
              <a:gd name="T17" fmla="*/ 680677 h 1892"/>
              <a:gd name="T18" fmla="*/ 340392 w 2003"/>
              <a:gd name="T19" fmla="*/ 680677 h 1892"/>
              <a:gd name="T20" fmla="*/ 562763 w 2003"/>
              <a:gd name="T21" fmla="*/ 597527 h 1892"/>
              <a:gd name="T22" fmla="*/ 720365 w 2003"/>
              <a:gd name="T23" fmla="*/ 651161 h 1892"/>
              <a:gd name="T24" fmla="*/ 651639 w 2003"/>
              <a:gd name="T25" fmla="*/ 477662 h 189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03" h="1892">
                <a:moveTo>
                  <a:pt x="1811" y="1327"/>
                </a:moveTo>
                <a:lnTo>
                  <a:pt x="1811" y="1327"/>
                </a:lnTo>
                <a:cubicBezTo>
                  <a:pt x="1862" y="1210"/>
                  <a:pt x="1891" y="1081"/>
                  <a:pt x="1891" y="946"/>
                </a:cubicBezTo>
                <a:cubicBezTo>
                  <a:pt x="1891" y="423"/>
                  <a:pt x="1468" y="0"/>
                  <a:pt x="946" y="0"/>
                </a:cubicBezTo>
                <a:cubicBezTo>
                  <a:pt x="424" y="0"/>
                  <a:pt x="0" y="423"/>
                  <a:pt x="0" y="946"/>
                </a:cubicBezTo>
                <a:cubicBezTo>
                  <a:pt x="0" y="1467"/>
                  <a:pt x="424" y="1891"/>
                  <a:pt x="946" y="1891"/>
                </a:cubicBezTo>
                <a:cubicBezTo>
                  <a:pt x="1182" y="1891"/>
                  <a:pt x="1398" y="1804"/>
                  <a:pt x="1564" y="1660"/>
                </a:cubicBezTo>
                <a:lnTo>
                  <a:pt x="2002" y="1809"/>
                </a:lnTo>
                <a:lnTo>
                  <a:pt x="1811" y="1327"/>
                </a:lnTo>
              </a:path>
            </a:pathLst>
          </a:custGeom>
          <a:gradFill>
            <a:gsLst>
              <a:gs pos="62000">
                <a:srgbClr val="6800FF"/>
              </a:gs>
              <a:gs pos="13000">
                <a:srgbClr val="6800FF"/>
              </a:gs>
              <a:gs pos="85000">
                <a:srgbClr val="893BC3"/>
              </a:gs>
            </a:gsLst>
            <a:lin ang="2700000" scaled="0"/>
          </a:gradFill>
          <a:ln w="12700" cap="flat">
            <a:noFill/>
            <a:miter lim="400000"/>
          </a:ln>
          <a:effectLst/>
        </p:spPr>
        <p:txBody>
          <a:bodyPr wrap="square" lIns="0" tIns="0" rIns="0" bIns="0" numCol="1" anchor="t">
            <a:noAutofit/>
          </a:bodyPr>
          <a:lstStyle/>
          <a:p>
            <a:pPr defTabSz="1371394">
              <a:buClr>
                <a:srgbClr val="000000"/>
              </a:buClr>
            </a:pPr>
            <a:endParaRPr lang="en-US" sz="3798" kern="0" noProof="0">
              <a:solidFill>
                <a:srgbClr val="666666"/>
              </a:solidFill>
              <a:latin typeface="Montserrat" pitchFamily="2" charset="77"/>
              <a:cs typeface="Arial"/>
              <a:sym typeface="Arial"/>
            </a:endParaRPr>
          </a:p>
        </p:txBody>
      </p:sp>
      <p:sp>
        <p:nvSpPr>
          <p:cNvPr id="20" name="TextBox 12">
            <a:extLst>
              <a:ext uri="{FF2B5EF4-FFF2-40B4-BE49-F238E27FC236}">
                <a16:creationId xmlns:a16="http://schemas.microsoft.com/office/drawing/2014/main" id="{8A5EF3BF-2F97-67B7-A8C3-C89DE96F51C7}"/>
              </a:ext>
            </a:extLst>
          </p:cNvPr>
          <p:cNvSpPr txBox="1"/>
          <p:nvPr/>
        </p:nvSpPr>
        <p:spPr>
          <a:xfrm>
            <a:off x="10440746" y="8015905"/>
            <a:ext cx="7144714" cy="883832"/>
          </a:xfrm>
          <a:prstGeom prst="rect">
            <a:avLst/>
          </a:prstGeom>
        </p:spPr>
        <p:txBody>
          <a:bodyPr wrap="square" lIns="0" tIns="0" rIns="0" bIns="0" rtlCol="0" anchor="t">
            <a:spAutoFit/>
          </a:bodyPr>
          <a:lstStyle/>
          <a:p>
            <a:pPr algn="just">
              <a:lnSpc>
                <a:spcPts val="3633"/>
              </a:lnSpc>
            </a:pPr>
            <a:r>
              <a:rPr lang="en-US" sz="2600" noProof="0">
                <a:solidFill>
                  <a:schemeClr val="bg1"/>
                </a:solidFill>
                <a:latin typeface="Montserrat"/>
                <a:ea typeface="+mn-lt"/>
                <a:cs typeface="+mn-lt"/>
              </a:rPr>
              <a:t>May </a:t>
            </a:r>
            <a:r>
              <a:rPr lang="en-US" sz="2600" b="1" noProof="0">
                <a:solidFill>
                  <a:srgbClr val="5C00D6"/>
                </a:solidFill>
                <a:latin typeface="Montserrat"/>
                <a:ea typeface="+mn-lt"/>
                <a:cs typeface="+mn-lt"/>
              </a:rPr>
              <a:t>delay value delivery </a:t>
            </a:r>
            <a:r>
              <a:rPr lang="en-US" sz="2600" noProof="0">
                <a:solidFill>
                  <a:schemeClr val="bg1"/>
                </a:solidFill>
                <a:latin typeface="Montserrat"/>
                <a:ea typeface="+mn-lt"/>
                <a:cs typeface="+mn-lt"/>
              </a:rPr>
              <a:t>especially for App improvement and maintenance processes</a:t>
            </a:r>
            <a:endParaRPr lang="en-US" sz="2600" noProof="0">
              <a:solidFill>
                <a:schemeClr val="bg1"/>
              </a:solidFill>
            </a:endParaRPr>
          </a:p>
        </p:txBody>
      </p:sp>
      <p:sp>
        <p:nvSpPr>
          <p:cNvPr id="21" name="Google Shape;990;g16c70d33030_0_464">
            <a:extLst>
              <a:ext uri="{FF2B5EF4-FFF2-40B4-BE49-F238E27FC236}">
                <a16:creationId xmlns:a16="http://schemas.microsoft.com/office/drawing/2014/main" id="{2E246382-023B-1FC6-D688-0DCB8C205C7B}"/>
              </a:ext>
            </a:extLst>
          </p:cNvPr>
          <p:cNvSpPr/>
          <p:nvPr/>
        </p:nvSpPr>
        <p:spPr>
          <a:xfrm flipH="1">
            <a:off x="10031264" y="7893400"/>
            <a:ext cx="72000" cy="1254640"/>
          </a:xfrm>
          <a:prstGeom prst="rect">
            <a:avLst/>
          </a:prstGeom>
          <a:gradFill>
            <a:gsLst>
              <a:gs pos="62000">
                <a:srgbClr val="6800FF"/>
              </a:gs>
              <a:gs pos="13000">
                <a:srgbClr val="6800FF"/>
              </a:gs>
              <a:gs pos="85000">
                <a:srgbClr val="893BC3"/>
              </a:gs>
            </a:gsLst>
            <a:lin ang="2700000" scaled="0"/>
          </a:gradFill>
          <a:ln w="12700" cap="flat">
            <a:noFill/>
            <a:miter lim="400000"/>
          </a:ln>
          <a:effectLst/>
        </p:spPr>
        <p:txBody>
          <a:bodyPr wrap="square" lIns="0" tIns="0" rIns="0" bIns="0" numCol="1" anchor="t">
            <a:noAutofit/>
          </a:bodyPr>
          <a:lstStyle/>
          <a:p>
            <a:pPr defTabSz="1371394">
              <a:buClr>
                <a:srgbClr val="000000"/>
              </a:buClr>
            </a:pPr>
            <a:endParaRPr lang="en-US" sz="3798" kern="0" noProof="0">
              <a:solidFill>
                <a:srgbClr val="666666"/>
              </a:solidFill>
              <a:latin typeface="Montserrat" pitchFamily="2" charset="77"/>
              <a:cs typeface="Arial"/>
              <a:sym typeface="Arial"/>
            </a:endParaRPr>
          </a:p>
        </p:txBody>
      </p:sp>
      <p:pic>
        <p:nvPicPr>
          <p:cNvPr id="22" name="Gráfico 21" descr="Classificação 1 estrela com preenchimento sólido">
            <a:extLst>
              <a:ext uri="{FF2B5EF4-FFF2-40B4-BE49-F238E27FC236}">
                <a16:creationId xmlns:a16="http://schemas.microsoft.com/office/drawing/2014/main" id="{4FF75467-4811-4D00-2A68-59C20A1829D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8425105" y="7893400"/>
            <a:ext cx="1102802" cy="1102802"/>
          </a:xfrm>
          <a:prstGeom prst="rect">
            <a:avLst/>
          </a:prstGeom>
        </p:spPr>
      </p:pic>
      <p:sp>
        <p:nvSpPr>
          <p:cNvPr id="23" name="Freeform 64">
            <a:extLst>
              <a:ext uri="{FF2B5EF4-FFF2-40B4-BE49-F238E27FC236}">
                <a16:creationId xmlns:a16="http://schemas.microsoft.com/office/drawing/2014/main" id="{27265EAD-1505-EA73-9A79-778526C3947C}"/>
              </a:ext>
            </a:extLst>
          </p:cNvPr>
          <p:cNvSpPr>
            <a:spLocks noChangeArrowheads="1"/>
          </p:cNvSpPr>
          <p:nvPr/>
        </p:nvSpPr>
        <p:spPr bwMode="auto">
          <a:xfrm>
            <a:off x="8320166" y="1016122"/>
            <a:ext cx="1373616" cy="1297976"/>
          </a:xfrm>
          <a:custGeom>
            <a:avLst/>
            <a:gdLst>
              <a:gd name="T0" fmla="*/ 651639 w 2003"/>
              <a:gd name="T1" fmla="*/ 477662 h 1892"/>
              <a:gd name="T2" fmla="*/ 651639 w 2003"/>
              <a:gd name="T3" fmla="*/ 477662 h 1892"/>
              <a:gd name="T4" fmla="*/ 680425 w 2003"/>
              <a:gd name="T5" fmla="*/ 340519 h 1892"/>
              <a:gd name="T6" fmla="*/ 680425 w 2003"/>
              <a:gd name="T7" fmla="*/ 340519 h 1892"/>
              <a:gd name="T8" fmla="*/ 340392 w 2003"/>
              <a:gd name="T9" fmla="*/ 0 h 1892"/>
              <a:gd name="T10" fmla="*/ 340392 w 2003"/>
              <a:gd name="T11" fmla="*/ 0 h 1892"/>
              <a:gd name="T12" fmla="*/ 0 w 2003"/>
              <a:gd name="T13" fmla="*/ 340519 h 1892"/>
              <a:gd name="T14" fmla="*/ 0 w 2003"/>
              <a:gd name="T15" fmla="*/ 340519 h 1892"/>
              <a:gd name="T16" fmla="*/ 340392 w 2003"/>
              <a:gd name="T17" fmla="*/ 680677 h 1892"/>
              <a:gd name="T18" fmla="*/ 340392 w 2003"/>
              <a:gd name="T19" fmla="*/ 680677 h 1892"/>
              <a:gd name="T20" fmla="*/ 562763 w 2003"/>
              <a:gd name="T21" fmla="*/ 597527 h 1892"/>
              <a:gd name="T22" fmla="*/ 720365 w 2003"/>
              <a:gd name="T23" fmla="*/ 651161 h 1892"/>
              <a:gd name="T24" fmla="*/ 651639 w 2003"/>
              <a:gd name="T25" fmla="*/ 477662 h 189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03" h="1892">
                <a:moveTo>
                  <a:pt x="1811" y="1327"/>
                </a:moveTo>
                <a:lnTo>
                  <a:pt x="1811" y="1327"/>
                </a:lnTo>
                <a:cubicBezTo>
                  <a:pt x="1862" y="1210"/>
                  <a:pt x="1891" y="1081"/>
                  <a:pt x="1891" y="946"/>
                </a:cubicBezTo>
                <a:cubicBezTo>
                  <a:pt x="1891" y="423"/>
                  <a:pt x="1468" y="0"/>
                  <a:pt x="946" y="0"/>
                </a:cubicBezTo>
                <a:cubicBezTo>
                  <a:pt x="424" y="0"/>
                  <a:pt x="0" y="423"/>
                  <a:pt x="0" y="946"/>
                </a:cubicBezTo>
                <a:cubicBezTo>
                  <a:pt x="0" y="1467"/>
                  <a:pt x="424" y="1891"/>
                  <a:pt x="946" y="1891"/>
                </a:cubicBezTo>
                <a:cubicBezTo>
                  <a:pt x="1182" y="1891"/>
                  <a:pt x="1398" y="1804"/>
                  <a:pt x="1564" y="1660"/>
                </a:cubicBezTo>
                <a:lnTo>
                  <a:pt x="2002" y="1809"/>
                </a:lnTo>
                <a:lnTo>
                  <a:pt x="1811" y="1327"/>
                </a:lnTo>
              </a:path>
            </a:pathLst>
          </a:custGeom>
          <a:gradFill>
            <a:gsLst>
              <a:gs pos="62000">
                <a:srgbClr val="6800FF"/>
              </a:gs>
              <a:gs pos="13000">
                <a:srgbClr val="6800FF"/>
              </a:gs>
              <a:gs pos="85000">
                <a:srgbClr val="893BC3"/>
              </a:gs>
            </a:gsLst>
            <a:lin ang="2700000" scaled="0"/>
          </a:gradFill>
          <a:ln w="12700" cap="flat">
            <a:noFill/>
            <a:miter lim="400000"/>
          </a:ln>
          <a:effectLst/>
        </p:spPr>
        <p:txBody>
          <a:bodyPr wrap="square" lIns="0" tIns="0" rIns="0" bIns="0" numCol="1" anchor="t">
            <a:noAutofit/>
          </a:bodyPr>
          <a:lstStyle/>
          <a:p>
            <a:pPr defTabSz="1371394">
              <a:buClr>
                <a:srgbClr val="000000"/>
              </a:buClr>
              <a:defRPr/>
            </a:pPr>
            <a:endParaRPr lang="en-US" sz="3798" kern="0" noProof="0">
              <a:solidFill>
                <a:srgbClr val="666666"/>
              </a:solidFill>
              <a:latin typeface="Montserrat" pitchFamily="2" charset="77"/>
              <a:cs typeface="Arial"/>
              <a:sym typeface="Arial"/>
            </a:endParaRPr>
          </a:p>
        </p:txBody>
      </p:sp>
      <p:sp>
        <p:nvSpPr>
          <p:cNvPr id="24" name="TextBox 12">
            <a:extLst>
              <a:ext uri="{FF2B5EF4-FFF2-40B4-BE49-F238E27FC236}">
                <a16:creationId xmlns:a16="http://schemas.microsoft.com/office/drawing/2014/main" id="{7A75E6DD-7FE4-5E08-6728-1BC85AC40E7C}"/>
              </a:ext>
            </a:extLst>
          </p:cNvPr>
          <p:cNvSpPr txBox="1"/>
          <p:nvPr/>
        </p:nvSpPr>
        <p:spPr>
          <a:xfrm>
            <a:off x="10440746" y="1223194"/>
            <a:ext cx="7144714" cy="883832"/>
          </a:xfrm>
          <a:prstGeom prst="rect">
            <a:avLst/>
          </a:prstGeom>
        </p:spPr>
        <p:txBody>
          <a:bodyPr wrap="square" lIns="0" tIns="0" rIns="0" bIns="0" rtlCol="0" anchor="t">
            <a:spAutoFit/>
          </a:bodyPr>
          <a:lstStyle/>
          <a:p>
            <a:pPr algn="just">
              <a:lnSpc>
                <a:spcPts val="3633"/>
              </a:lnSpc>
            </a:pPr>
            <a:r>
              <a:rPr lang="en-US" sz="2600" noProof="0">
                <a:solidFill>
                  <a:schemeClr val="bg1"/>
                </a:solidFill>
                <a:latin typeface="Montserrat"/>
                <a:ea typeface="+mn-lt"/>
                <a:cs typeface="+mn-lt"/>
              </a:rPr>
              <a:t>May </a:t>
            </a:r>
            <a:r>
              <a:rPr lang="en-US" sz="2600" b="1" noProof="0">
                <a:solidFill>
                  <a:srgbClr val="5C00D6"/>
                </a:solidFill>
                <a:latin typeface="Montserrat"/>
                <a:ea typeface="+mn-lt"/>
                <a:cs typeface="+mn-lt"/>
              </a:rPr>
              <a:t>not be fast enough</a:t>
            </a:r>
            <a:r>
              <a:rPr lang="en-US" sz="2600" noProof="0">
                <a:solidFill>
                  <a:srgbClr val="5C00D6"/>
                </a:solidFill>
                <a:latin typeface="Montserrat"/>
                <a:ea typeface="+mn-lt"/>
                <a:cs typeface="+mn-lt"/>
              </a:rPr>
              <a:t> </a:t>
            </a:r>
            <a:r>
              <a:rPr lang="en-US" sz="2600" noProof="0">
                <a:solidFill>
                  <a:schemeClr val="bg1"/>
                </a:solidFill>
                <a:latin typeface="Montserrat"/>
                <a:ea typeface="+mn-lt"/>
                <a:cs typeface="+mn-lt"/>
              </a:rPr>
              <a:t>to meet the speed of business change   </a:t>
            </a:r>
            <a:endParaRPr lang="en-US" sz="2600" noProof="0">
              <a:solidFill>
                <a:schemeClr val="bg1"/>
              </a:solidFill>
            </a:endParaRPr>
          </a:p>
        </p:txBody>
      </p:sp>
      <p:sp>
        <p:nvSpPr>
          <p:cNvPr id="25" name="Google Shape;990;g16c70d33030_0_464">
            <a:extLst>
              <a:ext uri="{FF2B5EF4-FFF2-40B4-BE49-F238E27FC236}">
                <a16:creationId xmlns:a16="http://schemas.microsoft.com/office/drawing/2014/main" id="{0091888F-B7B4-5E36-2977-2788DB1BFC66}"/>
              </a:ext>
            </a:extLst>
          </p:cNvPr>
          <p:cNvSpPr/>
          <p:nvPr/>
        </p:nvSpPr>
        <p:spPr>
          <a:xfrm flipH="1">
            <a:off x="10031264" y="1100689"/>
            <a:ext cx="72000" cy="1254640"/>
          </a:xfrm>
          <a:prstGeom prst="rect">
            <a:avLst/>
          </a:prstGeom>
          <a:gradFill>
            <a:gsLst>
              <a:gs pos="62000">
                <a:srgbClr val="6800FF"/>
              </a:gs>
              <a:gs pos="13000">
                <a:srgbClr val="6800FF"/>
              </a:gs>
              <a:gs pos="85000">
                <a:srgbClr val="893BC3"/>
              </a:gs>
            </a:gsLst>
            <a:lin ang="2700000" scaled="0"/>
          </a:gradFill>
          <a:ln w="12700" cap="flat">
            <a:noFill/>
            <a:miter lim="400000"/>
          </a:ln>
          <a:effectLst/>
        </p:spPr>
        <p:txBody>
          <a:bodyPr wrap="square" lIns="0" tIns="0" rIns="0" bIns="0" numCol="1" anchor="t">
            <a:noAutofit/>
          </a:bodyPr>
          <a:lstStyle/>
          <a:p>
            <a:pPr defTabSz="1371394">
              <a:buClr>
                <a:srgbClr val="000000"/>
              </a:buClr>
            </a:pPr>
            <a:endParaRPr lang="en-US" sz="3798" kern="0" noProof="0">
              <a:solidFill>
                <a:srgbClr val="666666"/>
              </a:solidFill>
              <a:latin typeface="Montserrat" pitchFamily="2" charset="77"/>
              <a:cs typeface="Arial"/>
              <a:sym typeface="Arial"/>
            </a:endParaRPr>
          </a:p>
        </p:txBody>
      </p:sp>
      <p:pic>
        <p:nvPicPr>
          <p:cNvPr id="26" name="Gráfico 25" descr="Relógio com preenchimento sólido">
            <a:extLst>
              <a:ext uri="{FF2B5EF4-FFF2-40B4-BE49-F238E27FC236}">
                <a16:creationId xmlns:a16="http://schemas.microsoft.com/office/drawing/2014/main" id="{7893327E-D4F8-9244-48AD-4D541D1733B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8405650" y="1100638"/>
            <a:ext cx="1106660" cy="1106660"/>
          </a:xfrm>
          <a:prstGeom prst="rect">
            <a:avLst/>
          </a:prstGeom>
        </p:spPr>
      </p:pic>
      <p:pic>
        <p:nvPicPr>
          <p:cNvPr id="3" name="Google Shape;72;p11">
            <a:extLst>
              <a:ext uri="{FF2B5EF4-FFF2-40B4-BE49-F238E27FC236}">
                <a16:creationId xmlns:a16="http://schemas.microsoft.com/office/drawing/2014/main" id="{98E08DB9-CB2D-5049-CADB-226FAF112F93}"/>
              </a:ext>
            </a:extLst>
          </p:cNvPr>
          <p:cNvPicPr preferRelativeResize="0"/>
          <p:nvPr/>
        </p:nvPicPr>
        <p:blipFill>
          <a:blip r:embed="rId11" cstate="email">
            <a:alphaModFix/>
            <a:extLst>
              <a:ext uri="{28A0092B-C50C-407E-A947-70E740481C1C}">
                <a14:useLocalDpi xmlns:a14="http://schemas.microsoft.com/office/drawing/2010/main"/>
              </a:ext>
            </a:extLst>
          </a:blip>
          <a:stretch>
            <a:fillRect/>
          </a:stretch>
        </p:blipFill>
        <p:spPr>
          <a:xfrm>
            <a:off x="16120571" y="8854858"/>
            <a:ext cx="1799998" cy="1799998"/>
          </a:xfrm>
          <a:prstGeom prst="rect">
            <a:avLst/>
          </a:prstGeom>
          <a:noFill/>
          <a:ln>
            <a:noFill/>
          </a:ln>
        </p:spPr>
      </p:pic>
    </p:spTree>
    <p:extLst>
      <p:ext uri="{BB962C8B-B14F-4D97-AF65-F5344CB8AC3E}">
        <p14:creationId xmlns:p14="http://schemas.microsoft.com/office/powerpoint/2010/main" val="328264000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8BFB6B-F0DB-9C6C-7CDA-EE38A2848EC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AF9596C-78B8-BBF4-D76A-377319CD3035}"/>
              </a:ext>
            </a:extLst>
          </p:cNvPr>
          <p:cNvSpPr>
            <a:spLocks noGrp="1"/>
          </p:cNvSpPr>
          <p:nvPr>
            <p:ph type="title" idx="4294967295"/>
          </p:nvPr>
        </p:nvSpPr>
        <p:spPr>
          <a:xfrm>
            <a:off x="1080600" y="1042450"/>
            <a:ext cx="8743884" cy="1145400"/>
          </a:xfrm>
        </p:spPr>
        <p:txBody>
          <a:bodyPr/>
          <a:lstStyle/>
          <a:p>
            <a:r>
              <a:rPr lang="en-US" sz="4000">
                <a:solidFill>
                  <a:schemeClr val="bg1"/>
                </a:solidFill>
                <a:latin typeface="Montserrat Bold"/>
              </a:rPr>
              <a:t>Innovation</a:t>
            </a:r>
            <a:r>
              <a:rPr lang="en-US" sz="4000" noProof="0">
                <a:solidFill>
                  <a:schemeClr val="bg1"/>
                </a:solidFill>
                <a:latin typeface="Montserrat Bold"/>
              </a:rPr>
              <a:t> </a:t>
            </a:r>
            <a:r>
              <a:rPr lang="en-US" sz="4000">
                <a:solidFill>
                  <a:schemeClr val="bg1"/>
                </a:solidFill>
                <a:latin typeface="Montserrat Bold"/>
              </a:rPr>
              <a:t>programs</a:t>
            </a:r>
            <a:br>
              <a:rPr lang="en-US" sz="4000" noProof="0">
                <a:latin typeface="Montserrat Bold"/>
              </a:rPr>
            </a:br>
            <a:r>
              <a:rPr lang="en-US" sz="2800" b="0" noProof="0">
                <a:solidFill>
                  <a:srgbClr val="7D43FF"/>
                </a:solidFill>
              </a:rPr>
              <a:t>To assess the maturity level of Innovation and its contribution to the company, we apply our proprietary AI model, enabling us to propose tools and various approaches to achieve your objectives with maximum impact to the business.</a:t>
            </a:r>
            <a:br>
              <a:rPr lang="en-US" sz="2400" noProof="0"/>
            </a:br>
            <a:r>
              <a:rPr lang="en-US" sz="4000" noProof="0">
                <a:solidFill>
                  <a:schemeClr val="bg1"/>
                </a:solidFill>
                <a:latin typeface="Montserrat"/>
                <a:ea typeface="+mn-lt"/>
                <a:cs typeface="+mn-lt"/>
              </a:rPr>
              <a:t> </a:t>
            </a:r>
            <a:endParaRPr lang="en-US" sz="4000" noProof="0">
              <a:solidFill>
                <a:schemeClr val="bg1"/>
              </a:solidFill>
            </a:endParaRPr>
          </a:p>
        </p:txBody>
      </p:sp>
      <p:sp>
        <p:nvSpPr>
          <p:cNvPr id="3" name="Text Placeholder 2">
            <a:extLst>
              <a:ext uri="{FF2B5EF4-FFF2-40B4-BE49-F238E27FC236}">
                <a16:creationId xmlns:a16="http://schemas.microsoft.com/office/drawing/2014/main" id="{05E79753-4393-03EA-65B4-A60AFB28C41E}"/>
              </a:ext>
            </a:extLst>
          </p:cNvPr>
          <p:cNvSpPr>
            <a:spLocks noGrp="1"/>
          </p:cNvSpPr>
          <p:nvPr>
            <p:ph type="body" idx="4294967295"/>
          </p:nvPr>
        </p:nvSpPr>
        <p:spPr>
          <a:xfrm>
            <a:off x="1081363" y="5372249"/>
            <a:ext cx="7650680" cy="2972699"/>
          </a:xfrm>
        </p:spPr>
        <p:txBody>
          <a:bodyPr/>
          <a:lstStyle/>
          <a:p>
            <a:pPr>
              <a:spcAft>
                <a:spcPts val="1200"/>
              </a:spcAft>
            </a:pPr>
            <a:endParaRPr lang="en-US" noProof="0">
              <a:solidFill>
                <a:schemeClr val="bg1"/>
              </a:solidFill>
            </a:endParaRPr>
          </a:p>
          <a:p>
            <a:pPr>
              <a:spcAft>
                <a:spcPts val="1200"/>
              </a:spcAft>
            </a:pPr>
            <a:r>
              <a:rPr lang="en-US" sz="2400" noProof="0">
                <a:solidFill>
                  <a:schemeClr val="bg1"/>
                </a:solidFill>
              </a:rPr>
              <a:t>Qintess </a:t>
            </a:r>
            <a:r>
              <a:rPr lang="en-US" sz="2400" b="1" noProof="0">
                <a:solidFill>
                  <a:schemeClr val="bg1"/>
                </a:solidFill>
              </a:rPr>
              <a:t>innovative ecosystem maintain a portfolio of programs</a:t>
            </a:r>
            <a:r>
              <a:rPr lang="en-US" sz="2400" noProof="0">
                <a:solidFill>
                  <a:schemeClr val="bg1"/>
                </a:solidFill>
              </a:rPr>
              <a:t> running in a modularized way, making it possible to design the best innovation journey adapting to your business.</a:t>
            </a:r>
            <a:endParaRPr lang="en-US" noProof="0">
              <a:solidFill>
                <a:schemeClr val="bg1"/>
              </a:solidFill>
            </a:endParaRPr>
          </a:p>
          <a:p>
            <a:endParaRPr lang="en-US" noProof="0">
              <a:solidFill>
                <a:schemeClr val="bg1"/>
              </a:solidFill>
            </a:endParaRPr>
          </a:p>
        </p:txBody>
      </p:sp>
      <p:sp>
        <p:nvSpPr>
          <p:cNvPr id="15" name="Marcador de contenido 5">
            <a:extLst>
              <a:ext uri="{FF2B5EF4-FFF2-40B4-BE49-F238E27FC236}">
                <a16:creationId xmlns:a16="http://schemas.microsoft.com/office/drawing/2014/main" id="{5560E22B-ECE9-5AC7-BB74-F25FEE0E49D2}"/>
              </a:ext>
            </a:extLst>
          </p:cNvPr>
          <p:cNvSpPr txBox="1">
            <a:spLocks/>
          </p:cNvSpPr>
          <p:nvPr/>
        </p:nvSpPr>
        <p:spPr>
          <a:xfrm>
            <a:off x="10944470" y="3256766"/>
            <a:ext cx="2594342" cy="474789"/>
          </a:xfrm>
          <a:prstGeom prst="rect">
            <a:avLst/>
          </a:prstGeom>
          <a:noFill/>
          <a:ln>
            <a:noFill/>
          </a:ln>
        </p:spPr>
        <p:txBody>
          <a:bodyPr spcFirstLastPara="1" wrap="square" lIns="137138" tIns="137138" rIns="137138" bIns="137138" anchor="ctr"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indent="0">
              <a:buFont typeface="Montserrat Light"/>
              <a:buNone/>
            </a:pPr>
            <a:r>
              <a:rPr lang="en-US" sz="1800" b="1" kern="0" noProof="0">
                <a:solidFill>
                  <a:schemeClr val="bg1"/>
                </a:solidFill>
                <a:latin typeface="Montserrat" pitchFamily="2" charset="77"/>
              </a:rPr>
              <a:t>R&amp;D&amp;I</a:t>
            </a:r>
          </a:p>
        </p:txBody>
      </p:sp>
      <p:sp>
        <p:nvSpPr>
          <p:cNvPr id="16" name="Marcador de contenido 5">
            <a:extLst>
              <a:ext uri="{FF2B5EF4-FFF2-40B4-BE49-F238E27FC236}">
                <a16:creationId xmlns:a16="http://schemas.microsoft.com/office/drawing/2014/main" id="{003FD7FE-3FCD-9DB6-1FFB-B84401A4D1D0}"/>
              </a:ext>
            </a:extLst>
          </p:cNvPr>
          <p:cNvSpPr txBox="1">
            <a:spLocks/>
          </p:cNvSpPr>
          <p:nvPr/>
        </p:nvSpPr>
        <p:spPr>
          <a:xfrm>
            <a:off x="10906370" y="4088816"/>
            <a:ext cx="2594342" cy="645327"/>
          </a:xfrm>
          <a:prstGeom prst="rect">
            <a:avLst/>
          </a:prstGeom>
          <a:noFill/>
          <a:ln>
            <a:noFill/>
          </a:ln>
        </p:spPr>
        <p:txBody>
          <a:bodyPr spcFirstLastPara="1" wrap="square" lIns="137138" tIns="137138" rIns="137138" bIns="137138" anchor="ctr"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indent="0">
              <a:buFont typeface="Montserrat Light"/>
              <a:buNone/>
            </a:pPr>
            <a:r>
              <a:rPr lang="en-US" sz="1800" b="1" kern="0" noProof="0">
                <a:solidFill>
                  <a:schemeClr val="bg1"/>
                </a:solidFill>
                <a:latin typeface="Montserrat" pitchFamily="2" charset="77"/>
              </a:rPr>
              <a:t>Ignite</a:t>
            </a:r>
          </a:p>
        </p:txBody>
      </p:sp>
      <p:sp>
        <p:nvSpPr>
          <p:cNvPr id="17" name="Marcador de contenido 5">
            <a:extLst>
              <a:ext uri="{FF2B5EF4-FFF2-40B4-BE49-F238E27FC236}">
                <a16:creationId xmlns:a16="http://schemas.microsoft.com/office/drawing/2014/main" id="{70B94B07-F4F8-8695-E0B3-07F6063042B0}"/>
              </a:ext>
            </a:extLst>
          </p:cNvPr>
          <p:cNvSpPr txBox="1">
            <a:spLocks/>
          </p:cNvSpPr>
          <p:nvPr/>
        </p:nvSpPr>
        <p:spPr>
          <a:xfrm>
            <a:off x="10906370" y="4358957"/>
            <a:ext cx="3031965" cy="645327"/>
          </a:xfrm>
          <a:prstGeom prst="rect">
            <a:avLst/>
          </a:prstGeom>
          <a:noFill/>
          <a:ln>
            <a:noFill/>
          </a:ln>
        </p:spPr>
        <p:txBody>
          <a:bodyPr spcFirstLastPara="1" wrap="square" lIns="137138" tIns="137138" rIns="137138" bIns="137138" anchor="ctr"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indent="0">
              <a:buFont typeface="Montserrat Light"/>
              <a:buNone/>
            </a:pPr>
            <a:r>
              <a:rPr lang="en-US" sz="1200" kern="0" noProof="0">
                <a:solidFill>
                  <a:schemeClr val="bg1"/>
                </a:solidFill>
                <a:latin typeface="Montserrat" panose="00000500000000000000" pitchFamily="2" charset="0"/>
              </a:rPr>
              <a:t>Startup ecosystem challenges</a:t>
            </a:r>
          </a:p>
        </p:txBody>
      </p:sp>
      <p:sp>
        <p:nvSpPr>
          <p:cNvPr id="18" name="Marcador de contenido 5">
            <a:extLst>
              <a:ext uri="{FF2B5EF4-FFF2-40B4-BE49-F238E27FC236}">
                <a16:creationId xmlns:a16="http://schemas.microsoft.com/office/drawing/2014/main" id="{94E9E847-12F8-C4CD-CB81-EA055037F4F8}"/>
              </a:ext>
            </a:extLst>
          </p:cNvPr>
          <p:cNvSpPr txBox="1">
            <a:spLocks/>
          </p:cNvSpPr>
          <p:nvPr/>
        </p:nvSpPr>
        <p:spPr>
          <a:xfrm>
            <a:off x="10896845" y="5480853"/>
            <a:ext cx="2594342" cy="645327"/>
          </a:xfrm>
          <a:prstGeom prst="rect">
            <a:avLst/>
          </a:prstGeom>
          <a:noFill/>
          <a:ln>
            <a:noFill/>
          </a:ln>
        </p:spPr>
        <p:txBody>
          <a:bodyPr spcFirstLastPara="1" wrap="square" lIns="137138" tIns="137138" rIns="137138" bIns="137138" anchor="ctr" anchorCtr="0">
            <a:noAutofit/>
          </a:bodyPr>
          <a:lstStyle>
            <a:defPPr marR="0" lvl="0" algn="l" rtl="0">
              <a:lnSpc>
                <a:spcPct val="100000"/>
              </a:lnSpc>
              <a:spcBef>
                <a:spcPts val="0"/>
              </a:spcBef>
              <a:spcAft>
                <a:spcPts val="0"/>
              </a:spcAft>
            </a:defPPr>
            <a:lvl1pPr marL="0" indent="0" defTabSz="1371600" eaLnBrk="1" latinLnBrk="0" hangingPunct="1">
              <a:buFont typeface="Montserrat Light"/>
              <a:buNone/>
              <a:defRPr sz="2100" b="1" kern="0">
                <a:solidFill>
                  <a:schemeClr val="bg1"/>
                </a:solidFill>
                <a:latin typeface="Montserrat" pitchFamily="2" charset="77"/>
                <a:ea typeface="+mn-ea"/>
                <a:cs typeface="+mn-cs"/>
              </a:defRPr>
            </a:lvl1pPr>
            <a:lvl2pPr marL="685800" defTabSz="1371600" eaLnBrk="1" latinLnBrk="0" hangingPunct="1">
              <a:defRPr sz="2700" kern="1200">
                <a:solidFill>
                  <a:schemeClr val="tx1"/>
                </a:solidFill>
                <a:latin typeface="+mn-lt"/>
                <a:ea typeface="+mn-ea"/>
                <a:cs typeface="+mn-cs"/>
              </a:defRPr>
            </a:lvl2pPr>
            <a:lvl3pPr marL="1371600" defTabSz="1371600" eaLnBrk="1" latinLnBrk="0" hangingPunct="1">
              <a:defRPr sz="2700" kern="1200">
                <a:solidFill>
                  <a:schemeClr val="tx1"/>
                </a:solidFill>
                <a:latin typeface="+mn-lt"/>
                <a:ea typeface="+mn-ea"/>
                <a:cs typeface="+mn-cs"/>
              </a:defRPr>
            </a:lvl3pPr>
            <a:lvl4pPr marL="2057400" defTabSz="1371600" eaLnBrk="1" latinLnBrk="0" hangingPunct="1">
              <a:defRPr sz="2700" kern="1200">
                <a:solidFill>
                  <a:schemeClr val="tx1"/>
                </a:solidFill>
                <a:latin typeface="+mn-lt"/>
                <a:ea typeface="+mn-ea"/>
                <a:cs typeface="+mn-cs"/>
              </a:defRPr>
            </a:lvl4pPr>
            <a:lvl5pPr marL="2743200" defTabSz="1371600" eaLnBrk="1" latinLnBrk="0" hangingPunct="1">
              <a:defRPr sz="2700" kern="1200">
                <a:solidFill>
                  <a:schemeClr val="tx1"/>
                </a:solidFill>
                <a:latin typeface="+mn-lt"/>
                <a:ea typeface="+mn-ea"/>
                <a:cs typeface="+mn-cs"/>
              </a:defRPr>
            </a:lvl5pPr>
            <a:lvl6pPr marL="3429000" defTabSz="1371600" eaLnBrk="1" latinLnBrk="0" hangingPunct="1">
              <a:defRPr sz="2700" kern="1200">
                <a:solidFill>
                  <a:schemeClr val="tx1"/>
                </a:solidFill>
                <a:latin typeface="+mn-lt"/>
                <a:ea typeface="+mn-ea"/>
                <a:cs typeface="+mn-cs"/>
              </a:defRPr>
            </a:lvl6pPr>
            <a:lvl7pPr marL="4114800" defTabSz="1371600" eaLnBrk="1" latinLnBrk="0" hangingPunct="1">
              <a:defRPr sz="2700" kern="1200">
                <a:solidFill>
                  <a:schemeClr val="tx1"/>
                </a:solidFill>
                <a:latin typeface="+mn-lt"/>
                <a:ea typeface="+mn-ea"/>
                <a:cs typeface="+mn-cs"/>
              </a:defRPr>
            </a:lvl7pPr>
            <a:lvl8pPr marL="4800600" defTabSz="1371600" eaLnBrk="1" latinLnBrk="0" hangingPunct="1">
              <a:defRPr sz="2700" kern="1200">
                <a:solidFill>
                  <a:schemeClr val="tx1"/>
                </a:solidFill>
                <a:latin typeface="+mn-lt"/>
                <a:ea typeface="+mn-ea"/>
                <a:cs typeface="+mn-cs"/>
              </a:defRPr>
            </a:lvl8pPr>
            <a:lvl9pPr marL="5486400" defTabSz="1371600" eaLnBrk="1" latinLnBrk="0" hangingPunct="1">
              <a:defRPr sz="2700" kern="1200">
                <a:solidFill>
                  <a:schemeClr val="tx1"/>
                </a:solidFill>
                <a:latin typeface="+mn-lt"/>
                <a:ea typeface="+mn-ea"/>
                <a:cs typeface="+mn-cs"/>
              </a:defRPr>
            </a:lvl9pPr>
          </a:lstStyle>
          <a:p>
            <a:r>
              <a:rPr lang="en-US" sz="1800" noProof="0" err="1"/>
              <a:t>Hackat</a:t>
            </a:r>
            <a:r>
              <a:rPr lang="en-US" sz="1800" noProof="0"/>
              <a:t>-Up</a:t>
            </a:r>
          </a:p>
        </p:txBody>
      </p:sp>
      <p:sp>
        <p:nvSpPr>
          <p:cNvPr id="19" name="Marcador de contenido 5">
            <a:extLst>
              <a:ext uri="{FF2B5EF4-FFF2-40B4-BE49-F238E27FC236}">
                <a16:creationId xmlns:a16="http://schemas.microsoft.com/office/drawing/2014/main" id="{60C3CAC1-8240-8F28-5996-103BE188CD03}"/>
              </a:ext>
            </a:extLst>
          </p:cNvPr>
          <p:cNvSpPr txBox="1">
            <a:spLocks/>
          </p:cNvSpPr>
          <p:nvPr/>
        </p:nvSpPr>
        <p:spPr>
          <a:xfrm>
            <a:off x="10973045" y="6640596"/>
            <a:ext cx="2787612" cy="645327"/>
          </a:xfrm>
          <a:prstGeom prst="rect">
            <a:avLst/>
          </a:prstGeom>
          <a:noFill/>
          <a:ln>
            <a:noFill/>
          </a:ln>
        </p:spPr>
        <p:txBody>
          <a:bodyPr spcFirstLastPara="1" wrap="square" lIns="137138" tIns="137138" rIns="137138" bIns="137138" anchor="ctr"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indent="0">
              <a:buFont typeface="Montserrat Light"/>
              <a:buNone/>
            </a:pPr>
            <a:r>
              <a:rPr lang="en-US" sz="1800" b="1" kern="0" noProof="0">
                <a:solidFill>
                  <a:schemeClr val="bg1"/>
                </a:solidFill>
                <a:latin typeface="Montserrat" pitchFamily="2" charset="77"/>
              </a:rPr>
              <a:t>Knowledge Center</a:t>
            </a:r>
          </a:p>
        </p:txBody>
      </p:sp>
      <p:sp>
        <p:nvSpPr>
          <p:cNvPr id="20" name="Marcador de contenido 5">
            <a:extLst>
              <a:ext uri="{FF2B5EF4-FFF2-40B4-BE49-F238E27FC236}">
                <a16:creationId xmlns:a16="http://schemas.microsoft.com/office/drawing/2014/main" id="{B42AAC60-1568-41C0-B106-4429E15DE0C3}"/>
              </a:ext>
            </a:extLst>
          </p:cNvPr>
          <p:cNvSpPr txBox="1">
            <a:spLocks/>
          </p:cNvSpPr>
          <p:nvPr/>
        </p:nvSpPr>
        <p:spPr>
          <a:xfrm>
            <a:off x="14897174" y="7809993"/>
            <a:ext cx="1896060" cy="654852"/>
          </a:xfrm>
          <a:prstGeom prst="rect">
            <a:avLst/>
          </a:prstGeom>
          <a:noFill/>
          <a:ln>
            <a:noFill/>
          </a:ln>
        </p:spPr>
        <p:txBody>
          <a:bodyPr spcFirstLastPara="1" wrap="square" lIns="137138" tIns="137138" rIns="137138" bIns="137138" anchor="ctr"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indent="0">
              <a:buFont typeface="Montserrat Light"/>
              <a:buNone/>
            </a:pPr>
            <a:r>
              <a:rPr lang="en-US" sz="1800" b="1" kern="0" noProof="0">
                <a:solidFill>
                  <a:schemeClr val="bg1"/>
                </a:solidFill>
                <a:latin typeface="Montserrat" pitchFamily="2" charset="77"/>
              </a:rPr>
              <a:t>Think Faster</a:t>
            </a:r>
          </a:p>
        </p:txBody>
      </p:sp>
      <p:sp>
        <p:nvSpPr>
          <p:cNvPr id="21" name="Marcador de contenido 5">
            <a:extLst>
              <a:ext uri="{FF2B5EF4-FFF2-40B4-BE49-F238E27FC236}">
                <a16:creationId xmlns:a16="http://schemas.microsoft.com/office/drawing/2014/main" id="{0A641052-26F0-570A-A171-C363CC2EB2BC}"/>
              </a:ext>
            </a:extLst>
          </p:cNvPr>
          <p:cNvSpPr txBox="1">
            <a:spLocks/>
          </p:cNvSpPr>
          <p:nvPr/>
        </p:nvSpPr>
        <p:spPr>
          <a:xfrm>
            <a:off x="14868599" y="3276385"/>
            <a:ext cx="1498664" cy="471762"/>
          </a:xfrm>
          <a:prstGeom prst="rect">
            <a:avLst/>
          </a:prstGeom>
          <a:noFill/>
          <a:ln>
            <a:noFill/>
          </a:ln>
        </p:spPr>
        <p:txBody>
          <a:bodyPr spcFirstLastPara="1" wrap="square" lIns="137138" tIns="137138" rIns="137138" bIns="137138" anchor="ctr"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indent="0">
              <a:buFont typeface="Montserrat Light"/>
              <a:buNone/>
            </a:pPr>
            <a:r>
              <a:rPr lang="en-US" sz="1800" b="1" kern="0" noProof="0">
                <a:solidFill>
                  <a:schemeClr val="bg1"/>
                </a:solidFill>
                <a:latin typeface="Montserrat" pitchFamily="2" charset="77"/>
              </a:rPr>
              <a:t>Trends</a:t>
            </a:r>
          </a:p>
        </p:txBody>
      </p:sp>
      <p:sp>
        <p:nvSpPr>
          <p:cNvPr id="22" name="Marcador de contenido 5">
            <a:extLst>
              <a:ext uri="{FF2B5EF4-FFF2-40B4-BE49-F238E27FC236}">
                <a16:creationId xmlns:a16="http://schemas.microsoft.com/office/drawing/2014/main" id="{24884BBB-9EBA-DB1B-F78D-AFFAD470D7A4}"/>
              </a:ext>
            </a:extLst>
          </p:cNvPr>
          <p:cNvSpPr txBox="1">
            <a:spLocks/>
          </p:cNvSpPr>
          <p:nvPr/>
        </p:nvSpPr>
        <p:spPr>
          <a:xfrm>
            <a:off x="14859074" y="4187335"/>
            <a:ext cx="1766759" cy="702971"/>
          </a:xfrm>
          <a:prstGeom prst="rect">
            <a:avLst/>
          </a:prstGeom>
          <a:noFill/>
          <a:ln>
            <a:noFill/>
          </a:ln>
        </p:spPr>
        <p:txBody>
          <a:bodyPr spcFirstLastPara="1" wrap="square" lIns="137138" tIns="137138" rIns="137138" bIns="137138" anchor="ctr"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indent="0">
              <a:buFont typeface="Montserrat Light"/>
              <a:buNone/>
            </a:pPr>
            <a:r>
              <a:rPr lang="en-US" sz="1800" b="1" kern="0" noProof="0">
                <a:solidFill>
                  <a:schemeClr val="bg1"/>
                </a:solidFill>
                <a:latin typeface="Montserrat" pitchFamily="2" charset="77"/>
              </a:rPr>
              <a:t>In-Culture</a:t>
            </a:r>
          </a:p>
        </p:txBody>
      </p:sp>
      <p:sp>
        <p:nvSpPr>
          <p:cNvPr id="23" name="Marcador de contenido 5">
            <a:extLst>
              <a:ext uri="{FF2B5EF4-FFF2-40B4-BE49-F238E27FC236}">
                <a16:creationId xmlns:a16="http://schemas.microsoft.com/office/drawing/2014/main" id="{FD178FFC-AD3D-3B2B-21DA-C033A8F59C4C}"/>
              </a:ext>
            </a:extLst>
          </p:cNvPr>
          <p:cNvSpPr txBox="1">
            <a:spLocks/>
          </p:cNvSpPr>
          <p:nvPr/>
        </p:nvSpPr>
        <p:spPr>
          <a:xfrm>
            <a:off x="14878124" y="5327469"/>
            <a:ext cx="2481681" cy="771549"/>
          </a:xfrm>
          <a:prstGeom prst="rect">
            <a:avLst/>
          </a:prstGeom>
          <a:noFill/>
          <a:ln>
            <a:noFill/>
          </a:ln>
        </p:spPr>
        <p:txBody>
          <a:bodyPr spcFirstLastPara="1" wrap="square" lIns="137138" tIns="137138" rIns="137138" bIns="137138" anchor="ctr"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indent="0">
              <a:buFont typeface="Montserrat Light"/>
              <a:buNone/>
            </a:pPr>
            <a:r>
              <a:rPr lang="en-US" sz="1800" b="1" kern="0" noProof="0">
                <a:solidFill>
                  <a:schemeClr val="bg1"/>
                </a:solidFill>
                <a:latin typeface="Montserrat" pitchFamily="2" charset="77"/>
              </a:rPr>
              <a:t>Portfolio Diversification</a:t>
            </a:r>
          </a:p>
        </p:txBody>
      </p:sp>
      <p:sp>
        <p:nvSpPr>
          <p:cNvPr id="24" name="Marcador de contenido 5">
            <a:extLst>
              <a:ext uri="{FF2B5EF4-FFF2-40B4-BE49-F238E27FC236}">
                <a16:creationId xmlns:a16="http://schemas.microsoft.com/office/drawing/2014/main" id="{C556D038-95D3-B840-E2EC-74151472E70F}"/>
              </a:ext>
            </a:extLst>
          </p:cNvPr>
          <p:cNvSpPr txBox="1">
            <a:spLocks/>
          </p:cNvSpPr>
          <p:nvPr/>
        </p:nvSpPr>
        <p:spPr>
          <a:xfrm>
            <a:off x="14840024" y="6562313"/>
            <a:ext cx="2594342" cy="645327"/>
          </a:xfrm>
          <a:prstGeom prst="rect">
            <a:avLst/>
          </a:prstGeom>
          <a:noFill/>
          <a:ln>
            <a:noFill/>
          </a:ln>
        </p:spPr>
        <p:txBody>
          <a:bodyPr spcFirstLastPara="1" wrap="square" lIns="137138" tIns="137138" rIns="137138" bIns="137138" anchor="ctr"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indent="0">
              <a:buFont typeface="Montserrat Light"/>
              <a:buNone/>
            </a:pPr>
            <a:r>
              <a:rPr lang="en-US" sz="1800" b="1" kern="0" noProof="0">
                <a:solidFill>
                  <a:schemeClr val="bg1"/>
                </a:solidFill>
                <a:latin typeface="Montserrat" pitchFamily="2" charset="77"/>
              </a:rPr>
              <a:t>Idea</a:t>
            </a:r>
            <a:endParaRPr lang="en-US" sz="1200" b="1" kern="0" noProof="0">
              <a:solidFill>
                <a:schemeClr val="bg1"/>
              </a:solidFill>
              <a:latin typeface="Montserrat" pitchFamily="2" charset="77"/>
            </a:endParaRPr>
          </a:p>
        </p:txBody>
      </p:sp>
      <p:sp>
        <p:nvSpPr>
          <p:cNvPr id="25" name="Marcador de contenido 5">
            <a:extLst>
              <a:ext uri="{FF2B5EF4-FFF2-40B4-BE49-F238E27FC236}">
                <a16:creationId xmlns:a16="http://schemas.microsoft.com/office/drawing/2014/main" id="{9D71FAC4-B31C-8862-5C3C-A8DD20AA8A21}"/>
              </a:ext>
            </a:extLst>
          </p:cNvPr>
          <p:cNvSpPr txBox="1">
            <a:spLocks/>
          </p:cNvSpPr>
          <p:nvPr/>
        </p:nvSpPr>
        <p:spPr>
          <a:xfrm>
            <a:off x="14840024" y="6988958"/>
            <a:ext cx="1751465" cy="284964"/>
          </a:xfrm>
          <a:prstGeom prst="rect">
            <a:avLst/>
          </a:prstGeom>
          <a:noFill/>
          <a:ln>
            <a:noFill/>
          </a:ln>
        </p:spPr>
        <p:txBody>
          <a:bodyPr spcFirstLastPara="1" wrap="square" lIns="137138" tIns="137138" rIns="137138" bIns="137138" anchor="ctr" anchorCtr="0">
            <a:noAutofit/>
          </a:bodyPr>
          <a:lstStyle>
            <a:defPPr marR="0" lvl="0" algn="l" rtl="0">
              <a:lnSpc>
                <a:spcPct val="100000"/>
              </a:lnSpc>
              <a:spcBef>
                <a:spcPts val="0"/>
              </a:spcBef>
              <a:spcAft>
                <a:spcPts val="0"/>
              </a:spcAft>
            </a:defPPr>
            <a:lvl1pPr marL="0" indent="0" defTabSz="1371600" eaLnBrk="1" latinLnBrk="0" hangingPunct="1">
              <a:buFont typeface="Montserrat Light"/>
              <a:buNone/>
              <a:defRPr sz="1575" kern="0">
                <a:solidFill>
                  <a:schemeClr val="bg1"/>
                </a:solidFill>
                <a:latin typeface="Montserrat" panose="00000500000000000000" pitchFamily="2" charset="0"/>
                <a:ea typeface="+mn-ea"/>
                <a:cs typeface="+mn-cs"/>
              </a:defRPr>
            </a:lvl1pPr>
            <a:lvl2pPr marL="685800" defTabSz="1371600" eaLnBrk="1" latinLnBrk="0" hangingPunct="1">
              <a:defRPr sz="2700" kern="1200">
                <a:solidFill>
                  <a:schemeClr val="tx1"/>
                </a:solidFill>
                <a:latin typeface="+mn-lt"/>
                <a:ea typeface="+mn-ea"/>
                <a:cs typeface="+mn-cs"/>
              </a:defRPr>
            </a:lvl2pPr>
            <a:lvl3pPr marL="1371600" defTabSz="1371600" eaLnBrk="1" latinLnBrk="0" hangingPunct="1">
              <a:defRPr sz="2700" kern="1200">
                <a:solidFill>
                  <a:schemeClr val="tx1"/>
                </a:solidFill>
                <a:latin typeface="+mn-lt"/>
                <a:ea typeface="+mn-ea"/>
                <a:cs typeface="+mn-cs"/>
              </a:defRPr>
            </a:lvl3pPr>
            <a:lvl4pPr marL="2057400" defTabSz="1371600" eaLnBrk="1" latinLnBrk="0" hangingPunct="1">
              <a:defRPr sz="2700" kern="1200">
                <a:solidFill>
                  <a:schemeClr val="tx1"/>
                </a:solidFill>
                <a:latin typeface="+mn-lt"/>
                <a:ea typeface="+mn-ea"/>
                <a:cs typeface="+mn-cs"/>
              </a:defRPr>
            </a:lvl4pPr>
            <a:lvl5pPr marL="2743200" defTabSz="1371600" eaLnBrk="1" latinLnBrk="0" hangingPunct="1">
              <a:defRPr sz="2700" kern="1200">
                <a:solidFill>
                  <a:schemeClr val="tx1"/>
                </a:solidFill>
                <a:latin typeface="+mn-lt"/>
                <a:ea typeface="+mn-ea"/>
                <a:cs typeface="+mn-cs"/>
              </a:defRPr>
            </a:lvl5pPr>
            <a:lvl6pPr marL="3429000" defTabSz="1371600" eaLnBrk="1" latinLnBrk="0" hangingPunct="1">
              <a:defRPr sz="2700" kern="1200">
                <a:solidFill>
                  <a:schemeClr val="tx1"/>
                </a:solidFill>
                <a:latin typeface="+mn-lt"/>
                <a:ea typeface="+mn-ea"/>
                <a:cs typeface="+mn-cs"/>
              </a:defRPr>
            </a:lvl6pPr>
            <a:lvl7pPr marL="4114800" defTabSz="1371600" eaLnBrk="1" latinLnBrk="0" hangingPunct="1">
              <a:defRPr sz="2700" kern="1200">
                <a:solidFill>
                  <a:schemeClr val="tx1"/>
                </a:solidFill>
                <a:latin typeface="+mn-lt"/>
                <a:ea typeface="+mn-ea"/>
                <a:cs typeface="+mn-cs"/>
              </a:defRPr>
            </a:lvl7pPr>
            <a:lvl8pPr marL="4800600" defTabSz="1371600" eaLnBrk="1" latinLnBrk="0" hangingPunct="1">
              <a:defRPr sz="2700" kern="1200">
                <a:solidFill>
                  <a:schemeClr val="tx1"/>
                </a:solidFill>
                <a:latin typeface="+mn-lt"/>
                <a:ea typeface="+mn-ea"/>
                <a:cs typeface="+mn-cs"/>
              </a:defRPr>
            </a:lvl8pPr>
            <a:lvl9pPr marL="5486400" defTabSz="1371600" eaLnBrk="1" latinLnBrk="0" hangingPunct="1">
              <a:defRPr sz="2700" kern="1200">
                <a:solidFill>
                  <a:schemeClr val="tx1"/>
                </a:solidFill>
                <a:latin typeface="+mn-lt"/>
                <a:ea typeface="+mn-ea"/>
                <a:cs typeface="+mn-cs"/>
              </a:defRPr>
            </a:lvl9pPr>
          </a:lstStyle>
          <a:p>
            <a:r>
              <a:rPr lang="en-US" sz="1200" noProof="0" err="1"/>
              <a:t>Colab</a:t>
            </a:r>
            <a:r>
              <a:rPr lang="en-US" sz="1200" noProof="0"/>
              <a:t> thinker</a:t>
            </a:r>
          </a:p>
        </p:txBody>
      </p:sp>
      <p:sp>
        <p:nvSpPr>
          <p:cNvPr id="26" name="Marcador de contenido 5">
            <a:extLst>
              <a:ext uri="{FF2B5EF4-FFF2-40B4-BE49-F238E27FC236}">
                <a16:creationId xmlns:a16="http://schemas.microsoft.com/office/drawing/2014/main" id="{CB4B0454-7A06-5175-CE79-CCAE8FFB45F1}"/>
              </a:ext>
            </a:extLst>
          </p:cNvPr>
          <p:cNvSpPr txBox="1">
            <a:spLocks/>
          </p:cNvSpPr>
          <p:nvPr/>
        </p:nvSpPr>
        <p:spPr>
          <a:xfrm>
            <a:off x="10944470" y="7895718"/>
            <a:ext cx="2594342" cy="474789"/>
          </a:xfrm>
          <a:prstGeom prst="rect">
            <a:avLst/>
          </a:prstGeom>
          <a:noFill/>
          <a:ln>
            <a:noFill/>
          </a:ln>
        </p:spPr>
        <p:txBody>
          <a:bodyPr spcFirstLastPara="1" wrap="square" lIns="137138" tIns="137138" rIns="137138" bIns="137138" anchor="ctr"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indent="0">
              <a:buFont typeface="Montserrat Light"/>
              <a:buNone/>
            </a:pPr>
            <a:r>
              <a:rPr lang="en-US" sz="1800" b="1" kern="0" noProof="0">
                <a:solidFill>
                  <a:schemeClr val="bg1"/>
                </a:solidFill>
                <a:latin typeface="Montserrat" pitchFamily="2" charset="77"/>
              </a:rPr>
              <a:t>Innovation Maturity index</a:t>
            </a:r>
          </a:p>
        </p:txBody>
      </p:sp>
      <p:grpSp>
        <p:nvGrpSpPr>
          <p:cNvPr id="47" name="Group 46">
            <a:extLst>
              <a:ext uri="{FF2B5EF4-FFF2-40B4-BE49-F238E27FC236}">
                <a16:creationId xmlns:a16="http://schemas.microsoft.com/office/drawing/2014/main" id="{81653CD6-1198-D7EC-8A32-A368BB4DA91D}"/>
              </a:ext>
            </a:extLst>
          </p:cNvPr>
          <p:cNvGrpSpPr/>
          <p:nvPr/>
        </p:nvGrpSpPr>
        <p:grpSpPr>
          <a:xfrm>
            <a:off x="10255670" y="6637442"/>
            <a:ext cx="657000" cy="657000"/>
            <a:chOff x="9827045" y="6961292"/>
            <a:chExt cx="657000" cy="657000"/>
          </a:xfrm>
        </p:grpSpPr>
        <p:sp>
          <p:nvSpPr>
            <p:cNvPr id="43" name="Oval 42">
              <a:extLst>
                <a:ext uri="{FF2B5EF4-FFF2-40B4-BE49-F238E27FC236}">
                  <a16:creationId xmlns:a16="http://schemas.microsoft.com/office/drawing/2014/main" id="{FD632EE0-E95C-3CDC-A749-7D539715F2B5}"/>
                </a:ext>
              </a:extLst>
            </p:cNvPr>
            <p:cNvSpPr/>
            <p:nvPr/>
          </p:nvSpPr>
          <p:spPr>
            <a:xfrm>
              <a:off x="9827045" y="6961292"/>
              <a:ext cx="657000" cy="657000"/>
            </a:xfrm>
            <a:prstGeom prst="ellipse">
              <a:avLst/>
            </a:prstGeom>
            <a:solidFill>
              <a:srgbClr val="6816FF"/>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endParaRPr lang="en-US" sz="4050" noProof="0">
                <a:solidFill>
                  <a:schemeClr val="bg1"/>
                </a:solidFill>
              </a:endParaRPr>
            </a:p>
          </p:txBody>
        </p:sp>
        <p:pic>
          <p:nvPicPr>
            <p:cNvPr id="27" name="Gráfico 33" descr="Debate de grupo estrutura de tópicos">
              <a:extLst>
                <a:ext uri="{FF2B5EF4-FFF2-40B4-BE49-F238E27FC236}">
                  <a16:creationId xmlns:a16="http://schemas.microsoft.com/office/drawing/2014/main" id="{89222E40-B3F9-00D2-03B3-D60E4B35286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50225" y="7090377"/>
              <a:ext cx="411413" cy="418557"/>
            </a:xfrm>
            <a:prstGeom prst="rect">
              <a:avLst/>
            </a:prstGeom>
          </p:spPr>
        </p:pic>
      </p:grpSp>
      <p:grpSp>
        <p:nvGrpSpPr>
          <p:cNvPr id="49" name="Group 48">
            <a:extLst>
              <a:ext uri="{FF2B5EF4-FFF2-40B4-BE49-F238E27FC236}">
                <a16:creationId xmlns:a16="http://schemas.microsoft.com/office/drawing/2014/main" id="{40BBEDF8-FFEF-BD0C-AFE2-44238CA96B92}"/>
              </a:ext>
            </a:extLst>
          </p:cNvPr>
          <p:cNvGrpSpPr/>
          <p:nvPr/>
        </p:nvGrpSpPr>
        <p:grpSpPr>
          <a:xfrm>
            <a:off x="10251995" y="4236017"/>
            <a:ext cx="657000" cy="657000"/>
            <a:chOff x="9890045" y="3388292"/>
            <a:chExt cx="657000" cy="657000"/>
          </a:xfrm>
        </p:grpSpPr>
        <p:sp>
          <p:nvSpPr>
            <p:cNvPr id="45" name="Oval 44">
              <a:extLst>
                <a:ext uri="{FF2B5EF4-FFF2-40B4-BE49-F238E27FC236}">
                  <a16:creationId xmlns:a16="http://schemas.microsoft.com/office/drawing/2014/main" id="{3A5D1299-CD3F-EF63-295A-ECFA1ACB8E08}"/>
                </a:ext>
              </a:extLst>
            </p:cNvPr>
            <p:cNvSpPr/>
            <p:nvPr/>
          </p:nvSpPr>
          <p:spPr>
            <a:xfrm>
              <a:off x="9890045" y="3388292"/>
              <a:ext cx="657000" cy="657000"/>
            </a:xfrm>
            <a:prstGeom prst="ellipse">
              <a:avLst/>
            </a:prstGeom>
            <a:solidFill>
              <a:srgbClr val="6816FF"/>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endParaRPr lang="en-US" sz="4050" noProof="0">
                <a:solidFill>
                  <a:schemeClr val="bg1"/>
                </a:solidFill>
              </a:endParaRPr>
            </a:p>
          </p:txBody>
        </p:sp>
        <p:pic>
          <p:nvPicPr>
            <p:cNvPr id="28" name="Gráfico 36" descr="Foguete estrutura de tópicos">
              <a:extLst>
                <a:ext uri="{FF2B5EF4-FFF2-40B4-BE49-F238E27FC236}">
                  <a16:creationId xmlns:a16="http://schemas.microsoft.com/office/drawing/2014/main" id="{1A43CBBC-5E71-EE48-EF20-8AE44CE8108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981340" y="3512188"/>
              <a:ext cx="432843" cy="418557"/>
            </a:xfrm>
            <a:prstGeom prst="rect">
              <a:avLst/>
            </a:prstGeom>
          </p:spPr>
        </p:pic>
      </p:grpSp>
      <p:grpSp>
        <p:nvGrpSpPr>
          <p:cNvPr id="48" name="Group 47">
            <a:extLst>
              <a:ext uri="{FF2B5EF4-FFF2-40B4-BE49-F238E27FC236}">
                <a16:creationId xmlns:a16="http://schemas.microsoft.com/office/drawing/2014/main" id="{5FBF2E63-4DA5-ED06-1363-DA0891819EAB}"/>
              </a:ext>
            </a:extLst>
          </p:cNvPr>
          <p:cNvGrpSpPr/>
          <p:nvPr/>
        </p:nvGrpSpPr>
        <p:grpSpPr>
          <a:xfrm>
            <a:off x="10233470" y="5466167"/>
            <a:ext cx="657000" cy="657000"/>
            <a:chOff x="9881045" y="5323292"/>
            <a:chExt cx="657000" cy="657000"/>
          </a:xfrm>
        </p:grpSpPr>
        <p:sp>
          <p:nvSpPr>
            <p:cNvPr id="44" name="Oval 43">
              <a:extLst>
                <a:ext uri="{FF2B5EF4-FFF2-40B4-BE49-F238E27FC236}">
                  <a16:creationId xmlns:a16="http://schemas.microsoft.com/office/drawing/2014/main" id="{2E334DBB-B34A-F176-433C-77ADC2E746DF}"/>
                </a:ext>
              </a:extLst>
            </p:cNvPr>
            <p:cNvSpPr/>
            <p:nvPr/>
          </p:nvSpPr>
          <p:spPr>
            <a:xfrm>
              <a:off x="9881045" y="5323292"/>
              <a:ext cx="657000" cy="657000"/>
            </a:xfrm>
            <a:prstGeom prst="ellipse">
              <a:avLst/>
            </a:prstGeom>
            <a:solidFill>
              <a:srgbClr val="6816FF"/>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endParaRPr lang="en-US" sz="4050" noProof="0">
                <a:solidFill>
                  <a:schemeClr val="bg1"/>
                </a:solidFill>
              </a:endParaRPr>
            </a:p>
          </p:txBody>
        </p:sp>
        <p:pic>
          <p:nvPicPr>
            <p:cNvPr id="29" name="Gráfico 41" descr="Pesquisa estrutura de tópicos">
              <a:extLst>
                <a:ext uri="{FF2B5EF4-FFF2-40B4-BE49-F238E27FC236}">
                  <a16:creationId xmlns:a16="http://schemas.microsoft.com/office/drawing/2014/main" id="{668A00A7-96EA-AEF0-DBA4-5F9633B5F71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995389" y="5420693"/>
              <a:ext cx="418557" cy="439988"/>
            </a:xfrm>
            <a:prstGeom prst="rect">
              <a:avLst/>
            </a:prstGeom>
          </p:spPr>
        </p:pic>
      </p:grpSp>
      <p:grpSp>
        <p:nvGrpSpPr>
          <p:cNvPr id="50" name="Group 49">
            <a:extLst>
              <a:ext uri="{FF2B5EF4-FFF2-40B4-BE49-F238E27FC236}">
                <a16:creationId xmlns:a16="http://schemas.microsoft.com/office/drawing/2014/main" id="{B133A3D4-D424-77BA-7AD2-F7C426A2E503}"/>
              </a:ext>
            </a:extLst>
          </p:cNvPr>
          <p:cNvGrpSpPr/>
          <p:nvPr/>
        </p:nvGrpSpPr>
        <p:grpSpPr>
          <a:xfrm>
            <a:off x="10234520" y="3178671"/>
            <a:ext cx="657000" cy="657000"/>
            <a:chOff x="9863045" y="2083296"/>
            <a:chExt cx="657000" cy="657000"/>
          </a:xfrm>
        </p:grpSpPr>
        <p:sp>
          <p:nvSpPr>
            <p:cNvPr id="7" name="Oval 6">
              <a:extLst>
                <a:ext uri="{FF2B5EF4-FFF2-40B4-BE49-F238E27FC236}">
                  <a16:creationId xmlns:a16="http://schemas.microsoft.com/office/drawing/2014/main" id="{43A74E32-3B65-91EC-5851-53B52A18B517}"/>
                </a:ext>
              </a:extLst>
            </p:cNvPr>
            <p:cNvSpPr/>
            <p:nvPr/>
          </p:nvSpPr>
          <p:spPr>
            <a:xfrm>
              <a:off x="9863045" y="2083296"/>
              <a:ext cx="657000" cy="657000"/>
            </a:xfrm>
            <a:prstGeom prst="ellipse">
              <a:avLst/>
            </a:prstGeom>
            <a:solidFill>
              <a:srgbClr val="6816FF"/>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endParaRPr lang="en-US" sz="4050" noProof="0">
                <a:solidFill>
                  <a:schemeClr val="bg1"/>
                </a:solidFill>
              </a:endParaRPr>
            </a:p>
          </p:txBody>
        </p:sp>
        <p:pic>
          <p:nvPicPr>
            <p:cNvPr id="30" name="Gráfico 45" descr="Engrenagens estrutura de tópicos">
              <a:extLst>
                <a:ext uri="{FF2B5EF4-FFF2-40B4-BE49-F238E27FC236}">
                  <a16:creationId xmlns:a16="http://schemas.microsoft.com/office/drawing/2014/main" id="{858F1F55-B34D-6D49-C821-0E7193BFB6C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953045" y="2158385"/>
              <a:ext cx="477000" cy="477000"/>
            </a:xfrm>
            <a:prstGeom prst="rect">
              <a:avLst/>
            </a:prstGeom>
          </p:spPr>
        </p:pic>
      </p:grpSp>
      <p:grpSp>
        <p:nvGrpSpPr>
          <p:cNvPr id="53" name="Group 52">
            <a:extLst>
              <a:ext uri="{FF2B5EF4-FFF2-40B4-BE49-F238E27FC236}">
                <a16:creationId xmlns:a16="http://schemas.microsoft.com/office/drawing/2014/main" id="{AC86420F-A304-FA93-728F-B8F8E1B25857}"/>
              </a:ext>
            </a:extLst>
          </p:cNvPr>
          <p:cNvGrpSpPr/>
          <p:nvPr/>
        </p:nvGrpSpPr>
        <p:grpSpPr>
          <a:xfrm>
            <a:off x="14170895" y="5466168"/>
            <a:ext cx="657000" cy="657000"/>
            <a:chOff x="14228045" y="5323293"/>
            <a:chExt cx="657000" cy="657000"/>
          </a:xfrm>
        </p:grpSpPr>
        <p:sp>
          <p:nvSpPr>
            <p:cNvPr id="39" name="Oval 38">
              <a:extLst>
                <a:ext uri="{FF2B5EF4-FFF2-40B4-BE49-F238E27FC236}">
                  <a16:creationId xmlns:a16="http://schemas.microsoft.com/office/drawing/2014/main" id="{F2F35816-0187-5318-B2C7-B3F2B805C5EA}"/>
                </a:ext>
              </a:extLst>
            </p:cNvPr>
            <p:cNvSpPr/>
            <p:nvPr/>
          </p:nvSpPr>
          <p:spPr>
            <a:xfrm>
              <a:off x="14228045" y="5323293"/>
              <a:ext cx="657000" cy="657000"/>
            </a:xfrm>
            <a:prstGeom prst="ellipse">
              <a:avLst/>
            </a:prstGeom>
            <a:solidFill>
              <a:srgbClr val="6816FF"/>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endParaRPr lang="en-US" sz="4050" noProof="0">
                <a:solidFill>
                  <a:schemeClr val="bg1"/>
                </a:solidFill>
              </a:endParaRPr>
            </a:p>
          </p:txBody>
        </p:sp>
        <p:pic>
          <p:nvPicPr>
            <p:cNvPr id="31" name="Gráfico 47" descr="Internet das Coisas estrutura de tópicos">
              <a:extLst>
                <a:ext uri="{FF2B5EF4-FFF2-40B4-BE49-F238E27FC236}">
                  <a16:creationId xmlns:a16="http://schemas.microsoft.com/office/drawing/2014/main" id="{D682493E-A35F-0994-F3FA-1BC81531AB6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4349192" y="5419853"/>
              <a:ext cx="432844" cy="439987"/>
            </a:xfrm>
            <a:prstGeom prst="rect">
              <a:avLst/>
            </a:prstGeom>
          </p:spPr>
        </p:pic>
      </p:grpSp>
      <p:grpSp>
        <p:nvGrpSpPr>
          <p:cNvPr id="54" name="Group 53">
            <a:extLst>
              <a:ext uri="{FF2B5EF4-FFF2-40B4-BE49-F238E27FC236}">
                <a16:creationId xmlns:a16="http://schemas.microsoft.com/office/drawing/2014/main" id="{962B650B-E6F8-D9AE-4C25-52CCDD08B117}"/>
              </a:ext>
            </a:extLst>
          </p:cNvPr>
          <p:cNvGrpSpPr/>
          <p:nvPr/>
        </p:nvGrpSpPr>
        <p:grpSpPr>
          <a:xfrm>
            <a:off x="14213795" y="6610443"/>
            <a:ext cx="657000" cy="657000"/>
            <a:chOff x="14309045" y="6934293"/>
            <a:chExt cx="657000" cy="657000"/>
          </a:xfrm>
        </p:grpSpPr>
        <p:sp>
          <p:nvSpPr>
            <p:cNvPr id="40" name="Oval 39">
              <a:extLst>
                <a:ext uri="{FF2B5EF4-FFF2-40B4-BE49-F238E27FC236}">
                  <a16:creationId xmlns:a16="http://schemas.microsoft.com/office/drawing/2014/main" id="{5BB6DA1B-685A-AB59-AA9F-64FBCC3F25FF}"/>
                </a:ext>
              </a:extLst>
            </p:cNvPr>
            <p:cNvSpPr/>
            <p:nvPr/>
          </p:nvSpPr>
          <p:spPr>
            <a:xfrm>
              <a:off x="14309045" y="6934293"/>
              <a:ext cx="657000" cy="657000"/>
            </a:xfrm>
            <a:prstGeom prst="ellipse">
              <a:avLst/>
            </a:prstGeom>
            <a:solidFill>
              <a:srgbClr val="6816FF"/>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endParaRPr lang="en-US" sz="4050" noProof="0">
                <a:solidFill>
                  <a:schemeClr val="bg1"/>
                </a:solidFill>
              </a:endParaRPr>
            </a:p>
          </p:txBody>
        </p:sp>
        <p:pic>
          <p:nvPicPr>
            <p:cNvPr id="32" name="Gráfico 49" descr="Blockchain estrutura de tópicos">
              <a:extLst>
                <a:ext uri="{FF2B5EF4-FFF2-40B4-BE49-F238E27FC236}">
                  <a16:creationId xmlns:a16="http://schemas.microsoft.com/office/drawing/2014/main" id="{7D4E4761-4B2C-993E-3CD0-B1FC7E2E571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4418326" y="7049817"/>
              <a:ext cx="425700" cy="418557"/>
            </a:xfrm>
            <a:prstGeom prst="rect">
              <a:avLst/>
            </a:prstGeom>
          </p:spPr>
        </p:pic>
      </p:grpSp>
      <p:grpSp>
        <p:nvGrpSpPr>
          <p:cNvPr id="46" name="Group 45">
            <a:extLst>
              <a:ext uri="{FF2B5EF4-FFF2-40B4-BE49-F238E27FC236}">
                <a16:creationId xmlns:a16="http://schemas.microsoft.com/office/drawing/2014/main" id="{B9536131-685C-CB85-16CE-FE27CD819CCE}"/>
              </a:ext>
            </a:extLst>
          </p:cNvPr>
          <p:cNvGrpSpPr/>
          <p:nvPr/>
        </p:nvGrpSpPr>
        <p:grpSpPr>
          <a:xfrm>
            <a:off x="10281095" y="7808717"/>
            <a:ext cx="657000" cy="657000"/>
            <a:chOff x="9881045" y="8599292"/>
            <a:chExt cx="657000" cy="657000"/>
          </a:xfrm>
        </p:grpSpPr>
        <p:sp>
          <p:nvSpPr>
            <p:cNvPr id="42" name="Oval 41">
              <a:extLst>
                <a:ext uri="{FF2B5EF4-FFF2-40B4-BE49-F238E27FC236}">
                  <a16:creationId xmlns:a16="http://schemas.microsoft.com/office/drawing/2014/main" id="{439586F7-CE00-294F-482D-F188D761A915}"/>
                </a:ext>
              </a:extLst>
            </p:cNvPr>
            <p:cNvSpPr/>
            <p:nvPr/>
          </p:nvSpPr>
          <p:spPr>
            <a:xfrm>
              <a:off x="9881045" y="8599292"/>
              <a:ext cx="657000" cy="657000"/>
            </a:xfrm>
            <a:prstGeom prst="ellipse">
              <a:avLst/>
            </a:prstGeom>
            <a:solidFill>
              <a:srgbClr val="6816FF"/>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endParaRPr lang="en-US" sz="4050" noProof="0">
                <a:solidFill>
                  <a:schemeClr val="bg1"/>
                </a:solidFill>
              </a:endParaRPr>
            </a:p>
          </p:txBody>
        </p:sp>
        <p:pic>
          <p:nvPicPr>
            <p:cNvPr id="33" name="Gráfico 51" descr="Processador estrutura de tópicos">
              <a:extLst>
                <a:ext uri="{FF2B5EF4-FFF2-40B4-BE49-F238E27FC236}">
                  <a16:creationId xmlns:a16="http://schemas.microsoft.com/office/drawing/2014/main" id="{1A5FD4B3-4B21-B115-AB78-8F1947378AA6}"/>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993323" y="8717940"/>
              <a:ext cx="439989" cy="439988"/>
            </a:xfrm>
            <a:prstGeom prst="rect">
              <a:avLst/>
            </a:prstGeom>
          </p:spPr>
        </p:pic>
      </p:grpSp>
      <p:grpSp>
        <p:nvGrpSpPr>
          <p:cNvPr id="52" name="Group 51">
            <a:extLst>
              <a:ext uri="{FF2B5EF4-FFF2-40B4-BE49-F238E27FC236}">
                <a16:creationId xmlns:a16="http://schemas.microsoft.com/office/drawing/2014/main" id="{A411CE7E-DE21-925E-3A2F-2ED90AF4C300}"/>
              </a:ext>
            </a:extLst>
          </p:cNvPr>
          <p:cNvGrpSpPr/>
          <p:nvPr/>
        </p:nvGrpSpPr>
        <p:grpSpPr>
          <a:xfrm>
            <a:off x="14169845" y="4274269"/>
            <a:ext cx="657000" cy="657000"/>
            <a:chOff x="14246045" y="3712294"/>
            <a:chExt cx="657000" cy="657000"/>
          </a:xfrm>
        </p:grpSpPr>
        <p:sp>
          <p:nvSpPr>
            <p:cNvPr id="38" name="Oval 37">
              <a:extLst>
                <a:ext uri="{FF2B5EF4-FFF2-40B4-BE49-F238E27FC236}">
                  <a16:creationId xmlns:a16="http://schemas.microsoft.com/office/drawing/2014/main" id="{72FE00B8-0C93-4176-CA33-4F769CAFE545}"/>
                </a:ext>
              </a:extLst>
            </p:cNvPr>
            <p:cNvSpPr/>
            <p:nvPr/>
          </p:nvSpPr>
          <p:spPr>
            <a:xfrm>
              <a:off x="14246045" y="3712294"/>
              <a:ext cx="657000" cy="657000"/>
            </a:xfrm>
            <a:prstGeom prst="ellipse">
              <a:avLst/>
            </a:prstGeom>
            <a:solidFill>
              <a:srgbClr val="6816FF"/>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endParaRPr lang="en-US" sz="4050" noProof="0">
                <a:solidFill>
                  <a:schemeClr val="bg1"/>
                </a:solidFill>
              </a:endParaRPr>
            </a:p>
          </p:txBody>
        </p:sp>
        <p:pic>
          <p:nvPicPr>
            <p:cNvPr id="34" name="Gráfico 53" descr="Conexões estrutura de tópicos">
              <a:extLst>
                <a:ext uri="{FF2B5EF4-FFF2-40B4-BE49-F238E27FC236}">
                  <a16:creationId xmlns:a16="http://schemas.microsoft.com/office/drawing/2014/main" id="{3F0A8F6B-1389-5C50-DF7C-644FC2F7ECA8}"/>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4339102" y="3822434"/>
              <a:ext cx="482850" cy="457706"/>
            </a:xfrm>
            <a:prstGeom prst="rect">
              <a:avLst/>
            </a:prstGeom>
          </p:spPr>
        </p:pic>
      </p:grpSp>
      <p:grpSp>
        <p:nvGrpSpPr>
          <p:cNvPr id="51" name="Group 50">
            <a:extLst>
              <a:ext uri="{FF2B5EF4-FFF2-40B4-BE49-F238E27FC236}">
                <a16:creationId xmlns:a16="http://schemas.microsoft.com/office/drawing/2014/main" id="{2757D1F4-BD36-89BE-02A2-9D46A852B9D6}"/>
              </a:ext>
            </a:extLst>
          </p:cNvPr>
          <p:cNvGrpSpPr/>
          <p:nvPr/>
        </p:nvGrpSpPr>
        <p:grpSpPr>
          <a:xfrm>
            <a:off x="14111045" y="3160670"/>
            <a:ext cx="657000" cy="657000"/>
            <a:chOff x="14111045" y="2065295"/>
            <a:chExt cx="657000" cy="657000"/>
          </a:xfrm>
        </p:grpSpPr>
        <p:sp>
          <p:nvSpPr>
            <p:cNvPr id="4" name="Oval 3">
              <a:extLst>
                <a:ext uri="{FF2B5EF4-FFF2-40B4-BE49-F238E27FC236}">
                  <a16:creationId xmlns:a16="http://schemas.microsoft.com/office/drawing/2014/main" id="{96577C41-8D2A-F1CB-EE35-3EF783B2CEE2}"/>
                </a:ext>
              </a:extLst>
            </p:cNvPr>
            <p:cNvSpPr/>
            <p:nvPr/>
          </p:nvSpPr>
          <p:spPr>
            <a:xfrm>
              <a:off x="14111045" y="2065295"/>
              <a:ext cx="657000" cy="657000"/>
            </a:xfrm>
            <a:prstGeom prst="ellipse">
              <a:avLst/>
            </a:prstGeom>
            <a:solidFill>
              <a:srgbClr val="6816FF"/>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endParaRPr lang="en-US" sz="4050" noProof="0">
                <a:solidFill>
                  <a:schemeClr val="bg1"/>
                </a:solidFill>
              </a:endParaRPr>
            </a:p>
          </p:txBody>
        </p:sp>
        <p:pic>
          <p:nvPicPr>
            <p:cNvPr id="35" name="Gráfico 55" descr="Tendência ascendente estrutura de tópicos">
              <a:extLst>
                <a:ext uri="{FF2B5EF4-FFF2-40B4-BE49-F238E27FC236}">
                  <a16:creationId xmlns:a16="http://schemas.microsoft.com/office/drawing/2014/main" id="{E22C486F-3DD9-EB87-6991-9BB43AA0DA8D}"/>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4224999" y="2156166"/>
              <a:ext cx="414000" cy="450000"/>
            </a:xfrm>
            <a:prstGeom prst="rect">
              <a:avLst/>
            </a:prstGeom>
          </p:spPr>
        </p:pic>
      </p:grpSp>
      <p:grpSp>
        <p:nvGrpSpPr>
          <p:cNvPr id="55" name="Group 54">
            <a:extLst>
              <a:ext uri="{FF2B5EF4-FFF2-40B4-BE49-F238E27FC236}">
                <a16:creationId xmlns:a16="http://schemas.microsoft.com/office/drawing/2014/main" id="{A2C3EC03-A628-0754-D108-15418E853E43}"/>
              </a:ext>
            </a:extLst>
          </p:cNvPr>
          <p:cNvGrpSpPr/>
          <p:nvPr/>
        </p:nvGrpSpPr>
        <p:grpSpPr>
          <a:xfrm>
            <a:off x="14207945" y="7808792"/>
            <a:ext cx="657000" cy="657000"/>
            <a:chOff x="14246045" y="8761292"/>
            <a:chExt cx="657000" cy="657000"/>
          </a:xfrm>
        </p:grpSpPr>
        <p:sp>
          <p:nvSpPr>
            <p:cNvPr id="41" name="Oval 40">
              <a:extLst>
                <a:ext uri="{FF2B5EF4-FFF2-40B4-BE49-F238E27FC236}">
                  <a16:creationId xmlns:a16="http://schemas.microsoft.com/office/drawing/2014/main" id="{54933722-A426-D979-0D54-709E6D3DC803}"/>
                </a:ext>
              </a:extLst>
            </p:cNvPr>
            <p:cNvSpPr/>
            <p:nvPr/>
          </p:nvSpPr>
          <p:spPr>
            <a:xfrm>
              <a:off x="14246045" y="8761292"/>
              <a:ext cx="657000" cy="657000"/>
            </a:xfrm>
            <a:prstGeom prst="ellipse">
              <a:avLst/>
            </a:prstGeom>
            <a:solidFill>
              <a:srgbClr val="6816FF"/>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endParaRPr lang="en-US" sz="4050" noProof="0">
                <a:solidFill>
                  <a:schemeClr val="bg1"/>
                </a:solidFill>
              </a:endParaRPr>
            </a:p>
          </p:txBody>
        </p:sp>
        <p:pic>
          <p:nvPicPr>
            <p:cNvPr id="36" name="Gráfico 57" descr="Ideia estrutura de tópicos">
              <a:extLst>
                <a:ext uri="{FF2B5EF4-FFF2-40B4-BE49-F238E27FC236}">
                  <a16:creationId xmlns:a16="http://schemas.microsoft.com/office/drawing/2014/main" id="{BD9F38D7-673A-16BE-C4C8-74FD496AEDE9}"/>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4415787" y="8893178"/>
              <a:ext cx="361408" cy="404270"/>
            </a:xfrm>
            <a:prstGeom prst="rect">
              <a:avLst/>
            </a:prstGeom>
          </p:spPr>
        </p:pic>
      </p:grpSp>
      <p:sp>
        <p:nvSpPr>
          <p:cNvPr id="37" name="Google Shape;68;p4">
            <a:extLst>
              <a:ext uri="{FF2B5EF4-FFF2-40B4-BE49-F238E27FC236}">
                <a16:creationId xmlns:a16="http://schemas.microsoft.com/office/drawing/2014/main" id="{79713659-9F41-9FB1-133B-8ECED4F1645B}"/>
              </a:ext>
            </a:extLst>
          </p:cNvPr>
          <p:cNvSpPr txBox="1"/>
          <p:nvPr/>
        </p:nvSpPr>
        <p:spPr>
          <a:xfrm>
            <a:off x="11553695" y="2181569"/>
            <a:ext cx="3206232" cy="402611"/>
          </a:xfrm>
          <a:prstGeom prst="rect">
            <a:avLst/>
          </a:prstGeom>
          <a:noFill/>
          <a:ln>
            <a:noFill/>
          </a:ln>
        </p:spPr>
        <p:txBody>
          <a:bodyPr spcFirstLastPara="1" wrap="square" lIns="0" tIns="0" rIns="0" bIns="0" anchor="t" anchorCtr="0">
            <a:sp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15875" marR="7620" algn="ctr">
              <a:lnSpc>
                <a:spcPct val="108571"/>
              </a:lnSpc>
              <a:buSzPts val="2450"/>
            </a:pPr>
            <a:r>
              <a:rPr lang="en-US" sz="2400" b="1" noProof="0">
                <a:solidFill>
                  <a:srgbClr val="FFFFFF"/>
                </a:solidFill>
                <a:highlight>
                  <a:srgbClr val="6816FF"/>
                </a:highlight>
                <a:latin typeface="Montserrat"/>
              </a:rPr>
              <a:t> </a:t>
            </a:r>
            <a:r>
              <a:rPr lang="en-US" sz="2400" b="1" i="1" noProof="0">
                <a:solidFill>
                  <a:srgbClr val="FFFFFF"/>
                </a:solidFill>
                <a:highlight>
                  <a:srgbClr val="6816FF"/>
                </a:highlight>
                <a:latin typeface="Montserrat"/>
              </a:rPr>
              <a:t>Programs </a:t>
            </a:r>
            <a:endParaRPr lang="en-US" sz="2400" i="1" noProof="0">
              <a:solidFill>
                <a:srgbClr val="FFFFFF"/>
              </a:solidFill>
              <a:highlight>
                <a:srgbClr val="6816FF"/>
              </a:highlight>
              <a:latin typeface="Montserrat"/>
            </a:endParaRPr>
          </a:p>
        </p:txBody>
      </p:sp>
      <p:grpSp>
        <p:nvGrpSpPr>
          <p:cNvPr id="8" name="Group 24">
            <a:extLst>
              <a:ext uri="{FF2B5EF4-FFF2-40B4-BE49-F238E27FC236}">
                <a16:creationId xmlns:a16="http://schemas.microsoft.com/office/drawing/2014/main" id="{1773D756-E396-C6BD-64C6-12D66750484D}"/>
              </a:ext>
            </a:extLst>
          </p:cNvPr>
          <p:cNvGrpSpPr/>
          <p:nvPr/>
        </p:nvGrpSpPr>
        <p:grpSpPr>
          <a:xfrm>
            <a:off x="6909074" y="1504566"/>
            <a:ext cx="612363" cy="56823"/>
            <a:chOff x="0" y="0"/>
            <a:chExt cx="1078484" cy="100076"/>
          </a:xfrm>
        </p:grpSpPr>
        <p:sp>
          <p:nvSpPr>
            <p:cNvPr id="6" name="Freeform 25">
              <a:extLst>
                <a:ext uri="{FF2B5EF4-FFF2-40B4-BE49-F238E27FC236}">
                  <a16:creationId xmlns:a16="http://schemas.microsoft.com/office/drawing/2014/main" id="{4F84CA24-052B-AB8B-7D62-92DCF332728C}"/>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en-US" sz="1800" noProof="0"/>
            </a:p>
          </p:txBody>
        </p:sp>
      </p:grpSp>
    </p:spTree>
    <p:extLst>
      <p:ext uri="{BB962C8B-B14F-4D97-AF65-F5344CB8AC3E}">
        <p14:creationId xmlns:p14="http://schemas.microsoft.com/office/powerpoint/2010/main" val="11544991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E98930-B20E-A2D9-6B9B-61BA7DF9E2C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314C666-4056-597D-4056-6DB7754B0120}"/>
              </a:ext>
            </a:extLst>
          </p:cNvPr>
          <p:cNvSpPr>
            <a:spLocks noGrp="1"/>
          </p:cNvSpPr>
          <p:nvPr>
            <p:ph type="title" idx="4294967295"/>
          </p:nvPr>
        </p:nvSpPr>
        <p:spPr>
          <a:xfrm>
            <a:off x="1066826" y="789173"/>
            <a:ext cx="12236155" cy="1145400"/>
          </a:xfrm>
        </p:spPr>
        <p:txBody>
          <a:bodyPr/>
          <a:lstStyle/>
          <a:p>
            <a:r>
              <a:rPr lang="en-US" sz="4400" noProof="0">
                <a:solidFill>
                  <a:schemeClr val="bg1"/>
                </a:solidFill>
                <a:latin typeface="Montserrat Bold"/>
              </a:rPr>
              <a:t>IQ</a:t>
            </a:r>
            <a:br>
              <a:rPr lang="en-US" sz="2000" b="1" noProof="0">
                <a:latin typeface="Montserrat" pitchFamily="2" charset="77"/>
              </a:rPr>
            </a:br>
            <a:r>
              <a:rPr lang="en-US" sz="2400" b="0">
                <a:solidFill>
                  <a:srgbClr val="6816FF"/>
                </a:solidFill>
                <a:cs typeface="Arial"/>
              </a:rPr>
              <a:t>Framework</a:t>
            </a:r>
            <a:r>
              <a:rPr lang="en-US" sz="2800" noProof="0">
                <a:solidFill>
                  <a:srgbClr val="6816FF"/>
                </a:solidFill>
                <a:cs typeface="Arial"/>
              </a:rPr>
              <a:t> </a:t>
            </a:r>
            <a:r>
              <a:rPr lang="en-US" sz="2800" b="0">
                <a:solidFill>
                  <a:srgbClr val="6816FF"/>
                </a:solidFill>
                <a:cs typeface="Arial"/>
              </a:rPr>
              <a:t>adopts</a:t>
            </a:r>
            <a:endParaRPr lang="en-US" sz="2800" b="0" noProof="0">
              <a:solidFill>
                <a:srgbClr val="6816FF"/>
              </a:solidFill>
              <a:cs typeface="Arial"/>
            </a:endParaRPr>
          </a:p>
        </p:txBody>
      </p:sp>
      <p:sp>
        <p:nvSpPr>
          <p:cNvPr id="5" name="Retângulo 155">
            <a:extLst>
              <a:ext uri="{FF2B5EF4-FFF2-40B4-BE49-F238E27FC236}">
                <a16:creationId xmlns:a16="http://schemas.microsoft.com/office/drawing/2014/main" id="{2780A113-89E9-193F-B985-1DE30A61976A}"/>
              </a:ext>
            </a:extLst>
          </p:cNvPr>
          <p:cNvSpPr/>
          <p:nvPr/>
        </p:nvSpPr>
        <p:spPr>
          <a:xfrm>
            <a:off x="13337208" y="2835891"/>
            <a:ext cx="4246821" cy="6598859"/>
          </a:xfrm>
          <a:prstGeom prst="rect">
            <a:avLst/>
          </a:prstGeom>
          <a:solidFill>
            <a:srgbClr val="6816FF">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endParaRPr lang="en-US" sz="4050" noProof="0">
              <a:solidFill>
                <a:schemeClr val="bg1">
                  <a:lumMod val="10000"/>
                  <a:lumOff val="90000"/>
                </a:schemeClr>
              </a:solidFill>
            </a:endParaRPr>
          </a:p>
        </p:txBody>
      </p:sp>
      <p:pic>
        <p:nvPicPr>
          <p:cNvPr id="6" name="Imagem 5" descr="Ícone&#10;&#10;Descrição gerada automaticamente">
            <a:extLst>
              <a:ext uri="{FF2B5EF4-FFF2-40B4-BE49-F238E27FC236}">
                <a16:creationId xmlns:a16="http://schemas.microsoft.com/office/drawing/2014/main" id="{32FD666B-E293-4CFC-BECD-F85A415E0FA6}"/>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4725856" y="4254112"/>
            <a:ext cx="1710966" cy="1894284"/>
          </a:xfrm>
          <a:prstGeom prst="rect">
            <a:avLst/>
          </a:prstGeom>
        </p:spPr>
      </p:pic>
      <p:sp>
        <p:nvSpPr>
          <p:cNvPr id="7" name="Rounded Rectangle 88">
            <a:extLst>
              <a:ext uri="{FF2B5EF4-FFF2-40B4-BE49-F238E27FC236}">
                <a16:creationId xmlns:a16="http://schemas.microsoft.com/office/drawing/2014/main" id="{E72A14C5-0E1E-91EF-31DC-7FF6384471A3}"/>
              </a:ext>
            </a:extLst>
          </p:cNvPr>
          <p:cNvSpPr/>
          <p:nvPr/>
        </p:nvSpPr>
        <p:spPr>
          <a:xfrm>
            <a:off x="719136" y="2346834"/>
            <a:ext cx="4298220" cy="436730"/>
          </a:xfrm>
          <a:prstGeom prst="roundRect">
            <a:avLst>
              <a:gd name="adj" fmla="val 50000"/>
            </a:avLst>
          </a:prstGeom>
          <a:solidFill>
            <a:srgbClr val="6800FF">
              <a:alpha val="70000"/>
            </a:srgbClr>
          </a:solidFill>
          <a:ln w="12700" cap="flat" cmpd="sng" algn="ctr">
            <a:noFill/>
            <a:prstDash val="solid"/>
            <a:miter lim="800000"/>
          </a:ln>
          <a:effectLst/>
        </p:spPr>
        <p:txBody>
          <a:bodyPr rtlCol="0" anchor="ct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ctr" defTabSz="1028495" rtl="0" eaLnBrk="1" fontAlgn="auto" latinLnBrk="0" hangingPunct="1">
              <a:lnSpc>
                <a:spcPct val="100000"/>
              </a:lnSpc>
              <a:spcBef>
                <a:spcPts val="0"/>
              </a:spcBef>
              <a:spcAft>
                <a:spcPts val="0"/>
              </a:spcAft>
              <a:buClrTx/>
              <a:buSzTx/>
              <a:buFont typeface="Arial"/>
              <a:buNone/>
              <a:tabLst/>
              <a:defRPr/>
            </a:pPr>
            <a:endParaRPr kumimoji="0" lang="en-US" sz="2025" b="0" i="0" u="none" strike="noStrike" kern="1200" cap="none" spc="0" normalizeH="0" baseline="0" noProof="0">
              <a:ln>
                <a:noFill/>
              </a:ln>
              <a:solidFill>
                <a:prstClr val="white"/>
              </a:solidFill>
              <a:effectLst/>
              <a:uLnTx/>
              <a:uFillTx/>
              <a:latin typeface="Montserrat"/>
              <a:ea typeface="+mn-ea"/>
              <a:cs typeface="Arial"/>
              <a:sym typeface="Arial"/>
            </a:endParaRPr>
          </a:p>
        </p:txBody>
      </p:sp>
      <p:sp>
        <p:nvSpPr>
          <p:cNvPr id="8" name="Rounded Rectangle 93">
            <a:extLst>
              <a:ext uri="{FF2B5EF4-FFF2-40B4-BE49-F238E27FC236}">
                <a16:creationId xmlns:a16="http://schemas.microsoft.com/office/drawing/2014/main" id="{72ABB392-320D-B34D-9F29-39922012AB7C}"/>
              </a:ext>
            </a:extLst>
          </p:cNvPr>
          <p:cNvSpPr/>
          <p:nvPr/>
        </p:nvSpPr>
        <p:spPr>
          <a:xfrm>
            <a:off x="13169896" y="2348893"/>
            <a:ext cx="4556822" cy="436730"/>
          </a:xfrm>
          <a:prstGeom prst="roundRect">
            <a:avLst>
              <a:gd name="adj" fmla="val 50000"/>
            </a:avLst>
          </a:prstGeom>
          <a:solidFill>
            <a:srgbClr val="FF235D"/>
          </a:solidFill>
          <a:ln w="12700" cap="flat" cmpd="sng" algn="ctr">
            <a:noFill/>
            <a:prstDash val="solid"/>
            <a:miter lim="800000"/>
          </a:ln>
          <a:effectLst/>
        </p:spPr>
        <p:txBody>
          <a:bodyPr rtlCol="0" anchor="ct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ctr" defTabSz="1028495" rtl="0" eaLnBrk="1" fontAlgn="auto" latinLnBrk="0" hangingPunct="1">
              <a:lnSpc>
                <a:spcPct val="100000"/>
              </a:lnSpc>
              <a:spcBef>
                <a:spcPts val="0"/>
              </a:spcBef>
              <a:spcAft>
                <a:spcPts val="0"/>
              </a:spcAft>
              <a:buClrTx/>
              <a:buSzTx/>
              <a:buFont typeface="Arial"/>
              <a:buNone/>
              <a:tabLst/>
              <a:defRPr/>
            </a:pPr>
            <a:endParaRPr kumimoji="0" lang="en-US" sz="2025" b="0" i="0" u="none" strike="noStrike" kern="1200" cap="none" spc="0" normalizeH="0" baseline="0" noProof="0">
              <a:ln>
                <a:noFill/>
              </a:ln>
              <a:solidFill>
                <a:prstClr val="white"/>
              </a:solidFill>
              <a:effectLst/>
              <a:uLnTx/>
              <a:uFillTx/>
              <a:latin typeface="Montserrat"/>
              <a:ea typeface="+mn-ea"/>
              <a:cs typeface="Arial"/>
              <a:sym typeface="Arial"/>
            </a:endParaRPr>
          </a:p>
        </p:txBody>
      </p:sp>
      <p:sp>
        <p:nvSpPr>
          <p:cNvPr id="9" name="Rounded Rectangle 95">
            <a:extLst>
              <a:ext uri="{FF2B5EF4-FFF2-40B4-BE49-F238E27FC236}">
                <a16:creationId xmlns:a16="http://schemas.microsoft.com/office/drawing/2014/main" id="{DBDCC884-D2CA-3F78-94C9-B04CE69E4349}"/>
              </a:ext>
            </a:extLst>
          </p:cNvPr>
          <p:cNvSpPr/>
          <p:nvPr/>
        </p:nvSpPr>
        <p:spPr>
          <a:xfrm rot="2700000">
            <a:off x="16813109" y="2046424"/>
            <a:ext cx="1159341" cy="564600"/>
          </a:xfrm>
          <a:prstGeom prst="roundRect">
            <a:avLst>
              <a:gd name="adj" fmla="val 50000"/>
            </a:avLst>
          </a:prstGeom>
          <a:solidFill>
            <a:srgbClr val="FF235D"/>
          </a:solidFill>
          <a:ln w="12700" cap="flat" cmpd="sng" algn="ctr">
            <a:noFill/>
            <a:prstDash val="solid"/>
            <a:miter lim="800000"/>
          </a:ln>
          <a:effectLst/>
        </p:spPr>
        <p:txBody>
          <a:bodyPr rtlCol="0" anchor="ct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ctr" defTabSz="1028495" rtl="0" eaLnBrk="1" fontAlgn="auto" latinLnBrk="0" hangingPunct="1">
              <a:lnSpc>
                <a:spcPct val="100000"/>
              </a:lnSpc>
              <a:spcBef>
                <a:spcPts val="0"/>
              </a:spcBef>
              <a:spcAft>
                <a:spcPts val="0"/>
              </a:spcAft>
              <a:buClrTx/>
              <a:buSzTx/>
              <a:buFont typeface="Arial"/>
              <a:buNone/>
              <a:tabLst/>
              <a:defRPr/>
            </a:pPr>
            <a:endParaRPr kumimoji="0" lang="en-US" sz="2025" b="0" i="0" u="none" strike="noStrike" kern="1200" cap="none" spc="0" normalizeH="0" baseline="0" noProof="0">
              <a:ln>
                <a:noFill/>
              </a:ln>
              <a:solidFill>
                <a:prstClr val="white"/>
              </a:solidFill>
              <a:effectLst/>
              <a:uLnTx/>
              <a:uFillTx/>
              <a:latin typeface="Montserrat"/>
              <a:ea typeface="+mn-ea"/>
              <a:cs typeface="Arial"/>
              <a:sym typeface="Arial"/>
            </a:endParaRPr>
          </a:p>
        </p:txBody>
      </p:sp>
      <p:sp>
        <p:nvSpPr>
          <p:cNvPr id="10" name="Rounded Rectangle 96">
            <a:extLst>
              <a:ext uri="{FF2B5EF4-FFF2-40B4-BE49-F238E27FC236}">
                <a16:creationId xmlns:a16="http://schemas.microsoft.com/office/drawing/2014/main" id="{B8B26C5C-828B-036D-1966-3AC3E59193CD}"/>
              </a:ext>
            </a:extLst>
          </p:cNvPr>
          <p:cNvSpPr/>
          <p:nvPr/>
        </p:nvSpPr>
        <p:spPr>
          <a:xfrm rot="18900000" flipH="1">
            <a:off x="16779564" y="2518655"/>
            <a:ext cx="1159341" cy="564600"/>
          </a:xfrm>
          <a:prstGeom prst="roundRect">
            <a:avLst>
              <a:gd name="adj" fmla="val 50000"/>
            </a:avLst>
          </a:prstGeom>
          <a:solidFill>
            <a:srgbClr val="FF235D"/>
          </a:solidFill>
          <a:ln w="12700" cap="flat" cmpd="sng" algn="ctr">
            <a:noFill/>
            <a:prstDash val="solid"/>
            <a:miter lim="800000"/>
          </a:ln>
          <a:effectLst/>
        </p:spPr>
        <p:txBody>
          <a:bodyPr rtlCol="0" anchor="ct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ctr" defTabSz="1028495" rtl="0" eaLnBrk="1" fontAlgn="auto" latinLnBrk="0" hangingPunct="1">
              <a:lnSpc>
                <a:spcPct val="100000"/>
              </a:lnSpc>
              <a:spcBef>
                <a:spcPts val="0"/>
              </a:spcBef>
              <a:spcAft>
                <a:spcPts val="0"/>
              </a:spcAft>
              <a:buClrTx/>
              <a:buSzTx/>
              <a:buFont typeface="Arial"/>
              <a:buNone/>
              <a:tabLst/>
              <a:defRPr/>
            </a:pPr>
            <a:endParaRPr kumimoji="0" lang="en-US" sz="2025" b="0" i="0" u="none" strike="noStrike" kern="1200" cap="none" spc="0" normalizeH="0" baseline="0" noProof="0">
              <a:ln>
                <a:noFill/>
              </a:ln>
              <a:solidFill>
                <a:prstClr val="white"/>
              </a:solidFill>
              <a:effectLst/>
              <a:uLnTx/>
              <a:uFillTx/>
              <a:latin typeface="Montserrat"/>
              <a:ea typeface="+mn-ea"/>
              <a:cs typeface="Arial"/>
              <a:sym typeface="Arial"/>
            </a:endParaRPr>
          </a:p>
        </p:txBody>
      </p:sp>
      <p:sp>
        <p:nvSpPr>
          <p:cNvPr id="11" name="Rounded Rectangle 90">
            <a:extLst>
              <a:ext uri="{FF2B5EF4-FFF2-40B4-BE49-F238E27FC236}">
                <a16:creationId xmlns:a16="http://schemas.microsoft.com/office/drawing/2014/main" id="{C45B1BB2-3EBC-BC48-81C2-F302AF03F98E}"/>
              </a:ext>
            </a:extLst>
          </p:cNvPr>
          <p:cNvSpPr/>
          <p:nvPr/>
        </p:nvSpPr>
        <p:spPr>
          <a:xfrm>
            <a:off x="4572001" y="2348893"/>
            <a:ext cx="9113207" cy="436730"/>
          </a:xfrm>
          <a:prstGeom prst="roundRect">
            <a:avLst>
              <a:gd name="adj" fmla="val 50000"/>
            </a:avLst>
          </a:prstGeom>
          <a:solidFill>
            <a:srgbClr val="8609D6">
              <a:alpha val="70000"/>
            </a:srgbClr>
          </a:solidFill>
          <a:ln w="12700" cap="flat" cmpd="sng" algn="ctr">
            <a:noFill/>
            <a:prstDash val="solid"/>
            <a:miter lim="800000"/>
          </a:ln>
          <a:effectLst/>
        </p:spPr>
        <p:txBody>
          <a:bodyPr rtlCol="0" anchor="ct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ctr" defTabSz="1028495" rtl="0" eaLnBrk="1" fontAlgn="auto" latinLnBrk="0" hangingPunct="1">
              <a:lnSpc>
                <a:spcPct val="100000"/>
              </a:lnSpc>
              <a:spcBef>
                <a:spcPts val="0"/>
              </a:spcBef>
              <a:spcAft>
                <a:spcPts val="0"/>
              </a:spcAft>
              <a:buClrTx/>
              <a:buSzTx/>
              <a:buFont typeface="Arial"/>
              <a:buNone/>
              <a:tabLst/>
              <a:defRPr/>
            </a:pPr>
            <a:endParaRPr kumimoji="0" lang="en-US" sz="2025" b="0" i="0" u="none" strike="noStrike" kern="1200" cap="none" spc="0" normalizeH="0" baseline="0" noProof="0">
              <a:ln>
                <a:noFill/>
              </a:ln>
              <a:solidFill>
                <a:prstClr val="white"/>
              </a:solidFill>
              <a:effectLst/>
              <a:uLnTx/>
              <a:uFillTx/>
              <a:latin typeface="Montserrat"/>
              <a:ea typeface="+mn-ea"/>
              <a:cs typeface="Arial"/>
              <a:sym typeface="Arial"/>
            </a:endParaRPr>
          </a:p>
        </p:txBody>
      </p:sp>
      <p:sp>
        <p:nvSpPr>
          <p:cNvPr id="12" name="Google Shape;68;p4">
            <a:extLst>
              <a:ext uri="{FF2B5EF4-FFF2-40B4-BE49-F238E27FC236}">
                <a16:creationId xmlns:a16="http://schemas.microsoft.com/office/drawing/2014/main" id="{07F18292-3EAD-156A-6B63-A2BC5B3C6D79}"/>
              </a:ext>
            </a:extLst>
          </p:cNvPr>
          <p:cNvSpPr txBox="1"/>
          <p:nvPr/>
        </p:nvSpPr>
        <p:spPr>
          <a:xfrm>
            <a:off x="815399" y="2384710"/>
            <a:ext cx="3881265" cy="352212"/>
          </a:xfrm>
          <a:prstGeom prst="rect">
            <a:avLst/>
          </a:prstGeom>
          <a:noFill/>
          <a:ln>
            <a:noFill/>
          </a:ln>
        </p:spPr>
        <p:txBody>
          <a:bodyPr spcFirstLastPara="1" wrap="square" lIns="0" tIns="0" rIns="0" bIns="0" anchor="t" anchorCtr="0">
            <a:sp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16197" marR="7620" lvl="0" algn="ctr">
              <a:lnSpc>
                <a:spcPct val="108571"/>
              </a:lnSpc>
              <a:buSzPts val="2450"/>
            </a:pPr>
            <a:r>
              <a:rPr lang="en-US" sz="2100" b="1" noProof="0">
                <a:latin typeface="Montserrat" panose="020B0604020202020204" charset="0"/>
              </a:rPr>
              <a:t>Innovation Awareness</a:t>
            </a:r>
          </a:p>
        </p:txBody>
      </p:sp>
      <p:sp>
        <p:nvSpPr>
          <p:cNvPr id="13" name="Google Shape;68;p4">
            <a:extLst>
              <a:ext uri="{FF2B5EF4-FFF2-40B4-BE49-F238E27FC236}">
                <a16:creationId xmlns:a16="http://schemas.microsoft.com/office/drawing/2014/main" id="{835B4478-D067-612F-18C7-4248223BA058}"/>
              </a:ext>
            </a:extLst>
          </p:cNvPr>
          <p:cNvSpPr txBox="1"/>
          <p:nvPr/>
        </p:nvSpPr>
        <p:spPr>
          <a:xfrm>
            <a:off x="7896458" y="2387777"/>
            <a:ext cx="3171158" cy="352212"/>
          </a:xfrm>
          <a:prstGeom prst="rect">
            <a:avLst/>
          </a:prstGeom>
          <a:noFill/>
          <a:ln>
            <a:noFill/>
          </a:ln>
        </p:spPr>
        <p:txBody>
          <a:bodyPr spcFirstLastPara="1" wrap="square" lIns="0" tIns="0" rIns="0" bIns="0" anchor="t" anchorCtr="0">
            <a:sp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16197" marR="7620" lvl="0">
              <a:lnSpc>
                <a:spcPct val="108571"/>
              </a:lnSpc>
              <a:buSzPts val="2450"/>
            </a:pPr>
            <a:r>
              <a:rPr lang="en-US" sz="2100" b="1" noProof="0">
                <a:latin typeface="Montserrat" panose="020B0604020202020204" charset="0"/>
              </a:rPr>
              <a:t>Innovation Programs</a:t>
            </a:r>
            <a:endParaRPr lang="en-US" sz="2100" noProof="0">
              <a:latin typeface="Montserrat" panose="020B0604020202020204" charset="0"/>
            </a:endParaRPr>
          </a:p>
        </p:txBody>
      </p:sp>
      <p:sp>
        <p:nvSpPr>
          <p:cNvPr id="14" name="Google Shape;68;p4">
            <a:extLst>
              <a:ext uri="{FF2B5EF4-FFF2-40B4-BE49-F238E27FC236}">
                <a16:creationId xmlns:a16="http://schemas.microsoft.com/office/drawing/2014/main" id="{D0F80F31-D0B2-E794-45FE-705D7D501CC2}"/>
              </a:ext>
            </a:extLst>
          </p:cNvPr>
          <p:cNvSpPr txBox="1"/>
          <p:nvPr/>
        </p:nvSpPr>
        <p:spPr>
          <a:xfrm>
            <a:off x="14141510" y="2402828"/>
            <a:ext cx="2851200" cy="352212"/>
          </a:xfrm>
          <a:prstGeom prst="rect">
            <a:avLst/>
          </a:prstGeom>
          <a:noFill/>
          <a:ln>
            <a:noFill/>
          </a:ln>
        </p:spPr>
        <p:txBody>
          <a:bodyPr spcFirstLastPara="1" wrap="square" lIns="0" tIns="0" rIns="0" bIns="0" anchor="t" anchorCtr="0">
            <a:sp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16193" marR="7620" lvl="0">
              <a:lnSpc>
                <a:spcPct val="108571"/>
              </a:lnSpc>
              <a:buSzPts val="2450"/>
            </a:pPr>
            <a:r>
              <a:rPr lang="en-US" sz="2100" b="1" noProof="0">
                <a:latin typeface="Montserrat"/>
              </a:rPr>
              <a:t>Innovation Culture</a:t>
            </a:r>
            <a:endParaRPr lang="en-US" sz="2100" b="1" noProof="0">
              <a:latin typeface="Montserrat" panose="020B0604020202020204" charset="0"/>
            </a:endParaRPr>
          </a:p>
        </p:txBody>
      </p:sp>
      <p:sp>
        <p:nvSpPr>
          <p:cNvPr id="15" name="CaixaDeTexto 53">
            <a:extLst>
              <a:ext uri="{FF2B5EF4-FFF2-40B4-BE49-F238E27FC236}">
                <a16:creationId xmlns:a16="http://schemas.microsoft.com/office/drawing/2014/main" id="{B1215534-6A89-405F-64E6-082622D2199C}"/>
              </a:ext>
            </a:extLst>
          </p:cNvPr>
          <p:cNvSpPr txBox="1"/>
          <p:nvPr/>
        </p:nvSpPr>
        <p:spPr>
          <a:xfrm>
            <a:off x="6260726" y="2853022"/>
            <a:ext cx="6138804" cy="369332"/>
          </a:xfrm>
          <a:prstGeom prst="rect">
            <a:avLst/>
          </a:prstGeom>
          <a:noFill/>
        </p:spPr>
        <p:txBody>
          <a:bodyPr wrap="square">
            <a:sp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1800" noProof="0">
                <a:solidFill>
                  <a:srgbClr val="701494"/>
                </a:solidFill>
                <a:latin typeface="Montserrat" panose="020B0604020202020204" charset="0"/>
              </a:rPr>
              <a:t>Running in an ecosystem for diverse experiences</a:t>
            </a:r>
            <a:endParaRPr lang="en-US" sz="1800" noProof="0">
              <a:solidFill>
                <a:srgbClr val="701494"/>
              </a:solidFill>
            </a:endParaRPr>
          </a:p>
        </p:txBody>
      </p:sp>
      <p:sp>
        <p:nvSpPr>
          <p:cNvPr id="16" name="Retângulo 56">
            <a:extLst>
              <a:ext uri="{FF2B5EF4-FFF2-40B4-BE49-F238E27FC236}">
                <a16:creationId xmlns:a16="http://schemas.microsoft.com/office/drawing/2014/main" id="{F99BC393-3366-0EB1-F8EC-F8D7C00FFDA3}"/>
              </a:ext>
            </a:extLst>
          </p:cNvPr>
          <p:cNvSpPr/>
          <p:nvPr/>
        </p:nvSpPr>
        <p:spPr>
          <a:xfrm>
            <a:off x="724409" y="2835891"/>
            <a:ext cx="4185438" cy="6598859"/>
          </a:xfrm>
          <a:prstGeom prst="rect">
            <a:avLst/>
          </a:prstGeom>
          <a:solidFill>
            <a:srgbClr val="6816FF">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endParaRPr lang="en-US" sz="4050" noProof="0">
              <a:solidFill>
                <a:schemeClr val="bg1"/>
              </a:solidFill>
            </a:endParaRPr>
          </a:p>
        </p:txBody>
      </p:sp>
      <p:sp>
        <p:nvSpPr>
          <p:cNvPr id="17" name="Google Shape;71;p4">
            <a:extLst>
              <a:ext uri="{FF2B5EF4-FFF2-40B4-BE49-F238E27FC236}">
                <a16:creationId xmlns:a16="http://schemas.microsoft.com/office/drawing/2014/main" id="{AD2CC212-A1E0-259D-64CC-F0295E49F076}"/>
              </a:ext>
            </a:extLst>
          </p:cNvPr>
          <p:cNvSpPr/>
          <p:nvPr/>
        </p:nvSpPr>
        <p:spPr>
          <a:xfrm>
            <a:off x="1852980" y="3682822"/>
            <a:ext cx="1721943" cy="1721943"/>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FF2C60"/>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18" name="Google Shape;71;p4">
            <a:extLst>
              <a:ext uri="{FF2B5EF4-FFF2-40B4-BE49-F238E27FC236}">
                <a16:creationId xmlns:a16="http://schemas.microsoft.com/office/drawing/2014/main" id="{78795FCB-E541-61A0-4723-522C3356B7E2}"/>
              </a:ext>
            </a:extLst>
          </p:cNvPr>
          <p:cNvSpPr/>
          <p:nvPr/>
        </p:nvSpPr>
        <p:spPr>
          <a:xfrm>
            <a:off x="1746911" y="3662707"/>
            <a:ext cx="1721943" cy="1721943"/>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6800FF"/>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19" name="Google Shape;72;p4">
            <a:extLst>
              <a:ext uri="{FF2B5EF4-FFF2-40B4-BE49-F238E27FC236}">
                <a16:creationId xmlns:a16="http://schemas.microsoft.com/office/drawing/2014/main" id="{2626373B-2996-0CFA-8F5D-C2F6A854015F}"/>
              </a:ext>
            </a:extLst>
          </p:cNvPr>
          <p:cNvSpPr txBox="1"/>
          <p:nvPr/>
        </p:nvSpPr>
        <p:spPr>
          <a:xfrm>
            <a:off x="1294991" y="4245427"/>
            <a:ext cx="2592153" cy="572250"/>
          </a:xfrm>
          <a:prstGeom prst="rect">
            <a:avLst/>
          </a:prstGeom>
          <a:noFill/>
          <a:ln>
            <a:noFill/>
          </a:ln>
        </p:spPr>
        <p:txBody>
          <a:bodyPr spcFirstLastPara="1" wrap="square" lIns="0" tIns="18075" rIns="0" bIns="0" anchor="t" anchorCtr="0">
            <a:sp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19050" marR="0" lvl="0" indent="0" algn="ctr" rtl="0">
              <a:lnSpc>
                <a:spcPct val="100000"/>
              </a:lnSpc>
              <a:spcBef>
                <a:spcPts val="0"/>
              </a:spcBef>
              <a:spcAft>
                <a:spcPts val="0"/>
              </a:spcAft>
              <a:buClr>
                <a:srgbClr val="000000"/>
              </a:buClr>
              <a:buSzPts val="3300"/>
              <a:buFont typeface="Arial"/>
              <a:buNone/>
            </a:pPr>
            <a:r>
              <a:rPr lang="en-US" sz="1800" b="1" noProof="0">
                <a:solidFill>
                  <a:srgbClr val="FFFFFF"/>
                </a:solidFill>
                <a:latin typeface="Montserrat" pitchFamily="2" charset="77"/>
                <a:ea typeface="Trebuchet MS"/>
                <a:cs typeface="Trebuchet MS"/>
                <a:sym typeface="Trebuchet MS"/>
              </a:rPr>
              <a:t>AI</a:t>
            </a:r>
          </a:p>
          <a:p>
            <a:pPr marL="19050" marR="0" lvl="0" indent="0" algn="ctr" rtl="0">
              <a:lnSpc>
                <a:spcPct val="100000"/>
              </a:lnSpc>
              <a:spcBef>
                <a:spcPts val="0"/>
              </a:spcBef>
              <a:spcAft>
                <a:spcPts val="0"/>
              </a:spcAft>
              <a:buClr>
                <a:srgbClr val="000000"/>
              </a:buClr>
              <a:buSzPts val="3300"/>
              <a:buFont typeface="Arial"/>
              <a:buNone/>
            </a:pPr>
            <a:r>
              <a:rPr lang="en-US" sz="1800" b="1" u="none" strike="noStrike" cap="none" noProof="0">
                <a:solidFill>
                  <a:srgbClr val="FFFFFF"/>
                </a:solidFill>
                <a:latin typeface="Montserrat" pitchFamily="2" charset="77"/>
                <a:ea typeface="Trebuchet MS"/>
                <a:cs typeface="Trebuchet MS"/>
                <a:sym typeface="Trebuchet MS"/>
              </a:rPr>
              <a:t>Assessment</a:t>
            </a:r>
            <a:endParaRPr lang="en-US" sz="1800" b="1" u="none" strike="noStrike" cap="none" noProof="0">
              <a:solidFill>
                <a:schemeClr val="dk1"/>
              </a:solidFill>
              <a:latin typeface="Montserrat" pitchFamily="2" charset="77"/>
              <a:ea typeface="Trebuchet MS"/>
              <a:cs typeface="Trebuchet MS"/>
              <a:sym typeface="Trebuchet MS"/>
            </a:endParaRPr>
          </a:p>
        </p:txBody>
      </p:sp>
      <p:sp>
        <p:nvSpPr>
          <p:cNvPr id="20" name="Google Shape;71;p4">
            <a:extLst>
              <a:ext uri="{FF2B5EF4-FFF2-40B4-BE49-F238E27FC236}">
                <a16:creationId xmlns:a16="http://schemas.microsoft.com/office/drawing/2014/main" id="{F837A73E-0A72-A650-46F1-8C2B96F26C72}"/>
              </a:ext>
            </a:extLst>
          </p:cNvPr>
          <p:cNvSpPr/>
          <p:nvPr/>
        </p:nvSpPr>
        <p:spPr>
          <a:xfrm>
            <a:off x="1864907" y="5811319"/>
            <a:ext cx="1721943" cy="1721943"/>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FF2C60"/>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100" b="0" i="0" u="none" strike="noStrike" cap="none" noProof="0">
              <a:solidFill>
                <a:schemeClr val="dk1"/>
              </a:solidFill>
              <a:latin typeface="Calibri"/>
              <a:ea typeface="Calibri"/>
              <a:cs typeface="Calibri"/>
              <a:sym typeface="Calibri"/>
            </a:endParaRPr>
          </a:p>
        </p:txBody>
      </p:sp>
      <p:sp>
        <p:nvSpPr>
          <p:cNvPr id="21" name="Google Shape;71;p4">
            <a:extLst>
              <a:ext uri="{FF2B5EF4-FFF2-40B4-BE49-F238E27FC236}">
                <a16:creationId xmlns:a16="http://schemas.microsoft.com/office/drawing/2014/main" id="{0C2FF76D-0A4B-5DE9-18D1-C114381063AA}"/>
              </a:ext>
            </a:extLst>
          </p:cNvPr>
          <p:cNvSpPr/>
          <p:nvPr/>
        </p:nvSpPr>
        <p:spPr>
          <a:xfrm>
            <a:off x="1746911" y="5779277"/>
            <a:ext cx="1721943" cy="1721943"/>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6800FF"/>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100" b="0" i="0" u="none" strike="noStrike" cap="none" noProof="0">
              <a:solidFill>
                <a:schemeClr val="dk1"/>
              </a:solidFill>
              <a:latin typeface="Calibri"/>
              <a:ea typeface="Calibri"/>
              <a:cs typeface="Calibri"/>
              <a:sym typeface="Calibri"/>
            </a:endParaRPr>
          </a:p>
        </p:txBody>
      </p:sp>
      <p:sp>
        <p:nvSpPr>
          <p:cNvPr id="22" name="Google Shape;72;p4">
            <a:extLst>
              <a:ext uri="{FF2B5EF4-FFF2-40B4-BE49-F238E27FC236}">
                <a16:creationId xmlns:a16="http://schemas.microsoft.com/office/drawing/2014/main" id="{AE9F6BC2-C508-976B-8DD8-F13452BCC524}"/>
              </a:ext>
            </a:extLst>
          </p:cNvPr>
          <p:cNvSpPr txBox="1"/>
          <p:nvPr/>
        </p:nvSpPr>
        <p:spPr>
          <a:xfrm>
            <a:off x="1683755" y="6396067"/>
            <a:ext cx="1890000" cy="572250"/>
          </a:xfrm>
          <a:prstGeom prst="rect">
            <a:avLst/>
          </a:prstGeom>
          <a:noFill/>
          <a:ln>
            <a:noFill/>
          </a:ln>
        </p:spPr>
        <p:txBody>
          <a:bodyPr spcFirstLastPara="1" wrap="square" lIns="0" tIns="18075" rIns="0" bIns="0" anchor="t" anchorCtr="0">
            <a:sp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19050" marR="0" lvl="0" indent="0" algn="ctr" rtl="0">
              <a:lnSpc>
                <a:spcPct val="100000"/>
              </a:lnSpc>
              <a:spcBef>
                <a:spcPts val="0"/>
              </a:spcBef>
              <a:spcAft>
                <a:spcPts val="0"/>
              </a:spcAft>
              <a:buClr>
                <a:srgbClr val="000000"/>
              </a:buClr>
              <a:buSzPts val="3300"/>
              <a:buFont typeface="Arial"/>
              <a:buNone/>
            </a:pPr>
            <a:r>
              <a:rPr lang="en-US" sz="1800" b="1" u="none" strike="noStrike" cap="none" noProof="0">
                <a:latin typeface="Montserrat" pitchFamily="2" charset="77"/>
                <a:ea typeface="Trebuchet MS"/>
                <a:cs typeface="Trebuchet MS"/>
                <a:sym typeface="Trebuchet MS"/>
              </a:rPr>
              <a:t>Innovation Discovery</a:t>
            </a:r>
          </a:p>
        </p:txBody>
      </p:sp>
      <p:sp>
        <p:nvSpPr>
          <p:cNvPr id="23" name="Google Shape;68;p4">
            <a:extLst>
              <a:ext uri="{FF2B5EF4-FFF2-40B4-BE49-F238E27FC236}">
                <a16:creationId xmlns:a16="http://schemas.microsoft.com/office/drawing/2014/main" id="{104A8E37-98A3-CF4A-5557-EFDD170500A7}"/>
              </a:ext>
            </a:extLst>
          </p:cNvPr>
          <p:cNvSpPr txBox="1"/>
          <p:nvPr/>
        </p:nvSpPr>
        <p:spPr>
          <a:xfrm>
            <a:off x="1294991" y="7895848"/>
            <a:ext cx="2856471" cy="1006430"/>
          </a:xfrm>
          <a:prstGeom prst="rect">
            <a:avLst/>
          </a:prstGeom>
          <a:noFill/>
          <a:ln>
            <a:noFill/>
          </a:ln>
        </p:spPr>
        <p:txBody>
          <a:bodyPr spcFirstLastPara="1" wrap="square" lIns="162000" tIns="0" rIns="162000" bIns="0" anchor="t" anchorCtr="0">
            <a:sp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16197" marR="7620" lvl="0" algn="ctr">
              <a:lnSpc>
                <a:spcPct val="108571"/>
              </a:lnSpc>
              <a:buSzPts val="2450"/>
            </a:pPr>
            <a:r>
              <a:rPr lang="en-US" sz="1500" noProof="0">
                <a:solidFill>
                  <a:schemeClr val="bg1"/>
                </a:solidFill>
                <a:latin typeface="Montserrat Light" pitchFamily="2" charset="77"/>
              </a:rPr>
              <a:t>Easy of mapping the maturity level, by both options of </a:t>
            </a:r>
            <a:r>
              <a:rPr lang="en-US" sz="1500" b="1" noProof="0">
                <a:solidFill>
                  <a:schemeClr val="bg1"/>
                </a:solidFill>
                <a:latin typeface="Montserrat" panose="020B0604020202020204" charset="0"/>
              </a:rPr>
              <a:t>Qintess Discovery process</a:t>
            </a:r>
          </a:p>
        </p:txBody>
      </p:sp>
      <p:cxnSp>
        <p:nvCxnSpPr>
          <p:cNvPr id="24" name="Conector reto 82">
            <a:extLst>
              <a:ext uri="{FF2B5EF4-FFF2-40B4-BE49-F238E27FC236}">
                <a16:creationId xmlns:a16="http://schemas.microsoft.com/office/drawing/2014/main" id="{BCC38BFF-7DD1-0673-5319-9A5C9C64865F}"/>
              </a:ext>
            </a:extLst>
          </p:cNvPr>
          <p:cNvCxnSpPr/>
          <p:nvPr/>
        </p:nvCxnSpPr>
        <p:spPr>
          <a:xfrm flipV="1">
            <a:off x="5587818" y="7130099"/>
            <a:ext cx="1772004" cy="18192"/>
          </a:xfrm>
          <a:prstGeom prst="line">
            <a:avLst/>
          </a:prstGeom>
          <a:ln w="19050">
            <a:solidFill>
              <a:srgbClr val="FF2C60"/>
            </a:solidFill>
            <a:prstDash val="dash"/>
          </a:ln>
        </p:spPr>
        <p:style>
          <a:lnRef idx="1">
            <a:schemeClr val="accent1"/>
          </a:lnRef>
          <a:fillRef idx="0">
            <a:schemeClr val="accent1"/>
          </a:fillRef>
          <a:effectRef idx="0">
            <a:schemeClr val="accent1"/>
          </a:effectRef>
          <a:fontRef idx="minor">
            <a:schemeClr val="tx1"/>
          </a:fontRef>
        </p:style>
      </p:cxnSp>
      <p:cxnSp>
        <p:nvCxnSpPr>
          <p:cNvPr id="25" name="Conector reto 50">
            <a:extLst>
              <a:ext uri="{FF2B5EF4-FFF2-40B4-BE49-F238E27FC236}">
                <a16:creationId xmlns:a16="http://schemas.microsoft.com/office/drawing/2014/main" id="{4AD12DB6-A892-04BF-B3EB-1753044E441E}"/>
              </a:ext>
            </a:extLst>
          </p:cNvPr>
          <p:cNvCxnSpPr/>
          <p:nvPr/>
        </p:nvCxnSpPr>
        <p:spPr>
          <a:xfrm>
            <a:off x="5790917" y="6578419"/>
            <a:ext cx="6771053" cy="0"/>
          </a:xfrm>
          <a:prstGeom prst="line">
            <a:avLst/>
          </a:prstGeom>
          <a:ln w="19050">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6" name="Conector reto 54">
            <a:extLst>
              <a:ext uri="{FF2B5EF4-FFF2-40B4-BE49-F238E27FC236}">
                <a16:creationId xmlns:a16="http://schemas.microsoft.com/office/drawing/2014/main" id="{3BCAD1D1-A74F-E43A-0712-B497A6969D6D}"/>
              </a:ext>
            </a:extLst>
          </p:cNvPr>
          <p:cNvCxnSpPr/>
          <p:nvPr/>
        </p:nvCxnSpPr>
        <p:spPr>
          <a:xfrm>
            <a:off x="7368437" y="7139863"/>
            <a:ext cx="5193534" cy="11207"/>
          </a:xfrm>
          <a:prstGeom prst="line">
            <a:avLst/>
          </a:prstGeom>
          <a:ln w="19050">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7" name="Conector reto 55">
            <a:extLst>
              <a:ext uri="{FF2B5EF4-FFF2-40B4-BE49-F238E27FC236}">
                <a16:creationId xmlns:a16="http://schemas.microsoft.com/office/drawing/2014/main" id="{1DBD3DAB-D3C1-AE71-E409-9C240B92E459}"/>
              </a:ext>
            </a:extLst>
          </p:cNvPr>
          <p:cNvCxnSpPr/>
          <p:nvPr/>
        </p:nvCxnSpPr>
        <p:spPr>
          <a:xfrm>
            <a:off x="5790917" y="7732777"/>
            <a:ext cx="6771053" cy="0"/>
          </a:xfrm>
          <a:prstGeom prst="line">
            <a:avLst/>
          </a:prstGeom>
          <a:ln w="19050">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0" name="Conector reto 66">
            <a:extLst>
              <a:ext uri="{FF2B5EF4-FFF2-40B4-BE49-F238E27FC236}">
                <a16:creationId xmlns:a16="http://schemas.microsoft.com/office/drawing/2014/main" id="{5829756F-F7C5-1953-BBCE-C487FEA433B5}"/>
              </a:ext>
            </a:extLst>
          </p:cNvPr>
          <p:cNvCxnSpPr>
            <a:cxnSpLocks/>
          </p:cNvCxnSpPr>
          <p:nvPr/>
        </p:nvCxnSpPr>
        <p:spPr>
          <a:xfrm>
            <a:off x="5587818" y="6573631"/>
            <a:ext cx="7137378" cy="1151828"/>
          </a:xfrm>
          <a:prstGeom prst="line">
            <a:avLst/>
          </a:prstGeom>
          <a:ln w="19050">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1" name="Conector reto 69">
            <a:extLst>
              <a:ext uri="{FF2B5EF4-FFF2-40B4-BE49-F238E27FC236}">
                <a16:creationId xmlns:a16="http://schemas.microsoft.com/office/drawing/2014/main" id="{96EC5142-01E0-5B7E-6F69-76EA821B0E2D}"/>
              </a:ext>
            </a:extLst>
          </p:cNvPr>
          <p:cNvCxnSpPr>
            <a:cxnSpLocks/>
          </p:cNvCxnSpPr>
          <p:nvPr/>
        </p:nvCxnSpPr>
        <p:spPr>
          <a:xfrm>
            <a:off x="9174950" y="6583542"/>
            <a:ext cx="1749414" cy="558809"/>
          </a:xfrm>
          <a:prstGeom prst="line">
            <a:avLst/>
          </a:prstGeom>
          <a:ln w="19050">
            <a:solidFill>
              <a:srgbClr val="FF2C60"/>
            </a:solidFill>
            <a:prstDash val="dash"/>
          </a:ln>
        </p:spPr>
        <p:style>
          <a:lnRef idx="1">
            <a:schemeClr val="accent1"/>
          </a:lnRef>
          <a:fillRef idx="0">
            <a:schemeClr val="accent1"/>
          </a:fillRef>
          <a:effectRef idx="0">
            <a:schemeClr val="accent1"/>
          </a:effectRef>
          <a:fontRef idx="minor">
            <a:schemeClr val="tx1"/>
          </a:fontRef>
        </p:style>
      </p:cxnSp>
      <p:cxnSp>
        <p:nvCxnSpPr>
          <p:cNvPr id="32" name="Conector reto 72">
            <a:extLst>
              <a:ext uri="{FF2B5EF4-FFF2-40B4-BE49-F238E27FC236}">
                <a16:creationId xmlns:a16="http://schemas.microsoft.com/office/drawing/2014/main" id="{DDB4C508-AFE3-4DA2-AEE8-1F10BC3EA594}"/>
              </a:ext>
            </a:extLst>
          </p:cNvPr>
          <p:cNvCxnSpPr>
            <a:cxnSpLocks/>
          </p:cNvCxnSpPr>
          <p:nvPr/>
        </p:nvCxnSpPr>
        <p:spPr>
          <a:xfrm flipV="1">
            <a:off x="7359822" y="7160674"/>
            <a:ext cx="3563202" cy="585311"/>
          </a:xfrm>
          <a:prstGeom prst="line">
            <a:avLst/>
          </a:prstGeom>
          <a:ln w="19050">
            <a:solidFill>
              <a:srgbClr val="FF2C60"/>
            </a:solidFill>
            <a:prstDash val="dash"/>
          </a:ln>
        </p:spPr>
        <p:style>
          <a:lnRef idx="1">
            <a:schemeClr val="accent1"/>
          </a:lnRef>
          <a:fillRef idx="0">
            <a:schemeClr val="accent1"/>
          </a:fillRef>
          <a:effectRef idx="0">
            <a:schemeClr val="accent1"/>
          </a:effectRef>
          <a:fontRef idx="minor">
            <a:schemeClr val="tx1"/>
          </a:fontRef>
        </p:style>
      </p:cxnSp>
      <p:cxnSp>
        <p:nvCxnSpPr>
          <p:cNvPr id="33" name="Conector reto 76">
            <a:extLst>
              <a:ext uri="{FF2B5EF4-FFF2-40B4-BE49-F238E27FC236}">
                <a16:creationId xmlns:a16="http://schemas.microsoft.com/office/drawing/2014/main" id="{D4C3A1CE-BB45-B97F-158B-2C097BD13495}"/>
              </a:ext>
            </a:extLst>
          </p:cNvPr>
          <p:cNvCxnSpPr/>
          <p:nvPr/>
        </p:nvCxnSpPr>
        <p:spPr>
          <a:xfrm flipH="1">
            <a:off x="7368437" y="7148291"/>
            <a:ext cx="983" cy="771000"/>
          </a:xfrm>
          <a:prstGeom prst="line">
            <a:avLst/>
          </a:prstGeom>
          <a:ln w="19050">
            <a:solidFill>
              <a:srgbClr val="FF2C60"/>
            </a:solidFill>
            <a:prstDash val="dash"/>
          </a:ln>
        </p:spPr>
        <p:style>
          <a:lnRef idx="1">
            <a:schemeClr val="accent1"/>
          </a:lnRef>
          <a:fillRef idx="0">
            <a:schemeClr val="accent1"/>
          </a:fillRef>
          <a:effectRef idx="0">
            <a:schemeClr val="accent1"/>
          </a:effectRef>
          <a:fontRef idx="minor">
            <a:schemeClr val="tx1"/>
          </a:fontRef>
        </p:style>
      </p:cxnSp>
      <p:sp>
        <p:nvSpPr>
          <p:cNvPr id="34" name="Google Shape;71;p4">
            <a:extLst>
              <a:ext uri="{FF2B5EF4-FFF2-40B4-BE49-F238E27FC236}">
                <a16:creationId xmlns:a16="http://schemas.microsoft.com/office/drawing/2014/main" id="{6043D5DF-B8B9-00D8-C0B5-F58F9F72AD29}"/>
              </a:ext>
            </a:extLst>
          </p:cNvPr>
          <p:cNvSpPr/>
          <p:nvPr/>
        </p:nvSpPr>
        <p:spPr>
          <a:xfrm>
            <a:off x="7142037" y="7535450"/>
            <a:ext cx="391389" cy="379707"/>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FF2C60"/>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35" name="Google Shape;71;p4">
            <a:extLst>
              <a:ext uri="{FF2B5EF4-FFF2-40B4-BE49-F238E27FC236}">
                <a16:creationId xmlns:a16="http://schemas.microsoft.com/office/drawing/2014/main" id="{A6E40F10-D079-253F-6EB8-EE2C0DE4B9AE}"/>
              </a:ext>
            </a:extLst>
          </p:cNvPr>
          <p:cNvSpPr/>
          <p:nvPr/>
        </p:nvSpPr>
        <p:spPr>
          <a:xfrm>
            <a:off x="5413449" y="6430755"/>
            <a:ext cx="304413" cy="295328"/>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6800FF"/>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36" name="Google Shape;71;p4">
            <a:extLst>
              <a:ext uri="{FF2B5EF4-FFF2-40B4-BE49-F238E27FC236}">
                <a16:creationId xmlns:a16="http://schemas.microsoft.com/office/drawing/2014/main" id="{53B00D9E-AFE7-D9D5-4E3E-594A323368C8}"/>
              </a:ext>
            </a:extLst>
          </p:cNvPr>
          <p:cNvSpPr/>
          <p:nvPr/>
        </p:nvSpPr>
        <p:spPr>
          <a:xfrm>
            <a:off x="7195052" y="6433888"/>
            <a:ext cx="304413" cy="295328"/>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6800FF"/>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37" name="Google Shape;71;p4">
            <a:extLst>
              <a:ext uri="{FF2B5EF4-FFF2-40B4-BE49-F238E27FC236}">
                <a16:creationId xmlns:a16="http://schemas.microsoft.com/office/drawing/2014/main" id="{DC407992-87F5-7C05-0392-6FC1CC70B4F6}"/>
              </a:ext>
            </a:extLst>
          </p:cNvPr>
          <p:cNvSpPr/>
          <p:nvPr/>
        </p:nvSpPr>
        <p:spPr>
          <a:xfrm>
            <a:off x="10758255" y="6430755"/>
            <a:ext cx="304413" cy="295328"/>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6800FF"/>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38" name="Google Shape;71;p4">
            <a:extLst>
              <a:ext uri="{FF2B5EF4-FFF2-40B4-BE49-F238E27FC236}">
                <a16:creationId xmlns:a16="http://schemas.microsoft.com/office/drawing/2014/main" id="{1917FD56-D1E1-4465-832C-750EF84AF90A}"/>
              </a:ext>
            </a:extLst>
          </p:cNvPr>
          <p:cNvSpPr/>
          <p:nvPr/>
        </p:nvSpPr>
        <p:spPr>
          <a:xfrm>
            <a:off x="12539856" y="6430755"/>
            <a:ext cx="304413" cy="295328"/>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6800FF"/>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39" name="Google Shape;71;p4">
            <a:extLst>
              <a:ext uri="{FF2B5EF4-FFF2-40B4-BE49-F238E27FC236}">
                <a16:creationId xmlns:a16="http://schemas.microsoft.com/office/drawing/2014/main" id="{21117946-DD6D-CCEF-C295-E00032E70E51}"/>
              </a:ext>
            </a:extLst>
          </p:cNvPr>
          <p:cNvSpPr/>
          <p:nvPr/>
        </p:nvSpPr>
        <p:spPr>
          <a:xfrm>
            <a:off x="10703103" y="6952496"/>
            <a:ext cx="405471" cy="379707"/>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FF2C60"/>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40" name="Google Shape;71;p4">
            <a:extLst>
              <a:ext uri="{FF2B5EF4-FFF2-40B4-BE49-F238E27FC236}">
                <a16:creationId xmlns:a16="http://schemas.microsoft.com/office/drawing/2014/main" id="{CD227C63-B7C8-C3BA-65B4-5133CAAA2E87}"/>
              </a:ext>
            </a:extLst>
          </p:cNvPr>
          <p:cNvSpPr/>
          <p:nvPr/>
        </p:nvSpPr>
        <p:spPr>
          <a:xfrm>
            <a:off x="5381491" y="6949544"/>
            <a:ext cx="391523" cy="379707"/>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FF2C60"/>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41" name="Google Shape;71;p4">
            <a:extLst>
              <a:ext uri="{FF2B5EF4-FFF2-40B4-BE49-F238E27FC236}">
                <a16:creationId xmlns:a16="http://schemas.microsoft.com/office/drawing/2014/main" id="{C73A08B2-0605-DB6D-A2E7-08D810A060A6}"/>
              </a:ext>
            </a:extLst>
          </p:cNvPr>
          <p:cNvSpPr/>
          <p:nvPr/>
        </p:nvSpPr>
        <p:spPr>
          <a:xfrm>
            <a:off x="5429837" y="6987385"/>
            <a:ext cx="304413" cy="295328"/>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6800FF"/>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42" name="Google Shape;71;p4">
            <a:extLst>
              <a:ext uri="{FF2B5EF4-FFF2-40B4-BE49-F238E27FC236}">
                <a16:creationId xmlns:a16="http://schemas.microsoft.com/office/drawing/2014/main" id="{244A3126-83C6-FF9B-408D-ADF9F2358633}"/>
              </a:ext>
            </a:extLst>
          </p:cNvPr>
          <p:cNvSpPr/>
          <p:nvPr/>
        </p:nvSpPr>
        <p:spPr>
          <a:xfrm>
            <a:off x="7195051" y="7000749"/>
            <a:ext cx="371099" cy="295328"/>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6800FF"/>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43" name="Google Shape;71;p4">
            <a:extLst>
              <a:ext uri="{FF2B5EF4-FFF2-40B4-BE49-F238E27FC236}">
                <a16:creationId xmlns:a16="http://schemas.microsoft.com/office/drawing/2014/main" id="{24BDEF99-A4AF-03FC-1930-8E52207A0BB0}"/>
              </a:ext>
            </a:extLst>
          </p:cNvPr>
          <p:cNvSpPr/>
          <p:nvPr/>
        </p:nvSpPr>
        <p:spPr>
          <a:xfrm>
            <a:off x="8976653" y="7000627"/>
            <a:ext cx="304413" cy="295328"/>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6800FF"/>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44" name="Google Shape;71;p4">
            <a:extLst>
              <a:ext uri="{FF2B5EF4-FFF2-40B4-BE49-F238E27FC236}">
                <a16:creationId xmlns:a16="http://schemas.microsoft.com/office/drawing/2014/main" id="{77A08791-1F0C-2A70-762C-00A0D9FDE096}"/>
              </a:ext>
            </a:extLst>
          </p:cNvPr>
          <p:cNvSpPr/>
          <p:nvPr/>
        </p:nvSpPr>
        <p:spPr>
          <a:xfrm>
            <a:off x="10758255" y="6997617"/>
            <a:ext cx="304413" cy="295328"/>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6800FF"/>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45" name="Google Shape;71;p4">
            <a:extLst>
              <a:ext uri="{FF2B5EF4-FFF2-40B4-BE49-F238E27FC236}">
                <a16:creationId xmlns:a16="http://schemas.microsoft.com/office/drawing/2014/main" id="{D84F3974-9753-2AF8-B50C-19F37B422F67}"/>
              </a:ext>
            </a:extLst>
          </p:cNvPr>
          <p:cNvSpPr/>
          <p:nvPr/>
        </p:nvSpPr>
        <p:spPr>
          <a:xfrm>
            <a:off x="12539856" y="6997617"/>
            <a:ext cx="304413" cy="295328"/>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6800FF"/>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46" name="Google Shape;71;p4">
            <a:extLst>
              <a:ext uri="{FF2B5EF4-FFF2-40B4-BE49-F238E27FC236}">
                <a16:creationId xmlns:a16="http://schemas.microsoft.com/office/drawing/2014/main" id="{6960A0F6-AA19-066F-5A44-6FA2ED085DC3}"/>
              </a:ext>
            </a:extLst>
          </p:cNvPr>
          <p:cNvSpPr/>
          <p:nvPr/>
        </p:nvSpPr>
        <p:spPr>
          <a:xfrm>
            <a:off x="5413449" y="7577640"/>
            <a:ext cx="304413" cy="295328"/>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6800FF"/>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47" name="Google Shape;71;p4">
            <a:extLst>
              <a:ext uri="{FF2B5EF4-FFF2-40B4-BE49-F238E27FC236}">
                <a16:creationId xmlns:a16="http://schemas.microsoft.com/office/drawing/2014/main" id="{D20F6E8E-5E37-B674-9267-DC8DDA683F0A}"/>
              </a:ext>
            </a:extLst>
          </p:cNvPr>
          <p:cNvSpPr/>
          <p:nvPr/>
        </p:nvSpPr>
        <p:spPr>
          <a:xfrm>
            <a:off x="7177874" y="7581349"/>
            <a:ext cx="315366" cy="295328"/>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6800FF"/>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48" name="Google Shape;71;p4">
            <a:extLst>
              <a:ext uri="{FF2B5EF4-FFF2-40B4-BE49-F238E27FC236}">
                <a16:creationId xmlns:a16="http://schemas.microsoft.com/office/drawing/2014/main" id="{DB1278BF-4948-885B-C123-135DFEEE380B}"/>
              </a:ext>
            </a:extLst>
          </p:cNvPr>
          <p:cNvSpPr/>
          <p:nvPr/>
        </p:nvSpPr>
        <p:spPr>
          <a:xfrm>
            <a:off x="8976653" y="7580650"/>
            <a:ext cx="304413" cy="295328"/>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6800FF"/>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49" name="Google Shape;71;p4">
            <a:extLst>
              <a:ext uri="{FF2B5EF4-FFF2-40B4-BE49-F238E27FC236}">
                <a16:creationId xmlns:a16="http://schemas.microsoft.com/office/drawing/2014/main" id="{39B183DF-B87A-4CB8-2B76-075CDBB621EF}"/>
              </a:ext>
            </a:extLst>
          </p:cNvPr>
          <p:cNvSpPr/>
          <p:nvPr/>
        </p:nvSpPr>
        <p:spPr>
          <a:xfrm>
            <a:off x="10758255" y="7577640"/>
            <a:ext cx="304413" cy="295328"/>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6800FF"/>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50" name="Google Shape;71;p4">
            <a:extLst>
              <a:ext uri="{FF2B5EF4-FFF2-40B4-BE49-F238E27FC236}">
                <a16:creationId xmlns:a16="http://schemas.microsoft.com/office/drawing/2014/main" id="{CA97E63C-BABE-4B71-9789-FCBA4F55B83B}"/>
              </a:ext>
            </a:extLst>
          </p:cNvPr>
          <p:cNvSpPr/>
          <p:nvPr/>
        </p:nvSpPr>
        <p:spPr>
          <a:xfrm>
            <a:off x="12539856" y="7577640"/>
            <a:ext cx="304413" cy="295328"/>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6800FF"/>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51" name="Google Shape;71;p4">
            <a:extLst>
              <a:ext uri="{FF2B5EF4-FFF2-40B4-BE49-F238E27FC236}">
                <a16:creationId xmlns:a16="http://schemas.microsoft.com/office/drawing/2014/main" id="{E568B6DA-18C3-05EB-4670-5E9B1DF1F489}"/>
              </a:ext>
            </a:extLst>
          </p:cNvPr>
          <p:cNvSpPr/>
          <p:nvPr/>
        </p:nvSpPr>
        <p:spPr>
          <a:xfrm>
            <a:off x="8962416" y="6400498"/>
            <a:ext cx="391389" cy="379707"/>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FF2C60"/>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52" name="Google Shape;71;p4">
            <a:extLst>
              <a:ext uri="{FF2B5EF4-FFF2-40B4-BE49-F238E27FC236}">
                <a16:creationId xmlns:a16="http://schemas.microsoft.com/office/drawing/2014/main" id="{B960C320-889C-C477-C0A1-E1AF82865C81}"/>
              </a:ext>
            </a:extLst>
          </p:cNvPr>
          <p:cNvSpPr/>
          <p:nvPr/>
        </p:nvSpPr>
        <p:spPr>
          <a:xfrm>
            <a:off x="7184904" y="6949543"/>
            <a:ext cx="391389" cy="379707"/>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FF2C60"/>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53" name="Google Shape;68;p4">
            <a:extLst>
              <a:ext uri="{FF2B5EF4-FFF2-40B4-BE49-F238E27FC236}">
                <a16:creationId xmlns:a16="http://schemas.microsoft.com/office/drawing/2014/main" id="{59DEC6FB-81BD-E592-839A-89A15AD936D7}"/>
              </a:ext>
            </a:extLst>
          </p:cNvPr>
          <p:cNvSpPr txBox="1"/>
          <p:nvPr/>
        </p:nvSpPr>
        <p:spPr>
          <a:xfrm>
            <a:off x="5158302" y="8877889"/>
            <a:ext cx="1458000" cy="251607"/>
          </a:xfrm>
          <a:prstGeom prst="rect">
            <a:avLst/>
          </a:prstGeom>
          <a:noFill/>
          <a:ln>
            <a:noFill/>
          </a:ln>
        </p:spPr>
        <p:txBody>
          <a:bodyPr spcFirstLastPara="1" wrap="square" lIns="0" tIns="0" rIns="0" bIns="0" anchor="t" anchorCtr="0">
            <a:sp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16197" marR="7620" lvl="0" algn="ctr">
              <a:lnSpc>
                <a:spcPct val="108571"/>
              </a:lnSpc>
              <a:buSzPts val="2450"/>
            </a:pPr>
            <a:r>
              <a:rPr lang="en-US" sz="1500" noProof="0">
                <a:solidFill>
                  <a:schemeClr val="bg1"/>
                </a:solidFill>
                <a:latin typeface="Montserrat" panose="020B0604020202020204" charset="0"/>
              </a:rPr>
              <a:t>Innovation</a:t>
            </a:r>
          </a:p>
        </p:txBody>
      </p:sp>
      <p:sp>
        <p:nvSpPr>
          <p:cNvPr id="54" name="Google Shape;68;p4">
            <a:extLst>
              <a:ext uri="{FF2B5EF4-FFF2-40B4-BE49-F238E27FC236}">
                <a16:creationId xmlns:a16="http://schemas.microsoft.com/office/drawing/2014/main" id="{9204EDBF-3D46-3161-116D-593D9DD07287}"/>
              </a:ext>
            </a:extLst>
          </p:cNvPr>
          <p:cNvSpPr txBox="1"/>
          <p:nvPr/>
        </p:nvSpPr>
        <p:spPr>
          <a:xfrm>
            <a:off x="6746282" y="8752085"/>
            <a:ext cx="1486514" cy="503214"/>
          </a:xfrm>
          <a:prstGeom prst="rect">
            <a:avLst/>
          </a:prstGeom>
          <a:noFill/>
          <a:ln>
            <a:noFill/>
          </a:ln>
        </p:spPr>
        <p:txBody>
          <a:bodyPr spcFirstLastPara="1" wrap="square" lIns="0" tIns="0" rIns="0" bIns="0" anchor="t" anchorCtr="0">
            <a:sp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16197" marR="7620" lvl="0" algn="ctr">
              <a:lnSpc>
                <a:spcPct val="108571"/>
              </a:lnSpc>
              <a:buSzPts val="2450"/>
            </a:pPr>
            <a:r>
              <a:rPr lang="en-US" sz="1500" noProof="0">
                <a:solidFill>
                  <a:schemeClr val="bg1"/>
                </a:solidFill>
                <a:latin typeface="Montserrat" panose="020B0604020202020204" charset="0"/>
              </a:rPr>
              <a:t>Analytics &amp; Data Science</a:t>
            </a:r>
          </a:p>
        </p:txBody>
      </p:sp>
      <p:sp>
        <p:nvSpPr>
          <p:cNvPr id="55" name="Google Shape;68;p4">
            <a:extLst>
              <a:ext uri="{FF2B5EF4-FFF2-40B4-BE49-F238E27FC236}">
                <a16:creationId xmlns:a16="http://schemas.microsoft.com/office/drawing/2014/main" id="{D230A9A4-2DA0-D073-6F80-C7D31E0ECC48}"/>
              </a:ext>
            </a:extLst>
          </p:cNvPr>
          <p:cNvSpPr txBox="1"/>
          <p:nvPr/>
        </p:nvSpPr>
        <p:spPr>
          <a:xfrm>
            <a:off x="8362775" y="8877889"/>
            <a:ext cx="1493406" cy="251607"/>
          </a:xfrm>
          <a:prstGeom prst="rect">
            <a:avLst/>
          </a:prstGeom>
          <a:noFill/>
          <a:ln>
            <a:noFill/>
          </a:ln>
        </p:spPr>
        <p:txBody>
          <a:bodyPr spcFirstLastPara="1" wrap="square" lIns="0" tIns="0" rIns="0" bIns="0" anchor="t" anchorCtr="0">
            <a:sp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16197" marR="7620" lvl="0" algn="ctr">
              <a:lnSpc>
                <a:spcPct val="108571"/>
              </a:lnSpc>
              <a:buSzPts val="2450"/>
            </a:pPr>
            <a:r>
              <a:rPr lang="en-US" sz="1500" noProof="0">
                <a:solidFill>
                  <a:schemeClr val="bg1"/>
                </a:solidFill>
                <a:latin typeface="Montserrat" panose="020B0604020202020204" charset="0"/>
              </a:rPr>
              <a:t>Architecture</a:t>
            </a:r>
          </a:p>
        </p:txBody>
      </p:sp>
      <p:sp>
        <p:nvSpPr>
          <p:cNvPr id="56" name="Google Shape;68;p4">
            <a:extLst>
              <a:ext uri="{FF2B5EF4-FFF2-40B4-BE49-F238E27FC236}">
                <a16:creationId xmlns:a16="http://schemas.microsoft.com/office/drawing/2014/main" id="{6692FD2E-AA16-5A7A-E8FC-04DA842120FA}"/>
              </a:ext>
            </a:extLst>
          </p:cNvPr>
          <p:cNvSpPr txBox="1"/>
          <p:nvPr/>
        </p:nvSpPr>
        <p:spPr>
          <a:xfrm>
            <a:off x="11609546" y="8877889"/>
            <a:ext cx="1298439" cy="251607"/>
          </a:xfrm>
          <a:prstGeom prst="rect">
            <a:avLst/>
          </a:prstGeom>
          <a:noFill/>
          <a:ln>
            <a:noFill/>
          </a:ln>
        </p:spPr>
        <p:txBody>
          <a:bodyPr spcFirstLastPara="1" wrap="square" lIns="0" tIns="0" rIns="0" bIns="0" anchor="t" anchorCtr="0">
            <a:sp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16193" marR="7620" lvl="0" algn="ctr">
              <a:lnSpc>
                <a:spcPct val="108571"/>
              </a:lnSpc>
              <a:buSzPts val="2450"/>
            </a:pPr>
            <a:r>
              <a:rPr lang="en-US" sz="1500" noProof="0">
                <a:solidFill>
                  <a:schemeClr val="bg1"/>
                </a:solidFill>
                <a:latin typeface="Montserrat"/>
              </a:rPr>
              <a:t>Design </a:t>
            </a:r>
          </a:p>
        </p:txBody>
      </p:sp>
      <p:sp>
        <p:nvSpPr>
          <p:cNvPr id="57" name="Google Shape;68;p4">
            <a:extLst>
              <a:ext uri="{FF2B5EF4-FFF2-40B4-BE49-F238E27FC236}">
                <a16:creationId xmlns:a16="http://schemas.microsoft.com/office/drawing/2014/main" id="{1ECB7605-9991-B177-48DF-D68B9A4E6E8D}"/>
              </a:ext>
            </a:extLst>
          </p:cNvPr>
          <p:cNvSpPr txBox="1"/>
          <p:nvPr/>
        </p:nvSpPr>
        <p:spPr>
          <a:xfrm>
            <a:off x="9986160" y="8752085"/>
            <a:ext cx="1493406" cy="503214"/>
          </a:xfrm>
          <a:prstGeom prst="rect">
            <a:avLst/>
          </a:prstGeom>
          <a:noFill/>
          <a:ln>
            <a:noFill/>
          </a:ln>
        </p:spPr>
        <p:txBody>
          <a:bodyPr spcFirstLastPara="1" wrap="square" lIns="0" tIns="0" rIns="0" bIns="0" anchor="t" anchorCtr="0">
            <a:sp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16197" marR="7620" lvl="0" algn="ctr">
              <a:lnSpc>
                <a:spcPct val="108571"/>
              </a:lnSpc>
              <a:buSzPts val="2450"/>
            </a:pPr>
            <a:r>
              <a:rPr lang="en-US" sz="1500" noProof="0">
                <a:solidFill>
                  <a:schemeClr val="bg1"/>
                </a:solidFill>
                <a:latin typeface="Montserrat" panose="020B0604020202020204" charset="0"/>
              </a:rPr>
              <a:t>Digital infrastructure</a:t>
            </a:r>
          </a:p>
        </p:txBody>
      </p:sp>
      <p:sp>
        <p:nvSpPr>
          <p:cNvPr id="58" name="Google Shape;68;p4">
            <a:extLst>
              <a:ext uri="{FF2B5EF4-FFF2-40B4-BE49-F238E27FC236}">
                <a16:creationId xmlns:a16="http://schemas.microsoft.com/office/drawing/2014/main" id="{9EB5E241-8A60-644D-6F41-306793A9E627}"/>
              </a:ext>
            </a:extLst>
          </p:cNvPr>
          <p:cNvSpPr txBox="1"/>
          <p:nvPr/>
        </p:nvSpPr>
        <p:spPr>
          <a:xfrm>
            <a:off x="5381490" y="5887748"/>
            <a:ext cx="3206232" cy="301911"/>
          </a:xfrm>
          <a:prstGeom prst="rect">
            <a:avLst/>
          </a:prstGeom>
          <a:noFill/>
          <a:ln>
            <a:noFill/>
          </a:ln>
        </p:spPr>
        <p:txBody>
          <a:bodyPr spcFirstLastPara="1" wrap="square" lIns="0" tIns="0" rIns="0" bIns="0" anchor="t" anchorCtr="0">
            <a:sp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16197" marR="7620" lvl="0">
              <a:lnSpc>
                <a:spcPct val="108571"/>
              </a:lnSpc>
              <a:buSzPts val="2450"/>
            </a:pPr>
            <a:r>
              <a:rPr lang="en-US" sz="1800" b="1" noProof="0">
                <a:solidFill>
                  <a:srgbClr val="6816FF"/>
                </a:solidFill>
                <a:latin typeface="Montserrat" panose="020B0604020202020204" charset="0"/>
              </a:rPr>
              <a:t>Programs selection</a:t>
            </a:r>
            <a:endParaRPr lang="en-US" sz="1800" noProof="0">
              <a:solidFill>
                <a:srgbClr val="6816FF"/>
              </a:solidFill>
              <a:latin typeface="Montserrat" panose="020B0604020202020204" charset="0"/>
            </a:endParaRPr>
          </a:p>
        </p:txBody>
      </p:sp>
      <p:sp>
        <p:nvSpPr>
          <p:cNvPr id="59" name="Google Shape;68;p4">
            <a:extLst>
              <a:ext uri="{FF2B5EF4-FFF2-40B4-BE49-F238E27FC236}">
                <a16:creationId xmlns:a16="http://schemas.microsoft.com/office/drawing/2014/main" id="{2404116C-0C29-178B-20EB-EDD6C40AD434}"/>
              </a:ext>
            </a:extLst>
          </p:cNvPr>
          <p:cNvSpPr txBox="1"/>
          <p:nvPr/>
        </p:nvSpPr>
        <p:spPr>
          <a:xfrm>
            <a:off x="5368543" y="8323105"/>
            <a:ext cx="2649458" cy="301911"/>
          </a:xfrm>
          <a:prstGeom prst="rect">
            <a:avLst/>
          </a:prstGeom>
          <a:noFill/>
          <a:ln>
            <a:noFill/>
          </a:ln>
        </p:spPr>
        <p:txBody>
          <a:bodyPr spcFirstLastPara="1" wrap="square" lIns="0" tIns="0" rIns="0" bIns="0" anchor="t" anchorCtr="0">
            <a:sp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16197" marR="7620" lvl="0">
              <a:lnSpc>
                <a:spcPct val="108571"/>
              </a:lnSpc>
              <a:buSzPts val="2450"/>
            </a:pPr>
            <a:r>
              <a:rPr lang="en-US" sz="1800" b="1" noProof="0">
                <a:solidFill>
                  <a:srgbClr val="6816FF"/>
                </a:solidFill>
                <a:latin typeface="Montserrat" panose="020B0604020202020204" charset="0"/>
              </a:rPr>
              <a:t>Business units</a:t>
            </a:r>
            <a:endParaRPr lang="en-US" sz="1800" noProof="0">
              <a:solidFill>
                <a:srgbClr val="6816FF"/>
              </a:solidFill>
              <a:latin typeface="Montserrat" panose="020B0604020202020204" charset="0"/>
            </a:endParaRPr>
          </a:p>
        </p:txBody>
      </p:sp>
      <p:sp>
        <p:nvSpPr>
          <p:cNvPr id="60" name="Google Shape;68;p4">
            <a:extLst>
              <a:ext uri="{FF2B5EF4-FFF2-40B4-BE49-F238E27FC236}">
                <a16:creationId xmlns:a16="http://schemas.microsoft.com/office/drawing/2014/main" id="{846FD45F-DF3B-B827-4240-11190F52CE5B}"/>
              </a:ext>
            </a:extLst>
          </p:cNvPr>
          <p:cNvSpPr txBox="1"/>
          <p:nvPr/>
        </p:nvSpPr>
        <p:spPr>
          <a:xfrm>
            <a:off x="5434019" y="3631966"/>
            <a:ext cx="3630996" cy="1731243"/>
          </a:xfrm>
          <a:prstGeom prst="rect">
            <a:avLst/>
          </a:prstGeom>
          <a:noFill/>
          <a:ln>
            <a:noFill/>
          </a:ln>
        </p:spPr>
        <p:txBody>
          <a:bodyPr spcFirstLastPara="1" wrap="square" lIns="0" tIns="0" rIns="0" bIns="0" anchor="t" anchorCtr="0">
            <a:sp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16197" marR="7620" lvl="0">
              <a:lnSpc>
                <a:spcPct val="150000"/>
              </a:lnSpc>
              <a:buSzPts val="2450"/>
            </a:pPr>
            <a:r>
              <a:rPr lang="en-US" sz="1500" noProof="0">
                <a:solidFill>
                  <a:schemeClr val="bg1"/>
                </a:solidFill>
                <a:latin typeface="Montserrat Light" pitchFamily="2" charset="77"/>
              </a:rPr>
              <a:t>Once aware, Qintess AI solution generates the 'Innovation maturity scan' and already recommends programs that will provide a better journey towards innovation.</a:t>
            </a:r>
          </a:p>
        </p:txBody>
      </p:sp>
      <p:grpSp>
        <p:nvGrpSpPr>
          <p:cNvPr id="61" name="Agrupar 142">
            <a:extLst>
              <a:ext uri="{FF2B5EF4-FFF2-40B4-BE49-F238E27FC236}">
                <a16:creationId xmlns:a16="http://schemas.microsoft.com/office/drawing/2014/main" id="{B6C97E32-2609-7E87-0FD8-C7379B5C6B87}"/>
              </a:ext>
            </a:extLst>
          </p:cNvPr>
          <p:cNvGrpSpPr/>
          <p:nvPr/>
        </p:nvGrpSpPr>
        <p:grpSpPr>
          <a:xfrm>
            <a:off x="9569182" y="3504079"/>
            <a:ext cx="4657678" cy="2145690"/>
            <a:chOff x="6313488" y="1914235"/>
            <a:chExt cx="3511021" cy="1706103"/>
          </a:xfrm>
        </p:grpSpPr>
        <p:grpSp>
          <p:nvGrpSpPr>
            <p:cNvPr id="62" name="Agrupar 1066">
              <a:extLst>
                <a:ext uri="{FF2B5EF4-FFF2-40B4-BE49-F238E27FC236}">
                  <a16:creationId xmlns:a16="http://schemas.microsoft.com/office/drawing/2014/main" id="{65B02BA6-428A-2068-FB39-828389E8D3BC}"/>
                </a:ext>
              </a:extLst>
            </p:cNvPr>
            <p:cNvGrpSpPr/>
            <p:nvPr/>
          </p:nvGrpSpPr>
          <p:grpSpPr>
            <a:xfrm>
              <a:off x="7683684" y="1926749"/>
              <a:ext cx="267554" cy="1511999"/>
              <a:chOff x="7953567" y="1669606"/>
              <a:chExt cx="267554" cy="2670664"/>
            </a:xfrm>
          </p:grpSpPr>
          <p:cxnSp>
            <p:nvCxnSpPr>
              <p:cNvPr id="87" name="Conector Reto 2">
                <a:extLst>
                  <a:ext uri="{FF2B5EF4-FFF2-40B4-BE49-F238E27FC236}">
                    <a16:creationId xmlns:a16="http://schemas.microsoft.com/office/drawing/2014/main" id="{C5FDE3FF-C9A6-9564-1CB5-FA00C4EB321D}"/>
                  </a:ext>
                </a:extLst>
              </p:cNvPr>
              <p:cNvCxnSpPr>
                <a:cxnSpLocks/>
              </p:cNvCxnSpPr>
              <p:nvPr/>
            </p:nvCxnSpPr>
            <p:spPr>
              <a:xfrm>
                <a:off x="7953567" y="1674049"/>
                <a:ext cx="0" cy="2664000"/>
              </a:xfrm>
              <a:prstGeom prst="line">
                <a:avLst/>
              </a:prstGeom>
              <a:ln w="41275" cap="rnd">
                <a:gradFill flip="none" rotWithShape="1">
                  <a:gsLst>
                    <a:gs pos="0">
                      <a:srgbClr val="6800FF"/>
                    </a:gs>
                    <a:gs pos="100000">
                      <a:srgbClr val="FF2C34"/>
                    </a:gs>
                    <a:gs pos="100000">
                      <a:srgbClr val="FF2C34"/>
                    </a:gs>
                    <a:gs pos="0">
                      <a:srgbClr val="6800FF"/>
                    </a:gs>
                  </a:gsLst>
                  <a:path path="circle">
                    <a:fillToRect l="100000" t="100000"/>
                  </a:path>
                  <a:tileRect r="-100000" b="-100000"/>
                </a:gradFill>
              </a:ln>
            </p:spPr>
            <p:style>
              <a:lnRef idx="1">
                <a:schemeClr val="accent1"/>
              </a:lnRef>
              <a:fillRef idx="0">
                <a:schemeClr val="accent1"/>
              </a:fillRef>
              <a:effectRef idx="0">
                <a:schemeClr val="accent1"/>
              </a:effectRef>
              <a:fontRef idx="minor">
                <a:schemeClr val="tx1"/>
              </a:fontRef>
            </p:style>
          </p:cxnSp>
          <p:cxnSp>
            <p:nvCxnSpPr>
              <p:cNvPr id="88" name="Conector Reto 2">
                <a:extLst>
                  <a:ext uri="{FF2B5EF4-FFF2-40B4-BE49-F238E27FC236}">
                    <a16:creationId xmlns:a16="http://schemas.microsoft.com/office/drawing/2014/main" id="{12C0C572-39DB-A6DE-EB7C-8217556CF929}"/>
                  </a:ext>
                </a:extLst>
              </p:cNvPr>
              <p:cNvCxnSpPr>
                <a:cxnSpLocks/>
              </p:cNvCxnSpPr>
              <p:nvPr/>
            </p:nvCxnSpPr>
            <p:spPr>
              <a:xfrm>
                <a:off x="7953567" y="1669606"/>
                <a:ext cx="252277" cy="4443"/>
              </a:xfrm>
              <a:prstGeom prst="line">
                <a:avLst/>
              </a:prstGeom>
              <a:ln w="41275" cap="rnd">
                <a:gradFill flip="none" rotWithShape="1">
                  <a:gsLst>
                    <a:gs pos="0">
                      <a:srgbClr val="6800FF"/>
                    </a:gs>
                    <a:gs pos="100000">
                      <a:srgbClr val="FF2C34"/>
                    </a:gs>
                    <a:gs pos="100000">
                      <a:srgbClr val="FF2C34"/>
                    </a:gs>
                    <a:gs pos="0">
                      <a:srgbClr val="6800FF"/>
                    </a:gs>
                  </a:gsLst>
                  <a:path path="circle">
                    <a:fillToRect l="100000" t="100000"/>
                  </a:path>
                  <a:tileRect r="-100000" b="-100000"/>
                </a:gradFill>
              </a:ln>
            </p:spPr>
            <p:style>
              <a:lnRef idx="1">
                <a:schemeClr val="accent1"/>
              </a:lnRef>
              <a:fillRef idx="0">
                <a:schemeClr val="accent1"/>
              </a:fillRef>
              <a:effectRef idx="0">
                <a:schemeClr val="accent1"/>
              </a:effectRef>
              <a:fontRef idx="minor">
                <a:schemeClr val="tx1"/>
              </a:fontRef>
            </p:style>
          </p:cxnSp>
          <p:cxnSp>
            <p:nvCxnSpPr>
              <p:cNvPr id="89" name="Conector Reto 2">
                <a:extLst>
                  <a:ext uri="{FF2B5EF4-FFF2-40B4-BE49-F238E27FC236}">
                    <a16:creationId xmlns:a16="http://schemas.microsoft.com/office/drawing/2014/main" id="{EDF76927-DF35-6071-386F-9B2669B8B60C}"/>
                  </a:ext>
                </a:extLst>
              </p:cNvPr>
              <p:cNvCxnSpPr>
                <a:cxnSpLocks/>
              </p:cNvCxnSpPr>
              <p:nvPr/>
            </p:nvCxnSpPr>
            <p:spPr>
              <a:xfrm flipH="1">
                <a:off x="7968844" y="4335827"/>
                <a:ext cx="252277" cy="4443"/>
              </a:xfrm>
              <a:prstGeom prst="line">
                <a:avLst/>
              </a:prstGeom>
              <a:ln w="41275" cap="rnd">
                <a:gradFill flip="none" rotWithShape="1">
                  <a:gsLst>
                    <a:gs pos="0">
                      <a:srgbClr val="6800FF"/>
                    </a:gs>
                    <a:gs pos="100000">
                      <a:srgbClr val="FF2C34"/>
                    </a:gs>
                    <a:gs pos="100000">
                      <a:srgbClr val="FF2C34"/>
                    </a:gs>
                    <a:gs pos="0">
                      <a:srgbClr val="6800FF"/>
                    </a:gs>
                  </a:gsLst>
                  <a:path path="circle">
                    <a:fillToRect l="100000" t="100000"/>
                  </a:path>
                  <a:tileRect r="-100000" b="-100000"/>
                </a:gradFill>
              </a:ln>
            </p:spPr>
            <p:style>
              <a:lnRef idx="1">
                <a:schemeClr val="accent1"/>
              </a:lnRef>
              <a:fillRef idx="0">
                <a:schemeClr val="accent1"/>
              </a:fillRef>
              <a:effectRef idx="0">
                <a:schemeClr val="accent1"/>
              </a:effectRef>
              <a:fontRef idx="minor">
                <a:schemeClr val="tx1"/>
              </a:fontRef>
            </p:style>
          </p:cxnSp>
        </p:grpSp>
        <p:grpSp>
          <p:nvGrpSpPr>
            <p:cNvPr id="63" name="Agrupar 1070">
              <a:extLst>
                <a:ext uri="{FF2B5EF4-FFF2-40B4-BE49-F238E27FC236}">
                  <a16:creationId xmlns:a16="http://schemas.microsoft.com/office/drawing/2014/main" id="{83039AED-42BF-F4AD-5E94-F6A69F4BB9D4}"/>
                </a:ext>
              </a:extLst>
            </p:cNvPr>
            <p:cNvGrpSpPr/>
            <p:nvPr/>
          </p:nvGrpSpPr>
          <p:grpSpPr>
            <a:xfrm>
              <a:off x="9541678" y="1914235"/>
              <a:ext cx="282831" cy="1511999"/>
              <a:chOff x="11278602" y="1595080"/>
              <a:chExt cx="282831" cy="2670664"/>
            </a:xfrm>
          </p:grpSpPr>
          <p:cxnSp>
            <p:nvCxnSpPr>
              <p:cNvPr id="84" name="Conector Reto 2">
                <a:extLst>
                  <a:ext uri="{FF2B5EF4-FFF2-40B4-BE49-F238E27FC236}">
                    <a16:creationId xmlns:a16="http://schemas.microsoft.com/office/drawing/2014/main" id="{92F1B20A-7DFF-4D54-F253-3F3EDADD3DB1}"/>
                  </a:ext>
                </a:extLst>
              </p:cNvPr>
              <p:cNvCxnSpPr>
                <a:cxnSpLocks/>
              </p:cNvCxnSpPr>
              <p:nvPr/>
            </p:nvCxnSpPr>
            <p:spPr>
              <a:xfrm>
                <a:off x="11561433" y="1599523"/>
                <a:ext cx="0" cy="2664000"/>
              </a:xfrm>
              <a:prstGeom prst="line">
                <a:avLst/>
              </a:prstGeom>
              <a:ln w="41275" cap="rnd">
                <a:gradFill flip="none" rotWithShape="1">
                  <a:gsLst>
                    <a:gs pos="0">
                      <a:srgbClr val="6800FF"/>
                    </a:gs>
                    <a:gs pos="100000">
                      <a:srgbClr val="FF2C34"/>
                    </a:gs>
                    <a:gs pos="100000">
                      <a:srgbClr val="FF2C34"/>
                    </a:gs>
                    <a:gs pos="0">
                      <a:srgbClr val="6800FF"/>
                    </a:gs>
                  </a:gsLst>
                  <a:path path="circle">
                    <a:fillToRect l="100000" t="100000"/>
                  </a:path>
                  <a:tileRect r="-100000" b="-100000"/>
                </a:gradFill>
              </a:ln>
            </p:spPr>
            <p:style>
              <a:lnRef idx="1">
                <a:schemeClr val="accent1"/>
              </a:lnRef>
              <a:fillRef idx="0">
                <a:schemeClr val="accent1"/>
              </a:fillRef>
              <a:effectRef idx="0">
                <a:schemeClr val="accent1"/>
              </a:effectRef>
              <a:fontRef idx="minor">
                <a:schemeClr val="tx1"/>
              </a:fontRef>
            </p:style>
          </p:cxnSp>
          <p:cxnSp>
            <p:nvCxnSpPr>
              <p:cNvPr id="85" name="Conector Reto 2">
                <a:extLst>
                  <a:ext uri="{FF2B5EF4-FFF2-40B4-BE49-F238E27FC236}">
                    <a16:creationId xmlns:a16="http://schemas.microsoft.com/office/drawing/2014/main" id="{9E32E98C-8735-4C47-EA97-3F948398CAB8}"/>
                  </a:ext>
                </a:extLst>
              </p:cNvPr>
              <p:cNvCxnSpPr>
                <a:cxnSpLocks/>
              </p:cNvCxnSpPr>
              <p:nvPr/>
            </p:nvCxnSpPr>
            <p:spPr>
              <a:xfrm flipH="1">
                <a:off x="11278602" y="1595080"/>
                <a:ext cx="252277" cy="4443"/>
              </a:xfrm>
              <a:prstGeom prst="line">
                <a:avLst/>
              </a:prstGeom>
              <a:ln w="41275" cap="rnd">
                <a:gradFill flip="none" rotWithShape="1">
                  <a:gsLst>
                    <a:gs pos="0">
                      <a:srgbClr val="6800FF"/>
                    </a:gs>
                    <a:gs pos="100000">
                      <a:srgbClr val="FF2C34"/>
                    </a:gs>
                    <a:gs pos="100000">
                      <a:srgbClr val="FF2C34"/>
                    </a:gs>
                    <a:gs pos="0">
                      <a:srgbClr val="6800FF"/>
                    </a:gs>
                  </a:gsLst>
                  <a:path path="circle">
                    <a:fillToRect l="100000" t="100000"/>
                  </a:path>
                  <a:tileRect r="-100000" b="-100000"/>
                </a:gradFill>
              </a:ln>
            </p:spPr>
            <p:style>
              <a:lnRef idx="1">
                <a:schemeClr val="accent1"/>
              </a:lnRef>
              <a:fillRef idx="0">
                <a:schemeClr val="accent1"/>
              </a:fillRef>
              <a:effectRef idx="0">
                <a:schemeClr val="accent1"/>
              </a:effectRef>
              <a:fontRef idx="minor">
                <a:schemeClr val="tx1"/>
              </a:fontRef>
            </p:style>
          </p:cxnSp>
          <p:cxnSp>
            <p:nvCxnSpPr>
              <p:cNvPr id="86" name="Conector Reto 2">
                <a:extLst>
                  <a:ext uri="{FF2B5EF4-FFF2-40B4-BE49-F238E27FC236}">
                    <a16:creationId xmlns:a16="http://schemas.microsoft.com/office/drawing/2014/main" id="{E0165BEE-940B-1A30-2799-022E5605DBAD}"/>
                  </a:ext>
                </a:extLst>
              </p:cNvPr>
              <p:cNvCxnSpPr>
                <a:cxnSpLocks/>
              </p:cNvCxnSpPr>
              <p:nvPr/>
            </p:nvCxnSpPr>
            <p:spPr>
              <a:xfrm>
                <a:off x="11293879" y="4261301"/>
                <a:ext cx="252277" cy="4443"/>
              </a:xfrm>
              <a:prstGeom prst="line">
                <a:avLst/>
              </a:prstGeom>
              <a:ln w="41275" cap="rnd">
                <a:gradFill flip="none" rotWithShape="1">
                  <a:gsLst>
                    <a:gs pos="0">
                      <a:srgbClr val="6800FF"/>
                    </a:gs>
                    <a:gs pos="100000">
                      <a:srgbClr val="FF2C34"/>
                    </a:gs>
                    <a:gs pos="100000">
                      <a:srgbClr val="FF2C34"/>
                    </a:gs>
                    <a:gs pos="0">
                      <a:srgbClr val="6800FF"/>
                    </a:gs>
                  </a:gsLst>
                  <a:path path="circle">
                    <a:fillToRect l="100000" t="100000"/>
                  </a:path>
                  <a:tileRect r="-100000" b="-100000"/>
                </a:gradFill>
              </a:ln>
            </p:spPr>
            <p:style>
              <a:lnRef idx="1">
                <a:schemeClr val="accent1"/>
              </a:lnRef>
              <a:fillRef idx="0">
                <a:schemeClr val="accent1"/>
              </a:fillRef>
              <a:effectRef idx="0">
                <a:schemeClr val="accent1"/>
              </a:effectRef>
              <a:fontRef idx="minor">
                <a:schemeClr val="tx1"/>
              </a:fontRef>
            </p:style>
          </p:cxnSp>
        </p:grpSp>
        <p:cxnSp>
          <p:nvCxnSpPr>
            <p:cNvPr id="64" name="Conector Reto 2">
              <a:extLst>
                <a:ext uri="{FF2B5EF4-FFF2-40B4-BE49-F238E27FC236}">
                  <a16:creationId xmlns:a16="http://schemas.microsoft.com/office/drawing/2014/main" id="{62EC8C7F-DFA0-48CB-70CD-0C6BD76786F4}"/>
                </a:ext>
              </a:extLst>
            </p:cNvPr>
            <p:cNvCxnSpPr>
              <a:cxnSpLocks/>
            </p:cNvCxnSpPr>
            <p:nvPr/>
          </p:nvCxnSpPr>
          <p:spPr>
            <a:xfrm flipH="1">
              <a:off x="6333416" y="2672057"/>
              <a:ext cx="2016000" cy="0"/>
            </a:xfrm>
            <a:prstGeom prst="line">
              <a:avLst/>
            </a:prstGeom>
            <a:ln w="9525" cap="rnd">
              <a:solidFill>
                <a:schemeClr val="bg2">
                  <a:lumMod val="9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65" name="Google Shape;72;p4">
              <a:extLst>
                <a:ext uri="{FF2B5EF4-FFF2-40B4-BE49-F238E27FC236}">
                  <a16:creationId xmlns:a16="http://schemas.microsoft.com/office/drawing/2014/main" id="{AD555297-8B60-D317-B65B-A62F7360E3CE}"/>
                </a:ext>
              </a:extLst>
            </p:cNvPr>
            <p:cNvSpPr txBox="1"/>
            <p:nvPr/>
          </p:nvSpPr>
          <p:spPr>
            <a:xfrm>
              <a:off x="6313488" y="2496374"/>
              <a:ext cx="936000" cy="163391"/>
            </a:xfrm>
            <a:prstGeom prst="rect">
              <a:avLst/>
            </a:prstGeom>
            <a:noFill/>
            <a:ln>
              <a:noFill/>
            </a:ln>
          </p:spPr>
          <p:txBody>
            <a:bodyPr spcFirstLastPara="1" wrap="square" lIns="0" tIns="18075" rIns="0" bIns="0" anchor="t" anchorCtr="0">
              <a:sp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19050" marR="0" lvl="0" indent="0" algn="ctr" rtl="0">
                <a:lnSpc>
                  <a:spcPct val="100000"/>
                </a:lnSpc>
                <a:spcBef>
                  <a:spcPts val="0"/>
                </a:spcBef>
                <a:spcAft>
                  <a:spcPts val="0"/>
                </a:spcAft>
                <a:buClr>
                  <a:srgbClr val="000000"/>
                </a:buClr>
                <a:buSzPts val="3300"/>
                <a:buFont typeface="Arial"/>
                <a:buNone/>
              </a:pPr>
              <a:r>
                <a:rPr lang="en-US" sz="1200" u="none" strike="noStrike" cap="none" noProof="0">
                  <a:solidFill>
                    <a:schemeClr val="bg1"/>
                  </a:solidFill>
                  <a:latin typeface="Montserrat Medium" pitchFamily="2" charset="77"/>
                  <a:ea typeface="Trebuchet MS"/>
                  <a:cs typeface="Trebuchet MS"/>
                  <a:sym typeface="Trebuchet MS"/>
                </a:rPr>
                <a:t>Technical Axle</a:t>
              </a:r>
            </a:p>
          </p:txBody>
        </p:sp>
        <p:sp>
          <p:nvSpPr>
            <p:cNvPr id="66" name="Triângulo isósceles 113">
              <a:extLst>
                <a:ext uri="{FF2B5EF4-FFF2-40B4-BE49-F238E27FC236}">
                  <a16:creationId xmlns:a16="http://schemas.microsoft.com/office/drawing/2014/main" id="{5263A8F7-DD17-7E06-F02A-6E9AF1875487}"/>
                </a:ext>
              </a:extLst>
            </p:cNvPr>
            <p:cNvSpPr/>
            <p:nvPr/>
          </p:nvSpPr>
          <p:spPr>
            <a:xfrm rot="5400000">
              <a:off x="8348610" y="2623182"/>
              <a:ext cx="92869" cy="98984"/>
            </a:xfrm>
            <a:prstGeom prst="triangl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endParaRPr lang="en-US" sz="4050" noProof="0"/>
            </a:p>
          </p:txBody>
        </p:sp>
        <p:sp>
          <p:nvSpPr>
            <p:cNvPr id="67" name="Google Shape;71;p4">
              <a:extLst>
                <a:ext uri="{FF2B5EF4-FFF2-40B4-BE49-F238E27FC236}">
                  <a16:creationId xmlns:a16="http://schemas.microsoft.com/office/drawing/2014/main" id="{766B7CB4-8159-2CB2-FD6C-98E106BEEB4F}"/>
                </a:ext>
              </a:extLst>
            </p:cNvPr>
            <p:cNvSpPr/>
            <p:nvPr/>
          </p:nvSpPr>
          <p:spPr>
            <a:xfrm>
              <a:off x="7731876" y="2266967"/>
              <a:ext cx="108000" cy="108000"/>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FF2C60"/>
            </a:solidFill>
            <a:ln w="3175">
              <a:solidFill>
                <a:schemeClr val="tx1">
                  <a:lumMod val="95000"/>
                </a:schemeClr>
              </a:solid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68" name="Google Shape;71;p4">
              <a:extLst>
                <a:ext uri="{FF2B5EF4-FFF2-40B4-BE49-F238E27FC236}">
                  <a16:creationId xmlns:a16="http://schemas.microsoft.com/office/drawing/2014/main" id="{8A3576FA-EB66-3029-68E9-834E45A0600F}"/>
                </a:ext>
              </a:extLst>
            </p:cNvPr>
            <p:cNvSpPr/>
            <p:nvPr/>
          </p:nvSpPr>
          <p:spPr>
            <a:xfrm>
              <a:off x="6949251" y="2753954"/>
              <a:ext cx="61200" cy="61200"/>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6800FF"/>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69" name="Google Shape;71;p4">
              <a:extLst>
                <a:ext uri="{FF2B5EF4-FFF2-40B4-BE49-F238E27FC236}">
                  <a16:creationId xmlns:a16="http://schemas.microsoft.com/office/drawing/2014/main" id="{F2A303CE-5FBD-AD34-BB29-562FF8161B0F}"/>
                </a:ext>
              </a:extLst>
            </p:cNvPr>
            <p:cNvSpPr/>
            <p:nvPr/>
          </p:nvSpPr>
          <p:spPr>
            <a:xfrm>
              <a:off x="7050851" y="2906354"/>
              <a:ext cx="61200" cy="61200"/>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6800FF"/>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70" name="Google Shape;71;p4">
              <a:extLst>
                <a:ext uri="{FF2B5EF4-FFF2-40B4-BE49-F238E27FC236}">
                  <a16:creationId xmlns:a16="http://schemas.microsoft.com/office/drawing/2014/main" id="{B3FEAAD7-8039-902F-AEFE-84EEB50CEDED}"/>
                </a:ext>
              </a:extLst>
            </p:cNvPr>
            <p:cNvSpPr/>
            <p:nvPr/>
          </p:nvSpPr>
          <p:spPr>
            <a:xfrm>
              <a:off x="6858042" y="3091493"/>
              <a:ext cx="61200" cy="61200"/>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6800FF"/>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71" name="Google Shape;71;p4">
              <a:extLst>
                <a:ext uri="{FF2B5EF4-FFF2-40B4-BE49-F238E27FC236}">
                  <a16:creationId xmlns:a16="http://schemas.microsoft.com/office/drawing/2014/main" id="{64ACDC5E-A18D-F5E7-E1FE-0B4D53767B16}"/>
                </a:ext>
              </a:extLst>
            </p:cNvPr>
            <p:cNvSpPr/>
            <p:nvPr/>
          </p:nvSpPr>
          <p:spPr>
            <a:xfrm>
              <a:off x="7628941" y="2478401"/>
              <a:ext cx="61200" cy="61200"/>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6800FF"/>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72" name="Google Shape;71;p4">
              <a:extLst>
                <a:ext uri="{FF2B5EF4-FFF2-40B4-BE49-F238E27FC236}">
                  <a16:creationId xmlns:a16="http://schemas.microsoft.com/office/drawing/2014/main" id="{55064258-A693-B625-BA39-9EAF2180D4E0}"/>
                </a:ext>
              </a:extLst>
            </p:cNvPr>
            <p:cNvSpPr/>
            <p:nvPr/>
          </p:nvSpPr>
          <p:spPr>
            <a:xfrm>
              <a:off x="7538530" y="2738714"/>
              <a:ext cx="61200" cy="61200"/>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6800FF"/>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73" name="Google Shape;71;p4">
              <a:extLst>
                <a:ext uri="{FF2B5EF4-FFF2-40B4-BE49-F238E27FC236}">
                  <a16:creationId xmlns:a16="http://schemas.microsoft.com/office/drawing/2014/main" id="{37CE0255-4557-534F-3C14-88A5F61A3D25}"/>
                </a:ext>
              </a:extLst>
            </p:cNvPr>
            <p:cNvSpPr/>
            <p:nvPr/>
          </p:nvSpPr>
          <p:spPr>
            <a:xfrm>
              <a:off x="7493688" y="2245330"/>
              <a:ext cx="61200" cy="61200"/>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6800FF"/>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74" name="Google Shape;71;p4">
              <a:extLst>
                <a:ext uri="{FF2B5EF4-FFF2-40B4-BE49-F238E27FC236}">
                  <a16:creationId xmlns:a16="http://schemas.microsoft.com/office/drawing/2014/main" id="{77E43154-0D28-6E3E-6D48-0B126623D8CC}"/>
                </a:ext>
              </a:extLst>
            </p:cNvPr>
            <p:cNvSpPr/>
            <p:nvPr/>
          </p:nvSpPr>
          <p:spPr>
            <a:xfrm>
              <a:off x="8026605" y="2074100"/>
              <a:ext cx="61200" cy="61200"/>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6800FF"/>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75" name="Google Shape;71;p4">
              <a:extLst>
                <a:ext uri="{FF2B5EF4-FFF2-40B4-BE49-F238E27FC236}">
                  <a16:creationId xmlns:a16="http://schemas.microsoft.com/office/drawing/2014/main" id="{15E5EF44-310D-0BEB-240E-0B7F7093A51E}"/>
                </a:ext>
              </a:extLst>
            </p:cNvPr>
            <p:cNvSpPr/>
            <p:nvPr/>
          </p:nvSpPr>
          <p:spPr>
            <a:xfrm>
              <a:off x="6744415" y="2395727"/>
              <a:ext cx="61200" cy="61200"/>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6800FF"/>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76" name="Google Shape;71;p4">
              <a:extLst>
                <a:ext uri="{FF2B5EF4-FFF2-40B4-BE49-F238E27FC236}">
                  <a16:creationId xmlns:a16="http://schemas.microsoft.com/office/drawing/2014/main" id="{0B86C29B-2294-81A4-D801-4741BFBCA664}"/>
                </a:ext>
              </a:extLst>
            </p:cNvPr>
            <p:cNvSpPr/>
            <p:nvPr/>
          </p:nvSpPr>
          <p:spPr>
            <a:xfrm>
              <a:off x="7644045" y="2898406"/>
              <a:ext cx="61200" cy="61200"/>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6800FF"/>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77" name="Google Shape;71;p4">
              <a:extLst>
                <a:ext uri="{FF2B5EF4-FFF2-40B4-BE49-F238E27FC236}">
                  <a16:creationId xmlns:a16="http://schemas.microsoft.com/office/drawing/2014/main" id="{A61CB8A3-0081-8558-1D76-4D1E14A175F5}"/>
                </a:ext>
              </a:extLst>
            </p:cNvPr>
            <p:cNvSpPr/>
            <p:nvPr/>
          </p:nvSpPr>
          <p:spPr>
            <a:xfrm>
              <a:off x="7926260" y="2590161"/>
              <a:ext cx="61200" cy="61200"/>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6800FF"/>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cxnSp>
          <p:nvCxnSpPr>
            <p:cNvPr id="78" name="Conector Reto 2">
              <a:extLst>
                <a:ext uri="{FF2B5EF4-FFF2-40B4-BE49-F238E27FC236}">
                  <a16:creationId xmlns:a16="http://schemas.microsoft.com/office/drawing/2014/main" id="{D1515395-6F06-1638-22FE-1FF0A4123EC3}"/>
                </a:ext>
              </a:extLst>
            </p:cNvPr>
            <p:cNvCxnSpPr>
              <a:cxnSpLocks/>
            </p:cNvCxnSpPr>
            <p:nvPr/>
          </p:nvCxnSpPr>
          <p:spPr>
            <a:xfrm flipH="1">
              <a:off x="7399970" y="2019658"/>
              <a:ext cx="0" cy="1440000"/>
            </a:xfrm>
            <a:prstGeom prst="line">
              <a:avLst/>
            </a:prstGeom>
            <a:ln w="9525" cap="rnd">
              <a:solidFill>
                <a:schemeClr val="bg2">
                  <a:lumMod val="9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79" name="Google Shape;72;p4">
              <a:extLst>
                <a:ext uri="{FF2B5EF4-FFF2-40B4-BE49-F238E27FC236}">
                  <a16:creationId xmlns:a16="http://schemas.microsoft.com/office/drawing/2014/main" id="{E494ED46-B924-2425-9E15-C43FCECA72C7}"/>
                </a:ext>
              </a:extLst>
            </p:cNvPr>
            <p:cNvSpPr txBox="1"/>
            <p:nvPr/>
          </p:nvSpPr>
          <p:spPr>
            <a:xfrm rot="16200000">
              <a:off x="6853375" y="3090757"/>
              <a:ext cx="906201" cy="152962"/>
            </a:xfrm>
            <a:prstGeom prst="rect">
              <a:avLst/>
            </a:prstGeom>
            <a:noFill/>
            <a:ln>
              <a:noFill/>
            </a:ln>
          </p:spPr>
          <p:txBody>
            <a:bodyPr spcFirstLastPara="1" wrap="square" lIns="0" tIns="18075" rIns="0" bIns="0" anchor="t" anchorCtr="0">
              <a:sp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19050" marR="0" lvl="0" indent="0" algn="ctr" rtl="0">
                <a:lnSpc>
                  <a:spcPct val="100000"/>
                </a:lnSpc>
                <a:spcBef>
                  <a:spcPts val="0"/>
                </a:spcBef>
                <a:spcAft>
                  <a:spcPts val="0"/>
                </a:spcAft>
                <a:buClr>
                  <a:srgbClr val="000000"/>
                </a:buClr>
                <a:buSzPts val="3300"/>
                <a:buFont typeface="Arial"/>
                <a:buNone/>
              </a:pPr>
              <a:r>
                <a:rPr lang="en-US" sz="1200" u="none" strike="noStrike" cap="none" noProof="0">
                  <a:solidFill>
                    <a:schemeClr val="bg1"/>
                  </a:solidFill>
                  <a:latin typeface="Montserrat Medium" pitchFamily="2" charset="77"/>
                  <a:ea typeface="Trebuchet MS"/>
                  <a:cs typeface="Trebuchet MS"/>
                  <a:sym typeface="Trebuchet MS"/>
                </a:rPr>
                <a:t>Cultural Axle</a:t>
              </a:r>
            </a:p>
          </p:txBody>
        </p:sp>
        <p:sp>
          <p:nvSpPr>
            <p:cNvPr id="80" name="Triângulo isósceles 127">
              <a:extLst>
                <a:ext uri="{FF2B5EF4-FFF2-40B4-BE49-F238E27FC236}">
                  <a16:creationId xmlns:a16="http://schemas.microsoft.com/office/drawing/2014/main" id="{29887C95-712C-D339-964E-2E6A5E857C5F}"/>
                </a:ext>
              </a:extLst>
            </p:cNvPr>
            <p:cNvSpPr/>
            <p:nvPr/>
          </p:nvSpPr>
          <p:spPr>
            <a:xfrm>
              <a:off x="7351295" y="1952340"/>
              <a:ext cx="92869" cy="98984"/>
            </a:xfrm>
            <a:prstGeom prst="triangl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endParaRPr lang="en-US" sz="4050" noProof="0"/>
            </a:p>
          </p:txBody>
        </p:sp>
        <p:sp>
          <p:nvSpPr>
            <p:cNvPr id="81" name="Google Shape;71;p4">
              <a:extLst>
                <a:ext uri="{FF2B5EF4-FFF2-40B4-BE49-F238E27FC236}">
                  <a16:creationId xmlns:a16="http://schemas.microsoft.com/office/drawing/2014/main" id="{239BD24C-7489-421C-14AF-8BDF8E335DFE}"/>
                </a:ext>
              </a:extLst>
            </p:cNvPr>
            <p:cNvSpPr/>
            <p:nvPr/>
          </p:nvSpPr>
          <p:spPr>
            <a:xfrm>
              <a:off x="7160975" y="2436367"/>
              <a:ext cx="61200" cy="61200"/>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6800FF"/>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82" name="Google Shape;71;p4">
              <a:extLst>
                <a:ext uri="{FF2B5EF4-FFF2-40B4-BE49-F238E27FC236}">
                  <a16:creationId xmlns:a16="http://schemas.microsoft.com/office/drawing/2014/main" id="{DFABD510-9B15-9E0B-EFAF-BCA50A308B92}"/>
                </a:ext>
              </a:extLst>
            </p:cNvPr>
            <p:cNvSpPr/>
            <p:nvPr/>
          </p:nvSpPr>
          <p:spPr>
            <a:xfrm>
              <a:off x="8179005" y="2226500"/>
              <a:ext cx="61200" cy="61200"/>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6800FF"/>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sp>
          <p:nvSpPr>
            <p:cNvPr id="83" name="Google Shape;71;p4">
              <a:extLst>
                <a:ext uri="{FF2B5EF4-FFF2-40B4-BE49-F238E27FC236}">
                  <a16:creationId xmlns:a16="http://schemas.microsoft.com/office/drawing/2014/main" id="{F2EE9BAA-AD63-62BD-EEFB-BEC43319EA25}"/>
                </a:ext>
              </a:extLst>
            </p:cNvPr>
            <p:cNvSpPr/>
            <p:nvPr/>
          </p:nvSpPr>
          <p:spPr>
            <a:xfrm>
              <a:off x="8107885" y="2775140"/>
              <a:ext cx="61200" cy="61200"/>
            </a:xfrm>
            <a:custGeom>
              <a:avLst/>
              <a:gdLst/>
              <a:ahLst/>
              <a:cxnLst/>
              <a:rect l="l" t="t" r="r" b="b"/>
              <a:pathLst>
                <a:path w="3330575" h="3269615" extrusionOk="0">
                  <a:moveTo>
                    <a:pt x="1664987" y="3269383"/>
                  </a:moveTo>
                  <a:lnTo>
                    <a:pt x="1615895" y="3268686"/>
                  </a:lnTo>
                  <a:lnTo>
                    <a:pt x="1567157" y="3266608"/>
                  </a:lnTo>
                  <a:lnTo>
                    <a:pt x="1518790" y="3263168"/>
                  </a:lnTo>
                  <a:lnTo>
                    <a:pt x="1470815" y="3258385"/>
                  </a:lnTo>
                  <a:lnTo>
                    <a:pt x="1423251" y="3252279"/>
                  </a:lnTo>
                  <a:lnTo>
                    <a:pt x="1376118" y="3244868"/>
                  </a:lnTo>
                  <a:lnTo>
                    <a:pt x="1329436" y="3236172"/>
                  </a:lnTo>
                  <a:lnTo>
                    <a:pt x="1283223" y="3226210"/>
                  </a:lnTo>
                  <a:lnTo>
                    <a:pt x="1237499" y="3215001"/>
                  </a:lnTo>
                  <a:lnTo>
                    <a:pt x="1192284" y="3202564"/>
                  </a:lnTo>
                  <a:lnTo>
                    <a:pt x="1147597" y="3188918"/>
                  </a:lnTo>
                  <a:lnTo>
                    <a:pt x="1103458" y="3174083"/>
                  </a:lnTo>
                  <a:lnTo>
                    <a:pt x="1059886" y="3158078"/>
                  </a:lnTo>
                  <a:lnTo>
                    <a:pt x="1016901" y="3140922"/>
                  </a:lnTo>
                  <a:lnTo>
                    <a:pt x="974523" y="3122633"/>
                  </a:lnTo>
                  <a:lnTo>
                    <a:pt x="932771" y="3103232"/>
                  </a:lnTo>
                  <a:lnTo>
                    <a:pt x="891663" y="3082737"/>
                  </a:lnTo>
                  <a:lnTo>
                    <a:pt x="851221" y="3061168"/>
                  </a:lnTo>
                  <a:lnTo>
                    <a:pt x="811464" y="3038544"/>
                  </a:lnTo>
                  <a:lnTo>
                    <a:pt x="772410" y="3014883"/>
                  </a:lnTo>
                  <a:lnTo>
                    <a:pt x="734080" y="2990205"/>
                  </a:lnTo>
                  <a:lnTo>
                    <a:pt x="696492" y="2964530"/>
                  </a:lnTo>
                  <a:lnTo>
                    <a:pt x="659668" y="2937876"/>
                  </a:lnTo>
                  <a:lnTo>
                    <a:pt x="623625" y="2910262"/>
                  </a:lnTo>
                  <a:lnTo>
                    <a:pt x="588384" y="2881708"/>
                  </a:lnTo>
                  <a:lnTo>
                    <a:pt x="553964" y="2852233"/>
                  </a:lnTo>
                  <a:lnTo>
                    <a:pt x="520385" y="2821856"/>
                  </a:lnTo>
                  <a:lnTo>
                    <a:pt x="487666" y="2790596"/>
                  </a:lnTo>
                  <a:lnTo>
                    <a:pt x="455826" y="2758472"/>
                  </a:lnTo>
                  <a:lnTo>
                    <a:pt x="424886" y="2725504"/>
                  </a:lnTo>
                  <a:lnTo>
                    <a:pt x="394864" y="2691710"/>
                  </a:lnTo>
                  <a:lnTo>
                    <a:pt x="365781" y="2657111"/>
                  </a:lnTo>
                  <a:lnTo>
                    <a:pt x="337655" y="2621724"/>
                  </a:lnTo>
                  <a:lnTo>
                    <a:pt x="310507" y="2585570"/>
                  </a:lnTo>
                  <a:lnTo>
                    <a:pt x="284355" y="2548666"/>
                  </a:lnTo>
                  <a:lnTo>
                    <a:pt x="259220" y="2511034"/>
                  </a:lnTo>
                  <a:lnTo>
                    <a:pt x="235120" y="2472691"/>
                  </a:lnTo>
                  <a:lnTo>
                    <a:pt x="212076" y="2433656"/>
                  </a:lnTo>
                  <a:lnTo>
                    <a:pt x="190107" y="2393950"/>
                  </a:lnTo>
                  <a:lnTo>
                    <a:pt x="169232" y="2353591"/>
                  </a:lnTo>
                  <a:lnTo>
                    <a:pt x="149471" y="2312598"/>
                  </a:lnTo>
                  <a:lnTo>
                    <a:pt x="130843" y="2270990"/>
                  </a:lnTo>
                  <a:lnTo>
                    <a:pt x="113369" y="2228788"/>
                  </a:lnTo>
                  <a:lnTo>
                    <a:pt x="97067" y="2186009"/>
                  </a:lnTo>
                  <a:lnTo>
                    <a:pt x="81957" y="2142672"/>
                  </a:lnTo>
                  <a:lnTo>
                    <a:pt x="68058" y="2098798"/>
                  </a:lnTo>
                  <a:lnTo>
                    <a:pt x="55390" y="2054406"/>
                  </a:lnTo>
                  <a:lnTo>
                    <a:pt x="43973" y="2009514"/>
                  </a:lnTo>
                  <a:lnTo>
                    <a:pt x="33826" y="1964141"/>
                  </a:lnTo>
                  <a:lnTo>
                    <a:pt x="24969" y="1918307"/>
                  </a:lnTo>
                  <a:lnTo>
                    <a:pt x="17421" y="1872031"/>
                  </a:lnTo>
                  <a:lnTo>
                    <a:pt x="11201" y="1825332"/>
                  </a:lnTo>
                  <a:lnTo>
                    <a:pt x="6330" y="1778230"/>
                  </a:lnTo>
                  <a:lnTo>
                    <a:pt x="2826" y="1730742"/>
                  </a:lnTo>
                  <a:lnTo>
                    <a:pt x="709" y="1682890"/>
                  </a:lnTo>
                  <a:lnTo>
                    <a:pt x="0" y="1634691"/>
                  </a:lnTo>
                  <a:lnTo>
                    <a:pt x="709" y="1586492"/>
                  </a:lnTo>
                  <a:lnTo>
                    <a:pt x="2826" y="1538640"/>
                  </a:lnTo>
                  <a:lnTo>
                    <a:pt x="6330" y="1491153"/>
                  </a:lnTo>
                  <a:lnTo>
                    <a:pt x="11201" y="1444050"/>
                  </a:lnTo>
                  <a:lnTo>
                    <a:pt x="17421" y="1397351"/>
                  </a:lnTo>
                  <a:lnTo>
                    <a:pt x="24969" y="1351075"/>
                  </a:lnTo>
                  <a:lnTo>
                    <a:pt x="33826" y="1305241"/>
                  </a:lnTo>
                  <a:lnTo>
                    <a:pt x="43973" y="1259869"/>
                  </a:lnTo>
                  <a:lnTo>
                    <a:pt x="55390" y="1214976"/>
                  </a:lnTo>
                  <a:lnTo>
                    <a:pt x="68058" y="1170584"/>
                  </a:lnTo>
                  <a:lnTo>
                    <a:pt x="81957" y="1126710"/>
                  </a:lnTo>
                  <a:lnTo>
                    <a:pt x="97067" y="1083374"/>
                  </a:lnTo>
                  <a:lnTo>
                    <a:pt x="113369" y="1040595"/>
                  </a:lnTo>
                  <a:lnTo>
                    <a:pt x="130843" y="998392"/>
                  </a:lnTo>
                  <a:lnTo>
                    <a:pt x="149471" y="956784"/>
                  </a:lnTo>
                  <a:lnTo>
                    <a:pt x="169232" y="915792"/>
                  </a:lnTo>
                  <a:lnTo>
                    <a:pt x="190107" y="875432"/>
                  </a:lnTo>
                  <a:lnTo>
                    <a:pt x="212076" y="835726"/>
                  </a:lnTo>
                  <a:lnTo>
                    <a:pt x="235120" y="796692"/>
                  </a:lnTo>
                  <a:lnTo>
                    <a:pt x="259220" y="758349"/>
                  </a:lnTo>
                  <a:lnTo>
                    <a:pt x="284355" y="720716"/>
                  </a:lnTo>
                  <a:lnTo>
                    <a:pt x="310507" y="683813"/>
                  </a:lnTo>
                  <a:lnTo>
                    <a:pt x="337655" y="647658"/>
                  </a:lnTo>
                  <a:lnTo>
                    <a:pt x="365781" y="612271"/>
                  </a:lnTo>
                  <a:lnTo>
                    <a:pt x="394864" y="577672"/>
                  </a:lnTo>
                  <a:lnTo>
                    <a:pt x="424886" y="543878"/>
                  </a:lnTo>
                  <a:lnTo>
                    <a:pt x="455826" y="510910"/>
                  </a:lnTo>
                  <a:lnTo>
                    <a:pt x="487666" y="478786"/>
                  </a:lnTo>
                  <a:lnTo>
                    <a:pt x="520385" y="447527"/>
                  </a:lnTo>
                  <a:lnTo>
                    <a:pt x="553964" y="417149"/>
                  </a:lnTo>
                  <a:lnTo>
                    <a:pt x="588384" y="387674"/>
                  </a:lnTo>
                  <a:lnTo>
                    <a:pt x="623625" y="359120"/>
                  </a:lnTo>
                  <a:lnTo>
                    <a:pt x="659668" y="331507"/>
                  </a:lnTo>
                  <a:lnTo>
                    <a:pt x="696492" y="304852"/>
                  </a:lnTo>
                  <a:lnTo>
                    <a:pt x="734080" y="279177"/>
                  </a:lnTo>
                  <a:lnTo>
                    <a:pt x="772410" y="254499"/>
                  </a:lnTo>
                  <a:lnTo>
                    <a:pt x="811464" y="230839"/>
                  </a:lnTo>
                  <a:lnTo>
                    <a:pt x="851221" y="208214"/>
                  </a:lnTo>
                  <a:lnTo>
                    <a:pt x="891663" y="186645"/>
                  </a:lnTo>
                  <a:lnTo>
                    <a:pt x="932771" y="166150"/>
                  </a:lnTo>
                  <a:lnTo>
                    <a:pt x="974523" y="146749"/>
                  </a:lnTo>
                  <a:lnTo>
                    <a:pt x="1016901" y="128461"/>
                  </a:lnTo>
                  <a:lnTo>
                    <a:pt x="1059886" y="111304"/>
                  </a:lnTo>
                  <a:lnTo>
                    <a:pt x="1103458" y="95299"/>
                  </a:lnTo>
                  <a:lnTo>
                    <a:pt x="1147597" y="80464"/>
                  </a:lnTo>
                  <a:lnTo>
                    <a:pt x="1192284" y="66818"/>
                  </a:lnTo>
                  <a:lnTo>
                    <a:pt x="1237499" y="54382"/>
                  </a:lnTo>
                  <a:lnTo>
                    <a:pt x="1283223" y="43172"/>
                  </a:lnTo>
                  <a:lnTo>
                    <a:pt x="1329436" y="33210"/>
                  </a:lnTo>
                  <a:lnTo>
                    <a:pt x="1376118" y="24514"/>
                  </a:lnTo>
                  <a:lnTo>
                    <a:pt x="1423251" y="17103"/>
                  </a:lnTo>
                  <a:lnTo>
                    <a:pt x="1470815" y="10997"/>
                  </a:lnTo>
                  <a:lnTo>
                    <a:pt x="1518790" y="6214"/>
                  </a:lnTo>
                  <a:lnTo>
                    <a:pt x="1567157" y="2774"/>
                  </a:lnTo>
                  <a:lnTo>
                    <a:pt x="1615895" y="696"/>
                  </a:lnTo>
                  <a:lnTo>
                    <a:pt x="1664987" y="0"/>
                  </a:lnTo>
                  <a:lnTo>
                    <a:pt x="1715854" y="762"/>
                  </a:lnTo>
                  <a:lnTo>
                    <a:pt x="1766528" y="3040"/>
                  </a:lnTo>
                  <a:lnTo>
                    <a:pt x="1816979" y="6820"/>
                  </a:lnTo>
                  <a:lnTo>
                    <a:pt x="1867173" y="12091"/>
                  </a:lnTo>
                  <a:lnTo>
                    <a:pt x="1917080" y="18839"/>
                  </a:lnTo>
                  <a:lnTo>
                    <a:pt x="1966667" y="27050"/>
                  </a:lnTo>
                  <a:lnTo>
                    <a:pt x="2015902" y="36713"/>
                  </a:lnTo>
                  <a:lnTo>
                    <a:pt x="2064755" y="47814"/>
                  </a:lnTo>
                  <a:lnTo>
                    <a:pt x="2113192" y="60340"/>
                  </a:lnTo>
                  <a:lnTo>
                    <a:pt x="2161183" y="74278"/>
                  </a:lnTo>
                  <a:lnTo>
                    <a:pt x="2208695" y="89615"/>
                  </a:lnTo>
                  <a:lnTo>
                    <a:pt x="2255696" y="106339"/>
                  </a:lnTo>
                  <a:lnTo>
                    <a:pt x="2302156" y="124436"/>
                  </a:lnTo>
                  <a:lnTo>
                    <a:pt x="2348041" y="143894"/>
                  </a:lnTo>
                  <a:lnTo>
                    <a:pt x="2393321" y="164699"/>
                  </a:lnTo>
                  <a:lnTo>
                    <a:pt x="2437963" y="186839"/>
                  </a:lnTo>
                  <a:lnTo>
                    <a:pt x="2481935" y="210301"/>
                  </a:lnTo>
                  <a:lnTo>
                    <a:pt x="2525207" y="235071"/>
                  </a:lnTo>
                  <a:lnTo>
                    <a:pt x="2567745" y="261137"/>
                  </a:lnTo>
                  <a:lnTo>
                    <a:pt x="2609519" y="288486"/>
                  </a:lnTo>
                  <a:lnTo>
                    <a:pt x="2650496" y="317105"/>
                  </a:lnTo>
                  <a:lnTo>
                    <a:pt x="2690645" y="346980"/>
                  </a:lnTo>
                  <a:lnTo>
                    <a:pt x="2729933" y="378100"/>
                  </a:lnTo>
                  <a:lnTo>
                    <a:pt x="2768330" y="410451"/>
                  </a:lnTo>
                  <a:lnTo>
                    <a:pt x="2805803" y="444020"/>
                  </a:lnTo>
                  <a:lnTo>
                    <a:pt x="2842320" y="478794"/>
                  </a:lnTo>
                  <a:lnTo>
                    <a:pt x="2877739" y="514646"/>
                  </a:lnTo>
                  <a:lnTo>
                    <a:pt x="2911931" y="551436"/>
                  </a:lnTo>
                  <a:lnTo>
                    <a:pt x="2944882" y="589134"/>
                  </a:lnTo>
                  <a:lnTo>
                    <a:pt x="2976578" y="627707"/>
                  </a:lnTo>
                  <a:lnTo>
                    <a:pt x="3007008" y="667124"/>
                  </a:lnTo>
                  <a:lnTo>
                    <a:pt x="3036157" y="707355"/>
                  </a:lnTo>
                  <a:lnTo>
                    <a:pt x="3064012" y="748368"/>
                  </a:lnTo>
                  <a:lnTo>
                    <a:pt x="3090561" y="790132"/>
                  </a:lnTo>
                  <a:lnTo>
                    <a:pt x="3115790" y="832615"/>
                  </a:lnTo>
                  <a:lnTo>
                    <a:pt x="3139685" y="875787"/>
                  </a:lnTo>
                  <a:lnTo>
                    <a:pt x="3162235" y="919616"/>
                  </a:lnTo>
                  <a:lnTo>
                    <a:pt x="3183425" y="964071"/>
                  </a:lnTo>
                  <a:lnTo>
                    <a:pt x="3203243" y="1009121"/>
                  </a:lnTo>
                  <a:lnTo>
                    <a:pt x="3221674" y="1054735"/>
                  </a:lnTo>
                  <a:lnTo>
                    <a:pt x="3238707" y="1100881"/>
                  </a:lnTo>
                  <a:lnTo>
                    <a:pt x="3254328" y="1147528"/>
                  </a:lnTo>
                  <a:lnTo>
                    <a:pt x="3268524" y="1194645"/>
                  </a:lnTo>
                  <a:lnTo>
                    <a:pt x="3281281" y="1242200"/>
                  </a:lnTo>
                  <a:lnTo>
                    <a:pt x="3292587" y="1290163"/>
                  </a:lnTo>
                  <a:lnTo>
                    <a:pt x="3302428" y="1338503"/>
                  </a:lnTo>
                  <a:lnTo>
                    <a:pt x="3310791" y="1387187"/>
                  </a:lnTo>
                  <a:lnTo>
                    <a:pt x="3317663" y="1436185"/>
                  </a:lnTo>
                  <a:lnTo>
                    <a:pt x="3323031" y="1485466"/>
                  </a:lnTo>
                  <a:lnTo>
                    <a:pt x="3326882" y="1534998"/>
                  </a:lnTo>
                  <a:lnTo>
                    <a:pt x="3329201" y="1584750"/>
                  </a:lnTo>
                  <a:lnTo>
                    <a:pt x="3329978" y="1634691"/>
                  </a:lnTo>
                  <a:lnTo>
                    <a:pt x="3329268" y="1682890"/>
                  </a:lnTo>
                  <a:lnTo>
                    <a:pt x="3327151" y="1730742"/>
                  </a:lnTo>
                  <a:lnTo>
                    <a:pt x="3323648" y="1778230"/>
                  </a:lnTo>
                  <a:lnTo>
                    <a:pt x="3318776" y="1825332"/>
                  </a:lnTo>
                  <a:lnTo>
                    <a:pt x="3312557" y="1872031"/>
                  </a:lnTo>
                  <a:lnTo>
                    <a:pt x="3305009" y="1918307"/>
                  </a:lnTo>
                  <a:lnTo>
                    <a:pt x="3296151" y="1964141"/>
                  </a:lnTo>
                  <a:lnTo>
                    <a:pt x="3286005" y="2009514"/>
                  </a:lnTo>
                  <a:lnTo>
                    <a:pt x="3274588" y="2054406"/>
                  </a:lnTo>
                  <a:lnTo>
                    <a:pt x="3261921" y="2098798"/>
                  </a:lnTo>
                  <a:lnTo>
                    <a:pt x="3248022" y="2142672"/>
                  </a:lnTo>
                  <a:lnTo>
                    <a:pt x="3232912" y="2186009"/>
                  </a:lnTo>
                  <a:lnTo>
                    <a:pt x="3216610" y="2228788"/>
                  </a:lnTo>
                  <a:lnTo>
                    <a:pt x="3199136" y="2270990"/>
                  </a:lnTo>
                  <a:lnTo>
                    <a:pt x="3180509" y="2312598"/>
                  </a:lnTo>
                  <a:lnTo>
                    <a:pt x="3160748" y="2353591"/>
                  </a:lnTo>
                  <a:lnTo>
                    <a:pt x="3139873" y="2393950"/>
                  </a:lnTo>
                  <a:lnTo>
                    <a:pt x="3117904" y="2433656"/>
                  </a:lnTo>
                  <a:lnTo>
                    <a:pt x="3094861" y="2472691"/>
                  </a:lnTo>
                  <a:lnTo>
                    <a:pt x="3070761" y="2511034"/>
                  </a:lnTo>
                  <a:lnTo>
                    <a:pt x="3045626" y="2548666"/>
                  </a:lnTo>
                  <a:lnTo>
                    <a:pt x="3019475" y="2585570"/>
                  </a:lnTo>
                  <a:lnTo>
                    <a:pt x="2992327" y="2621724"/>
                  </a:lnTo>
                  <a:lnTo>
                    <a:pt x="2964201" y="2657111"/>
                  </a:lnTo>
                  <a:lnTo>
                    <a:pt x="2935118" y="2691710"/>
                  </a:lnTo>
                  <a:lnTo>
                    <a:pt x="2905097" y="2725504"/>
                  </a:lnTo>
                  <a:lnTo>
                    <a:pt x="2874157" y="2758472"/>
                  </a:lnTo>
                  <a:lnTo>
                    <a:pt x="2842317" y="2790596"/>
                  </a:lnTo>
                  <a:lnTo>
                    <a:pt x="2809598" y="2821856"/>
                  </a:lnTo>
                  <a:lnTo>
                    <a:pt x="2776019" y="2852233"/>
                  </a:lnTo>
                  <a:lnTo>
                    <a:pt x="2741599" y="2881708"/>
                  </a:lnTo>
                  <a:lnTo>
                    <a:pt x="2706358" y="2910262"/>
                  </a:lnTo>
                  <a:lnTo>
                    <a:pt x="2670316" y="2937876"/>
                  </a:lnTo>
                  <a:lnTo>
                    <a:pt x="2633491" y="2964530"/>
                  </a:lnTo>
                  <a:lnTo>
                    <a:pt x="2595904" y="2990205"/>
                  </a:lnTo>
                  <a:lnTo>
                    <a:pt x="2557574" y="3014883"/>
                  </a:lnTo>
                  <a:lnTo>
                    <a:pt x="2518520" y="3038544"/>
                  </a:lnTo>
                  <a:lnTo>
                    <a:pt x="2478762" y="3061168"/>
                  </a:lnTo>
                  <a:lnTo>
                    <a:pt x="2438320" y="3082737"/>
                  </a:lnTo>
                  <a:lnTo>
                    <a:pt x="2397212" y="3103232"/>
                  </a:lnTo>
                  <a:lnTo>
                    <a:pt x="2355460" y="3122633"/>
                  </a:lnTo>
                  <a:lnTo>
                    <a:pt x="2313081" y="3140922"/>
                  </a:lnTo>
                  <a:lnTo>
                    <a:pt x="2270096" y="3158078"/>
                  </a:lnTo>
                  <a:lnTo>
                    <a:pt x="2226524" y="3174083"/>
                  </a:lnTo>
                  <a:lnTo>
                    <a:pt x="2182384" y="3188918"/>
                  </a:lnTo>
                  <a:lnTo>
                    <a:pt x="2137697" y="3202564"/>
                  </a:lnTo>
                  <a:lnTo>
                    <a:pt x="2092482" y="3215001"/>
                  </a:lnTo>
                  <a:lnTo>
                    <a:pt x="2046757" y="3226210"/>
                  </a:lnTo>
                  <a:lnTo>
                    <a:pt x="2000544" y="3236172"/>
                  </a:lnTo>
                  <a:lnTo>
                    <a:pt x="1953860" y="3244868"/>
                  </a:lnTo>
                  <a:lnTo>
                    <a:pt x="1906726" y="3252279"/>
                  </a:lnTo>
                  <a:lnTo>
                    <a:pt x="1859162" y="3258385"/>
                  </a:lnTo>
                  <a:lnTo>
                    <a:pt x="1811186" y="3263168"/>
                  </a:lnTo>
                  <a:lnTo>
                    <a:pt x="1762819" y="3266608"/>
                  </a:lnTo>
                  <a:lnTo>
                    <a:pt x="1714079" y="3268686"/>
                  </a:lnTo>
                  <a:lnTo>
                    <a:pt x="1664987" y="3269383"/>
                  </a:lnTo>
                  <a:close/>
                </a:path>
              </a:pathLst>
            </a:custGeom>
            <a:solidFill>
              <a:srgbClr val="6800FF"/>
            </a:solidFill>
            <a:ln>
              <a:noFill/>
            </a:ln>
          </p:spPr>
          <p:txBody>
            <a:bodyPr spcFirstLastPara="1" wrap="square" lIns="0" tIns="0" rIns="0" bIns="0" anchor="t" anchorCtr="0">
              <a:no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000000"/>
                </a:buClr>
                <a:buSzPts val="1800"/>
                <a:buFont typeface="Arial"/>
                <a:buNone/>
              </a:pPr>
              <a:endParaRPr lang="en-US" sz="2700" b="0" i="0" u="none" strike="noStrike" cap="none" noProof="0">
                <a:solidFill>
                  <a:schemeClr val="dk1"/>
                </a:solidFill>
                <a:latin typeface="Calibri"/>
                <a:ea typeface="Calibri"/>
                <a:cs typeface="Calibri"/>
                <a:sym typeface="Calibri"/>
              </a:endParaRPr>
            </a:p>
          </p:txBody>
        </p:sp>
      </p:grpSp>
      <p:sp>
        <p:nvSpPr>
          <p:cNvPr id="90" name="Google Shape;68;p4">
            <a:extLst>
              <a:ext uri="{FF2B5EF4-FFF2-40B4-BE49-F238E27FC236}">
                <a16:creationId xmlns:a16="http://schemas.microsoft.com/office/drawing/2014/main" id="{E6C8E0AB-3814-1443-39F0-42D9292FB625}"/>
              </a:ext>
            </a:extLst>
          </p:cNvPr>
          <p:cNvSpPr txBox="1"/>
          <p:nvPr/>
        </p:nvSpPr>
        <p:spPr>
          <a:xfrm>
            <a:off x="14133659" y="6355112"/>
            <a:ext cx="2856471" cy="1661994"/>
          </a:xfrm>
          <a:prstGeom prst="rect">
            <a:avLst/>
          </a:prstGeom>
          <a:noFill/>
          <a:ln>
            <a:noFill/>
          </a:ln>
        </p:spPr>
        <p:txBody>
          <a:bodyPr spcFirstLastPara="1" wrap="square" lIns="54000" tIns="0" rIns="54000" bIns="0" anchor="t" anchorCtr="0">
            <a:sp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16197" marR="7620" lvl="0" algn="ctr">
              <a:lnSpc>
                <a:spcPct val="150000"/>
              </a:lnSpc>
              <a:buSzPts val="2450"/>
            </a:pPr>
            <a:r>
              <a:rPr lang="en-US" sz="1800" noProof="0">
                <a:solidFill>
                  <a:schemeClr val="bg1"/>
                </a:solidFill>
                <a:latin typeface="Montserrat Light" pitchFamily="2" charset="77"/>
              </a:rPr>
              <a:t>Once implemented, we help you measure and maintain engagement for a innovation culture.</a:t>
            </a:r>
          </a:p>
        </p:txBody>
      </p:sp>
      <p:sp>
        <p:nvSpPr>
          <p:cNvPr id="91" name="Google Shape;72;p4">
            <a:extLst>
              <a:ext uri="{FF2B5EF4-FFF2-40B4-BE49-F238E27FC236}">
                <a16:creationId xmlns:a16="http://schemas.microsoft.com/office/drawing/2014/main" id="{56795AD5-6AA2-B7B2-4B7F-13AD8525BC6E}"/>
              </a:ext>
            </a:extLst>
          </p:cNvPr>
          <p:cNvSpPr txBox="1"/>
          <p:nvPr/>
        </p:nvSpPr>
        <p:spPr>
          <a:xfrm>
            <a:off x="14231405" y="3309200"/>
            <a:ext cx="2592153" cy="572250"/>
          </a:xfrm>
          <a:prstGeom prst="rect">
            <a:avLst/>
          </a:prstGeom>
          <a:noFill/>
          <a:ln>
            <a:noFill/>
          </a:ln>
        </p:spPr>
        <p:txBody>
          <a:bodyPr spcFirstLastPara="1" wrap="square" lIns="0" tIns="18075" rIns="0" bIns="0" anchor="t" anchorCtr="0">
            <a:sp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19050" marR="0" lvl="0" indent="0" algn="ctr" rtl="0">
              <a:lnSpc>
                <a:spcPct val="100000"/>
              </a:lnSpc>
              <a:spcBef>
                <a:spcPts val="0"/>
              </a:spcBef>
              <a:spcAft>
                <a:spcPts val="0"/>
              </a:spcAft>
              <a:buClr>
                <a:srgbClr val="000000"/>
              </a:buClr>
              <a:buSzPts val="3300"/>
              <a:buFont typeface="Arial"/>
              <a:buNone/>
            </a:pPr>
            <a:r>
              <a:rPr lang="en-US" sz="1800" b="1" u="none" strike="noStrike" cap="none" noProof="0">
                <a:solidFill>
                  <a:schemeClr val="bg1"/>
                </a:solidFill>
                <a:latin typeface="Montserrat" pitchFamily="2" charset="77"/>
                <a:ea typeface="Trebuchet MS"/>
                <a:cs typeface="Trebuchet MS"/>
                <a:sym typeface="Trebuchet MS"/>
              </a:rPr>
              <a:t>Partnering with Innovation</a:t>
            </a:r>
          </a:p>
        </p:txBody>
      </p:sp>
      <p:pic>
        <p:nvPicPr>
          <p:cNvPr id="92" name="Picture 4" descr="Kpi - ícones de profissões e empregos grátis">
            <a:extLst>
              <a:ext uri="{FF2B5EF4-FFF2-40B4-BE49-F238E27FC236}">
                <a16:creationId xmlns:a16="http://schemas.microsoft.com/office/drawing/2014/main" id="{93A2484A-D091-3435-D7DE-E40B9F72C660}"/>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5664838" y="4875943"/>
            <a:ext cx="702000" cy="702000"/>
          </a:xfrm>
          <a:prstGeom prst="rect">
            <a:avLst/>
          </a:prstGeom>
          <a:noFill/>
          <a:extLst>
            <a:ext uri="{909E8E84-426E-40DD-AFC4-6F175D3DCCD1}">
              <a14:hiddenFill xmlns:a14="http://schemas.microsoft.com/office/drawing/2010/main">
                <a:solidFill>
                  <a:srgbClr val="FFFFFF"/>
                </a:solidFill>
              </a14:hiddenFill>
            </a:ext>
          </a:extLst>
        </p:spPr>
      </p:pic>
      <p:sp>
        <p:nvSpPr>
          <p:cNvPr id="93" name="Elipse 79">
            <a:extLst>
              <a:ext uri="{FF2B5EF4-FFF2-40B4-BE49-F238E27FC236}">
                <a16:creationId xmlns:a16="http://schemas.microsoft.com/office/drawing/2014/main" id="{0E660761-03EE-DFE0-C7DC-07D38C69424F}"/>
              </a:ext>
            </a:extLst>
          </p:cNvPr>
          <p:cNvSpPr/>
          <p:nvPr/>
        </p:nvSpPr>
        <p:spPr>
          <a:xfrm>
            <a:off x="14775537" y="4893298"/>
            <a:ext cx="648000" cy="648000"/>
          </a:xfrm>
          <a:prstGeom prst="ellipse">
            <a:avLst/>
          </a:prstGeom>
          <a:solidFill>
            <a:srgbClr val="E6E7E8"/>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endParaRPr lang="en-US" sz="4050" noProof="0"/>
          </a:p>
        </p:txBody>
      </p:sp>
      <p:sp>
        <p:nvSpPr>
          <p:cNvPr id="94" name="Elipse 5">
            <a:extLst>
              <a:ext uri="{FF2B5EF4-FFF2-40B4-BE49-F238E27FC236}">
                <a16:creationId xmlns:a16="http://schemas.microsoft.com/office/drawing/2014/main" id="{23078925-6948-0046-B2AE-FD57A61A9BB0}"/>
              </a:ext>
            </a:extLst>
          </p:cNvPr>
          <p:cNvSpPr/>
          <p:nvPr/>
        </p:nvSpPr>
        <p:spPr>
          <a:xfrm>
            <a:off x="14802669" y="4902943"/>
            <a:ext cx="648000" cy="648000"/>
          </a:xfrm>
          <a:prstGeom prst="ellipse">
            <a:avLst/>
          </a:prstGeom>
          <a:solidFill>
            <a:srgbClr val="D4FCFF"/>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a:endParaRPr lang="en-US" sz="4050" noProof="0"/>
          </a:p>
        </p:txBody>
      </p:sp>
      <p:pic>
        <p:nvPicPr>
          <p:cNvPr id="95" name="Picture 4" descr="Analyze - Free education icons">
            <a:extLst>
              <a:ext uri="{FF2B5EF4-FFF2-40B4-BE49-F238E27FC236}">
                <a16:creationId xmlns:a16="http://schemas.microsoft.com/office/drawing/2014/main" id="{4EB92108-4DF2-F42D-3776-FDD643FEE5DC}"/>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4928465" y="5042267"/>
            <a:ext cx="378000" cy="378000"/>
          </a:xfrm>
          <a:prstGeom prst="rect">
            <a:avLst/>
          </a:prstGeom>
          <a:noFill/>
          <a:extLst>
            <a:ext uri="{909E8E84-426E-40DD-AFC4-6F175D3DCCD1}">
              <a14:hiddenFill xmlns:a14="http://schemas.microsoft.com/office/drawing/2010/main">
                <a:solidFill>
                  <a:srgbClr val="FFFFFF"/>
                </a:solidFill>
              </a14:hiddenFill>
            </a:ext>
          </a:extLst>
        </p:spPr>
      </p:pic>
      <p:sp>
        <p:nvSpPr>
          <p:cNvPr id="96" name="Google Shape;72;p4">
            <a:extLst>
              <a:ext uri="{FF2B5EF4-FFF2-40B4-BE49-F238E27FC236}">
                <a16:creationId xmlns:a16="http://schemas.microsoft.com/office/drawing/2014/main" id="{32BF8D9A-B6C6-C305-25A3-271F2CC075D1}"/>
              </a:ext>
            </a:extLst>
          </p:cNvPr>
          <p:cNvSpPr txBox="1"/>
          <p:nvPr/>
        </p:nvSpPr>
        <p:spPr>
          <a:xfrm>
            <a:off x="14171474" y="8304346"/>
            <a:ext cx="2818656" cy="849248"/>
          </a:xfrm>
          <a:prstGeom prst="rect">
            <a:avLst/>
          </a:prstGeom>
          <a:noFill/>
          <a:ln>
            <a:noFill/>
          </a:ln>
        </p:spPr>
        <p:txBody>
          <a:bodyPr spcFirstLastPara="1" wrap="square" lIns="0" tIns="18075" rIns="0" bIns="0" anchor="t" anchorCtr="0">
            <a:spAutoFit/>
          </a:bodyPr>
          <a:lstStyle>
            <a:defPPr>
              <a:defRPr lang="pt-BR"/>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19050" marR="0" lvl="0" indent="0" algn="ctr" rtl="0">
              <a:lnSpc>
                <a:spcPct val="100000"/>
              </a:lnSpc>
              <a:spcBef>
                <a:spcPts val="0"/>
              </a:spcBef>
              <a:spcAft>
                <a:spcPts val="0"/>
              </a:spcAft>
              <a:buClr>
                <a:srgbClr val="000000"/>
              </a:buClr>
              <a:buSzPts val="3300"/>
              <a:buFont typeface="Arial"/>
              <a:buNone/>
            </a:pPr>
            <a:r>
              <a:rPr lang="en-US" sz="1800" b="1" noProof="0">
                <a:solidFill>
                  <a:schemeClr val="bg1"/>
                </a:solidFill>
                <a:latin typeface="Montserrat" pitchFamily="2" charset="77"/>
                <a:ea typeface="Trebuchet MS"/>
                <a:cs typeface="Trebuchet MS"/>
                <a:sym typeface="Trebuchet MS"/>
              </a:rPr>
              <a:t>Periodically update and adopt new challenges</a:t>
            </a:r>
            <a:endParaRPr lang="en-US" sz="1800" b="1" u="none" strike="noStrike" cap="none" noProof="0">
              <a:solidFill>
                <a:schemeClr val="bg1"/>
              </a:solidFill>
              <a:latin typeface="Montserrat" pitchFamily="2" charset="77"/>
              <a:ea typeface="Trebuchet MS"/>
              <a:cs typeface="Trebuchet MS"/>
              <a:sym typeface="Trebuchet MS"/>
            </a:endParaRPr>
          </a:p>
        </p:txBody>
      </p:sp>
      <p:cxnSp>
        <p:nvCxnSpPr>
          <p:cNvPr id="97" name="Conector Reto 9">
            <a:extLst>
              <a:ext uri="{FF2B5EF4-FFF2-40B4-BE49-F238E27FC236}">
                <a16:creationId xmlns:a16="http://schemas.microsoft.com/office/drawing/2014/main" id="{B988AB1C-4CEA-8B9F-B904-58C0683F9D6C}"/>
              </a:ext>
            </a:extLst>
          </p:cNvPr>
          <p:cNvCxnSpPr>
            <a:cxnSpLocks/>
          </p:cNvCxnSpPr>
          <p:nvPr/>
        </p:nvCxnSpPr>
        <p:spPr>
          <a:xfrm>
            <a:off x="6606173" y="8877889"/>
            <a:ext cx="0" cy="319787"/>
          </a:xfrm>
          <a:prstGeom prst="line">
            <a:avLst/>
          </a:prstGeom>
          <a:ln w="952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98" name="Conector Reto 10">
            <a:extLst>
              <a:ext uri="{FF2B5EF4-FFF2-40B4-BE49-F238E27FC236}">
                <a16:creationId xmlns:a16="http://schemas.microsoft.com/office/drawing/2014/main" id="{4229922A-7930-BB96-7DD1-4309E0261965}"/>
              </a:ext>
            </a:extLst>
          </p:cNvPr>
          <p:cNvCxnSpPr>
            <a:cxnSpLocks/>
          </p:cNvCxnSpPr>
          <p:nvPr/>
        </p:nvCxnSpPr>
        <p:spPr>
          <a:xfrm>
            <a:off x="8316219" y="8877889"/>
            <a:ext cx="0" cy="319787"/>
          </a:xfrm>
          <a:prstGeom prst="line">
            <a:avLst/>
          </a:prstGeom>
          <a:ln w="952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99" name="Conector Reto 12">
            <a:extLst>
              <a:ext uri="{FF2B5EF4-FFF2-40B4-BE49-F238E27FC236}">
                <a16:creationId xmlns:a16="http://schemas.microsoft.com/office/drawing/2014/main" id="{56F2699A-5823-C662-324A-EE37A8F5FFB8}"/>
              </a:ext>
            </a:extLst>
          </p:cNvPr>
          <p:cNvCxnSpPr>
            <a:cxnSpLocks/>
          </p:cNvCxnSpPr>
          <p:nvPr/>
        </p:nvCxnSpPr>
        <p:spPr>
          <a:xfrm>
            <a:off x="9848136" y="8877889"/>
            <a:ext cx="0" cy="319787"/>
          </a:xfrm>
          <a:prstGeom prst="line">
            <a:avLst/>
          </a:prstGeom>
          <a:ln w="952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0" name="Conector Reto 13">
            <a:extLst>
              <a:ext uri="{FF2B5EF4-FFF2-40B4-BE49-F238E27FC236}">
                <a16:creationId xmlns:a16="http://schemas.microsoft.com/office/drawing/2014/main" id="{EE92E798-C27D-4B71-169F-83FE25A98850}"/>
              </a:ext>
            </a:extLst>
          </p:cNvPr>
          <p:cNvCxnSpPr>
            <a:cxnSpLocks/>
          </p:cNvCxnSpPr>
          <p:nvPr/>
        </p:nvCxnSpPr>
        <p:spPr>
          <a:xfrm>
            <a:off x="11531463" y="8877889"/>
            <a:ext cx="0" cy="319787"/>
          </a:xfrm>
          <a:prstGeom prst="line">
            <a:avLst/>
          </a:prstGeom>
          <a:ln w="952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01" name="Imagem 3" descr="Ícone&#10;&#10;Descrição gerada automaticamente">
            <a:extLst>
              <a:ext uri="{FF2B5EF4-FFF2-40B4-BE49-F238E27FC236}">
                <a16:creationId xmlns:a16="http://schemas.microsoft.com/office/drawing/2014/main" id="{7CE3BFC9-9241-8B20-5B5B-6E263A1F4046}"/>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4355491" y="3982727"/>
            <a:ext cx="2414766" cy="2414766"/>
          </a:xfrm>
          <a:prstGeom prst="rect">
            <a:avLst/>
          </a:prstGeom>
        </p:spPr>
      </p:pic>
      <p:grpSp>
        <p:nvGrpSpPr>
          <p:cNvPr id="3" name="Group 24">
            <a:extLst>
              <a:ext uri="{FF2B5EF4-FFF2-40B4-BE49-F238E27FC236}">
                <a16:creationId xmlns:a16="http://schemas.microsoft.com/office/drawing/2014/main" id="{178F2305-A453-1653-743C-EE854BBCD145}"/>
              </a:ext>
            </a:extLst>
          </p:cNvPr>
          <p:cNvGrpSpPr/>
          <p:nvPr/>
        </p:nvGrpSpPr>
        <p:grpSpPr>
          <a:xfrm>
            <a:off x="1975365" y="1359883"/>
            <a:ext cx="612363" cy="56823"/>
            <a:chOff x="6966947" y="1504566"/>
            <a:chExt cx="1078484" cy="100076"/>
          </a:xfrm>
        </p:grpSpPr>
        <p:sp>
          <p:nvSpPr>
            <p:cNvPr id="4" name="Freeform 25">
              <a:extLst>
                <a:ext uri="{FF2B5EF4-FFF2-40B4-BE49-F238E27FC236}">
                  <a16:creationId xmlns:a16="http://schemas.microsoft.com/office/drawing/2014/main" id="{6B94B3D5-19B5-2856-E635-39060808A225}"/>
                </a:ext>
              </a:extLst>
            </p:cNvPr>
            <p:cNvSpPr/>
            <p:nvPr/>
          </p:nvSpPr>
          <p:spPr>
            <a:xfrm>
              <a:off x="6966947" y="1504566"/>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endParaRPr lang="en-US" sz="1800" noProof="0"/>
            </a:p>
          </p:txBody>
        </p:sp>
      </p:grpSp>
    </p:spTree>
    <p:extLst>
      <p:ext uri="{BB962C8B-B14F-4D97-AF65-F5344CB8AC3E}">
        <p14:creationId xmlns:p14="http://schemas.microsoft.com/office/powerpoint/2010/main" val="10039722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A88878-A62E-1D67-74EC-F3B7AF59AE80}"/>
              </a:ext>
            </a:extLst>
          </p:cNvPr>
          <p:cNvSpPr>
            <a:spLocks noGrp="1"/>
          </p:cNvSpPr>
          <p:nvPr>
            <p:ph type="title" idx="4294967295"/>
          </p:nvPr>
        </p:nvSpPr>
        <p:spPr>
          <a:xfrm>
            <a:off x="3896985" y="2199103"/>
            <a:ext cx="10216200" cy="1145400"/>
          </a:xfrm>
        </p:spPr>
        <p:txBody>
          <a:bodyPr/>
          <a:lstStyle/>
          <a:p>
            <a:r>
              <a:rPr lang="en-US" sz="3600">
                <a:solidFill>
                  <a:schemeClr val="bg1"/>
                </a:solidFill>
              </a:rPr>
              <a:t>Third Edition</a:t>
            </a:r>
            <a:endParaRPr lang="en-US" sz="3600" noProof="0">
              <a:solidFill>
                <a:schemeClr val="bg1"/>
              </a:solidFill>
            </a:endParaRPr>
          </a:p>
        </p:txBody>
      </p:sp>
      <p:pic>
        <p:nvPicPr>
          <p:cNvPr id="3" name="Picture 8">
            <a:extLst>
              <a:ext uri="{FF2B5EF4-FFF2-40B4-BE49-F238E27FC236}">
                <a16:creationId xmlns:a16="http://schemas.microsoft.com/office/drawing/2014/main" id="{3E539673-953A-78BF-78D5-8273485DC68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234808" y="3392801"/>
            <a:ext cx="6633487" cy="4271591"/>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pic>
        <p:nvPicPr>
          <p:cNvPr id="5" name="Imagem 4" descr="Uma imagem contendo placa, grande, display&#10;&#10;O conteúdo gerado por IA pode estar incorreto.">
            <a:extLst>
              <a:ext uri="{FF2B5EF4-FFF2-40B4-BE49-F238E27FC236}">
                <a16:creationId xmlns:a16="http://schemas.microsoft.com/office/drawing/2014/main" id="{D2C0CDED-A73C-8B0C-0A2C-63E9CC546F13}"/>
              </a:ext>
            </a:extLst>
          </p:cNvPr>
          <p:cNvPicPr>
            <a:picLocks noChangeAspect="1"/>
          </p:cNvPicPr>
          <p:nvPr/>
        </p:nvPicPr>
        <p:blipFill>
          <a:blip r:embed="rId3">
            <a:extLst>
              <a:ext uri="{28A0092B-C50C-407E-A947-70E740481C1C}">
                <a14:useLocalDpi xmlns:a14="http://schemas.microsoft.com/office/drawing/2010/main" val="0"/>
              </a:ext>
            </a:extLst>
          </a:blip>
          <a:srcRect r="30302" b="632"/>
          <a:stretch/>
        </p:blipFill>
        <p:spPr>
          <a:xfrm>
            <a:off x="1615929" y="3914059"/>
            <a:ext cx="5981349" cy="3229518"/>
          </a:xfrm>
          <a:prstGeom prst="rect">
            <a:avLst/>
          </a:prstGeom>
        </p:spPr>
      </p:pic>
      <p:pic>
        <p:nvPicPr>
          <p:cNvPr id="6" name="Picture 8">
            <a:extLst>
              <a:ext uri="{FF2B5EF4-FFF2-40B4-BE49-F238E27FC236}">
                <a16:creationId xmlns:a16="http://schemas.microsoft.com/office/drawing/2014/main" id="{4FAC659E-D3BA-D82B-540D-D103C0E15A8F}"/>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91239" y="4844863"/>
            <a:ext cx="6633487" cy="4271591"/>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pic>
        <p:nvPicPr>
          <p:cNvPr id="7" name="Picture 8">
            <a:extLst>
              <a:ext uri="{FF2B5EF4-FFF2-40B4-BE49-F238E27FC236}">
                <a16:creationId xmlns:a16="http://schemas.microsoft.com/office/drawing/2014/main" id="{D2DCF8A5-2D7E-E964-0D00-DB621041B48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257196" y="1919680"/>
            <a:ext cx="6633487" cy="4271591"/>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pic>
        <p:nvPicPr>
          <p:cNvPr id="9" name="Imagem 8" descr="Interface gráfica do usuário, Texto, chat ou mensagem de texto&#10;&#10;O conteúdo gerado por IA pode estar incorreto.">
            <a:extLst>
              <a:ext uri="{FF2B5EF4-FFF2-40B4-BE49-F238E27FC236}">
                <a16:creationId xmlns:a16="http://schemas.microsoft.com/office/drawing/2014/main" id="{A4C928FE-583A-BFF4-4FBA-2EF2D319DD1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87917" y="5513428"/>
            <a:ext cx="5640129" cy="3305312"/>
          </a:xfrm>
          <a:prstGeom prst="rect">
            <a:avLst/>
          </a:prstGeom>
        </p:spPr>
      </p:pic>
      <p:pic>
        <p:nvPicPr>
          <p:cNvPr id="13" name="Imagem 12" descr="Interface gráfica do usuário, Texto, Aplicativo, Teams&#10;&#10;O conteúdo gerado por IA pode estar incorreto.">
            <a:extLst>
              <a:ext uri="{FF2B5EF4-FFF2-40B4-BE49-F238E27FC236}">
                <a16:creationId xmlns:a16="http://schemas.microsoft.com/office/drawing/2014/main" id="{48542EF9-3CDB-0CBA-430D-B066D0F5CFC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647127" y="2587412"/>
            <a:ext cx="6243556" cy="3179018"/>
          </a:xfrm>
          <a:prstGeom prst="rect">
            <a:avLst/>
          </a:prstGeom>
        </p:spPr>
      </p:pic>
      <p:grpSp>
        <p:nvGrpSpPr>
          <p:cNvPr id="10" name="Group 24">
            <a:extLst>
              <a:ext uri="{FF2B5EF4-FFF2-40B4-BE49-F238E27FC236}">
                <a16:creationId xmlns:a16="http://schemas.microsoft.com/office/drawing/2014/main" id="{4FA6CD59-6252-5105-57FE-B2ED2E4E46A4}"/>
              </a:ext>
            </a:extLst>
          </p:cNvPr>
          <p:cNvGrpSpPr/>
          <p:nvPr/>
        </p:nvGrpSpPr>
        <p:grpSpPr>
          <a:xfrm>
            <a:off x="7212909" y="2719908"/>
            <a:ext cx="612363" cy="56823"/>
            <a:chOff x="0" y="0"/>
            <a:chExt cx="1078484" cy="100076"/>
          </a:xfrm>
        </p:grpSpPr>
        <p:sp>
          <p:nvSpPr>
            <p:cNvPr id="8" name="Freeform 25">
              <a:extLst>
                <a:ext uri="{FF2B5EF4-FFF2-40B4-BE49-F238E27FC236}">
                  <a16:creationId xmlns:a16="http://schemas.microsoft.com/office/drawing/2014/main" id="{18BB430B-1652-D2A9-02BB-C15E871AF531}"/>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en-US" sz="1800" noProof="0"/>
            </a:p>
          </p:txBody>
        </p:sp>
      </p:grpSp>
      <p:pic>
        <p:nvPicPr>
          <p:cNvPr id="4" name="Imagem 3">
            <a:extLst>
              <a:ext uri="{FF2B5EF4-FFF2-40B4-BE49-F238E27FC236}">
                <a16:creationId xmlns:a16="http://schemas.microsoft.com/office/drawing/2014/main" id="{72FFA2D9-1F03-10A3-98BC-B8B4CC6A70E4}"/>
              </a:ext>
            </a:extLst>
          </p:cNvPr>
          <p:cNvPicPr>
            <a:picLocks noChangeAspect="1"/>
          </p:cNvPicPr>
          <p:nvPr/>
        </p:nvPicPr>
        <p:blipFill>
          <a:blip r:embed="rId6"/>
          <a:stretch>
            <a:fillRect/>
          </a:stretch>
        </p:blipFill>
        <p:spPr>
          <a:xfrm>
            <a:off x="1237948" y="234991"/>
            <a:ext cx="2761648" cy="2582844"/>
          </a:xfrm>
          <a:prstGeom prst="rect">
            <a:avLst/>
          </a:prstGeom>
        </p:spPr>
      </p:pic>
    </p:spTree>
    <p:extLst>
      <p:ext uri="{BB962C8B-B14F-4D97-AF65-F5344CB8AC3E}">
        <p14:creationId xmlns:p14="http://schemas.microsoft.com/office/powerpoint/2010/main" val="40778425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29E69D-9700-42AC-F0AC-88B63368703C}"/>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A2A46864-F2FA-E4DF-81F8-5CAAAE90AFD2}"/>
              </a:ext>
            </a:extLst>
          </p:cNvPr>
          <p:cNvSpPr>
            <a:spLocks noGrp="1"/>
          </p:cNvSpPr>
          <p:nvPr>
            <p:ph type="title"/>
          </p:nvPr>
        </p:nvSpPr>
        <p:spPr/>
        <p:txBody>
          <a:bodyPr/>
          <a:lstStyle/>
          <a:p>
            <a:r>
              <a:rPr lang="en-US" sz="4800" noProof="0">
                <a:solidFill>
                  <a:schemeClr val="tx1"/>
                </a:solidFill>
                <a:latin typeface="Montserrat Bold"/>
                <a:cs typeface="Arial"/>
              </a:rPr>
              <a:t>QINTESS SYSTEM MODERNIZATION</a:t>
            </a:r>
            <a:r>
              <a:rPr lang="en-US" sz="4400" noProof="0"/>
              <a:t> </a:t>
            </a:r>
          </a:p>
        </p:txBody>
      </p:sp>
    </p:spTree>
    <p:extLst>
      <p:ext uri="{BB962C8B-B14F-4D97-AF65-F5344CB8AC3E}">
        <p14:creationId xmlns:p14="http://schemas.microsoft.com/office/powerpoint/2010/main" val="32653801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tângulo: Cantos Arredondados 10">
            <a:extLst>
              <a:ext uri="{FF2B5EF4-FFF2-40B4-BE49-F238E27FC236}">
                <a16:creationId xmlns:a16="http://schemas.microsoft.com/office/drawing/2014/main" id="{5A62C11E-2CF7-4ADB-A817-B154E475F600}"/>
              </a:ext>
            </a:extLst>
          </p:cNvPr>
          <p:cNvSpPr/>
          <p:nvPr/>
        </p:nvSpPr>
        <p:spPr>
          <a:xfrm>
            <a:off x="544105" y="1537855"/>
            <a:ext cx="17162004" cy="1294141"/>
          </a:xfrm>
          <a:prstGeom prst="roundRect">
            <a:avLst>
              <a:gd name="adj" fmla="val 6790"/>
            </a:avLst>
          </a:prstGeom>
          <a:solidFill>
            <a:srgbClr val="D98CF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0" name="Título 14">
            <a:extLst>
              <a:ext uri="{FF2B5EF4-FFF2-40B4-BE49-F238E27FC236}">
                <a16:creationId xmlns:a16="http://schemas.microsoft.com/office/drawing/2014/main" id="{9E02C143-4178-4509-BF97-5CD9B0AF1043}"/>
              </a:ext>
            </a:extLst>
          </p:cNvPr>
          <p:cNvSpPr txBox="1">
            <a:spLocks/>
          </p:cNvSpPr>
          <p:nvPr/>
        </p:nvSpPr>
        <p:spPr>
          <a:xfrm>
            <a:off x="859824" y="1585098"/>
            <a:ext cx="16583891" cy="1175956"/>
          </a:xfrm>
          <a:prstGeom prst="rect">
            <a:avLst/>
          </a:prstGeom>
        </p:spPr>
        <p:txBody>
          <a:bodyPr vert="horz" lIns="91440" tIns="45720" rIns="91440" bIns="45720" rtlCol="0" anchor="ctr">
            <a:noAutofit/>
          </a:bodyPr>
          <a:lstStyle>
            <a:lvl1pPr algn="l" defTabSz="1371600" rtl="0" eaLnBrk="1" latinLnBrk="0" hangingPunct="1">
              <a:lnSpc>
                <a:spcPct val="90000"/>
              </a:lnSpc>
              <a:spcBef>
                <a:spcPct val="0"/>
              </a:spcBef>
              <a:buNone/>
              <a:defRPr sz="6600" kern="1200">
                <a:solidFill>
                  <a:schemeClr val="tx1"/>
                </a:solidFill>
                <a:latin typeface="+mj-lt"/>
                <a:ea typeface="+mj-ea"/>
                <a:cs typeface="+mj-cs"/>
              </a:defRPr>
            </a:lvl1pPr>
          </a:lstStyle>
          <a:p>
            <a:pPr algn="just">
              <a:lnSpc>
                <a:spcPts val="3000"/>
              </a:lnSpc>
              <a:buClrTx/>
              <a:defRPr/>
            </a:pPr>
            <a:r>
              <a:rPr lang="en-US" sz="2000" b="1" noProof="0">
                <a:solidFill>
                  <a:srgbClr val="6800FF"/>
                </a:solidFill>
                <a:latin typeface="Montserrat"/>
              </a:rPr>
              <a:t>Digital Transformation </a:t>
            </a:r>
            <a:r>
              <a:rPr lang="en-US" sz="2000" noProof="0">
                <a:solidFill>
                  <a:schemeClr val="bg1"/>
                </a:solidFill>
                <a:latin typeface="Montserrat"/>
              </a:rPr>
              <a:t>is the process of replacing traditional and legacy systems models with digital alternatives that improve performance, response time to market changes and user experience. It's a journey that goes through various aspects of the business and not just technology.</a:t>
            </a:r>
            <a:endParaRPr lang="en-US" sz="2000" b="0" i="0" u="none" strike="noStrike" kern="1200" cap="none" spc="0" normalizeH="0" baseline="0" noProof="0">
              <a:ln>
                <a:noFill/>
              </a:ln>
              <a:solidFill>
                <a:schemeClr val="bg1"/>
              </a:solidFill>
              <a:effectLst/>
              <a:uLnTx/>
              <a:uFillTx/>
              <a:latin typeface="Montserrat" panose="00000500000000000000" pitchFamily="50" charset="0"/>
            </a:endParaRPr>
          </a:p>
        </p:txBody>
      </p:sp>
      <p:cxnSp>
        <p:nvCxnSpPr>
          <p:cNvPr id="16" name="Conector reto 15">
            <a:extLst>
              <a:ext uri="{FF2B5EF4-FFF2-40B4-BE49-F238E27FC236}">
                <a16:creationId xmlns:a16="http://schemas.microsoft.com/office/drawing/2014/main" id="{BA894463-708C-4840-BD5E-A75981647D34}"/>
              </a:ext>
            </a:extLst>
          </p:cNvPr>
          <p:cNvCxnSpPr/>
          <p:nvPr/>
        </p:nvCxnSpPr>
        <p:spPr>
          <a:xfrm>
            <a:off x="581890" y="4004206"/>
            <a:ext cx="17124219" cy="0"/>
          </a:xfrm>
          <a:prstGeom prst="line">
            <a:avLst/>
          </a:prstGeom>
          <a:ln>
            <a:solidFill>
              <a:srgbClr val="7030A0"/>
            </a:solidFill>
            <a:prstDash val="dash"/>
          </a:ln>
        </p:spPr>
        <p:style>
          <a:lnRef idx="1">
            <a:schemeClr val="accent1"/>
          </a:lnRef>
          <a:fillRef idx="0">
            <a:schemeClr val="accent1"/>
          </a:fillRef>
          <a:effectRef idx="0">
            <a:schemeClr val="accent1"/>
          </a:effectRef>
          <a:fontRef idx="minor">
            <a:schemeClr val="tx1"/>
          </a:fontRef>
        </p:style>
      </p:cxnSp>
      <p:sp>
        <p:nvSpPr>
          <p:cNvPr id="41" name="Google Shape;294;g8cff37a39f_0_44">
            <a:extLst>
              <a:ext uri="{FF2B5EF4-FFF2-40B4-BE49-F238E27FC236}">
                <a16:creationId xmlns:a16="http://schemas.microsoft.com/office/drawing/2014/main" id="{EE16DC1E-9D83-467F-B7DD-7810445063C3}"/>
              </a:ext>
            </a:extLst>
          </p:cNvPr>
          <p:cNvSpPr txBox="1">
            <a:spLocks/>
          </p:cNvSpPr>
          <p:nvPr/>
        </p:nvSpPr>
        <p:spPr>
          <a:xfrm>
            <a:off x="500024" y="681359"/>
            <a:ext cx="13924636" cy="748199"/>
          </a:xfrm>
          <a:prstGeom prst="rect">
            <a:avLst/>
          </a:prstGeom>
          <a:noFill/>
          <a:ln>
            <a:noFill/>
          </a:ln>
        </p:spPr>
        <p:txBody>
          <a:bodyPr spcFirstLastPara="1" wrap="square" lIns="182850" tIns="182850" rIns="182850" bIns="18285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1pPr>
            <a:lvl2pPr marR="0" lvl="1"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2pPr>
            <a:lvl3pPr marR="0" lvl="2"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3pPr>
            <a:lvl4pPr marR="0" lvl="3"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4pPr>
            <a:lvl5pPr marR="0" lvl="4"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5pPr>
            <a:lvl6pPr marR="0" lvl="5"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6pPr>
            <a:lvl7pPr marR="0" lvl="6"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7pPr>
            <a:lvl8pPr marR="0" lvl="7"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8pPr>
            <a:lvl9pPr marR="0" lvl="8"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9pPr>
          </a:lstStyle>
          <a:p>
            <a:pPr defTabSz="1371600">
              <a:buClr>
                <a:srgbClr val="FFFFFF"/>
              </a:buClr>
            </a:pPr>
            <a:r>
              <a:rPr lang="en-US" sz="4000" noProof="0">
                <a:solidFill>
                  <a:schemeClr val="bg1"/>
                </a:solidFill>
                <a:latin typeface="Montserrat Bold"/>
                <a:cs typeface="Arial"/>
                <a:sym typeface="Arial"/>
              </a:rPr>
              <a:t>Overcoming Digital Transformation Challenges</a:t>
            </a:r>
          </a:p>
        </p:txBody>
      </p:sp>
      <p:sp>
        <p:nvSpPr>
          <p:cNvPr id="42" name="CaixaDeTexto 41">
            <a:extLst>
              <a:ext uri="{FF2B5EF4-FFF2-40B4-BE49-F238E27FC236}">
                <a16:creationId xmlns:a16="http://schemas.microsoft.com/office/drawing/2014/main" id="{C1E4824F-AD27-43C6-A336-32CED54D1601}"/>
              </a:ext>
            </a:extLst>
          </p:cNvPr>
          <p:cNvSpPr txBox="1"/>
          <p:nvPr/>
        </p:nvSpPr>
        <p:spPr>
          <a:xfrm>
            <a:off x="4947330" y="4662797"/>
            <a:ext cx="4092755" cy="1143133"/>
          </a:xfrm>
          <a:prstGeom prst="rect">
            <a:avLst/>
          </a:prstGeom>
          <a:noFill/>
        </p:spPr>
        <p:txBody>
          <a:bodyPr wrap="square" rtlCol="0">
            <a:spAutoFit/>
          </a:bodyPr>
          <a:lstStyle/>
          <a:p>
            <a:pPr>
              <a:lnSpc>
                <a:spcPts val="2800"/>
              </a:lnSpc>
            </a:pPr>
            <a:r>
              <a:rPr lang="en-US" sz="2000" b="1" noProof="0">
                <a:solidFill>
                  <a:srgbClr val="6816FF"/>
                </a:solidFill>
                <a:latin typeface="Montserrat" panose="00000500000000000000" pitchFamily="50" charset="0"/>
              </a:rPr>
              <a:t>Documenting legacy systems manually is not feasible</a:t>
            </a:r>
          </a:p>
        </p:txBody>
      </p:sp>
      <p:sp>
        <p:nvSpPr>
          <p:cNvPr id="43" name="CaixaDeTexto 42">
            <a:extLst>
              <a:ext uri="{FF2B5EF4-FFF2-40B4-BE49-F238E27FC236}">
                <a16:creationId xmlns:a16="http://schemas.microsoft.com/office/drawing/2014/main" id="{8E520738-A029-478E-93BB-F0BF42A6BA8B}"/>
              </a:ext>
            </a:extLst>
          </p:cNvPr>
          <p:cNvSpPr txBox="1"/>
          <p:nvPr/>
        </p:nvSpPr>
        <p:spPr>
          <a:xfrm>
            <a:off x="4947330" y="5579010"/>
            <a:ext cx="3822881" cy="2746265"/>
          </a:xfrm>
          <a:prstGeom prst="rect">
            <a:avLst/>
          </a:prstGeom>
          <a:noFill/>
        </p:spPr>
        <p:txBody>
          <a:bodyPr wrap="square" rtlCol="0">
            <a:spAutoFit/>
          </a:bodyPr>
          <a:lstStyle/>
          <a:p>
            <a:pPr>
              <a:lnSpc>
                <a:spcPts val="3000"/>
              </a:lnSpc>
              <a:spcAft>
                <a:spcPts val="1200"/>
              </a:spcAft>
              <a:buClr>
                <a:srgbClr val="6800FF"/>
              </a:buClr>
            </a:pPr>
            <a:r>
              <a:rPr lang="en-US" sz="1800" noProof="0">
                <a:solidFill>
                  <a:schemeClr val="bg1"/>
                </a:solidFill>
                <a:latin typeface="Montserrat" panose="00000500000000000000" pitchFamily="50" charset="0"/>
              </a:rPr>
              <a:t>Manually documenting legacy systems, seeking to understand the system architecture, data, APIs, business rules and other components is not feasible and will take up precious time in the transformation journey.</a:t>
            </a:r>
          </a:p>
        </p:txBody>
      </p:sp>
      <p:sp>
        <p:nvSpPr>
          <p:cNvPr id="44" name="CaixaDeTexto 43">
            <a:extLst>
              <a:ext uri="{FF2B5EF4-FFF2-40B4-BE49-F238E27FC236}">
                <a16:creationId xmlns:a16="http://schemas.microsoft.com/office/drawing/2014/main" id="{92574F0A-CC6E-4A40-AB58-5E1530DD8654}"/>
              </a:ext>
            </a:extLst>
          </p:cNvPr>
          <p:cNvSpPr txBox="1"/>
          <p:nvPr/>
        </p:nvSpPr>
        <p:spPr>
          <a:xfrm>
            <a:off x="9477760" y="4652190"/>
            <a:ext cx="4092755" cy="784061"/>
          </a:xfrm>
          <a:prstGeom prst="rect">
            <a:avLst/>
          </a:prstGeom>
          <a:noFill/>
        </p:spPr>
        <p:txBody>
          <a:bodyPr wrap="square" lIns="91440" tIns="45720" rIns="91440" bIns="45720" rtlCol="0" anchor="t">
            <a:spAutoFit/>
          </a:bodyPr>
          <a:lstStyle/>
          <a:p>
            <a:pPr>
              <a:lnSpc>
                <a:spcPts val="2800"/>
              </a:lnSpc>
            </a:pPr>
            <a:r>
              <a:rPr lang="en-US" sz="2000" b="1" noProof="0">
                <a:solidFill>
                  <a:srgbClr val="6816FF"/>
                </a:solidFill>
                <a:latin typeface="Montserrat"/>
              </a:rPr>
              <a:t>Business knowledge is in the legacy system</a:t>
            </a:r>
          </a:p>
        </p:txBody>
      </p:sp>
      <p:sp>
        <p:nvSpPr>
          <p:cNvPr id="45" name="CaixaDeTexto 44">
            <a:extLst>
              <a:ext uri="{FF2B5EF4-FFF2-40B4-BE49-F238E27FC236}">
                <a16:creationId xmlns:a16="http://schemas.microsoft.com/office/drawing/2014/main" id="{E3403660-A3BA-45DA-BFD3-C325BC58B78A}"/>
              </a:ext>
            </a:extLst>
          </p:cNvPr>
          <p:cNvSpPr txBox="1"/>
          <p:nvPr/>
        </p:nvSpPr>
        <p:spPr>
          <a:xfrm>
            <a:off x="9477760" y="5662866"/>
            <a:ext cx="3822881" cy="3900427"/>
          </a:xfrm>
          <a:prstGeom prst="rect">
            <a:avLst/>
          </a:prstGeom>
          <a:noFill/>
        </p:spPr>
        <p:txBody>
          <a:bodyPr wrap="square" rtlCol="0">
            <a:spAutoFit/>
          </a:bodyPr>
          <a:lstStyle/>
          <a:p>
            <a:pPr>
              <a:lnSpc>
                <a:spcPts val="3000"/>
              </a:lnSpc>
              <a:spcAft>
                <a:spcPts val="1200"/>
              </a:spcAft>
              <a:buClr>
                <a:srgbClr val="6800FF"/>
              </a:buClr>
            </a:pPr>
            <a:r>
              <a:rPr lang="en-US" sz="1800" noProof="0">
                <a:solidFill>
                  <a:schemeClr val="bg1"/>
                </a:solidFill>
                <a:latin typeface="Montserrat" panose="00000500000000000000" pitchFamily="50" charset="0"/>
              </a:rPr>
              <a:t>Most business rules are within the legacy system and not properly documented in a standardized way outside the code. It is common that the functionality history has been lost over time, that is, only the legacy system keeps the information of what is being done.</a:t>
            </a:r>
          </a:p>
        </p:txBody>
      </p:sp>
      <p:sp>
        <p:nvSpPr>
          <p:cNvPr id="46" name="CaixaDeTexto 45">
            <a:extLst>
              <a:ext uri="{FF2B5EF4-FFF2-40B4-BE49-F238E27FC236}">
                <a16:creationId xmlns:a16="http://schemas.microsoft.com/office/drawing/2014/main" id="{D4D9006B-ED56-4BFF-AA16-6613DCE9E753}"/>
              </a:ext>
            </a:extLst>
          </p:cNvPr>
          <p:cNvSpPr txBox="1"/>
          <p:nvPr/>
        </p:nvSpPr>
        <p:spPr>
          <a:xfrm>
            <a:off x="13883503" y="4652190"/>
            <a:ext cx="4092755" cy="784061"/>
          </a:xfrm>
          <a:prstGeom prst="rect">
            <a:avLst/>
          </a:prstGeom>
          <a:noFill/>
        </p:spPr>
        <p:txBody>
          <a:bodyPr wrap="square" lIns="91440" tIns="45720" rIns="91440" bIns="45720" rtlCol="0" anchor="t">
            <a:spAutoFit/>
          </a:bodyPr>
          <a:lstStyle/>
          <a:p>
            <a:pPr>
              <a:lnSpc>
                <a:spcPts val="2800"/>
              </a:lnSpc>
            </a:pPr>
            <a:r>
              <a:rPr lang="en-US" sz="2000" b="1" noProof="0">
                <a:solidFill>
                  <a:srgbClr val="6816FF"/>
                </a:solidFill>
                <a:latin typeface="Montserrat"/>
              </a:rPr>
              <a:t>No current scenario, no safe journey</a:t>
            </a:r>
          </a:p>
        </p:txBody>
      </p:sp>
      <p:sp>
        <p:nvSpPr>
          <p:cNvPr id="47" name="CaixaDeTexto 46">
            <a:extLst>
              <a:ext uri="{FF2B5EF4-FFF2-40B4-BE49-F238E27FC236}">
                <a16:creationId xmlns:a16="http://schemas.microsoft.com/office/drawing/2014/main" id="{DC6BF765-F303-4AE1-B9E8-0C31DF91EA69}"/>
              </a:ext>
            </a:extLst>
          </p:cNvPr>
          <p:cNvSpPr txBox="1"/>
          <p:nvPr/>
        </p:nvSpPr>
        <p:spPr>
          <a:xfrm>
            <a:off x="13883503" y="5662866"/>
            <a:ext cx="3822881" cy="2746265"/>
          </a:xfrm>
          <a:prstGeom prst="rect">
            <a:avLst/>
          </a:prstGeom>
          <a:noFill/>
        </p:spPr>
        <p:txBody>
          <a:bodyPr wrap="square" rtlCol="0">
            <a:spAutoFit/>
          </a:bodyPr>
          <a:lstStyle/>
          <a:p>
            <a:pPr>
              <a:lnSpc>
                <a:spcPts val="3000"/>
              </a:lnSpc>
              <a:spcAft>
                <a:spcPts val="1200"/>
              </a:spcAft>
              <a:buClr>
                <a:srgbClr val="6800FF"/>
              </a:buClr>
            </a:pPr>
            <a:r>
              <a:rPr lang="en-US" sz="1800" noProof="0">
                <a:solidFill>
                  <a:schemeClr val="bg1"/>
                </a:solidFill>
                <a:latin typeface="Montserrat" panose="00000500000000000000" pitchFamily="50" charset="0"/>
              </a:rPr>
              <a:t>It is not possible to define a safe, gradual and agile digital transformation journey without understanding the legacy architecture, how it uses the digital mesh, what business problems are solved and how.</a:t>
            </a:r>
          </a:p>
        </p:txBody>
      </p:sp>
      <p:sp>
        <p:nvSpPr>
          <p:cNvPr id="48" name="CaixaDeTexto 47">
            <a:extLst>
              <a:ext uri="{FF2B5EF4-FFF2-40B4-BE49-F238E27FC236}">
                <a16:creationId xmlns:a16="http://schemas.microsoft.com/office/drawing/2014/main" id="{6010DCE9-903B-4089-9A58-A53009AEFA5C}"/>
              </a:ext>
            </a:extLst>
          </p:cNvPr>
          <p:cNvSpPr txBox="1"/>
          <p:nvPr/>
        </p:nvSpPr>
        <p:spPr>
          <a:xfrm>
            <a:off x="500024" y="4652190"/>
            <a:ext cx="4092755" cy="784061"/>
          </a:xfrm>
          <a:prstGeom prst="rect">
            <a:avLst/>
          </a:prstGeom>
          <a:noFill/>
        </p:spPr>
        <p:txBody>
          <a:bodyPr wrap="square" lIns="91440" tIns="45720" rIns="91440" bIns="45720" rtlCol="0" anchor="t">
            <a:spAutoFit/>
          </a:bodyPr>
          <a:lstStyle/>
          <a:p>
            <a:pPr>
              <a:lnSpc>
                <a:spcPts val="2800"/>
              </a:lnSpc>
            </a:pPr>
            <a:r>
              <a:rPr lang="en-US" sz="2000" b="1" noProof="0">
                <a:solidFill>
                  <a:srgbClr val="6816FF"/>
                </a:solidFill>
                <a:latin typeface="Montserrat"/>
              </a:rPr>
              <a:t>It is not possible to change what you do not know.</a:t>
            </a:r>
          </a:p>
        </p:txBody>
      </p:sp>
      <p:sp>
        <p:nvSpPr>
          <p:cNvPr id="49" name="CaixaDeTexto 48">
            <a:extLst>
              <a:ext uri="{FF2B5EF4-FFF2-40B4-BE49-F238E27FC236}">
                <a16:creationId xmlns:a16="http://schemas.microsoft.com/office/drawing/2014/main" id="{F77A604D-A350-4286-9F66-1212E1BFB6F1}"/>
              </a:ext>
            </a:extLst>
          </p:cNvPr>
          <p:cNvSpPr txBox="1"/>
          <p:nvPr/>
        </p:nvSpPr>
        <p:spPr>
          <a:xfrm>
            <a:off x="537809" y="5662866"/>
            <a:ext cx="3822881" cy="3284874"/>
          </a:xfrm>
          <a:prstGeom prst="rect">
            <a:avLst/>
          </a:prstGeom>
          <a:noFill/>
        </p:spPr>
        <p:txBody>
          <a:bodyPr wrap="square" rtlCol="0">
            <a:spAutoFit/>
          </a:bodyPr>
          <a:lstStyle/>
          <a:p>
            <a:pPr>
              <a:lnSpc>
                <a:spcPts val="3000"/>
              </a:lnSpc>
              <a:spcAft>
                <a:spcPts val="1200"/>
              </a:spcAft>
              <a:buClr>
                <a:srgbClr val="6800FF"/>
              </a:buClr>
            </a:pPr>
            <a:r>
              <a:rPr lang="en-US" sz="1800" noProof="0">
                <a:solidFill>
                  <a:schemeClr val="bg1"/>
                </a:solidFill>
                <a:latin typeface="Montserrat" panose="00000500000000000000" pitchFamily="50" charset="0"/>
              </a:rPr>
              <a:t>Legacy systems took years to be developed or customized and their documentation, throughout their life cycle, is not properly updated.</a:t>
            </a:r>
          </a:p>
          <a:p>
            <a:pPr>
              <a:lnSpc>
                <a:spcPts val="3000"/>
              </a:lnSpc>
              <a:spcAft>
                <a:spcPts val="1200"/>
              </a:spcAft>
              <a:buClr>
                <a:srgbClr val="6800FF"/>
              </a:buClr>
            </a:pPr>
            <a:r>
              <a:rPr lang="en-US" sz="1800" noProof="0">
                <a:solidFill>
                  <a:schemeClr val="bg1"/>
                </a:solidFill>
                <a:latin typeface="Montserrat" panose="00000500000000000000" pitchFamily="50" charset="0"/>
              </a:rPr>
              <a:t>Without deep and detailed knowledge, it is not possible to start a modernization process.</a:t>
            </a:r>
          </a:p>
        </p:txBody>
      </p:sp>
      <p:sp>
        <p:nvSpPr>
          <p:cNvPr id="2" name="TextBox 1">
            <a:extLst>
              <a:ext uri="{FF2B5EF4-FFF2-40B4-BE49-F238E27FC236}">
                <a16:creationId xmlns:a16="http://schemas.microsoft.com/office/drawing/2014/main" id="{0E1D09D2-222E-BE69-0096-368C3A05E681}"/>
              </a:ext>
            </a:extLst>
          </p:cNvPr>
          <p:cNvSpPr txBox="1"/>
          <p:nvPr/>
        </p:nvSpPr>
        <p:spPr>
          <a:xfrm>
            <a:off x="6742756" y="3696330"/>
            <a:ext cx="3820075" cy="707886"/>
          </a:xfrm>
          <a:prstGeom prst="rect">
            <a:avLst/>
          </a:prstGeom>
          <a:no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2000" b="1" i="1" noProof="0">
                <a:solidFill>
                  <a:schemeClr val="tx1"/>
                </a:solidFill>
                <a:highlight>
                  <a:srgbClr val="6800FF"/>
                </a:highlight>
                <a:latin typeface="Montserrat"/>
              </a:rPr>
              <a:t> THE PROBLEMS WE SOLVE </a:t>
            </a:r>
            <a:endParaRPr lang="en-US" sz="2000" noProof="0">
              <a:solidFill>
                <a:schemeClr val="tx1"/>
              </a:solidFill>
              <a:highlight>
                <a:srgbClr val="6800FF"/>
              </a:highlight>
              <a:latin typeface="Montserrat"/>
            </a:endParaRPr>
          </a:p>
        </p:txBody>
      </p:sp>
      <p:grpSp>
        <p:nvGrpSpPr>
          <p:cNvPr id="5" name="Group 24">
            <a:extLst>
              <a:ext uri="{FF2B5EF4-FFF2-40B4-BE49-F238E27FC236}">
                <a16:creationId xmlns:a16="http://schemas.microsoft.com/office/drawing/2014/main" id="{EE3916BB-54DB-6254-1FF8-0F088FF0FCBD}"/>
              </a:ext>
            </a:extLst>
          </p:cNvPr>
          <p:cNvGrpSpPr/>
          <p:nvPr/>
        </p:nvGrpSpPr>
        <p:grpSpPr>
          <a:xfrm>
            <a:off x="13304086" y="1287541"/>
            <a:ext cx="612363" cy="56823"/>
            <a:chOff x="0" y="0"/>
            <a:chExt cx="1078484" cy="100076"/>
          </a:xfrm>
        </p:grpSpPr>
        <p:sp>
          <p:nvSpPr>
            <p:cNvPr id="4" name="Freeform 25">
              <a:extLst>
                <a:ext uri="{FF2B5EF4-FFF2-40B4-BE49-F238E27FC236}">
                  <a16:creationId xmlns:a16="http://schemas.microsoft.com/office/drawing/2014/main" id="{B2213DF7-D177-D0CB-AC3F-DE6242EDC46C}"/>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en-US" sz="1800" noProof="0"/>
            </a:p>
          </p:txBody>
        </p:sp>
      </p:grpSp>
    </p:spTree>
    <p:extLst>
      <p:ext uri="{BB962C8B-B14F-4D97-AF65-F5344CB8AC3E}">
        <p14:creationId xmlns:p14="http://schemas.microsoft.com/office/powerpoint/2010/main" val="19325761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Diagrama 33">
            <a:extLst>
              <a:ext uri="{FF2B5EF4-FFF2-40B4-BE49-F238E27FC236}">
                <a16:creationId xmlns:a16="http://schemas.microsoft.com/office/drawing/2014/main" id="{E83D70BD-C3F9-4F28-98A3-D146D0492F9B}"/>
              </a:ext>
            </a:extLst>
          </p:cNvPr>
          <p:cNvGraphicFramePr/>
          <p:nvPr>
            <p:extLst>
              <p:ext uri="{D42A27DB-BD31-4B8C-83A1-F6EECF244321}">
                <p14:modId xmlns:p14="http://schemas.microsoft.com/office/powerpoint/2010/main" val="2616167207"/>
              </p:ext>
            </p:extLst>
          </p:nvPr>
        </p:nvGraphicFramePr>
        <p:xfrm>
          <a:off x="7326711" y="1308219"/>
          <a:ext cx="10760326" cy="799223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Elipse 9">
            <a:extLst>
              <a:ext uri="{FF2B5EF4-FFF2-40B4-BE49-F238E27FC236}">
                <a16:creationId xmlns:a16="http://schemas.microsoft.com/office/drawing/2014/main" id="{CE8DB963-4B2D-47E8-8D72-55D396655CED}"/>
              </a:ext>
            </a:extLst>
          </p:cNvPr>
          <p:cNvSpPr/>
          <p:nvPr/>
        </p:nvSpPr>
        <p:spPr>
          <a:xfrm>
            <a:off x="11563215" y="3961064"/>
            <a:ext cx="2706021" cy="2608521"/>
          </a:xfrm>
          <a:prstGeom prst="ellipse">
            <a:avLst/>
          </a:prstGeom>
          <a:solidFill>
            <a:srgbClr val="6800FF"/>
          </a:solidFill>
          <a:ln>
            <a:noFill/>
          </a:ln>
          <a:effectLst>
            <a:outerShdw blurRad="50800" dist="38100" dir="5400000" sx="91000" sy="91000" algn="t" rotWithShape="0">
              <a:srgbClr val="6800FF">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8" name="Retângulo 7">
            <a:extLst>
              <a:ext uri="{FF2B5EF4-FFF2-40B4-BE49-F238E27FC236}">
                <a16:creationId xmlns:a16="http://schemas.microsoft.com/office/drawing/2014/main" id="{8DB619D6-3D40-40E8-8C27-741B949E09D6}"/>
              </a:ext>
            </a:extLst>
          </p:cNvPr>
          <p:cNvSpPr/>
          <p:nvPr/>
        </p:nvSpPr>
        <p:spPr>
          <a:xfrm>
            <a:off x="680092" y="1893623"/>
            <a:ext cx="6200132" cy="2119423"/>
          </a:xfrm>
          <a:prstGeom prst="rect">
            <a:avLst/>
          </a:prstGeom>
          <a:solidFill>
            <a:srgbClr val="68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1" name="Título 14">
            <a:extLst>
              <a:ext uri="{FF2B5EF4-FFF2-40B4-BE49-F238E27FC236}">
                <a16:creationId xmlns:a16="http://schemas.microsoft.com/office/drawing/2014/main" id="{338B32BB-079C-46F3-967D-3014FBCA0551}"/>
              </a:ext>
            </a:extLst>
          </p:cNvPr>
          <p:cNvSpPr txBox="1">
            <a:spLocks/>
          </p:cNvSpPr>
          <p:nvPr/>
        </p:nvSpPr>
        <p:spPr>
          <a:xfrm>
            <a:off x="902579" y="2483598"/>
            <a:ext cx="5726308" cy="908567"/>
          </a:xfrm>
          <a:prstGeom prst="rect">
            <a:avLst/>
          </a:prstGeom>
        </p:spPr>
        <p:txBody>
          <a:bodyPr vert="horz" lIns="91440" tIns="45720" rIns="91440" bIns="45720" rtlCol="0" anchor="ctr">
            <a:noAutofit/>
          </a:bodyPr>
          <a:lstStyle>
            <a:lvl1pPr algn="l" defTabSz="1371600" rtl="0" eaLnBrk="1" latinLnBrk="0" hangingPunct="1">
              <a:lnSpc>
                <a:spcPct val="90000"/>
              </a:lnSpc>
              <a:spcBef>
                <a:spcPct val="0"/>
              </a:spcBef>
              <a:buNone/>
              <a:defRPr sz="6600" kern="1200">
                <a:solidFill>
                  <a:schemeClr val="tx1"/>
                </a:solidFill>
                <a:latin typeface="+mj-lt"/>
                <a:ea typeface="+mj-ea"/>
                <a:cs typeface="+mj-cs"/>
              </a:defRPr>
            </a:lvl1pPr>
          </a:lstStyle>
          <a:p>
            <a:pPr marL="0" marR="0" lvl="0" indent="0" defTabSz="1371600" rtl="0" eaLnBrk="1" fontAlgn="auto" latinLnBrk="0" hangingPunct="1">
              <a:lnSpc>
                <a:spcPts val="6400"/>
              </a:lnSpc>
              <a:spcBef>
                <a:spcPct val="0"/>
              </a:spcBef>
              <a:spcAft>
                <a:spcPts val="0"/>
              </a:spcAft>
              <a:buClrTx/>
              <a:buSzTx/>
              <a:buFontTx/>
              <a:buNone/>
              <a:tabLst/>
              <a:defRPr/>
            </a:pPr>
            <a:r>
              <a:rPr lang="en-US" sz="4000" b="1" noProof="0">
                <a:latin typeface="Montserrat Bold"/>
                <a:cs typeface="Arial"/>
                <a:sym typeface="Montserrat"/>
              </a:rPr>
              <a:t>QINTESS SYSTEMS MODERNIZATION</a:t>
            </a:r>
          </a:p>
        </p:txBody>
      </p:sp>
      <p:sp>
        <p:nvSpPr>
          <p:cNvPr id="32" name="Título 14">
            <a:extLst>
              <a:ext uri="{FF2B5EF4-FFF2-40B4-BE49-F238E27FC236}">
                <a16:creationId xmlns:a16="http://schemas.microsoft.com/office/drawing/2014/main" id="{BC2B3306-E1FE-4E90-87F8-15964AE19FAA}"/>
              </a:ext>
            </a:extLst>
          </p:cNvPr>
          <p:cNvSpPr txBox="1">
            <a:spLocks/>
          </p:cNvSpPr>
          <p:nvPr/>
        </p:nvSpPr>
        <p:spPr>
          <a:xfrm>
            <a:off x="1020127" y="4130912"/>
            <a:ext cx="5501533" cy="4264889"/>
          </a:xfrm>
          <a:prstGeom prst="rect">
            <a:avLst/>
          </a:prstGeom>
        </p:spPr>
        <p:txBody>
          <a:bodyPr vert="horz" lIns="91440" tIns="45720" rIns="91440" bIns="45720" rtlCol="0" anchor="ctr">
            <a:noAutofit/>
          </a:bodyPr>
          <a:lstStyle>
            <a:lvl1pPr algn="l" defTabSz="1371600" rtl="0" eaLnBrk="1" latinLnBrk="0" hangingPunct="1">
              <a:lnSpc>
                <a:spcPct val="90000"/>
              </a:lnSpc>
              <a:spcBef>
                <a:spcPct val="0"/>
              </a:spcBef>
              <a:buNone/>
              <a:defRPr sz="6600" kern="1200">
                <a:solidFill>
                  <a:schemeClr val="tx1"/>
                </a:solidFill>
                <a:latin typeface="+mj-lt"/>
                <a:ea typeface="+mj-ea"/>
                <a:cs typeface="+mj-cs"/>
              </a:defRPr>
            </a:lvl1pPr>
          </a:lstStyle>
          <a:p>
            <a:pPr lvl="0">
              <a:lnSpc>
                <a:spcPts val="4000"/>
              </a:lnSpc>
              <a:buClrTx/>
              <a:defRPr/>
            </a:pPr>
            <a:r>
              <a:rPr lang="en-US" sz="2000" noProof="0">
                <a:solidFill>
                  <a:schemeClr val="bg2"/>
                </a:solidFill>
                <a:latin typeface="Montserrat"/>
              </a:rPr>
              <a:t>It is an innovative and unprecedented approach developed together with Platform that allows the creation of an integrated, gradual and agile Digital Transformation journey through the understanding of the current moment, the modernization of the digital fabric and the digitization of business processes.</a:t>
            </a:r>
            <a:endParaRPr kumimoji="0" lang="en-US" sz="2000" b="0" i="0" u="none" strike="noStrike" kern="1200" cap="none" spc="0" normalizeH="0" baseline="0" noProof="0">
              <a:ln>
                <a:noFill/>
              </a:ln>
              <a:solidFill>
                <a:schemeClr val="bg2"/>
              </a:solidFill>
              <a:effectLst/>
              <a:uLnTx/>
              <a:uFillTx/>
              <a:latin typeface="Montserrat"/>
            </a:endParaRPr>
          </a:p>
        </p:txBody>
      </p:sp>
      <p:sp>
        <p:nvSpPr>
          <p:cNvPr id="33" name="Google Shape;294;g8cff37a39f_0_44">
            <a:extLst>
              <a:ext uri="{FF2B5EF4-FFF2-40B4-BE49-F238E27FC236}">
                <a16:creationId xmlns:a16="http://schemas.microsoft.com/office/drawing/2014/main" id="{002B2DB6-2A17-4771-98D9-1AD2B78071A1}"/>
              </a:ext>
            </a:extLst>
          </p:cNvPr>
          <p:cNvSpPr txBox="1">
            <a:spLocks/>
          </p:cNvSpPr>
          <p:nvPr/>
        </p:nvSpPr>
        <p:spPr>
          <a:xfrm>
            <a:off x="457494" y="673962"/>
            <a:ext cx="16035376" cy="748199"/>
          </a:xfrm>
          <a:prstGeom prst="rect">
            <a:avLst/>
          </a:prstGeom>
          <a:noFill/>
          <a:ln>
            <a:noFill/>
          </a:ln>
        </p:spPr>
        <p:txBody>
          <a:bodyPr spcFirstLastPara="1" wrap="square" lIns="182850" tIns="182850" rIns="182850" bIns="18285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1pPr>
            <a:lvl2pPr marR="0" lvl="1"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2pPr>
            <a:lvl3pPr marR="0" lvl="2"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3pPr>
            <a:lvl4pPr marR="0" lvl="3"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4pPr>
            <a:lvl5pPr marR="0" lvl="4"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5pPr>
            <a:lvl6pPr marR="0" lvl="5"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6pPr>
            <a:lvl7pPr marR="0" lvl="6"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7pPr>
            <a:lvl8pPr marR="0" lvl="7"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8pPr>
            <a:lvl9pPr marR="0" lvl="8"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9pPr>
          </a:lstStyle>
          <a:p>
            <a:pPr defTabSz="1371600">
              <a:buClr>
                <a:srgbClr val="FFFFFF"/>
              </a:buClr>
            </a:pPr>
            <a:r>
              <a:rPr lang="en-US" sz="4000" i="1" noProof="0">
                <a:solidFill>
                  <a:schemeClr val="bg2"/>
                </a:solidFill>
              </a:rPr>
              <a:t>What we do</a:t>
            </a:r>
          </a:p>
        </p:txBody>
      </p:sp>
      <p:sp>
        <p:nvSpPr>
          <p:cNvPr id="7" name="CaixaDeTexto 6">
            <a:extLst>
              <a:ext uri="{FF2B5EF4-FFF2-40B4-BE49-F238E27FC236}">
                <a16:creationId xmlns:a16="http://schemas.microsoft.com/office/drawing/2014/main" id="{54F0003F-8971-4838-BDDE-3990D389DC00}"/>
              </a:ext>
            </a:extLst>
          </p:cNvPr>
          <p:cNvSpPr txBox="1"/>
          <p:nvPr/>
        </p:nvSpPr>
        <p:spPr>
          <a:xfrm>
            <a:off x="11640762" y="4893027"/>
            <a:ext cx="2635658" cy="830997"/>
          </a:xfrm>
          <a:prstGeom prst="rect">
            <a:avLst/>
          </a:prstGeom>
          <a:noFill/>
        </p:spPr>
        <p:txBody>
          <a:bodyPr wrap="none" lIns="91440" tIns="45720" rIns="91440" bIns="45720" rtlCol="0" anchor="t">
            <a:spAutoFit/>
          </a:bodyPr>
          <a:lstStyle/>
          <a:p>
            <a:pPr>
              <a:spcAft>
                <a:spcPts val="1200"/>
              </a:spcAft>
            </a:pPr>
            <a:r>
              <a:rPr lang="en-US" sz="2400" noProof="0">
                <a:solidFill>
                  <a:schemeClr val="tx1"/>
                </a:solidFill>
                <a:latin typeface="Montserrat Bold"/>
              </a:rPr>
              <a:t>QINTESS AGILE</a:t>
            </a:r>
          </a:p>
          <a:p>
            <a:pPr algn="ctr">
              <a:spcAft>
                <a:spcPts val="1200"/>
              </a:spcAft>
            </a:pPr>
            <a:r>
              <a:rPr kumimoji="0" lang="en-US" b="0" i="0" u="none" strike="noStrike" kern="0" cap="none" spc="0" normalizeH="0" baseline="0" noProof="0">
                <a:ln>
                  <a:noFill/>
                </a:ln>
                <a:solidFill>
                  <a:schemeClr val="tx1"/>
                </a:solidFill>
                <a:effectLst/>
                <a:uLnTx/>
                <a:uFillTx/>
                <a:latin typeface="Montserrat Light"/>
                <a:cs typeface="Arial"/>
                <a:sym typeface="Arial"/>
              </a:rPr>
              <a:t>PLATFORM &amp; ENGINE</a:t>
            </a:r>
            <a:endParaRPr lang="en-US" b="0" i="0" u="none" strike="noStrike" kern="0" cap="none" spc="0" normalizeH="0" baseline="0" noProof="0">
              <a:ln>
                <a:noFill/>
              </a:ln>
              <a:solidFill>
                <a:schemeClr val="tx1"/>
              </a:solidFill>
              <a:effectLst/>
              <a:uLnTx/>
              <a:uFillTx/>
              <a:latin typeface="Montserrat Light"/>
              <a:cs typeface="Arial"/>
            </a:endParaRPr>
          </a:p>
        </p:txBody>
      </p:sp>
      <p:cxnSp>
        <p:nvCxnSpPr>
          <p:cNvPr id="12" name="Conector reto 11">
            <a:extLst>
              <a:ext uri="{FF2B5EF4-FFF2-40B4-BE49-F238E27FC236}">
                <a16:creationId xmlns:a16="http://schemas.microsoft.com/office/drawing/2014/main" id="{0A7BD878-E241-45F4-B610-38B569291291}"/>
              </a:ext>
            </a:extLst>
          </p:cNvPr>
          <p:cNvCxnSpPr/>
          <p:nvPr/>
        </p:nvCxnSpPr>
        <p:spPr>
          <a:xfrm>
            <a:off x="680092" y="1893623"/>
            <a:ext cx="0" cy="7299996"/>
          </a:xfrm>
          <a:prstGeom prst="line">
            <a:avLst/>
          </a:prstGeom>
          <a:ln>
            <a:solidFill>
              <a:srgbClr val="6800FF"/>
            </a:solidFill>
          </a:ln>
        </p:spPr>
        <p:style>
          <a:lnRef idx="1">
            <a:schemeClr val="accent1"/>
          </a:lnRef>
          <a:fillRef idx="0">
            <a:schemeClr val="accent1"/>
          </a:fillRef>
          <a:effectRef idx="0">
            <a:schemeClr val="accent1"/>
          </a:effectRef>
          <a:fontRef idx="minor">
            <a:schemeClr val="tx1"/>
          </a:fontRef>
        </p:style>
      </p:cxnSp>
      <p:sp>
        <p:nvSpPr>
          <p:cNvPr id="419" name="Rectangle: Rounded Corners 418">
            <a:extLst>
              <a:ext uri="{FF2B5EF4-FFF2-40B4-BE49-F238E27FC236}">
                <a16:creationId xmlns:a16="http://schemas.microsoft.com/office/drawing/2014/main" id="{7CD85726-BF2C-A779-437E-2F72EBEF82E2}"/>
              </a:ext>
            </a:extLst>
          </p:cNvPr>
          <p:cNvSpPr/>
          <p:nvPr/>
        </p:nvSpPr>
        <p:spPr>
          <a:xfrm>
            <a:off x="8749274" y="2964112"/>
            <a:ext cx="2217986" cy="1433945"/>
          </a:xfrm>
          <a:prstGeom prst="roundRect">
            <a:avLst/>
          </a:prstGeom>
          <a:solidFill>
            <a:srgbClr val="6800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noProof="0">
                <a:solidFill>
                  <a:srgbClr val="FFFFFF"/>
                </a:solidFill>
                <a:latin typeface="Montserrat Medium"/>
                <a:ea typeface="Calibri"/>
                <a:cs typeface="Calibri"/>
              </a:rPr>
              <a:t>6 - Activation of the Support Service from the first delivery.</a:t>
            </a:r>
          </a:p>
        </p:txBody>
      </p:sp>
      <p:sp>
        <p:nvSpPr>
          <p:cNvPr id="420" name="Rectangle: Rounded Corners 419">
            <a:extLst>
              <a:ext uri="{FF2B5EF4-FFF2-40B4-BE49-F238E27FC236}">
                <a16:creationId xmlns:a16="http://schemas.microsoft.com/office/drawing/2014/main" id="{7ED1848B-4C64-9F09-F2CA-6349DA8061E4}"/>
              </a:ext>
            </a:extLst>
          </p:cNvPr>
          <p:cNvSpPr/>
          <p:nvPr/>
        </p:nvSpPr>
        <p:spPr>
          <a:xfrm>
            <a:off x="11592604" y="1311012"/>
            <a:ext cx="2217986" cy="1424499"/>
          </a:xfrm>
          <a:prstGeom prst="roundRect">
            <a:avLst/>
          </a:prstGeom>
          <a:solidFill>
            <a:srgbClr val="6800FF"/>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noProof="0">
                <a:solidFill>
                  <a:srgbClr val="FFFFFF"/>
                </a:solidFill>
                <a:latin typeface="Montserrat Medium"/>
                <a:ea typeface="Calibri"/>
                <a:cs typeface="Calibri"/>
              </a:rPr>
              <a:t>1 – Digital transformation clear objective definition.</a:t>
            </a:r>
          </a:p>
        </p:txBody>
      </p:sp>
      <p:sp>
        <p:nvSpPr>
          <p:cNvPr id="421" name="Rectangle: Rounded Corners 420">
            <a:extLst>
              <a:ext uri="{FF2B5EF4-FFF2-40B4-BE49-F238E27FC236}">
                <a16:creationId xmlns:a16="http://schemas.microsoft.com/office/drawing/2014/main" id="{A9C912DC-F438-35F1-840B-A3054DB61B94}"/>
              </a:ext>
            </a:extLst>
          </p:cNvPr>
          <p:cNvSpPr/>
          <p:nvPr/>
        </p:nvSpPr>
        <p:spPr>
          <a:xfrm>
            <a:off x="14435934" y="2964111"/>
            <a:ext cx="2217986" cy="1424499"/>
          </a:xfrm>
          <a:prstGeom prst="roundRect">
            <a:avLst/>
          </a:prstGeom>
          <a:solidFill>
            <a:srgbClr val="6800FF"/>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noProof="0">
                <a:solidFill>
                  <a:srgbClr val="FFFFFF"/>
                </a:solidFill>
                <a:latin typeface="Montserrat Medium"/>
                <a:ea typeface="Calibri"/>
                <a:cs typeface="Calibri"/>
              </a:rPr>
              <a:t>2 – Inventory and documentation of legacy systems base to be modernized.</a:t>
            </a:r>
          </a:p>
        </p:txBody>
      </p:sp>
      <p:sp>
        <p:nvSpPr>
          <p:cNvPr id="435" name="Rectangle: Rounded Corners 434">
            <a:extLst>
              <a:ext uri="{FF2B5EF4-FFF2-40B4-BE49-F238E27FC236}">
                <a16:creationId xmlns:a16="http://schemas.microsoft.com/office/drawing/2014/main" id="{81E715D7-332A-B02E-B0F0-E47F2E132364}"/>
              </a:ext>
            </a:extLst>
          </p:cNvPr>
          <p:cNvSpPr/>
          <p:nvPr/>
        </p:nvSpPr>
        <p:spPr>
          <a:xfrm>
            <a:off x="14435935" y="6071938"/>
            <a:ext cx="2217986" cy="1613424"/>
          </a:xfrm>
          <a:prstGeom prst="roundRect">
            <a:avLst/>
          </a:prstGeom>
          <a:solidFill>
            <a:srgbClr val="6800FF"/>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noProof="0">
                <a:solidFill>
                  <a:srgbClr val="FFFFFF"/>
                </a:solidFill>
                <a:latin typeface="Montserrat Medium"/>
                <a:ea typeface="Calibri"/>
                <a:cs typeface="Calibri"/>
              </a:rPr>
              <a:t>3 – Automatic generation through AI of complete documentation of legacy systems and business processes involved.</a:t>
            </a:r>
          </a:p>
        </p:txBody>
      </p:sp>
      <p:sp>
        <p:nvSpPr>
          <p:cNvPr id="436" name="Rectangle: Rounded Corners 435">
            <a:extLst>
              <a:ext uri="{FF2B5EF4-FFF2-40B4-BE49-F238E27FC236}">
                <a16:creationId xmlns:a16="http://schemas.microsoft.com/office/drawing/2014/main" id="{F0D67F31-12DB-41E7-192E-0017D3878887}"/>
              </a:ext>
            </a:extLst>
          </p:cNvPr>
          <p:cNvSpPr/>
          <p:nvPr/>
        </p:nvSpPr>
        <p:spPr>
          <a:xfrm>
            <a:off x="8749274" y="6251418"/>
            <a:ext cx="2217986" cy="1433945"/>
          </a:xfrm>
          <a:prstGeom prst="roundRect">
            <a:avLst/>
          </a:prstGeom>
          <a:solidFill>
            <a:srgbClr val="6800FF"/>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noProof="0">
                <a:solidFill>
                  <a:srgbClr val="FFFFFF"/>
                </a:solidFill>
                <a:latin typeface="Montserrat Medium"/>
                <a:ea typeface="Calibri"/>
                <a:cs typeface="Calibri"/>
              </a:rPr>
              <a:t>5 – Delivery of the Qintess System Modernization journey with AI/ML platform.</a:t>
            </a:r>
          </a:p>
        </p:txBody>
      </p:sp>
      <p:sp>
        <p:nvSpPr>
          <p:cNvPr id="437" name="Rectangle: Rounded Corners 436">
            <a:extLst>
              <a:ext uri="{FF2B5EF4-FFF2-40B4-BE49-F238E27FC236}">
                <a16:creationId xmlns:a16="http://schemas.microsoft.com/office/drawing/2014/main" id="{13D9A2F9-DFB1-6310-3E25-3ADE5EADB2C7}"/>
              </a:ext>
            </a:extLst>
          </p:cNvPr>
          <p:cNvSpPr/>
          <p:nvPr/>
        </p:nvSpPr>
        <p:spPr>
          <a:xfrm>
            <a:off x="11564266" y="7866732"/>
            <a:ext cx="2331341" cy="1433945"/>
          </a:xfrm>
          <a:prstGeom prst="roundRect">
            <a:avLst/>
          </a:prstGeom>
          <a:solidFill>
            <a:srgbClr val="6800FF"/>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noProof="0">
                <a:solidFill>
                  <a:srgbClr val="FFFFFF"/>
                </a:solidFill>
                <a:latin typeface="Montserrat Medium"/>
                <a:ea typeface="Calibri"/>
                <a:cs typeface="Calibri"/>
              </a:rPr>
              <a:t>4 – Definition of the modernization strategy to be adopted and definition of the modernization architecture.</a:t>
            </a:r>
          </a:p>
        </p:txBody>
      </p:sp>
      <p:grpSp>
        <p:nvGrpSpPr>
          <p:cNvPr id="21" name="Group 24">
            <a:extLst>
              <a:ext uri="{FF2B5EF4-FFF2-40B4-BE49-F238E27FC236}">
                <a16:creationId xmlns:a16="http://schemas.microsoft.com/office/drawing/2014/main" id="{3FD89ECC-2F5D-1698-729A-090713073993}"/>
              </a:ext>
            </a:extLst>
          </p:cNvPr>
          <p:cNvGrpSpPr/>
          <p:nvPr/>
        </p:nvGrpSpPr>
        <p:grpSpPr>
          <a:xfrm>
            <a:off x="3957529" y="1229667"/>
            <a:ext cx="612363" cy="56823"/>
            <a:chOff x="0" y="0"/>
            <a:chExt cx="1078484" cy="100076"/>
          </a:xfrm>
        </p:grpSpPr>
        <p:sp>
          <p:nvSpPr>
            <p:cNvPr id="20" name="Freeform 25">
              <a:extLst>
                <a:ext uri="{FF2B5EF4-FFF2-40B4-BE49-F238E27FC236}">
                  <a16:creationId xmlns:a16="http://schemas.microsoft.com/office/drawing/2014/main" id="{FD2071CD-DFF2-14B7-6D65-1E6378FD1834}"/>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en-US" sz="1800" noProof="0"/>
            </a:p>
          </p:txBody>
        </p:sp>
      </p:grpSp>
    </p:spTree>
    <p:extLst>
      <p:ext uri="{BB962C8B-B14F-4D97-AF65-F5344CB8AC3E}">
        <p14:creationId xmlns:p14="http://schemas.microsoft.com/office/powerpoint/2010/main" val="292205274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Google Shape;912;p28">
            <a:extLst>
              <a:ext uri="{FF2B5EF4-FFF2-40B4-BE49-F238E27FC236}">
                <a16:creationId xmlns:a16="http://schemas.microsoft.com/office/drawing/2014/main" id="{0A3BF5B8-4456-EBE2-C63B-BF3642BA69AA}"/>
              </a:ext>
            </a:extLst>
          </p:cNvPr>
          <p:cNvCxnSpPr/>
          <p:nvPr/>
        </p:nvCxnSpPr>
        <p:spPr>
          <a:xfrm flipV="1">
            <a:off x="1139352" y="8771058"/>
            <a:ext cx="15874893" cy="44388"/>
          </a:xfrm>
          <a:prstGeom prst="straightConnector1">
            <a:avLst/>
          </a:prstGeom>
          <a:noFill/>
          <a:ln w="9525" cap="flat" cmpd="sng">
            <a:solidFill>
              <a:srgbClr val="6800FF"/>
            </a:solidFill>
            <a:prstDash val="dash"/>
            <a:round/>
            <a:headEnd type="oval" w="sm" len="sm"/>
            <a:tailEnd type="oval" w="sm" len="sm"/>
          </a:ln>
        </p:spPr>
      </p:cxnSp>
      <p:sp>
        <p:nvSpPr>
          <p:cNvPr id="52" name="CaixaDeTexto 51">
            <a:extLst>
              <a:ext uri="{FF2B5EF4-FFF2-40B4-BE49-F238E27FC236}">
                <a16:creationId xmlns:a16="http://schemas.microsoft.com/office/drawing/2014/main" id="{E98775B3-B1D9-442B-B3C2-18A378C6464D}"/>
              </a:ext>
            </a:extLst>
          </p:cNvPr>
          <p:cNvSpPr txBox="1"/>
          <p:nvPr/>
        </p:nvSpPr>
        <p:spPr>
          <a:xfrm>
            <a:off x="7386831" y="8633856"/>
            <a:ext cx="3661983" cy="307777"/>
          </a:xfrm>
          <a:prstGeom prst="rect">
            <a:avLst/>
          </a:prstGeom>
          <a:solidFill>
            <a:srgbClr val="6800FF"/>
          </a:solidFill>
          <a:ln>
            <a:solidFill>
              <a:schemeClr val="bg1"/>
            </a:solidFill>
          </a:ln>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noProof="0">
                <a:solidFill>
                  <a:schemeClr val="tx1"/>
                </a:solidFill>
                <a:highlight>
                  <a:srgbClr val="6800FF"/>
                </a:highlight>
                <a:latin typeface="Montserrat Bold"/>
              </a:rPr>
              <a:t>QINTESS SYSTEMS MODERNIZATION</a:t>
            </a:r>
          </a:p>
        </p:txBody>
      </p:sp>
      <p:sp>
        <p:nvSpPr>
          <p:cNvPr id="33" name="Google Shape;294;g8cff37a39f_0_44">
            <a:extLst>
              <a:ext uri="{FF2B5EF4-FFF2-40B4-BE49-F238E27FC236}">
                <a16:creationId xmlns:a16="http://schemas.microsoft.com/office/drawing/2014/main" id="{002B2DB6-2A17-4771-98D9-1AD2B78071A1}"/>
              </a:ext>
            </a:extLst>
          </p:cNvPr>
          <p:cNvSpPr txBox="1">
            <a:spLocks/>
          </p:cNvSpPr>
          <p:nvPr/>
        </p:nvSpPr>
        <p:spPr>
          <a:xfrm>
            <a:off x="436229" y="821655"/>
            <a:ext cx="16035376" cy="748199"/>
          </a:xfrm>
          <a:prstGeom prst="rect">
            <a:avLst/>
          </a:prstGeom>
          <a:noFill/>
          <a:ln>
            <a:noFill/>
          </a:ln>
        </p:spPr>
        <p:txBody>
          <a:bodyPr spcFirstLastPara="1" wrap="square" lIns="182850" tIns="182850" rIns="182850" bIns="18285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1pPr>
            <a:lvl2pPr marR="0" lvl="1"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2pPr>
            <a:lvl3pPr marR="0" lvl="2"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3pPr>
            <a:lvl4pPr marR="0" lvl="3"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4pPr>
            <a:lvl5pPr marR="0" lvl="4"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5pPr>
            <a:lvl6pPr marR="0" lvl="5"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6pPr>
            <a:lvl7pPr marR="0" lvl="6"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7pPr>
            <a:lvl8pPr marR="0" lvl="7"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8pPr>
            <a:lvl9pPr marR="0" lvl="8"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9pPr>
          </a:lstStyle>
          <a:p>
            <a:pPr marL="0" marR="0" lvl="0" indent="0" algn="l" defTabSz="1371600" rtl="0" eaLnBrk="1" fontAlgn="auto" latinLnBrk="0" hangingPunct="1">
              <a:lnSpc>
                <a:spcPct val="100000"/>
              </a:lnSpc>
              <a:spcBef>
                <a:spcPts val="0"/>
              </a:spcBef>
              <a:spcAft>
                <a:spcPts val="0"/>
              </a:spcAft>
              <a:buClr>
                <a:srgbClr val="FFFFFF"/>
              </a:buClr>
              <a:buSzPts val="2000"/>
              <a:buFont typeface="Montserrat"/>
              <a:buNone/>
              <a:tabLst/>
              <a:defRPr/>
            </a:pPr>
            <a:r>
              <a:rPr kumimoji="0" lang="en-US" sz="4000" b="1" i="1" u="none" strike="noStrike" kern="0" cap="none" spc="0" normalizeH="0" baseline="0" noProof="0">
                <a:ln>
                  <a:noFill/>
                </a:ln>
                <a:solidFill>
                  <a:prstClr val="black"/>
                </a:solidFill>
                <a:effectLst/>
                <a:uLnTx/>
                <a:uFillTx/>
                <a:sym typeface="Montserrat"/>
              </a:rPr>
              <a:t>How we do​</a:t>
            </a:r>
            <a:endParaRPr lang="en-US" sz="4000" b="1" i="1" u="none" strike="noStrike" kern="0" cap="none" spc="0" normalizeH="0" baseline="0" noProof="0">
              <a:ln>
                <a:noFill/>
              </a:ln>
              <a:solidFill>
                <a:prstClr val="black"/>
              </a:solidFill>
              <a:effectLst/>
              <a:uLnTx/>
              <a:uFillTx/>
            </a:endParaRPr>
          </a:p>
        </p:txBody>
      </p:sp>
      <p:pic>
        <p:nvPicPr>
          <p:cNvPr id="18" name="Imagem 17">
            <a:extLst>
              <a:ext uri="{FF2B5EF4-FFF2-40B4-BE49-F238E27FC236}">
                <a16:creationId xmlns:a16="http://schemas.microsoft.com/office/drawing/2014/main" id="{B2DDCF33-EE71-4325-ACEE-CC67257E8611}"/>
              </a:ext>
            </a:extLst>
          </p:cNvPr>
          <p:cNvPicPr>
            <a:picLocks noChangeAspect="1"/>
          </p:cNvPicPr>
          <p:nvPr/>
        </p:nvPicPr>
        <p:blipFill rotWithShape="1">
          <a:blip r:embed="rId2">
            <a:clrChange>
              <a:clrFrom>
                <a:srgbClr val="FEFEFE"/>
              </a:clrFrom>
              <a:clrTo>
                <a:srgbClr val="FEFEFE">
                  <a:alpha val="0"/>
                </a:srgbClr>
              </a:clrTo>
            </a:clrChange>
            <a:duotone>
              <a:schemeClr val="accent1">
                <a:shade val="45000"/>
                <a:satMod val="135000"/>
              </a:schemeClr>
              <a:prstClr val="white"/>
            </a:duotone>
          </a:blip>
          <a:srcRect l="70094" t="50350" r="20038" b="39849"/>
          <a:stretch/>
        </p:blipFill>
        <p:spPr>
          <a:xfrm>
            <a:off x="7598316" y="5346613"/>
            <a:ext cx="2555575" cy="2538012"/>
          </a:xfrm>
          <a:prstGeom prst="rect">
            <a:avLst/>
          </a:prstGeom>
          <a:ln>
            <a:noFill/>
          </a:ln>
        </p:spPr>
      </p:pic>
      <p:sp>
        <p:nvSpPr>
          <p:cNvPr id="20" name="CaixaDeTexto 19">
            <a:extLst>
              <a:ext uri="{FF2B5EF4-FFF2-40B4-BE49-F238E27FC236}">
                <a16:creationId xmlns:a16="http://schemas.microsoft.com/office/drawing/2014/main" id="{82BADBF6-35DA-435D-9C8C-68BD0EBC87FE}"/>
              </a:ext>
            </a:extLst>
          </p:cNvPr>
          <p:cNvSpPr txBox="1"/>
          <p:nvPr/>
        </p:nvSpPr>
        <p:spPr>
          <a:xfrm>
            <a:off x="12632767" y="1593846"/>
            <a:ext cx="4370881" cy="6109365"/>
          </a:xfrm>
          <a:prstGeom prst="rect">
            <a:avLst/>
          </a:prstGeom>
          <a:noFill/>
          <a:ln>
            <a:solidFill>
              <a:schemeClr val="bg1"/>
            </a:solidFill>
          </a:ln>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1800"/>
              </a:spcAft>
              <a:buClr>
                <a:srgbClr val="000000"/>
              </a:buClr>
              <a:buSzTx/>
              <a:buFont typeface="Arial"/>
              <a:buNone/>
              <a:tabLst/>
              <a:defRPr/>
            </a:pPr>
            <a:r>
              <a:rPr kumimoji="0" lang="en-US" sz="1600" b="0" i="0" u="none" strike="noStrike" kern="0" cap="none" spc="0" normalizeH="0" baseline="0" noProof="0">
                <a:ln>
                  <a:noFill/>
                </a:ln>
                <a:solidFill>
                  <a:srgbClr val="C51D69"/>
                </a:solidFill>
                <a:effectLst/>
                <a:uLnTx/>
                <a:uFillTx/>
                <a:latin typeface="Montserrat Bold"/>
                <a:cs typeface="Arial"/>
                <a:sym typeface="Arial"/>
              </a:rPr>
              <a:t>DIGITAL TRANSFORMATION JOURNEY</a:t>
            </a:r>
            <a:endParaRPr lang="en-US" sz="1600" b="0" i="0" u="none" strike="noStrike" kern="0" cap="none" spc="0" normalizeH="0" baseline="0" noProof="0">
              <a:ln>
                <a:noFill/>
              </a:ln>
              <a:solidFill>
                <a:srgbClr val="C51D69"/>
              </a:solidFill>
              <a:effectLst/>
              <a:uLnTx/>
              <a:uFillTx/>
              <a:latin typeface="Montserrat Bold"/>
              <a:cs typeface="Arial"/>
            </a:endParaRPr>
          </a:p>
          <a:p>
            <a:pPr>
              <a:spcAft>
                <a:spcPts val="1800"/>
              </a:spcAft>
              <a:defRPr/>
            </a:pPr>
            <a:endParaRPr lang="en-US" sz="1600" noProof="0">
              <a:solidFill>
                <a:srgbClr val="C51D69"/>
              </a:solidFill>
              <a:latin typeface="Montserrat Bold"/>
            </a:endParaRPr>
          </a:p>
          <a:p>
            <a:pPr marL="285750" marR="0" lvl="0" indent="-285750" algn="l" defTabSz="914400" rtl="0" eaLnBrk="1" fontAlgn="auto" latinLnBrk="0" hangingPunct="1">
              <a:lnSpc>
                <a:spcPct val="100000"/>
              </a:lnSpc>
              <a:spcBef>
                <a:spcPts val="0"/>
              </a:spcBef>
              <a:spcAft>
                <a:spcPts val="1800"/>
              </a:spcAft>
              <a:buClr>
                <a:srgbClr val="C72381"/>
              </a:buClr>
              <a:buSzTx/>
              <a:buFont typeface="Webdings" panose="05030102010509060703" pitchFamily="18" charset="2"/>
              <a:buChar char=""/>
              <a:tabLst/>
              <a:defRPr/>
            </a:pPr>
            <a:r>
              <a:rPr kumimoji="0" lang="en-US" sz="1600" b="0" i="0" u="none" strike="noStrike" kern="0" cap="none" spc="0" normalizeH="0" baseline="0" noProof="0">
                <a:ln>
                  <a:noFill/>
                </a:ln>
                <a:solidFill>
                  <a:srgbClr val="000000"/>
                </a:solidFill>
                <a:effectLst/>
                <a:uLnTx/>
                <a:uFillTx/>
                <a:latin typeface="Montserrat"/>
                <a:cs typeface="Arial"/>
                <a:sym typeface="Arial"/>
              </a:rPr>
              <a:t>Definition of the strategy to be used for the modernization</a:t>
            </a:r>
            <a:endParaRPr lang="en-US" sz="1600" b="0" i="0" u="none" strike="noStrike" kern="0" cap="none" spc="0" normalizeH="0" baseline="0" noProof="0">
              <a:ln>
                <a:noFill/>
              </a:ln>
              <a:solidFill>
                <a:srgbClr val="000000"/>
              </a:solidFill>
              <a:effectLst/>
              <a:uLnTx/>
              <a:uFillTx/>
              <a:latin typeface="Montserrat"/>
              <a:cs typeface="Arial"/>
            </a:endParaRPr>
          </a:p>
          <a:p>
            <a:pPr marL="285750" marR="0" lvl="0" indent="-285750" algn="l" defTabSz="914400" rtl="0" eaLnBrk="1" fontAlgn="auto" latinLnBrk="0" hangingPunct="1">
              <a:lnSpc>
                <a:spcPct val="100000"/>
              </a:lnSpc>
              <a:spcBef>
                <a:spcPts val="0"/>
              </a:spcBef>
              <a:spcAft>
                <a:spcPts val="1800"/>
              </a:spcAft>
              <a:buClr>
                <a:srgbClr val="C72381"/>
              </a:buClr>
              <a:buSzTx/>
              <a:buFont typeface="Webdings" panose="05030102010509060703" pitchFamily="18" charset="2"/>
              <a:buChar char=""/>
              <a:tabLst/>
              <a:defRPr/>
            </a:pPr>
            <a:r>
              <a:rPr kumimoji="0" lang="en-US" sz="1600" b="0" i="0" u="none" strike="noStrike" kern="0" cap="none" spc="0" normalizeH="0" baseline="0" noProof="0">
                <a:ln>
                  <a:noFill/>
                </a:ln>
                <a:solidFill>
                  <a:srgbClr val="000000"/>
                </a:solidFill>
                <a:effectLst/>
                <a:uLnTx/>
                <a:uFillTx/>
                <a:latin typeface="Montserrat"/>
                <a:cs typeface="Arial"/>
                <a:sym typeface="Arial"/>
              </a:rPr>
              <a:t>Definition of the architecture for the modernization of legacy systems</a:t>
            </a:r>
            <a:endParaRPr lang="en-US" sz="1600" b="0" i="0" u="none" strike="noStrike" kern="0" cap="none" spc="0" normalizeH="0" baseline="0" noProof="0">
              <a:ln>
                <a:noFill/>
              </a:ln>
              <a:solidFill>
                <a:srgbClr val="000000"/>
              </a:solidFill>
              <a:effectLst/>
              <a:uLnTx/>
              <a:uFillTx/>
              <a:latin typeface="Montserrat"/>
              <a:cs typeface="Arial"/>
            </a:endParaRPr>
          </a:p>
          <a:p>
            <a:pPr marL="285750" marR="0" lvl="0" indent="-285750" algn="l" defTabSz="914400" rtl="0" eaLnBrk="1" fontAlgn="auto" latinLnBrk="0" hangingPunct="1">
              <a:lnSpc>
                <a:spcPct val="100000"/>
              </a:lnSpc>
              <a:spcBef>
                <a:spcPts val="0"/>
              </a:spcBef>
              <a:spcAft>
                <a:spcPts val="1800"/>
              </a:spcAft>
              <a:buClr>
                <a:srgbClr val="C72381"/>
              </a:buClr>
              <a:buSzTx/>
              <a:buFont typeface="Webdings" panose="05030102010509060703" pitchFamily="18" charset="2"/>
              <a:buChar char=""/>
              <a:tabLst/>
              <a:defRPr/>
            </a:pPr>
            <a:r>
              <a:rPr kumimoji="0" lang="en-US" sz="1600" b="0" i="0" u="none" strike="noStrike" kern="0" cap="none" spc="0" normalizeH="0" baseline="0" noProof="0">
                <a:ln>
                  <a:noFill/>
                </a:ln>
                <a:solidFill>
                  <a:srgbClr val="000000"/>
                </a:solidFill>
                <a:effectLst/>
                <a:uLnTx/>
                <a:uFillTx/>
                <a:latin typeface="Montserrat"/>
                <a:cs typeface="Arial"/>
                <a:sym typeface="Arial"/>
              </a:rPr>
              <a:t>Definition of the architecture of the digital mesh infrastructure</a:t>
            </a:r>
            <a:endParaRPr lang="en-US" sz="1600" b="0" i="0" u="none" strike="noStrike" kern="0" cap="none" spc="0" normalizeH="0" baseline="0" noProof="0">
              <a:ln>
                <a:noFill/>
              </a:ln>
              <a:solidFill>
                <a:srgbClr val="000000"/>
              </a:solidFill>
              <a:effectLst/>
              <a:uLnTx/>
              <a:uFillTx/>
              <a:latin typeface="Montserrat"/>
              <a:cs typeface="Arial"/>
            </a:endParaRPr>
          </a:p>
          <a:p>
            <a:pPr marL="285750" marR="0" lvl="0" indent="-285750" algn="l" defTabSz="914400" rtl="0" eaLnBrk="1" fontAlgn="auto" latinLnBrk="0" hangingPunct="1">
              <a:lnSpc>
                <a:spcPct val="100000"/>
              </a:lnSpc>
              <a:spcBef>
                <a:spcPts val="0"/>
              </a:spcBef>
              <a:spcAft>
                <a:spcPts val="1800"/>
              </a:spcAft>
              <a:buClr>
                <a:srgbClr val="C72381"/>
              </a:buClr>
              <a:buSzTx/>
              <a:buFont typeface="Webdings" panose="05030102010509060703" pitchFamily="18" charset="2"/>
              <a:buChar char=""/>
              <a:tabLst/>
              <a:defRPr/>
            </a:pPr>
            <a:r>
              <a:rPr kumimoji="0" lang="en-US" sz="1600" b="0" i="0" u="none" strike="noStrike" kern="0" cap="none" spc="0" normalizeH="0" baseline="0" noProof="0">
                <a:ln>
                  <a:noFill/>
                </a:ln>
                <a:solidFill>
                  <a:srgbClr val="000000"/>
                </a:solidFill>
                <a:effectLst/>
                <a:uLnTx/>
                <a:uFillTx/>
                <a:latin typeface="Montserrat"/>
                <a:cs typeface="Arial"/>
                <a:sym typeface="Arial"/>
              </a:rPr>
              <a:t>Creation of technical and functional skills</a:t>
            </a:r>
            <a:endParaRPr lang="en-US" sz="1600" b="0" i="0" u="none" strike="noStrike" kern="0" cap="none" spc="0" normalizeH="0" baseline="0" noProof="0">
              <a:ln>
                <a:noFill/>
              </a:ln>
              <a:solidFill>
                <a:srgbClr val="000000"/>
              </a:solidFill>
              <a:effectLst/>
              <a:uLnTx/>
              <a:uFillTx/>
              <a:latin typeface="Montserrat"/>
              <a:cs typeface="Arial"/>
            </a:endParaRPr>
          </a:p>
          <a:p>
            <a:pPr marL="285750" marR="0" lvl="0" indent="-285750" algn="l" defTabSz="914400" rtl="0" eaLnBrk="1" fontAlgn="auto" latinLnBrk="0" hangingPunct="1">
              <a:lnSpc>
                <a:spcPct val="100000"/>
              </a:lnSpc>
              <a:spcBef>
                <a:spcPts val="0"/>
              </a:spcBef>
              <a:spcAft>
                <a:spcPts val="1800"/>
              </a:spcAft>
              <a:buClr>
                <a:srgbClr val="C72381"/>
              </a:buClr>
              <a:buSzTx/>
              <a:buFont typeface="Webdings" panose="05030102010509060703" pitchFamily="18" charset="2"/>
              <a:buChar char=""/>
              <a:tabLst/>
              <a:defRPr/>
            </a:pPr>
            <a:r>
              <a:rPr kumimoji="0" lang="en-US" sz="1600" b="0" i="0" u="none" strike="noStrike" kern="0" cap="none" spc="0" normalizeH="0" baseline="0" noProof="0">
                <a:ln>
                  <a:noFill/>
                </a:ln>
                <a:solidFill>
                  <a:srgbClr val="000000"/>
                </a:solidFill>
                <a:effectLst/>
                <a:uLnTx/>
                <a:uFillTx/>
                <a:latin typeface="Montserrat"/>
                <a:cs typeface="Arial"/>
                <a:sym typeface="Arial"/>
              </a:rPr>
              <a:t>Creation of multidisciplinary squads</a:t>
            </a:r>
          </a:p>
          <a:p>
            <a:pPr marL="285750" marR="0" lvl="0" indent="-285750" algn="l" defTabSz="914400" rtl="0" eaLnBrk="1" fontAlgn="auto" latinLnBrk="0" hangingPunct="1">
              <a:lnSpc>
                <a:spcPct val="100000"/>
              </a:lnSpc>
              <a:spcBef>
                <a:spcPts val="0"/>
              </a:spcBef>
              <a:spcAft>
                <a:spcPts val="1800"/>
              </a:spcAft>
              <a:buClr>
                <a:srgbClr val="C72381"/>
              </a:buClr>
              <a:buSzTx/>
              <a:buFont typeface="Webdings" panose="05030102010509060703" pitchFamily="18" charset="2"/>
              <a:buChar char=""/>
              <a:tabLst/>
              <a:defRPr/>
            </a:pPr>
            <a:r>
              <a:rPr kumimoji="0" lang="en-US" sz="1600" b="0" i="0" u="none" strike="noStrike" kern="0" cap="none" spc="0" normalizeH="0" baseline="0" noProof="0">
                <a:ln>
                  <a:noFill/>
                </a:ln>
                <a:solidFill>
                  <a:srgbClr val="000000"/>
                </a:solidFill>
                <a:effectLst/>
                <a:uLnTx/>
                <a:uFillTx/>
                <a:latin typeface="Montserrat"/>
                <a:cs typeface="Arial"/>
                <a:sym typeface="Arial"/>
              </a:rPr>
              <a:t>Delivery through agile methodology</a:t>
            </a:r>
          </a:p>
          <a:p>
            <a:pPr marL="285750" marR="0" lvl="0" indent="-285750" algn="l" defTabSz="914400" rtl="0" eaLnBrk="1" fontAlgn="auto" latinLnBrk="0" hangingPunct="1">
              <a:lnSpc>
                <a:spcPct val="100000"/>
              </a:lnSpc>
              <a:spcBef>
                <a:spcPts val="0"/>
              </a:spcBef>
              <a:spcAft>
                <a:spcPts val="1800"/>
              </a:spcAft>
              <a:buClr>
                <a:srgbClr val="C72381"/>
              </a:buClr>
              <a:buSzTx/>
              <a:buFont typeface="Webdings" panose="05030102010509060703" pitchFamily="18" charset="2"/>
              <a:buChar char=""/>
              <a:tabLst/>
              <a:defRPr/>
            </a:pPr>
            <a:r>
              <a:rPr kumimoji="0" lang="en-US" sz="1600" b="0" i="0" u="none" strike="noStrike" kern="0" cap="none" spc="0" normalizeH="0" baseline="0" noProof="0">
                <a:ln>
                  <a:noFill/>
                </a:ln>
                <a:solidFill>
                  <a:srgbClr val="000000"/>
                </a:solidFill>
                <a:effectLst/>
                <a:uLnTx/>
                <a:uFillTx/>
                <a:latin typeface="Montserrat"/>
                <a:cs typeface="Arial"/>
                <a:sym typeface="Arial"/>
              </a:rPr>
              <a:t>Support deployment of the transformation environment</a:t>
            </a:r>
            <a:endParaRPr lang="en-US" sz="1600" b="0" i="0" u="none" strike="noStrike" kern="0" cap="none" spc="0" normalizeH="0" baseline="0" noProof="0">
              <a:ln>
                <a:noFill/>
              </a:ln>
              <a:solidFill>
                <a:srgbClr val="000000"/>
              </a:solidFill>
              <a:effectLst/>
              <a:uLnTx/>
              <a:uFillTx/>
              <a:latin typeface="Montserrat"/>
              <a:cs typeface="Arial"/>
            </a:endParaRPr>
          </a:p>
          <a:p>
            <a:pPr marL="285750" marR="0" lvl="0" indent="-285750" algn="l" defTabSz="914400" rtl="0" eaLnBrk="1" fontAlgn="auto" latinLnBrk="0" hangingPunct="1">
              <a:lnSpc>
                <a:spcPct val="100000"/>
              </a:lnSpc>
              <a:spcBef>
                <a:spcPts val="0"/>
              </a:spcBef>
              <a:spcAft>
                <a:spcPts val="1800"/>
              </a:spcAft>
              <a:buClr>
                <a:srgbClr val="C72381"/>
              </a:buClr>
              <a:buSzTx/>
              <a:buFont typeface="Webdings" panose="05030102010509060703" pitchFamily="18" charset="2"/>
              <a:buChar char=""/>
              <a:tabLst/>
              <a:defRPr/>
            </a:pPr>
            <a:r>
              <a:rPr kumimoji="0" lang="en-US" sz="1600" b="0" i="0" u="none" strike="noStrike" kern="0" cap="none" spc="0" normalizeH="0" baseline="0" noProof="0">
                <a:ln>
                  <a:noFill/>
                </a:ln>
                <a:solidFill>
                  <a:srgbClr val="000000"/>
                </a:solidFill>
                <a:effectLst/>
                <a:uLnTx/>
                <a:uFillTx/>
                <a:latin typeface="Montserrat"/>
                <a:cs typeface="Arial"/>
                <a:sym typeface="Arial"/>
              </a:rPr>
              <a:t>Delivery of the modernized and transformed legacy system.</a:t>
            </a:r>
          </a:p>
        </p:txBody>
      </p:sp>
      <p:sp>
        <p:nvSpPr>
          <p:cNvPr id="27" name="CaixaDeTexto 26">
            <a:extLst>
              <a:ext uri="{FF2B5EF4-FFF2-40B4-BE49-F238E27FC236}">
                <a16:creationId xmlns:a16="http://schemas.microsoft.com/office/drawing/2014/main" id="{FECE5633-2228-4F44-81B3-09A1829D4441}"/>
              </a:ext>
            </a:extLst>
          </p:cNvPr>
          <p:cNvSpPr txBox="1"/>
          <p:nvPr/>
        </p:nvSpPr>
        <p:spPr>
          <a:xfrm>
            <a:off x="690524" y="2314845"/>
            <a:ext cx="3416795" cy="1877437"/>
          </a:xfrm>
          <a:prstGeom prst="rect">
            <a:avLst/>
          </a:prstGeom>
          <a:noFill/>
          <a:ln>
            <a:solidFill>
              <a:schemeClr val="bg1"/>
            </a:solidFill>
          </a:ln>
        </p:spPr>
        <p:txBody>
          <a:bodyPr wrap="square" lIns="91440" tIns="45720" rIns="91440" bIns="45720" rtlCol="0" anchor="t">
            <a:spAutoFit/>
          </a:bodyPr>
          <a:lstStyle/>
          <a:p>
            <a:pPr marL="0" marR="0" lvl="0" indent="0" algn="r" defTabSz="914400" rtl="0" eaLnBrk="1" fontAlgn="auto" latinLnBrk="0" hangingPunct="1">
              <a:lnSpc>
                <a:spcPct val="100000"/>
              </a:lnSpc>
              <a:spcBef>
                <a:spcPts val="0"/>
              </a:spcBef>
              <a:spcAft>
                <a:spcPts val="600"/>
              </a:spcAft>
              <a:buClr>
                <a:srgbClr val="000000"/>
              </a:buClr>
              <a:buSzTx/>
              <a:buFont typeface="Arial"/>
              <a:buNone/>
              <a:tabLst/>
              <a:defRPr/>
            </a:pPr>
            <a:r>
              <a:rPr kumimoji="0" lang="en-US" sz="1600" b="0" i="0" u="none" strike="noStrike" kern="0" cap="none" spc="0" normalizeH="0" baseline="0" noProof="0">
                <a:ln>
                  <a:noFill/>
                </a:ln>
                <a:solidFill>
                  <a:srgbClr val="6800FF"/>
                </a:solidFill>
                <a:effectLst/>
                <a:uLnTx/>
                <a:uFillTx/>
                <a:latin typeface="Montserrat"/>
                <a:cs typeface="Arial"/>
                <a:sym typeface="Arial"/>
              </a:rPr>
              <a:t>LEGACY SYSTEMS SOURCE CODE SCAN</a:t>
            </a:r>
            <a:endParaRPr lang="en-US" sz="1600" b="0" i="0" u="none" strike="noStrike" kern="0" cap="none" spc="0" normalizeH="0" baseline="0" noProof="0">
              <a:ln>
                <a:noFill/>
              </a:ln>
              <a:solidFill>
                <a:srgbClr val="6800FF"/>
              </a:solidFill>
              <a:effectLst/>
              <a:uLnTx/>
              <a:uFillTx/>
              <a:latin typeface="Montserrat"/>
              <a:cs typeface="Arial"/>
            </a:endParaRPr>
          </a:p>
          <a:p>
            <a:pPr marL="0" marR="0" lvl="0" indent="0" algn="r" defTabSz="914400" rtl="0" eaLnBrk="1" fontAlgn="auto" latinLnBrk="0" hangingPunct="1">
              <a:lnSpc>
                <a:spcPct val="100000"/>
              </a:lnSpc>
              <a:spcBef>
                <a:spcPts val="0"/>
              </a:spcBef>
              <a:spcAft>
                <a:spcPts val="600"/>
              </a:spcAft>
              <a:buClr>
                <a:srgbClr val="000000"/>
              </a:buClr>
              <a:buSzTx/>
              <a:buFont typeface="Arial"/>
              <a:buNone/>
              <a:tabLst/>
              <a:defRPr/>
            </a:pPr>
            <a:r>
              <a:rPr kumimoji="0" lang="en-US" sz="1600" b="0" i="0" u="none" strike="noStrike" kern="0" cap="none" spc="0" normalizeH="0" baseline="0" noProof="0">
                <a:ln>
                  <a:noFill/>
                </a:ln>
                <a:solidFill>
                  <a:srgbClr val="000000"/>
                </a:solidFill>
                <a:effectLst/>
                <a:uLnTx/>
                <a:uFillTx/>
                <a:latin typeface="Montserrat"/>
                <a:cs typeface="Arial"/>
                <a:sym typeface="Arial"/>
              </a:rPr>
              <a:t>Recognition standard</a:t>
            </a:r>
            <a:endParaRPr lang="en-US" sz="1600" b="0" i="0" u="none" strike="noStrike" kern="0" cap="none" spc="0" normalizeH="0" baseline="0" noProof="0">
              <a:ln>
                <a:noFill/>
              </a:ln>
              <a:solidFill>
                <a:srgbClr val="000000"/>
              </a:solidFill>
              <a:effectLst/>
              <a:uLnTx/>
              <a:uFillTx/>
              <a:latin typeface="Montserrat"/>
              <a:cs typeface="Arial"/>
            </a:endParaRPr>
          </a:p>
          <a:p>
            <a:pPr marL="0" marR="0" lvl="0" indent="0" algn="r" defTabSz="914400" rtl="0" eaLnBrk="1" fontAlgn="auto" latinLnBrk="0" hangingPunct="1">
              <a:lnSpc>
                <a:spcPct val="100000"/>
              </a:lnSpc>
              <a:spcBef>
                <a:spcPts val="0"/>
              </a:spcBef>
              <a:spcAft>
                <a:spcPts val="600"/>
              </a:spcAft>
              <a:buClr>
                <a:srgbClr val="000000"/>
              </a:buClr>
              <a:buSzTx/>
              <a:buFont typeface="Arial"/>
              <a:buNone/>
              <a:tabLst/>
              <a:defRPr/>
            </a:pPr>
            <a:r>
              <a:rPr kumimoji="0" lang="en-US" sz="1600" b="0" i="0" u="none" strike="noStrike" kern="0" cap="none" spc="0" normalizeH="0" baseline="0" noProof="0">
                <a:ln>
                  <a:noFill/>
                </a:ln>
                <a:solidFill>
                  <a:srgbClr val="000000"/>
                </a:solidFill>
                <a:effectLst/>
                <a:uLnTx/>
                <a:uFillTx/>
                <a:latin typeface="Montserrat"/>
                <a:cs typeface="Arial"/>
                <a:sym typeface="Arial"/>
              </a:rPr>
              <a:t>Exclusion pattern</a:t>
            </a:r>
          </a:p>
          <a:p>
            <a:pPr marL="0" marR="0" lvl="0" indent="0" algn="r" defTabSz="914400" rtl="0" eaLnBrk="1" fontAlgn="auto" latinLnBrk="0" hangingPunct="1">
              <a:lnSpc>
                <a:spcPct val="100000"/>
              </a:lnSpc>
              <a:spcBef>
                <a:spcPts val="0"/>
              </a:spcBef>
              <a:spcAft>
                <a:spcPts val="600"/>
              </a:spcAft>
              <a:buClr>
                <a:srgbClr val="000000"/>
              </a:buClr>
              <a:buSzTx/>
              <a:buFont typeface="Arial"/>
              <a:buNone/>
              <a:tabLst/>
              <a:defRPr/>
            </a:pPr>
            <a:r>
              <a:rPr kumimoji="0" lang="en-US" sz="1600" b="0" i="0" u="none" strike="noStrike" kern="0" cap="none" spc="0" normalizeH="0" baseline="0" noProof="0">
                <a:ln>
                  <a:noFill/>
                </a:ln>
                <a:solidFill>
                  <a:srgbClr val="000000"/>
                </a:solidFill>
                <a:effectLst/>
                <a:uLnTx/>
                <a:uFillTx/>
                <a:latin typeface="Montserrat" pitchFamily="2" charset="77"/>
                <a:cs typeface="Arial"/>
                <a:sym typeface="Arial"/>
              </a:rPr>
              <a:t>Parameterization</a:t>
            </a:r>
          </a:p>
          <a:p>
            <a:pPr marL="0" marR="0" lvl="0" indent="0" algn="r" defTabSz="914400" rtl="0" eaLnBrk="1" fontAlgn="auto" latinLnBrk="0" hangingPunct="1">
              <a:lnSpc>
                <a:spcPct val="100000"/>
              </a:lnSpc>
              <a:spcBef>
                <a:spcPts val="0"/>
              </a:spcBef>
              <a:spcAft>
                <a:spcPts val="600"/>
              </a:spcAft>
              <a:buClr>
                <a:srgbClr val="000000"/>
              </a:buClr>
              <a:buSzTx/>
              <a:buFont typeface="Arial"/>
              <a:buNone/>
              <a:tabLst/>
              <a:defRPr/>
            </a:pPr>
            <a:r>
              <a:rPr kumimoji="0" lang="en-US" sz="1600" b="0" i="0" u="none" strike="noStrike" kern="0" cap="none" spc="0" normalizeH="0" baseline="0" noProof="0">
                <a:ln>
                  <a:noFill/>
                </a:ln>
                <a:solidFill>
                  <a:srgbClr val="000000"/>
                </a:solidFill>
                <a:effectLst/>
                <a:uLnTx/>
                <a:uFillTx/>
                <a:latin typeface="Montserrat"/>
                <a:cs typeface="Arial"/>
                <a:sym typeface="Arial"/>
              </a:rPr>
              <a:t>Symbol table</a:t>
            </a:r>
          </a:p>
        </p:txBody>
      </p:sp>
      <p:sp>
        <p:nvSpPr>
          <p:cNvPr id="28" name="Triângulo isósceles 27">
            <a:extLst>
              <a:ext uri="{FF2B5EF4-FFF2-40B4-BE49-F238E27FC236}">
                <a16:creationId xmlns:a16="http://schemas.microsoft.com/office/drawing/2014/main" id="{3F49F3A7-BFC6-475D-A0C8-AE35747B377D}"/>
              </a:ext>
            </a:extLst>
          </p:cNvPr>
          <p:cNvSpPr/>
          <p:nvPr/>
        </p:nvSpPr>
        <p:spPr>
          <a:xfrm rot="5400000">
            <a:off x="3408820" y="3111079"/>
            <a:ext cx="2107207" cy="504826"/>
          </a:xfrm>
          <a:prstGeom prst="triangle">
            <a:avLst/>
          </a:prstGeom>
          <a:solidFill>
            <a:srgbClr val="68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sym typeface="Arial"/>
            </a:endParaRPr>
          </a:p>
        </p:txBody>
      </p:sp>
      <p:pic>
        <p:nvPicPr>
          <p:cNvPr id="29" name="Imagem 28">
            <a:extLst>
              <a:ext uri="{FF2B5EF4-FFF2-40B4-BE49-F238E27FC236}">
                <a16:creationId xmlns:a16="http://schemas.microsoft.com/office/drawing/2014/main" id="{6D0E4347-25A6-4BF2-BB5D-50933908E0F8}"/>
              </a:ext>
            </a:extLst>
          </p:cNvPr>
          <p:cNvPicPr>
            <a:picLocks noChangeAspect="1"/>
          </p:cNvPicPr>
          <p:nvPr/>
        </p:nvPicPr>
        <p:blipFill rotWithShape="1">
          <a:blip r:embed="rId2">
            <a:clrChange>
              <a:clrFrom>
                <a:srgbClr val="FEFEFE"/>
              </a:clrFrom>
              <a:clrTo>
                <a:srgbClr val="FEFEFE">
                  <a:alpha val="0"/>
                </a:srgbClr>
              </a:clrTo>
            </a:clrChange>
            <a:duotone>
              <a:schemeClr val="accent1">
                <a:shade val="45000"/>
                <a:satMod val="135000"/>
              </a:schemeClr>
              <a:prstClr val="white"/>
            </a:duotone>
          </a:blip>
          <a:srcRect l="60138" t="20303" r="29994" b="69896"/>
          <a:stretch/>
        </p:blipFill>
        <p:spPr>
          <a:xfrm>
            <a:off x="4630999" y="5212142"/>
            <a:ext cx="2555575" cy="2538012"/>
          </a:xfrm>
          <a:prstGeom prst="rect">
            <a:avLst/>
          </a:prstGeom>
          <a:ln>
            <a:noFill/>
          </a:ln>
        </p:spPr>
      </p:pic>
      <p:sp>
        <p:nvSpPr>
          <p:cNvPr id="30" name="CaixaDeTexto 29">
            <a:extLst>
              <a:ext uri="{FF2B5EF4-FFF2-40B4-BE49-F238E27FC236}">
                <a16:creationId xmlns:a16="http://schemas.microsoft.com/office/drawing/2014/main" id="{3E7653BD-4A02-40C4-9CA3-7C74BE8EB6BA}"/>
              </a:ext>
            </a:extLst>
          </p:cNvPr>
          <p:cNvSpPr txBox="1"/>
          <p:nvPr/>
        </p:nvSpPr>
        <p:spPr>
          <a:xfrm>
            <a:off x="690524" y="5454365"/>
            <a:ext cx="3416795" cy="1954381"/>
          </a:xfrm>
          <a:prstGeom prst="rect">
            <a:avLst/>
          </a:prstGeom>
          <a:noFill/>
          <a:ln>
            <a:solidFill>
              <a:schemeClr val="bg1"/>
            </a:solidFill>
          </a:ln>
        </p:spPr>
        <p:txBody>
          <a:bodyPr wrap="square" lIns="91440" tIns="45720" rIns="91440" bIns="45720" rtlCol="0" anchor="t">
            <a:spAutoFit/>
          </a:bodyPr>
          <a:lstStyle/>
          <a:p>
            <a:pPr marL="0" marR="0" lvl="0" indent="0" algn="r" defTabSz="914400" rtl="0" eaLnBrk="1" fontAlgn="auto" latinLnBrk="0" hangingPunct="1">
              <a:lnSpc>
                <a:spcPct val="100000"/>
              </a:lnSpc>
              <a:spcBef>
                <a:spcPts val="0"/>
              </a:spcBef>
              <a:spcAft>
                <a:spcPts val="600"/>
              </a:spcAft>
              <a:buClr>
                <a:srgbClr val="000000"/>
              </a:buClr>
              <a:buSzTx/>
              <a:buFont typeface="Arial"/>
              <a:buNone/>
              <a:tabLst/>
              <a:defRPr/>
            </a:pPr>
            <a:r>
              <a:rPr kumimoji="0" lang="en-US" sz="1600" b="0" i="0" u="none" strike="noStrike" kern="0" cap="none" spc="0" normalizeH="0" baseline="0" noProof="0">
                <a:ln>
                  <a:noFill/>
                </a:ln>
                <a:solidFill>
                  <a:srgbClr val="6816FF"/>
                </a:solidFill>
                <a:effectLst/>
                <a:uLnTx/>
                <a:uFillTx/>
                <a:latin typeface="Montserrat"/>
                <a:cs typeface="Arial"/>
                <a:sym typeface="Arial"/>
              </a:rPr>
              <a:t>MAPPED LEGACY SOURCES</a:t>
            </a:r>
          </a:p>
          <a:p>
            <a:pPr marL="0" marR="0" lvl="0" indent="0" algn="r" defTabSz="914400" rtl="0" eaLnBrk="1" fontAlgn="auto" latinLnBrk="0" hangingPunct="1">
              <a:lnSpc>
                <a:spcPct val="100000"/>
              </a:lnSpc>
              <a:spcBef>
                <a:spcPts val="0"/>
              </a:spcBef>
              <a:spcAft>
                <a:spcPts val="600"/>
              </a:spcAft>
              <a:buClr>
                <a:srgbClr val="000000"/>
              </a:buClr>
              <a:buSzTx/>
              <a:buFont typeface="Arial"/>
              <a:buNone/>
              <a:tabLst/>
              <a:defRPr/>
            </a:pPr>
            <a:r>
              <a:rPr kumimoji="0" lang="en-US" sz="1600" b="0" i="0" u="none" strike="noStrike" kern="0" cap="none" spc="0" normalizeH="0" baseline="0" noProof="0">
                <a:ln>
                  <a:noFill/>
                </a:ln>
                <a:solidFill>
                  <a:srgbClr val="000000"/>
                </a:solidFill>
                <a:effectLst/>
                <a:uLnTx/>
                <a:uFillTx/>
                <a:latin typeface="Montserrat"/>
                <a:cs typeface="Arial"/>
                <a:sym typeface="Arial"/>
              </a:rPr>
              <a:t>Applications  knowledge</a:t>
            </a:r>
          </a:p>
          <a:p>
            <a:pPr marL="0" marR="0" lvl="0" indent="0" algn="r" defTabSz="914400" rtl="0" eaLnBrk="1" fontAlgn="auto" latinLnBrk="0" hangingPunct="1">
              <a:lnSpc>
                <a:spcPct val="100000"/>
              </a:lnSpc>
              <a:spcBef>
                <a:spcPts val="0"/>
              </a:spcBef>
              <a:spcAft>
                <a:spcPts val="600"/>
              </a:spcAft>
              <a:buClr>
                <a:srgbClr val="000000"/>
              </a:buClr>
              <a:buSzTx/>
              <a:buFont typeface="Arial"/>
              <a:buNone/>
              <a:tabLst/>
              <a:defRPr/>
            </a:pPr>
            <a:r>
              <a:rPr kumimoji="0" lang="en-US" sz="1600" b="0" i="0" u="none" strike="noStrike" kern="0" cap="none" spc="0" normalizeH="0" baseline="0" noProof="0">
                <a:ln>
                  <a:noFill/>
                </a:ln>
                <a:solidFill>
                  <a:srgbClr val="000000"/>
                </a:solidFill>
                <a:effectLst/>
                <a:uLnTx/>
                <a:uFillTx/>
                <a:latin typeface="Montserrat"/>
                <a:cs typeface="Arial"/>
                <a:sym typeface="Arial"/>
              </a:rPr>
              <a:t>Interfacing  with partners </a:t>
            </a:r>
            <a:endParaRPr lang="en-US" sz="1600" b="0" i="0" u="none" strike="noStrike" kern="0" cap="none" spc="0" normalizeH="0" baseline="0" noProof="0">
              <a:ln>
                <a:noFill/>
              </a:ln>
              <a:solidFill>
                <a:srgbClr val="000000"/>
              </a:solidFill>
              <a:effectLst/>
              <a:uLnTx/>
              <a:uFillTx/>
              <a:latin typeface="Montserrat"/>
              <a:cs typeface="Arial"/>
            </a:endParaRPr>
          </a:p>
          <a:p>
            <a:pPr marL="0" marR="0" lvl="0" indent="0" algn="r" defTabSz="914400" rtl="0" eaLnBrk="1" fontAlgn="auto" latinLnBrk="0" hangingPunct="1">
              <a:lnSpc>
                <a:spcPct val="100000"/>
              </a:lnSpc>
              <a:spcBef>
                <a:spcPts val="0"/>
              </a:spcBef>
              <a:spcAft>
                <a:spcPts val="600"/>
              </a:spcAft>
              <a:buClr>
                <a:srgbClr val="000000"/>
              </a:buClr>
              <a:buSzTx/>
              <a:buFont typeface="Arial"/>
              <a:buNone/>
              <a:tabLst/>
              <a:defRPr/>
            </a:pPr>
            <a:r>
              <a:rPr kumimoji="0" lang="en-US" sz="1600" b="0" i="0" u="none" strike="noStrike" kern="0" cap="none" spc="0" normalizeH="0" baseline="0" noProof="0">
                <a:ln>
                  <a:noFill/>
                </a:ln>
                <a:solidFill>
                  <a:srgbClr val="000000"/>
                </a:solidFill>
                <a:effectLst/>
                <a:uLnTx/>
                <a:uFillTx/>
                <a:latin typeface="Montserrat"/>
                <a:cs typeface="Arial"/>
                <a:sym typeface="Arial"/>
              </a:rPr>
              <a:t>APIs (cloud)</a:t>
            </a:r>
            <a:endParaRPr lang="en-US" sz="1600" b="0" i="0" u="none" strike="noStrike" kern="0" cap="none" spc="0" normalizeH="0" baseline="0" noProof="0">
              <a:ln>
                <a:noFill/>
              </a:ln>
              <a:solidFill>
                <a:srgbClr val="000000"/>
              </a:solidFill>
              <a:effectLst/>
              <a:uLnTx/>
              <a:uFillTx/>
              <a:latin typeface="Montserrat"/>
              <a:cs typeface="Arial"/>
            </a:endParaRPr>
          </a:p>
          <a:p>
            <a:pPr marL="0" marR="0" lvl="0" indent="0" algn="r" defTabSz="914400" rtl="0" eaLnBrk="1" fontAlgn="auto" latinLnBrk="0" hangingPunct="1">
              <a:lnSpc>
                <a:spcPct val="100000"/>
              </a:lnSpc>
              <a:spcBef>
                <a:spcPts val="0"/>
              </a:spcBef>
              <a:spcAft>
                <a:spcPts val="600"/>
              </a:spcAft>
              <a:buClr>
                <a:srgbClr val="000000"/>
              </a:buClr>
              <a:buSzTx/>
              <a:buFont typeface="Arial"/>
              <a:buNone/>
              <a:tabLst/>
              <a:defRPr/>
            </a:pPr>
            <a:r>
              <a:rPr kumimoji="0" lang="en-US" sz="1600" b="0" i="0" u="none" strike="noStrike" kern="0" cap="none" spc="0" normalizeH="0" baseline="0" noProof="0">
                <a:ln>
                  <a:noFill/>
                </a:ln>
                <a:solidFill>
                  <a:srgbClr val="000000"/>
                </a:solidFill>
                <a:effectLst/>
                <a:uLnTx/>
                <a:uFillTx/>
                <a:latin typeface="Montserrat"/>
                <a:cs typeface="Arial"/>
                <a:sym typeface="Arial"/>
              </a:rPr>
              <a:t>Export/Import Data </a:t>
            </a:r>
            <a:endParaRPr lang="en-US" sz="1600" b="0" i="0" u="none" strike="noStrike" kern="0" cap="none" spc="0" normalizeH="0" baseline="0" noProof="0">
              <a:ln>
                <a:noFill/>
              </a:ln>
              <a:solidFill>
                <a:srgbClr val="000000"/>
              </a:solidFill>
              <a:effectLst/>
              <a:uLnTx/>
              <a:uFillTx/>
              <a:latin typeface="Montserrat"/>
              <a:cs typeface="Arial"/>
            </a:endParaRPr>
          </a:p>
          <a:p>
            <a:pPr marL="0" marR="0" lvl="0" indent="0" algn="r" defTabSz="914400" rtl="0" eaLnBrk="1" fontAlgn="auto" latinLnBrk="0" hangingPunct="1">
              <a:lnSpc>
                <a:spcPct val="100000"/>
              </a:lnSpc>
              <a:spcBef>
                <a:spcPts val="0"/>
              </a:spcBef>
              <a:spcAft>
                <a:spcPts val="600"/>
              </a:spcAft>
              <a:buClr>
                <a:srgbClr val="000000"/>
              </a:buClr>
              <a:buSzTx/>
              <a:buFont typeface="Arial"/>
              <a:buNone/>
              <a:tabLst/>
              <a:defRPr/>
            </a:pPr>
            <a:endParaRPr kumimoji="0" lang="en-US" sz="1600" b="0" i="0" u="none" strike="noStrike" kern="0" cap="none" spc="0" normalizeH="0" baseline="0" noProof="0">
              <a:ln>
                <a:noFill/>
              </a:ln>
              <a:solidFill>
                <a:srgbClr val="000000"/>
              </a:solidFill>
              <a:effectLst/>
              <a:uLnTx/>
              <a:uFillTx/>
              <a:latin typeface="Montserrat" pitchFamily="2" charset="77"/>
              <a:cs typeface="Arial"/>
              <a:sym typeface="Arial"/>
            </a:endParaRPr>
          </a:p>
        </p:txBody>
      </p:sp>
      <p:sp>
        <p:nvSpPr>
          <p:cNvPr id="35" name="Triângulo isósceles 34">
            <a:extLst>
              <a:ext uri="{FF2B5EF4-FFF2-40B4-BE49-F238E27FC236}">
                <a16:creationId xmlns:a16="http://schemas.microsoft.com/office/drawing/2014/main" id="{A4F25B64-8B14-4617-A14D-605362F2545F}"/>
              </a:ext>
            </a:extLst>
          </p:cNvPr>
          <p:cNvSpPr/>
          <p:nvPr/>
        </p:nvSpPr>
        <p:spPr>
          <a:xfrm rot="16200000">
            <a:off x="3324983" y="6102729"/>
            <a:ext cx="2107207" cy="504826"/>
          </a:xfrm>
          <a:prstGeom prst="triangle">
            <a:avLst/>
          </a:prstGeom>
          <a:solidFill>
            <a:srgbClr val="68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sym typeface="Arial"/>
            </a:endParaRPr>
          </a:p>
        </p:txBody>
      </p:sp>
      <p:pic>
        <p:nvPicPr>
          <p:cNvPr id="41" name="Imagem 40">
            <a:extLst>
              <a:ext uri="{FF2B5EF4-FFF2-40B4-BE49-F238E27FC236}">
                <a16:creationId xmlns:a16="http://schemas.microsoft.com/office/drawing/2014/main" id="{E39B4B9A-534E-456C-8A4E-059DA7047634}"/>
              </a:ext>
            </a:extLst>
          </p:cNvPr>
          <p:cNvPicPr>
            <a:picLocks noChangeAspect="1"/>
          </p:cNvPicPr>
          <p:nvPr/>
        </p:nvPicPr>
        <p:blipFill rotWithShape="1">
          <a:blip r:embed="rId2">
            <a:clrChange>
              <a:clrFrom>
                <a:srgbClr val="FEFEFE"/>
              </a:clrFrom>
              <a:clrTo>
                <a:srgbClr val="FEFEFE">
                  <a:alpha val="0"/>
                </a:srgbClr>
              </a:clrTo>
            </a:clrChange>
            <a:duotone>
              <a:schemeClr val="accent1">
                <a:shade val="45000"/>
                <a:satMod val="135000"/>
              </a:schemeClr>
              <a:prstClr val="white"/>
            </a:duotone>
          </a:blip>
          <a:srcRect l="40130" t="30488" r="50002" b="59711"/>
          <a:stretch/>
        </p:blipFill>
        <p:spPr>
          <a:xfrm>
            <a:off x="4630999" y="2094486"/>
            <a:ext cx="2555575" cy="2538012"/>
          </a:xfrm>
          <a:prstGeom prst="rect">
            <a:avLst/>
          </a:prstGeom>
          <a:ln>
            <a:noFill/>
          </a:ln>
        </p:spPr>
      </p:pic>
      <p:sp>
        <p:nvSpPr>
          <p:cNvPr id="42" name="CaixaDeTexto 41">
            <a:extLst>
              <a:ext uri="{FF2B5EF4-FFF2-40B4-BE49-F238E27FC236}">
                <a16:creationId xmlns:a16="http://schemas.microsoft.com/office/drawing/2014/main" id="{8E9A2F4B-B8DB-4BCA-82CA-E55C2DAA3F80}"/>
              </a:ext>
            </a:extLst>
          </p:cNvPr>
          <p:cNvSpPr txBox="1"/>
          <p:nvPr/>
        </p:nvSpPr>
        <p:spPr>
          <a:xfrm>
            <a:off x="7375734" y="2313684"/>
            <a:ext cx="3441437" cy="2277547"/>
          </a:xfrm>
          <a:prstGeom prst="rect">
            <a:avLst/>
          </a:prstGeom>
          <a:noFill/>
          <a:ln>
            <a:solidFill>
              <a:schemeClr val="bg1"/>
            </a:solidFill>
          </a:ln>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600"/>
              </a:spcAft>
              <a:buClr>
                <a:srgbClr val="000000"/>
              </a:buClr>
              <a:buSzTx/>
              <a:buFont typeface="Arial"/>
              <a:buNone/>
              <a:tabLst/>
              <a:defRPr/>
            </a:pPr>
            <a:r>
              <a:rPr kumimoji="0" lang="en-US" sz="1600" b="0" i="0" u="none" strike="noStrike" kern="0" cap="none" spc="0" normalizeH="0" baseline="0" noProof="0">
                <a:ln>
                  <a:noFill/>
                </a:ln>
                <a:solidFill>
                  <a:srgbClr val="6816FF"/>
                </a:solidFill>
                <a:effectLst/>
                <a:uLnTx/>
                <a:uFillTx/>
                <a:latin typeface="Montserrat"/>
                <a:cs typeface="Arial"/>
                <a:sym typeface="Arial"/>
              </a:rPr>
              <a:t>KNOWLEDGE BASE and AI</a:t>
            </a:r>
          </a:p>
          <a:p>
            <a:pPr marL="0" marR="0" lvl="0" indent="0" algn="l" defTabSz="914400" rtl="0" eaLnBrk="1" fontAlgn="auto" latinLnBrk="0" hangingPunct="1">
              <a:lnSpc>
                <a:spcPct val="100000"/>
              </a:lnSpc>
              <a:spcBef>
                <a:spcPts val="0"/>
              </a:spcBef>
              <a:spcAft>
                <a:spcPts val="600"/>
              </a:spcAft>
              <a:buClr>
                <a:srgbClr val="000000"/>
              </a:buClr>
              <a:buSzTx/>
              <a:buFont typeface="Arial"/>
              <a:buNone/>
              <a:tabLst/>
              <a:defRPr/>
            </a:pPr>
            <a:r>
              <a:rPr kumimoji="0" lang="en-US" sz="1600" b="0" i="0" u="none" strike="noStrike" kern="0" cap="none" spc="0" normalizeH="0" baseline="0" noProof="0">
                <a:ln>
                  <a:noFill/>
                </a:ln>
                <a:solidFill>
                  <a:srgbClr val="000000"/>
                </a:solidFill>
                <a:effectLst/>
                <a:uLnTx/>
                <a:uFillTx/>
                <a:latin typeface="Montserrat"/>
                <a:cs typeface="Arial"/>
                <a:sym typeface="Arial"/>
              </a:rPr>
              <a:t>Inventory/Mapping</a:t>
            </a:r>
            <a:endParaRPr lang="en-US" sz="1600" b="0" i="0" u="none" strike="noStrike" kern="0" cap="none" spc="0" normalizeH="0" baseline="0" noProof="0">
              <a:ln>
                <a:noFill/>
              </a:ln>
              <a:solidFill>
                <a:srgbClr val="000000"/>
              </a:solidFill>
              <a:effectLst/>
              <a:uLnTx/>
              <a:uFillTx/>
              <a:latin typeface="Montserrat"/>
              <a:cs typeface="Arial"/>
            </a:endParaRPr>
          </a:p>
          <a:p>
            <a:pPr marL="0" marR="0" lvl="0" indent="0" algn="l" defTabSz="914400" rtl="0" eaLnBrk="1" fontAlgn="auto" latinLnBrk="0" hangingPunct="1">
              <a:lnSpc>
                <a:spcPct val="100000"/>
              </a:lnSpc>
              <a:spcBef>
                <a:spcPts val="0"/>
              </a:spcBef>
              <a:spcAft>
                <a:spcPts val="600"/>
              </a:spcAft>
              <a:buClr>
                <a:srgbClr val="000000"/>
              </a:buClr>
              <a:buSzTx/>
              <a:buFont typeface="Arial"/>
              <a:buNone/>
              <a:tabLst/>
              <a:defRPr/>
            </a:pPr>
            <a:r>
              <a:rPr kumimoji="0" lang="en-US" sz="1600" b="0" i="0" u="none" strike="noStrike" kern="0" cap="none" spc="0" normalizeH="0" baseline="0" noProof="0">
                <a:ln>
                  <a:noFill/>
                </a:ln>
                <a:solidFill>
                  <a:srgbClr val="000000"/>
                </a:solidFill>
                <a:effectLst/>
                <a:uLnTx/>
                <a:uFillTx/>
                <a:latin typeface="Montserrat"/>
                <a:cs typeface="Arial"/>
                <a:sym typeface="Arial"/>
              </a:rPr>
              <a:t>Automatic code migration</a:t>
            </a:r>
            <a:endParaRPr lang="en-US" sz="1600" b="0" i="0" u="none" strike="noStrike" kern="0" cap="none" spc="0" normalizeH="0" baseline="0" noProof="0">
              <a:ln>
                <a:noFill/>
              </a:ln>
              <a:solidFill>
                <a:srgbClr val="000000"/>
              </a:solidFill>
              <a:effectLst/>
              <a:uLnTx/>
              <a:uFillTx/>
              <a:latin typeface="Montserrat"/>
              <a:cs typeface="Arial"/>
            </a:endParaRPr>
          </a:p>
          <a:p>
            <a:pPr marL="0" marR="0" lvl="0" indent="0" algn="l" defTabSz="914400" rtl="0" eaLnBrk="1" fontAlgn="auto" latinLnBrk="0" hangingPunct="1">
              <a:lnSpc>
                <a:spcPct val="100000"/>
              </a:lnSpc>
              <a:spcBef>
                <a:spcPts val="0"/>
              </a:spcBef>
              <a:spcAft>
                <a:spcPts val="600"/>
              </a:spcAft>
              <a:buClr>
                <a:srgbClr val="000000"/>
              </a:buClr>
              <a:buSzTx/>
              <a:buFont typeface="Arial"/>
              <a:buNone/>
              <a:tabLst/>
              <a:defRPr/>
            </a:pPr>
            <a:r>
              <a:rPr kumimoji="0" lang="en-US" sz="1600" b="0" i="0" u="none" strike="noStrike" kern="0" cap="none" spc="0" normalizeH="0" baseline="0" noProof="0">
                <a:ln>
                  <a:noFill/>
                </a:ln>
                <a:solidFill>
                  <a:srgbClr val="000000"/>
                </a:solidFill>
                <a:effectLst/>
                <a:uLnTx/>
                <a:uFillTx/>
                <a:latin typeface="Montserrat"/>
                <a:cs typeface="Arial"/>
                <a:sym typeface="Arial"/>
              </a:rPr>
              <a:t>Identification of databases</a:t>
            </a:r>
            <a:endParaRPr lang="en-US" sz="1600" b="0" i="0" u="none" strike="noStrike" kern="0" cap="none" spc="0" normalizeH="0" baseline="0" noProof="0">
              <a:ln>
                <a:noFill/>
              </a:ln>
              <a:solidFill>
                <a:srgbClr val="000000"/>
              </a:solidFill>
              <a:effectLst/>
              <a:uLnTx/>
              <a:uFillTx/>
              <a:latin typeface="Montserrat"/>
              <a:cs typeface="Arial"/>
            </a:endParaRPr>
          </a:p>
          <a:p>
            <a:pPr marL="0" marR="0" lvl="0" indent="0" algn="l" defTabSz="914400" rtl="0" eaLnBrk="1" fontAlgn="auto" latinLnBrk="0" hangingPunct="1">
              <a:lnSpc>
                <a:spcPct val="100000"/>
              </a:lnSpc>
              <a:spcBef>
                <a:spcPts val="0"/>
              </a:spcBef>
              <a:spcAft>
                <a:spcPts val="600"/>
              </a:spcAft>
              <a:buClr>
                <a:srgbClr val="000000"/>
              </a:buClr>
              <a:buSzTx/>
              <a:buFont typeface="Arial"/>
              <a:buNone/>
              <a:tabLst/>
              <a:defRPr/>
            </a:pPr>
            <a:r>
              <a:rPr kumimoji="0" lang="en-US" sz="1600" b="0" i="0" u="none" strike="noStrike" kern="0" cap="none" spc="0" normalizeH="0" baseline="0" noProof="0">
                <a:ln>
                  <a:noFill/>
                </a:ln>
                <a:solidFill>
                  <a:srgbClr val="000000"/>
                </a:solidFill>
                <a:effectLst/>
                <a:uLnTx/>
                <a:uFillTx/>
                <a:latin typeface="Montserrat"/>
                <a:cs typeface="Arial"/>
                <a:sym typeface="Arial"/>
              </a:rPr>
              <a:t>Relationship systems/objects</a:t>
            </a:r>
            <a:endParaRPr lang="en-US" sz="1600" b="0" i="0" u="none" strike="noStrike" kern="0" cap="none" spc="0" normalizeH="0" baseline="0" noProof="0">
              <a:ln>
                <a:noFill/>
              </a:ln>
              <a:solidFill>
                <a:srgbClr val="000000"/>
              </a:solidFill>
              <a:effectLst/>
              <a:uLnTx/>
              <a:uFillTx/>
              <a:latin typeface="Montserrat"/>
              <a:cs typeface="Arial"/>
            </a:endParaRPr>
          </a:p>
          <a:p>
            <a:pPr marL="0" marR="0" lvl="0" indent="0" algn="l" defTabSz="914400" rtl="0" eaLnBrk="1" fontAlgn="auto" latinLnBrk="0" hangingPunct="1">
              <a:lnSpc>
                <a:spcPct val="100000"/>
              </a:lnSpc>
              <a:spcBef>
                <a:spcPts val="0"/>
              </a:spcBef>
              <a:spcAft>
                <a:spcPts val="600"/>
              </a:spcAft>
              <a:buClr>
                <a:srgbClr val="000000"/>
              </a:buClr>
              <a:buSzTx/>
              <a:buFont typeface="Arial"/>
              <a:buNone/>
              <a:tabLst/>
              <a:defRPr/>
            </a:pPr>
            <a:r>
              <a:rPr kumimoji="0" lang="en-US" sz="1600" b="0" i="0" u="none" strike="noStrike" kern="0" cap="none" spc="0" normalizeH="0" baseline="0" noProof="0">
                <a:ln>
                  <a:noFill/>
                </a:ln>
                <a:solidFill>
                  <a:srgbClr val="000000"/>
                </a:solidFill>
                <a:effectLst/>
                <a:uLnTx/>
                <a:uFillTx/>
                <a:latin typeface="Montserrat"/>
                <a:cs typeface="Arial"/>
                <a:sym typeface="Arial"/>
              </a:rPr>
              <a:t>Systems/database relationship</a:t>
            </a:r>
            <a:endParaRPr lang="en-US" sz="1600" b="0" i="0" u="none" strike="noStrike" kern="0" cap="none" spc="0" normalizeH="0" baseline="0" noProof="0">
              <a:ln>
                <a:noFill/>
              </a:ln>
              <a:solidFill>
                <a:srgbClr val="000000"/>
              </a:solidFill>
              <a:effectLst/>
              <a:uLnTx/>
              <a:uFillTx/>
              <a:latin typeface="Montserrat"/>
              <a:cs typeface="Arial"/>
            </a:endParaRPr>
          </a:p>
          <a:p>
            <a:pPr marL="0" marR="0" lvl="0" indent="0" algn="l" defTabSz="914400" rtl="0" eaLnBrk="1" fontAlgn="auto" latinLnBrk="0" hangingPunct="1">
              <a:lnSpc>
                <a:spcPct val="100000"/>
              </a:lnSpc>
              <a:spcBef>
                <a:spcPts val="0"/>
              </a:spcBef>
              <a:spcAft>
                <a:spcPts val="600"/>
              </a:spcAft>
              <a:buClr>
                <a:srgbClr val="000000"/>
              </a:buClr>
              <a:buSzTx/>
              <a:buFont typeface="Arial"/>
              <a:buNone/>
              <a:tabLst/>
              <a:defRPr/>
            </a:pPr>
            <a:r>
              <a:rPr kumimoji="0" lang="en-US" sz="1600" b="0" i="0" u="none" strike="noStrike" kern="0" cap="none" spc="0" normalizeH="0" baseline="0" noProof="0">
                <a:ln>
                  <a:noFill/>
                </a:ln>
                <a:solidFill>
                  <a:srgbClr val="000000"/>
                </a:solidFill>
                <a:effectLst/>
                <a:uLnTx/>
                <a:uFillTx/>
                <a:latin typeface="Montserrat"/>
                <a:cs typeface="Arial"/>
                <a:sym typeface="Arial"/>
              </a:rPr>
              <a:t>Relocation of sensitive data</a:t>
            </a:r>
          </a:p>
        </p:txBody>
      </p:sp>
      <p:sp>
        <p:nvSpPr>
          <p:cNvPr id="25" name="Triângulo isósceles 24">
            <a:extLst>
              <a:ext uri="{FF2B5EF4-FFF2-40B4-BE49-F238E27FC236}">
                <a16:creationId xmlns:a16="http://schemas.microsoft.com/office/drawing/2014/main" id="{4DEE1ABC-C99F-4049-B537-BB5C0B524D90}"/>
              </a:ext>
            </a:extLst>
          </p:cNvPr>
          <p:cNvSpPr/>
          <p:nvPr/>
        </p:nvSpPr>
        <p:spPr>
          <a:xfrm>
            <a:off x="7807570" y="4817795"/>
            <a:ext cx="2107207" cy="504826"/>
          </a:xfrm>
          <a:prstGeom prst="triangle">
            <a:avLst/>
          </a:prstGeom>
          <a:solidFill>
            <a:srgbClr val="68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sym typeface="Arial"/>
            </a:endParaRPr>
          </a:p>
        </p:txBody>
      </p:sp>
      <p:cxnSp>
        <p:nvCxnSpPr>
          <p:cNvPr id="4" name="Google Shape;912;p28">
            <a:extLst>
              <a:ext uri="{FF2B5EF4-FFF2-40B4-BE49-F238E27FC236}">
                <a16:creationId xmlns:a16="http://schemas.microsoft.com/office/drawing/2014/main" id="{12E1965C-1B07-2FF3-125C-06610E7E0932}"/>
              </a:ext>
            </a:extLst>
          </p:cNvPr>
          <p:cNvCxnSpPr>
            <a:cxnSpLocks/>
          </p:cNvCxnSpPr>
          <p:nvPr/>
        </p:nvCxnSpPr>
        <p:spPr>
          <a:xfrm flipV="1">
            <a:off x="1139352" y="8249494"/>
            <a:ext cx="9682719" cy="0"/>
          </a:xfrm>
          <a:prstGeom prst="straightConnector1">
            <a:avLst/>
          </a:prstGeom>
          <a:noFill/>
          <a:ln w="9525" cap="flat" cmpd="sng">
            <a:solidFill>
              <a:srgbClr val="6800FF"/>
            </a:solidFill>
            <a:prstDash val="dash"/>
            <a:round/>
            <a:headEnd type="oval" w="sm" len="sm"/>
            <a:tailEnd type="oval" w="sm" len="sm"/>
          </a:ln>
        </p:spPr>
      </p:cxnSp>
      <p:cxnSp>
        <p:nvCxnSpPr>
          <p:cNvPr id="5" name="Google Shape;912;p28">
            <a:extLst>
              <a:ext uri="{FF2B5EF4-FFF2-40B4-BE49-F238E27FC236}">
                <a16:creationId xmlns:a16="http://schemas.microsoft.com/office/drawing/2014/main" id="{7B22CA70-B772-5E72-C4F9-30DE04157D06}"/>
              </a:ext>
            </a:extLst>
          </p:cNvPr>
          <p:cNvCxnSpPr>
            <a:cxnSpLocks/>
          </p:cNvCxnSpPr>
          <p:nvPr/>
        </p:nvCxnSpPr>
        <p:spPr>
          <a:xfrm flipV="1">
            <a:off x="11049051" y="8249494"/>
            <a:ext cx="5965195" cy="0"/>
          </a:xfrm>
          <a:prstGeom prst="straightConnector1">
            <a:avLst/>
          </a:prstGeom>
          <a:noFill/>
          <a:ln w="9525" cap="flat" cmpd="sng">
            <a:solidFill>
              <a:srgbClr val="6800FF"/>
            </a:solidFill>
            <a:prstDash val="dash"/>
            <a:round/>
            <a:headEnd type="oval" w="sm" len="sm"/>
            <a:tailEnd type="oval" w="sm" len="sm"/>
          </a:ln>
        </p:spPr>
      </p:cxnSp>
      <p:sp>
        <p:nvSpPr>
          <p:cNvPr id="46" name="CaixaDeTexto 45">
            <a:extLst>
              <a:ext uri="{FF2B5EF4-FFF2-40B4-BE49-F238E27FC236}">
                <a16:creationId xmlns:a16="http://schemas.microsoft.com/office/drawing/2014/main" id="{6ABBEF61-9D4A-4897-8289-90F2C1DCD031}"/>
              </a:ext>
            </a:extLst>
          </p:cNvPr>
          <p:cNvSpPr txBox="1"/>
          <p:nvPr/>
        </p:nvSpPr>
        <p:spPr>
          <a:xfrm>
            <a:off x="4902073" y="8095930"/>
            <a:ext cx="2263749" cy="307777"/>
          </a:xfrm>
          <a:prstGeom prst="rect">
            <a:avLst/>
          </a:prstGeom>
          <a:solidFill>
            <a:srgbClr val="6800FF"/>
          </a:solidFill>
          <a:ln>
            <a:solidFill>
              <a:schemeClr val="bg1"/>
            </a:solidFill>
          </a:ln>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chemeClr val="tx1"/>
                </a:solidFill>
                <a:effectLst/>
                <a:highlight>
                  <a:srgbClr val="6800FF"/>
                </a:highlight>
                <a:uLnTx/>
                <a:uFillTx/>
                <a:latin typeface="Montserrat Bold"/>
                <a:cs typeface="Arial"/>
                <a:sym typeface="Arial"/>
              </a:rPr>
              <a:t>PLATFORM &amp; </a:t>
            </a:r>
            <a:r>
              <a:rPr lang="en-US" noProof="0">
                <a:solidFill>
                  <a:schemeClr val="tx1"/>
                </a:solidFill>
                <a:highlight>
                  <a:srgbClr val="6800FF"/>
                </a:highlight>
                <a:latin typeface="Montserrat Bold"/>
              </a:rPr>
              <a:t>ENGINE</a:t>
            </a:r>
          </a:p>
        </p:txBody>
      </p:sp>
      <p:sp>
        <p:nvSpPr>
          <p:cNvPr id="51" name="CaixaDeTexto 50">
            <a:extLst>
              <a:ext uri="{FF2B5EF4-FFF2-40B4-BE49-F238E27FC236}">
                <a16:creationId xmlns:a16="http://schemas.microsoft.com/office/drawing/2014/main" id="{49385415-E328-47AC-BC27-A877B31C5323}"/>
              </a:ext>
            </a:extLst>
          </p:cNvPr>
          <p:cNvSpPr txBox="1"/>
          <p:nvPr/>
        </p:nvSpPr>
        <p:spPr>
          <a:xfrm>
            <a:off x="11982187" y="8100836"/>
            <a:ext cx="4134113" cy="307777"/>
          </a:xfrm>
          <a:prstGeom prst="rect">
            <a:avLst/>
          </a:prstGeom>
          <a:solidFill>
            <a:srgbClr val="6800FF"/>
          </a:solidFill>
          <a:ln>
            <a:solidFill>
              <a:schemeClr val="bg1"/>
            </a:solidFill>
          </a:ln>
        </p:spPr>
        <p:txBody>
          <a:bodyPr wrap="square" lIns="91440" tIns="45720" rIns="91440" bIns="45720" anchor="t">
            <a:spAutoFit/>
          </a:bodyPr>
          <a:lstStyle/>
          <a:p>
            <a:pPr algn="ctr">
              <a:defRPr/>
            </a:pPr>
            <a:r>
              <a:rPr lang="en-US" noProof="0">
                <a:solidFill>
                  <a:schemeClr val="tx1"/>
                </a:solidFill>
                <a:highlight>
                  <a:srgbClr val="6800FF"/>
                </a:highlight>
                <a:latin typeface="Montserrat Bold"/>
              </a:rPr>
              <a:t>QINTESS QSTUDIO JOURNEY DELIVERY</a:t>
            </a:r>
          </a:p>
        </p:txBody>
      </p:sp>
      <p:sp>
        <p:nvSpPr>
          <p:cNvPr id="7" name="Chave Esquerda 34">
            <a:extLst>
              <a:ext uri="{FF2B5EF4-FFF2-40B4-BE49-F238E27FC236}">
                <a16:creationId xmlns:a16="http://schemas.microsoft.com/office/drawing/2014/main" id="{7DB4268C-572F-AB04-A2EB-01D9DCB57E38}"/>
              </a:ext>
            </a:extLst>
          </p:cNvPr>
          <p:cNvSpPr/>
          <p:nvPr/>
        </p:nvSpPr>
        <p:spPr>
          <a:xfrm rot="10800000">
            <a:off x="11218249" y="1590504"/>
            <a:ext cx="400050" cy="6146027"/>
          </a:xfrm>
          <a:prstGeom prst="leftBrace">
            <a:avLst>
              <a:gd name="adj1" fmla="val 0"/>
              <a:gd name="adj2" fmla="val 50000"/>
            </a:avLst>
          </a:prstGeom>
          <a:ln w="28575">
            <a:solidFill>
              <a:srgbClr val="6800FF"/>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8" name="Triângulo isósceles 24">
            <a:extLst>
              <a:ext uri="{FF2B5EF4-FFF2-40B4-BE49-F238E27FC236}">
                <a16:creationId xmlns:a16="http://schemas.microsoft.com/office/drawing/2014/main" id="{B8916758-0FC4-6288-CCEF-2910FCFC46F2}"/>
              </a:ext>
            </a:extLst>
          </p:cNvPr>
          <p:cNvSpPr/>
          <p:nvPr/>
        </p:nvSpPr>
        <p:spPr>
          <a:xfrm rot="5400000">
            <a:off x="11547287" y="4551466"/>
            <a:ext cx="353868" cy="216302"/>
          </a:xfrm>
          <a:prstGeom prst="triangle">
            <a:avLst/>
          </a:prstGeom>
          <a:solidFill>
            <a:srgbClr val="68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sym typeface="Arial"/>
            </a:endParaRPr>
          </a:p>
        </p:txBody>
      </p:sp>
      <p:cxnSp>
        <p:nvCxnSpPr>
          <p:cNvPr id="9" name="Google Shape;912;p28">
            <a:extLst>
              <a:ext uri="{FF2B5EF4-FFF2-40B4-BE49-F238E27FC236}">
                <a16:creationId xmlns:a16="http://schemas.microsoft.com/office/drawing/2014/main" id="{3330E388-1FC0-BE71-B941-DC3E85011E06}"/>
              </a:ext>
            </a:extLst>
          </p:cNvPr>
          <p:cNvCxnSpPr>
            <a:cxnSpLocks/>
          </p:cNvCxnSpPr>
          <p:nvPr/>
        </p:nvCxnSpPr>
        <p:spPr>
          <a:xfrm flipH="1">
            <a:off x="5906061" y="4276736"/>
            <a:ext cx="5038" cy="654728"/>
          </a:xfrm>
          <a:prstGeom prst="straightConnector1">
            <a:avLst/>
          </a:prstGeom>
          <a:noFill/>
          <a:ln w="28575" cap="flat" cmpd="sng">
            <a:solidFill>
              <a:srgbClr val="6800FF"/>
            </a:solidFill>
            <a:prstDash val="dash"/>
            <a:round/>
            <a:headEnd type="none" w="sm" len="sm"/>
            <a:tailEnd type="arrow" w="sm" len="sm"/>
          </a:ln>
        </p:spPr>
      </p:cxnSp>
      <p:sp>
        <p:nvSpPr>
          <p:cNvPr id="10" name="Triângulo isósceles 24">
            <a:extLst>
              <a:ext uri="{FF2B5EF4-FFF2-40B4-BE49-F238E27FC236}">
                <a16:creationId xmlns:a16="http://schemas.microsoft.com/office/drawing/2014/main" id="{887AE630-731C-FEBD-CAD5-331C8BF2477E}"/>
              </a:ext>
            </a:extLst>
          </p:cNvPr>
          <p:cNvSpPr/>
          <p:nvPr/>
        </p:nvSpPr>
        <p:spPr>
          <a:xfrm rot="10800000">
            <a:off x="5732413" y="4828893"/>
            <a:ext cx="353868" cy="216302"/>
          </a:xfrm>
          <a:prstGeom prst="triangle">
            <a:avLst/>
          </a:prstGeom>
          <a:solidFill>
            <a:srgbClr val="68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sym typeface="Arial"/>
            </a:endParaRPr>
          </a:p>
        </p:txBody>
      </p:sp>
      <p:cxnSp>
        <p:nvCxnSpPr>
          <p:cNvPr id="11" name="Google Shape;912;p28">
            <a:extLst>
              <a:ext uri="{FF2B5EF4-FFF2-40B4-BE49-F238E27FC236}">
                <a16:creationId xmlns:a16="http://schemas.microsoft.com/office/drawing/2014/main" id="{B7CFB65E-9B4E-9B8E-318B-5A2F226EFE2C}"/>
              </a:ext>
            </a:extLst>
          </p:cNvPr>
          <p:cNvCxnSpPr>
            <a:cxnSpLocks/>
          </p:cNvCxnSpPr>
          <p:nvPr/>
        </p:nvCxnSpPr>
        <p:spPr>
          <a:xfrm>
            <a:off x="6965323" y="6485055"/>
            <a:ext cx="638591" cy="1"/>
          </a:xfrm>
          <a:prstGeom prst="straightConnector1">
            <a:avLst/>
          </a:prstGeom>
          <a:noFill/>
          <a:ln w="28575" cap="flat" cmpd="sng">
            <a:solidFill>
              <a:srgbClr val="6800FF"/>
            </a:solidFill>
            <a:prstDash val="dash"/>
            <a:round/>
            <a:headEnd type="none" w="sm" len="sm"/>
            <a:tailEnd type="arrow" w="sm" len="sm"/>
          </a:ln>
        </p:spPr>
      </p:cxnSp>
      <p:sp>
        <p:nvSpPr>
          <p:cNvPr id="12" name="Triângulo isósceles 24">
            <a:extLst>
              <a:ext uri="{FF2B5EF4-FFF2-40B4-BE49-F238E27FC236}">
                <a16:creationId xmlns:a16="http://schemas.microsoft.com/office/drawing/2014/main" id="{0F66B84D-841A-31CA-9AA9-36CC3BADC48B}"/>
              </a:ext>
            </a:extLst>
          </p:cNvPr>
          <p:cNvSpPr/>
          <p:nvPr/>
        </p:nvSpPr>
        <p:spPr>
          <a:xfrm rot="5400000">
            <a:off x="7430267" y="6382485"/>
            <a:ext cx="353868" cy="216302"/>
          </a:xfrm>
          <a:prstGeom prst="triangle">
            <a:avLst/>
          </a:prstGeom>
          <a:solidFill>
            <a:srgbClr val="68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sym typeface="Arial"/>
            </a:endParaRPr>
          </a:p>
        </p:txBody>
      </p:sp>
      <p:grpSp>
        <p:nvGrpSpPr>
          <p:cNvPr id="13" name="Group 24">
            <a:extLst>
              <a:ext uri="{FF2B5EF4-FFF2-40B4-BE49-F238E27FC236}">
                <a16:creationId xmlns:a16="http://schemas.microsoft.com/office/drawing/2014/main" id="{40A7ED82-5B70-8885-F6A0-5A1DEC3967E9}"/>
              </a:ext>
            </a:extLst>
          </p:cNvPr>
          <p:cNvGrpSpPr/>
          <p:nvPr/>
        </p:nvGrpSpPr>
        <p:grpSpPr>
          <a:xfrm>
            <a:off x="3697099" y="1388819"/>
            <a:ext cx="612363" cy="56823"/>
            <a:chOff x="0" y="0"/>
            <a:chExt cx="1078484" cy="100076"/>
          </a:xfrm>
        </p:grpSpPr>
        <p:sp>
          <p:nvSpPr>
            <p:cNvPr id="6" name="Freeform 25">
              <a:extLst>
                <a:ext uri="{FF2B5EF4-FFF2-40B4-BE49-F238E27FC236}">
                  <a16:creationId xmlns:a16="http://schemas.microsoft.com/office/drawing/2014/main" id="{0994C912-9E01-A83F-BF91-54C9F825BAF2}"/>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en-US" sz="1800" noProof="0"/>
            </a:p>
          </p:txBody>
        </p:sp>
      </p:grpSp>
    </p:spTree>
    <p:extLst>
      <p:ext uri="{BB962C8B-B14F-4D97-AF65-F5344CB8AC3E}">
        <p14:creationId xmlns:p14="http://schemas.microsoft.com/office/powerpoint/2010/main" val="366346536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Shape 364"/>
        <p:cNvGrpSpPr/>
        <p:nvPr/>
      </p:nvGrpSpPr>
      <p:grpSpPr>
        <a:xfrm>
          <a:off x="0" y="0"/>
          <a:ext cx="0" cy="0"/>
          <a:chOff x="0" y="0"/>
          <a:chExt cx="0" cy="0"/>
        </a:xfrm>
      </p:grpSpPr>
      <p:pic>
        <p:nvPicPr>
          <p:cNvPr id="365" name="Google Shape;365;p25"/>
          <p:cNvPicPr preferRelativeResize="0"/>
          <p:nvPr/>
        </p:nvPicPr>
        <p:blipFill rotWithShape="1">
          <a:blip r:embed="rId3">
            <a:alphaModFix/>
          </a:blip>
          <a:srcRect/>
          <a:stretch/>
        </p:blipFill>
        <p:spPr>
          <a:xfrm>
            <a:off x="1" y="0"/>
            <a:ext cx="18288010" cy="10287000"/>
          </a:xfrm>
          <a:prstGeom prst="rect">
            <a:avLst/>
          </a:prstGeom>
          <a:noFill/>
          <a:ln>
            <a:noFill/>
          </a:ln>
        </p:spPr>
      </p:pic>
      <p:sp>
        <p:nvSpPr>
          <p:cNvPr id="5" name="Retângulo 4">
            <a:extLst>
              <a:ext uri="{FF2B5EF4-FFF2-40B4-BE49-F238E27FC236}">
                <a16:creationId xmlns:a16="http://schemas.microsoft.com/office/drawing/2014/main" id="{2A0BE683-C757-9B8E-2065-87C134D35BDE}"/>
              </a:ext>
            </a:extLst>
          </p:cNvPr>
          <p:cNvSpPr/>
          <p:nvPr/>
        </p:nvSpPr>
        <p:spPr>
          <a:xfrm>
            <a:off x="0" y="0"/>
            <a:ext cx="6766560" cy="10287000"/>
          </a:xfrm>
          <a:prstGeom prst="rect">
            <a:avLst/>
          </a:prstGeom>
          <a:solidFill>
            <a:srgbClr val="000000">
              <a:alpha val="2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69" name="Google Shape;369;p25"/>
          <p:cNvSpPr txBox="1"/>
          <p:nvPr/>
        </p:nvSpPr>
        <p:spPr>
          <a:xfrm>
            <a:off x="1056410" y="2090020"/>
            <a:ext cx="5985600" cy="3598800"/>
          </a:xfrm>
          <a:prstGeom prst="rect">
            <a:avLst/>
          </a:prstGeom>
          <a:noFill/>
          <a:ln>
            <a:noFill/>
          </a:ln>
        </p:spPr>
        <p:txBody>
          <a:bodyPr spcFirstLastPara="1" wrap="square" lIns="182850" tIns="182850" rIns="182850" bIns="182850" anchor="t" anchorCtr="0">
            <a:noAutofit/>
          </a:bodyPr>
          <a:lstStyle/>
          <a:p>
            <a:pPr algn="l" defTabSz="1828800" rtl="0">
              <a:lnSpc>
                <a:spcPts val="7400"/>
              </a:lnSpc>
            </a:pPr>
            <a:r>
              <a:rPr lang="en-US" sz="7000" b="1" i="0" u="none" baseline="0" noProof="0">
                <a:solidFill>
                  <a:srgbClr val="FFFFFF"/>
                </a:solidFill>
                <a:latin typeface="Montserrat"/>
                <a:ea typeface="Montserrat"/>
                <a:cs typeface="Montserrat"/>
                <a:sym typeface="Montserrat"/>
              </a:rPr>
              <a:t>To whom we serve! </a:t>
            </a:r>
            <a:endParaRPr lang="en-US" sz="7000" b="1" noProof="0">
              <a:solidFill>
                <a:srgbClr val="FFFFFF"/>
              </a:solidFill>
              <a:latin typeface="Montserrat"/>
              <a:ea typeface="Montserrat"/>
              <a:cs typeface="Montserrat"/>
              <a:sym typeface="Montserrat"/>
            </a:endParaRPr>
          </a:p>
        </p:txBody>
      </p:sp>
      <p:sp>
        <p:nvSpPr>
          <p:cNvPr id="370" name="Google Shape;370;p25"/>
          <p:cNvSpPr txBox="1"/>
          <p:nvPr/>
        </p:nvSpPr>
        <p:spPr>
          <a:xfrm>
            <a:off x="1056410" y="1557650"/>
            <a:ext cx="5161510" cy="755660"/>
          </a:xfrm>
          <a:prstGeom prst="rect">
            <a:avLst/>
          </a:prstGeom>
          <a:noFill/>
          <a:ln>
            <a:noFill/>
          </a:ln>
        </p:spPr>
        <p:txBody>
          <a:bodyPr spcFirstLastPara="1" wrap="square" lIns="182850" tIns="182850" rIns="182850" bIns="182850" anchor="t" anchorCtr="0">
            <a:noAutofit/>
          </a:bodyPr>
          <a:lstStyle/>
          <a:p>
            <a:pPr algn="just" defTabSz="1828800" rtl="0">
              <a:lnSpc>
                <a:spcPct val="115000"/>
              </a:lnSpc>
              <a:spcAft>
                <a:spcPts val="3200"/>
              </a:spcAft>
            </a:pPr>
            <a:r>
              <a:rPr lang="en-US" sz="2800" u="none" baseline="0" noProof="0">
                <a:solidFill>
                  <a:schemeClr val="bg1"/>
                </a:solidFill>
                <a:latin typeface="Montserrat"/>
                <a:ea typeface="Montserrat"/>
                <a:cs typeface="Montserrat"/>
                <a:sym typeface="Montserrat"/>
              </a:rPr>
              <a:t>OUR CLIENTS</a:t>
            </a:r>
            <a:endParaRPr lang="en-US" sz="2800" noProof="0">
              <a:solidFill>
                <a:schemeClr val="bg1"/>
              </a:solidFill>
              <a:latin typeface="Montserrat"/>
              <a:ea typeface="Montserrat"/>
              <a:cs typeface="Montserrat"/>
              <a:sym typeface="Montserrat"/>
            </a:endParaRPr>
          </a:p>
        </p:txBody>
      </p:sp>
      <p:pic>
        <p:nvPicPr>
          <p:cNvPr id="3" name="Google Shape;345;p51">
            <a:extLst>
              <a:ext uri="{FF2B5EF4-FFF2-40B4-BE49-F238E27FC236}">
                <a16:creationId xmlns:a16="http://schemas.microsoft.com/office/drawing/2014/main" id="{DA5BE53D-10F9-3AE6-BF90-CF45C0276460}"/>
              </a:ext>
            </a:extLst>
          </p:cNvPr>
          <p:cNvPicPr preferRelativeResize="0"/>
          <p:nvPr/>
        </p:nvPicPr>
        <p:blipFill>
          <a:blip r:embed="rId4" cstate="email">
            <a:alphaModFix/>
            <a:extLst>
              <a:ext uri="{28A0092B-C50C-407E-A947-70E740481C1C}">
                <a14:useLocalDpi xmlns:a14="http://schemas.microsoft.com/office/drawing/2010/main"/>
              </a:ext>
            </a:extLst>
          </a:blip>
          <a:stretch>
            <a:fillRect/>
          </a:stretch>
        </p:blipFill>
        <p:spPr>
          <a:xfrm>
            <a:off x="15601950" y="-190500"/>
            <a:ext cx="2228848" cy="2228848"/>
          </a:xfrm>
          <a:prstGeom prst="rect">
            <a:avLst/>
          </a:prstGeom>
          <a:noFill/>
          <a:ln>
            <a:noFill/>
          </a:ln>
        </p:spPr>
      </p:pic>
      <p:sp>
        <p:nvSpPr>
          <p:cNvPr id="4" name="Google Shape;295;g8cff37a39f_0_44">
            <a:extLst>
              <a:ext uri="{FF2B5EF4-FFF2-40B4-BE49-F238E27FC236}">
                <a16:creationId xmlns:a16="http://schemas.microsoft.com/office/drawing/2014/main" id="{48F96823-E26E-6A66-3D1E-CE82A89040A9}"/>
              </a:ext>
            </a:extLst>
          </p:cNvPr>
          <p:cNvSpPr txBox="1">
            <a:spLocks/>
          </p:cNvSpPr>
          <p:nvPr/>
        </p:nvSpPr>
        <p:spPr>
          <a:xfrm>
            <a:off x="17230353" y="9499600"/>
            <a:ext cx="1096962" cy="787400"/>
          </a:xfrm>
          <a:prstGeom prst="rect">
            <a:avLst/>
          </a:prstGeom>
          <a:noFill/>
          <a:ln>
            <a:noFill/>
          </a:ln>
        </p:spPr>
        <p:txBody>
          <a:bodyPr spcFirstLastPara="1" wrap="square" lIns="365700" tIns="365700" rIns="365700" bIns="365700"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buNone/>
              <a:defRPr sz="2000" b="0" i="0" u="none" strike="noStrike" cap="none">
                <a:solidFill>
                  <a:schemeClr val="lt2"/>
                </a:solidFill>
                <a:latin typeface="Arial"/>
                <a:ea typeface="Arial"/>
                <a:cs typeface="Arial"/>
                <a:sym typeface="Arial"/>
              </a:defRPr>
            </a:lvl1pPr>
            <a:lvl2pPr marR="0" lvl="1" algn="r" rtl="0">
              <a:lnSpc>
                <a:spcPct val="100000"/>
              </a:lnSpc>
              <a:spcBef>
                <a:spcPts val="0"/>
              </a:spcBef>
              <a:spcAft>
                <a:spcPts val="0"/>
              </a:spcAft>
              <a:buClr>
                <a:srgbClr val="000000"/>
              </a:buClr>
              <a:buFont typeface="Arial"/>
              <a:buNone/>
              <a:defRPr sz="2000" b="0" i="0" u="none" strike="noStrike" cap="none">
                <a:solidFill>
                  <a:schemeClr val="lt2"/>
                </a:solidFill>
                <a:latin typeface="Arial"/>
                <a:ea typeface="Arial"/>
                <a:cs typeface="Arial"/>
                <a:sym typeface="Arial"/>
              </a:defRPr>
            </a:lvl2pPr>
            <a:lvl3pPr marR="0" lvl="2" algn="r" rtl="0">
              <a:lnSpc>
                <a:spcPct val="100000"/>
              </a:lnSpc>
              <a:spcBef>
                <a:spcPts val="0"/>
              </a:spcBef>
              <a:spcAft>
                <a:spcPts val="0"/>
              </a:spcAft>
              <a:buClr>
                <a:srgbClr val="000000"/>
              </a:buClr>
              <a:buFont typeface="Arial"/>
              <a:buNone/>
              <a:defRPr sz="2000" b="0" i="0" u="none" strike="noStrike" cap="none">
                <a:solidFill>
                  <a:schemeClr val="lt2"/>
                </a:solidFill>
                <a:latin typeface="Arial"/>
                <a:ea typeface="Arial"/>
                <a:cs typeface="Arial"/>
                <a:sym typeface="Arial"/>
              </a:defRPr>
            </a:lvl3pPr>
            <a:lvl4pPr marR="0" lvl="3" algn="r" rtl="0">
              <a:lnSpc>
                <a:spcPct val="100000"/>
              </a:lnSpc>
              <a:spcBef>
                <a:spcPts val="0"/>
              </a:spcBef>
              <a:spcAft>
                <a:spcPts val="0"/>
              </a:spcAft>
              <a:buClr>
                <a:srgbClr val="000000"/>
              </a:buClr>
              <a:buFont typeface="Arial"/>
              <a:buNone/>
              <a:defRPr sz="2000" b="0" i="0" u="none" strike="noStrike" cap="none">
                <a:solidFill>
                  <a:schemeClr val="lt2"/>
                </a:solidFill>
                <a:latin typeface="Arial"/>
                <a:ea typeface="Arial"/>
                <a:cs typeface="Arial"/>
                <a:sym typeface="Arial"/>
              </a:defRPr>
            </a:lvl4pPr>
            <a:lvl5pPr marR="0" lvl="4" algn="r" rtl="0">
              <a:lnSpc>
                <a:spcPct val="100000"/>
              </a:lnSpc>
              <a:spcBef>
                <a:spcPts val="0"/>
              </a:spcBef>
              <a:spcAft>
                <a:spcPts val="0"/>
              </a:spcAft>
              <a:buClr>
                <a:srgbClr val="000000"/>
              </a:buClr>
              <a:buFont typeface="Arial"/>
              <a:buNone/>
              <a:defRPr sz="2000" b="0" i="0" u="none" strike="noStrike" cap="none">
                <a:solidFill>
                  <a:schemeClr val="lt2"/>
                </a:solidFill>
                <a:latin typeface="Arial"/>
                <a:ea typeface="Arial"/>
                <a:cs typeface="Arial"/>
                <a:sym typeface="Arial"/>
              </a:defRPr>
            </a:lvl5pPr>
            <a:lvl6pPr marR="0" lvl="5" algn="r" rtl="0">
              <a:lnSpc>
                <a:spcPct val="100000"/>
              </a:lnSpc>
              <a:spcBef>
                <a:spcPts val="0"/>
              </a:spcBef>
              <a:spcAft>
                <a:spcPts val="0"/>
              </a:spcAft>
              <a:buClr>
                <a:srgbClr val="000000"/>
              </a:buClr>
              <a:buFont typeface="Arial"/>
              <a:buNone/>
              <a:defRPr sz="2000" b="0" i="0" u="none" strike="noStrike" cap="none">
                <a:solidFill>
                  <a:schemeClr val="lt2"/>
                </a:solidFill>
                <a:latin typeface="Arial"/>
                <a:ea typeface="Arial"/>
                <a:cs typeface="Arial"/>
                <a:sym typeface="Arial"/>
              </a:defRPr>
            </a:lvl6pPr>
            <a:lvl7pPr marR="0" lvl="6" algn="r" rtl="0">
              <a:lnSpc>
                <a:spcPct val="100000"/>
              </a:lnSpc>
              <a:spcBef>
                <a:spcPts val="0"/>
              </a:spcBef>
              <a:spcAft>
                <a:spcPts val="0"/>
              </a:spcAft>
              <a:buClr>
                <a:srgbClr val="000000"/>
              </a:buClr>
              <a:buFont typeface="Arial"/>
              <a:buNone/>
              <a:defRPr sz="2000" b="0" i="0" u="none" strike="noStrike" cap="none">
                <a:solidFill>
                  <a:schemeClr val="lt2"/>
                </a:solidFill>
                <a:latin typeface="Arial"/>
                <a:ea typeface="Arial"/>
                <a:cs typeface="Arial"/>
                <a:sym typeface="Arial"/>
              </a:defRPr>
            </a:lvl7pPr>
            <a:lvl8pPr marR="0" lvl="7" algn="r" rtl="0">
              <a:lnSpc>
                <a:spcPct val="100000"/>
              </a:lnSpc>
              <a:spcBef>
                <a:spcPts val="0"/>
              </a:spcBef>
              <a:spcAft>
                <a:spcPts val="0"/>
              </a:spcAft>
              <a:buClr>
                <a:srgbClr val="000000"/>
              </a:buClr>
              <a:buFont typeface="Arial"/>
              <a:buNone/>
              <a:defRPr sz="2000" b="0" i="0" u="none" strike="noStrike" cap="none">
                <a:solidFill>
                  <a:schemeClr val="lt2"/>
                </a:solidFill>
                <a:latin typeface="Arial"/>
                <a:ea typeface="Arial"/>
                <a:cs typeface="Arial"/>
                <a:sym typeface="Arial"/>
              </a:defRPr>
            </a:lvl8pPr>
            <a:lvl9pPr marR="0" lvl="8" algn="r" rtl="0">
              <a:lnSpc>
                <a:spcPct val="100000"/>
              </a:lnSpc>
              <a:spcBef>
                <a:spcPts val="0"/>
              </a:spcBef>
              <a:spcAft>
                <a:spcPts val="0"/>
              </a:spcAft>
              <a:buClr>
                <a:srgbClr val="000000"/>
              </a:buClr>
              <a:buFont typeface="Arial"/>
              <a:buNone/>
              <a:defRPr sz="2000" b="0" i="0" u="none" strike="noStrike" cap="none">
                <a:solidFill>
                  <a:schemeClr val="lt2"/>
                </a:solidFill>
                <a:latin typeface="Arial"/>
                <a:ea typeface="Arial"/>
                <a:cs typeface="Arial"/>
                <a:sym typeface="Arial"/>
              </a:defRPr>
            </a:lvl9pPr>
          </a:lstStyle>
          <a:p>
            <a:pPr marL="0" marR="0" lvl="0" indent="0" algn="r" defTabSz="1828756"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600" b="0" i="0" u="none" strike="noStrike" kern="0" cap="none" spc="0" normalizeH="0" baseline="0" noProof="0" smtClean="0">
                <a:ln>
                  <a:noFill/>
                </a:ln>
                <a:solidFill>
                  <a:srgbClr val="ADADAD"/>
                </a:solidFill>
                <a:effectLst/>
                <a:uLnTx/>
                <a:uFillTx/>
                <a:latin typeface="Montserrat" panose="00000500000000000000" pitchFamily="2" charset="0"/>
                <a:cs typeface="Arial"/>
                <a:sym typeface="Arial"/>
              </a:rPr>
              <a:pPr marL="0" marR="0" lvl="0" indent="0" algn="r" defTabSz="1828756" rtl="0" eaLnBrk="1" fontAlgn="auto" latinLnBrk="0" hangingPunct="1">
                <a:lnSpc>
                  <a:spcPct val="100000"/>
                </a:lnSpc>
                <a:spcBef>
                  <a:spcPts val="0"/>
                </a:spcBef>
                <a:spcAft>
                  <a:spcPts val="0"/>
                </a:spcAft>
                <a:buClr>
                  <a:srgbClr val="000000"/>
                </a:buClr>
                <a:buSzTx/>
                <a:buFont typeface="Arial"/>
                <a:buNone/>
                <a:tabLst/>
                <a:defRPr/>
              </a:pPr>
              <a:t>77</a:t>
            </a:fld>
            <a:endParaRPr kumimoji="0" lang="en-US" sz="1600" b="0" i="0" u="none" strike="noStrike" kern="0" cap="none" spc="0" normalizeH="0" baseline="0" noProof="0">
              <a:ln>
                <a:noFill/>
              </a:ln>
              <a:solidFill>
                <a:srgbClr val="ADADAD"/>
              </a:solidFill>
              <a:effectLst/>
              <a:uLnTx/>
              <a:uFillTx/>
              <a:latin typeface="Montserrat" panose="00000500000000000000" pitchFamily="2" charset="0"/>
              <a:cs typeface="Arial"/>
              <a:sym typeface="Arial"/>
            </a:endParaRPr>
          </a:p>
        </p:txBody>
      </p:sp>
      <p:sp>
        <p:nvSpPr>
          <p:cNvPr id="2" name="Google Shape;370;p25">
            <a:extLst>
              <a:ext uri="{FF2B5EF4-FFF2-40B4-BE49-F238E27FC236}">
                <a16:creationId xmlns:a16="http://schemas.microsoft.com/office/drawing/2014/main" id="{59C73CB9-2BBF-F02E-A96A-9E3A0EEADAB6}"/>
              </a:ext>
            </a:extLst>
          </p:cNvPr>
          <p:cNvSpPr txBox="1"/>
          <p:nvPr/>
        </p:nvSpPr>
        <p:spPr>
          <a:xfrm>
            <a:off x="1056410" y="4403330"/>
            <a:ext cx="4817280" cy="4519940"/>
          </a:xfrm>
          <a:prstGeom prst="rect">
            <a:avLst/>
          </a:prstGeom>
          <a:noFill/>
          <a:ln>
            <a:noFill/>
          </a:ln>
        </p:spPr>
        <p:txBody>
          <a:bodyPr spcFirstLastPara="1" wrap="square" lIns="182850" tIns="182850" rIns="182850" bIns="182850" anchor="t" anchorCtr="0">
            <a:noAutofit/>
          </a:bodyPr>
          <a:lstStyle/>
          <a:p>
            <a:pPr algn="just" defTabSz="1828800" rtl="0">
              <a:lnSpc>
                <a:spcPct val="115000"/>
              </a:lnSpc>
              <a:spcAft>
                <a:spcPts val="3200"/>
              </a:spcAft>
            </a:pPr>
            <a:r>
              <a:rPr lang="en-US" sz="2400" b="0" i="0" u="none" baseline="0" noProof="0">
                <a:solidFill>
                  <a:srgbClr val="FFFFFF"/>
                </a:solidFill>
                <a:latin typeface="Montserrat"/>
                <a:ea typeface="Montserrat"/>
                <a:cs typeface="Montserrat"/>
                <a:sym typeface="Montserrat"/>
              </a:rPr>
              <a:t>Throughout our history, we have had the privilege of participating in the business transformation processes of hundreds of companies, accelerating their digital transformation journey and delivering concrete and sustainable results.</a:t>
            </a:r>
            <a:endParaRPr lang="en-US" sz="2400" noProof="0">
              <a:solidFill>
                <a:srgbClr val="FFFFFF"/>
              </a:solidFill>
              <a:latin typeface="Montserrat"/>
              <a:ea typeface="Montserrat"/>
              <a:cs typeface="Montserrat"/>
              <a:sym typeface="Montserrat"/>
            </a:endParaRP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a:grpSpLocks noChangeAspect="1"/>
          </p:cNvGrpSpPr>
          <p:nvPr/>
        </p:nvGrpSpPr>
        <p:grpSpPr>
          <a:xfrm>
            <a:off x="10878088" y="2849662"/>
            <a:ext cx="2698901" cy="2698890"/>
            <a:chOff x="0" y="0"/>
            <a:chExt cx="6350000" cy="6349974"/>
          </a:xfrm>
        </p:grpSpPr>
        <p:sp>
          <p:nvSpPr>
            <p:cNvPr id="3" name="Freeform 3"/>
            <p:cNvSpPr/>
            <p:nvPr/>
          </p:nvSpPr>
          <p:spPr>
            <a:xfrm>
              <a:off x="0" y="0"/>
              <a:ext cx="6350000" cy="6349974"/>
            </a:xfrm>
            <a:custGeom>
              <a:avLst/>
              <a:gdLst/>
              <a:ahLst/>
              <a:cxnLst/>
              <a:rect l="l" t="t" r="r" b="b"/>
              <a:pathLst>
                <a:path w="6350000" h="6349974">
                  <a:moveTo>
                    <a:pt x="6350000" y="3175025"/>
                  </a:moveTo>
                  <a:cubicBezTo>
                    <a:pt x="6350000" y="4928451"/>
                    <a:pt x="4928476" y="6349974"/>
                    <a:pt x="3175000" y="6349974"/>
                  </a:cubicBezTo>
                  <a:cubicBezTo>
                    <a:pt x="1421498" y="6349974"/>
                    <a:pt x="0" y="4928451"/>
                    <a:pt x="0" y="3175025"/>
                  </a:cubicBezTo>
                  <a:cubicBezTo>
                    <a:pt x="0" y="1421511"/>
                    <a:pt x="1421498" y="0"/>
                    <a:pt x="3175000" y="0"/>
                  </a:cubicBezTo>
                  <a:cubicBezTo>
                    <a:pt x="4928501" y="0"/>
                    <a:pt x="6350000" y="1421511"/>
                    <a:pt x="6350000" y="3175025"/>
                  </a:cubicBezTo>
                  <a:close/>
                </a:path>
              </a:pathLst>
            </a:custGeom>
            <a:blipFill>
              <a:blip r:embed="rId2" cstate="email">
                <a:extLst>
                  <a:ext uri="{28A0092B-C50C-407E-A947-70E740481C1C}">
                    <a14:useLocalDpi xmlns:a14="http://schemas.microsoft.com/office/drawing/2010/main"/>
                  </a:ext>
                </a:extLst>
              </a:blip>
              <a:stretch>
                <a:fillRect/>
              </a:stretch>
            </a:blipFill>
          </p:spPr>
          <p:txBody>
            <a:bodyPr/>
            <a:lstStyle/>
            <a:p>
              <a:endParaRPr lang="en-US" noProof="0"/>
            </a:p>
          </p:txBody>
        </p:sp>
      </p:grpSp>
      <p:sp>
        <p:nvSpPr>
          <p:cNvPr id="4" name="Freeform 4"/>
          <p:cNvSpPr/>
          <p:nvPr/>
        </p:nvSpPr>
        <p:spPr>
          <a:xfrm rot="-1629218">
            <a:off x="8357650" y="1075427"/>
            <a:ext cx="7532128" cy="6284565"/>
          </a:xfrm>
          <a:custGeom>
            <a:avLst/>
            <a:gdLst/>
            <a:ahLst/>
            <a:cxnLst/>
            <a:rect l="l" t="t" r="r" b="b"/>
            <a:pathLst>
              <a:path w="7532128" h="6284565">
                <a:moveTo>
                  <a:pt x="0" y="0"/>
                </a:moveTo>
                <a:lnTo>
                  <a:pt x="7532128" y="0"/>
                </a:lnTo>
                <a:lnTo>
                  <a:pt x="7532128" y="6284565"/>
                </a:lnTo>
                <a:lnTo>
                  <a:pt x="0" y="6284565"/>
                </a:lnTo>
                <a:lnTo>
                  <a:pt x="0" y="0"/>
                </a:lnTo>
                <a:close/>
              </a:path>
            </a:pathLst>
          </a:custGeom>
          <a:blipFill>
            <a:blip r:embed="rId3" cstate="email">
              <a:alphaModFix amt="70000"/>
              <a:extLst>
                <a:ext uri="{28A0092B-C50C-407E-A947-70E740481C1C}">
                  <a14:useLocalDpi xmlns:a14="http://schemas.microsoft.com/office/drawing/2010/main"/>
                </a:ext>
              </a:extLst>
            </a:blip>
            <a:stretch>
              <a:fillRect/>
            </a:stretch>
          </a:blipFill>
        </p:spPr>
        <p:txBody>
          <a:bodyPr/>
          <a:lstStyle/>
          <a:p>
            <a:endParaRPr lang="en-US" noProof="0"/>
          </a:p>
        </p:txBody>
      </p:sp>
      <p:sp>
        <p:nvSpPr>
          <p:cNvPr id="5" name="TextBox 5"/>
          <p:cNvSpPr txBox="1"/>
          <p:nvPr/>
        </p:nvSpPr>
        <p:spPr>
          <a:xfrm>
            <a:off x="1972597" y="4404123"/>
            <a:ext cx="4192668" cy="953135"/>
          </a:xfrm>
          <a:prstGeom prst="rect">
            <a:avLst/>
          </a:prstGeom>
        </p:spPr>
        <p:txBody>
          <a:bodyPr lIns="0" tIns="0" rIns="0" bIns="0" rtlCol="0" anchor="t">
            <a:spAutoFit/>
          </a:bodyPr>
          <a:lstStyle/>
          <a:p>
            <a:pPr>
              <a:lnSpc>
                <a:spcPts val="7840"/>
              </a:lnSpc>
            </a:pPr>
            <a:r>
              <a:rPr lang="en-US" sz="5600" noProof="0">
                <a:solidFill>
                  <a:srgbClr val="FFFFFF"/>
                </a:solidFill>
                <a:latin typeface="Montserrat Bold"/>
              </a:rPr>
              <a:t>Contact Us</a:t>
            </a:r>
          </a:p>
        </p:txBody>
      </p:sp>
      <p:sp>
        <p:nvSpPr>
          <p:cNvPr id="6" name="TextBox 6"/>
          <p:cNvSpPr txBox="1"/>
          <p:nvPr/>
        </p:nvSpPr>
        <p:spPr>
          <a:xfrm>
            <a:off x="10878088" y="6034327"/>
            <a:ext cx="2927747" cy="537845"/>
          </a:xfrm>
          <a:prstGeom prst="rect">
            <a:avLst/>
          </a:prstGeom>
        </p:spPr>
        <p:txBody>
          <a:bodyPr lIns="0" tIns="0" rIns="0" bIns="0" rtlCol="0" anchor="t">
            <a:spAutoFit/>
          </a:bodyPr>
          <a:lstStyle/>
          <a:p>
            <a:pPr algn="ctr">
              <a:lnSpc>
                <a:spcPts val="4480"/>
              </a:lnSpc>
              <a:spcBef>
                <a:spcPct val="0"/>
              </a:spcBef>
            </a:pPr>
            <a:r>
              <a:rPr lang="en-US" sz="3200" noProof="0">
                <a:solidFill>
                  <a:srgbClr val="FFFFFF"/>
                </a:solidFill>
                <a:latin typeface="Montserrat Bold"/>
              </a:rPr>
              <a:t>Nuno Oliveira</a:t>
            </a:r>
          </a:p>
        </p:txBody>
      </p:sp>
      <p:sp>
        <p:nvSpPr>
          <p:cNvPr id="7" name="TextBox 7"/>
          <p:cNvSpPr txBox="1"/>
          <p:nvPr/>
        </p:nvSpPr>
        <p:spPr>
          <a:xfrm>
            <a:off x="10878088" y="6753869"/>
            <a:ext cx="4058841" cy="403059"/>
          </a:xfrm>
          <a:prstGeom prst="rect">
            <a:avLst/>
          </a:prstGeom>
        </p:spPr>
        <p:txBody>
          <a:bodyPr lIns="0" tIns="0" rIns="0" bIns="0" rtlCol="0" anchor="t">
            <a:spAutoFit/>
          </a:bodyPr>
          <a:lstStyle/>
          <a:p>
            <a:pPr>
              <a:lnSpc>
                <a:spcPts val="3360"/>
              </a:lnSpc>
              <a:spcBef>
                <a:spcPct val="0"/>
              </a:spcBef>
            </a:pPr>
            <a:r>
              <a:rPr lang="en-US" sz="2400" noProof="0">
                <a:solidFill>
                  <a:srgbClr val="FFFFFF"/>
                </a:solidFill>
                <a:latin typeface="Montserrat"/>
              </a:rPr>
              <a:t>Global CTO, Vice President</a:t>
            </a:r>
          </a:p>
        </p:txBody>
      </p:sp>
      <p:sp>
        <p:nvSpPr>
          <p:cNvPr id="8" name="TextBox 8"/>
          <p:cNvSpPr txBox="1"/>
          <p:nvPr/>
        </p:nvSpPr>
        <p:spPr>
          <a:xfrm>
            <a:off x="10775057" y="7338625"/>
            <a:ext cx="4402695" cy="403059"/>
          </a:xfrm>
          <a:prstGeom prst="rect">
            <a:avLst/>
          </a:prstGeom>
        </p:spPr>
        <p:txBody>
          <a:bodyPr wrap="square" lIns="0" tIns="0" rIns="0" bIns="0" rtlCol="0" anchor="t">
            <a:spAutoFit/>
          </a:bodyPr>
          <a:lstStyle/>
          <a:p>
            <a:pPr algn="ctr">
              <a:lnSpc>
                <a:spcPts val="3360"/>
              </a:lnSpc>
              <a:spcBef>
                <a:spcPct val="0"/>
              </a:spcBef>
            </a:pPr>
            <a:r>
              <a:rPr lang="en-US" sz="2400" noProof="0">
                <a:solidFill>
                  <a:srgbClr val="FFFFFF"/>
                </a:solidFill>
                <a:latin typeface="Montserrat"/>
              </a:rPr>
              <a:t>nuno.oliveira@qintess.com</a:t>
            </a: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Shape 268"/>
        <p:cNvGrpSpPr/>
        <p:nvPr/>
      </p:nvGrpSpPr>
      <p:grpSpPr>
        <a:xfrm>
          <a:off x="0" y="0"/>
          <a:ext cx="0" cy="0"/>
          <a:chOff x="0" y="0"/>
          <a:chExt cx="0" cy="0"/>
        </a:xfrm>
      </p:grpSpPr>
      <p:sp>
        <p:nvSpPr>
          <p:cNvPr id="269" name="Google Shape;269;g169e3e8f587_0_201"/>
          <p:cNvSpPr/>
          <p:nvPr/>
        </p:nvSpPr>
        <p:spPr>
          <a:xfrm>
            <a:off x="9144000" y="0"/>
            <a:ext cx="9144000" cy="10287000"/>
          </a:xfrm>
          <a:prstGeom prst="rect">
            <a:avLst/>
          </a:prstGeom>
          <a:solidFill>
            <a:srgbClr val="F5F5F5"/>
          </a:solidFill>
          <a:ln>
            <a:noFill/>
          </a:ln>
        </p:spPr>
        <p:txBody>
          <a:bodyPr spcFirstLastPara="1" wrap="square" lIns="182850" tIns="182850" rIns="182850" bIns="182850" anchor="ctr" anchorCtr="0">
            <a:noAutofit/>
          </a:bodyPr>
          <a:lstStyle/>
          <a:p>
            <a:endParaRPr lang="en-US" sz="2800" noProof="0"/>
          </a:p>
        </p:txBody>
      </p:sp>
      <p:sp>
        <p:nvSpPr>
          <p:cNvPr id="270" name="Google Shape;270;g169e3e8f587_0_201"/>
          <p:cNvSpPr txBox="1"/>
          <p:nvPr/>
        </p:nvSpPr>
        <p:spPr>
          <a:xfrm>
            <a:off x="9871800" y="3877226"/>
            <a:ext cx="7688400" cy="2668200"/>
          </a:xfrm>
          <a:prstGeom prst="rect">
            <a:avLst/>
          </a:prstGeom>
          <a:noFill/>
          <a:ln>
            <a:noFill/>
          </a:ln>
        </p:spPr>
        <p:txBody>
          <a:bodyPr spcFirstLastPara="1" wrap="square" lIns="182850" tIns="182850" rIns="182850" bIns="182850" anchor="t" anchorCtr="0">
            <a:noAutofit/>
          </a:bodyPr>
          <a:lstStyle/>
          <a:p>
            <a:pPr algn="l" rtl="0"/>
            <a:r>
              <a:rPr lang="en-US" sz="6000" b="1" i="0" u="none" baseline="0" noProof="0">
                <a:solidFill>
                  <a:srgbClr val="222222"/>
                </a:solidFill>
                <a:latin typeface="Montserrat"/>
                <a:ea typeface="Montserrat"/>
                <a:cs typeface="Montserrat"/>
                <a:sym typeface="Montserrat"/>
              </a:rPr>
              <a:t>We are </a:t>
            </a:r>
          </a:p>
          <a:p>
            <a:pPr algn="l" rtl="0"/>
            <a:r>
              <a:rPr lang="en-US" sz="6000" b="1" i="0" u="none" baseline="0" noProof="0">
                <a:solidFill>
                  <a:srgbClr val="222222"/>
                </a:solidFill>
                <a:latin typeface="Montserrat"/>
                <a:ea typeface="Montserrat"/>
                <a:cs typeface="Montserrat"/>
                <a:sym typeface="Montserrat"/>
              </a:rPr>
              <a:t>Qintess!</a:t>
            </a:r>
            <a:endParaRPr lang="en-US" sz="6000" noProof="0">
              <a:solidFill>
                <a:srgbClr val="222222"/>
              </a:solidFill>
              <a:latin typeface="Montserrat"/>
              <a:ea typeface="Montserrat"/>
              <a:cs typeface="Montserrat"/>
              <a:sym typeface="Montserrat"/>
            </a:endParaRPr>
          </a:p>
        </p:txBody>
      </p:sp>
      <p:grpSp>
        <p:nvGrpSpPr>
          <p:cNvPr id="271" name="Google Shape;271;g169e3e8f587_0_201"/>
          <p:cNvGrpSpPr/>
          <p:nvPr/>
        </p:nvGrpSpPr>
        <p:grpSpPr>
          <a:xfrm>
            <a:off x="16462407" y="9484408"/>
            <a:ext cx="1456894" cy="363904"/>
            <a:chOff x="2321100" y="2485250"/>
            <a:chExt cx="2976900" cy="743875"/>
          </a:xfrm>
        </p:grpSpPr>
        <p:sp>
          <p:nvSpPr>
            <p:cNvPr id="272" name="Google Shape;272;g169e3e8f587_0_201"/>
            <p:cNvSpPr/>
            <p:nvPr/>
          </p:nvSpPr>
          <p:spPr>
            <a:xfrm>
              <a:off x="2321100" y="2485250"/>
              <a:ext cx="641775" cy="743875"/>
            </a:xfrm>
            <a:custGeom>
              <a:avLst/>
              <a:gdLst/>
              <a:ahLst/>
              <a:cxnLst/>
              <a:rect l="l" t="t" r="r" b="b"/>
              <a:pathLst>
                <a:path w="25671" h="29755" extrusionOk="0">
                  <a:moveTo>
                    <a:pt x="13729" y="1"/>
                  </a:moveTo>
                  <a:cubicBezTo>
                    <a:pt x="13705" y="1"/>
                    <a:pt x="13669" y="13"/>
                    <a:pt x="13646" y="36"/>
                  </a:cubicBezTo>
                  <a:lnTo>
                    <a:pt x="13610" y="60"/>
                  </a:lnTo>
                  <a:cubicBezTo>
                    <a:pt x="13610" y="72"/>
                    <a:pt x="13598" y="84"/>
                    <a:pt x="13598" y="108"/>
                  </a:cubicBezTo>
                  <a:lnTo>
                    <a:pt x="13598" y="8026"/>
                  </a:lnTo>
                  <a:lnTo>
                    <a:pt x="13598" y="8037"/>
                  </a:lnTo>
                  <a:lnTo>
                    <a:pt x="13598" y="8049"/>
                  </a:lnTo>
                  <a:cubicBezTo>
                    <a:pt x="12839" y="7858"/>
                    <a:pt x="12053" y="7764"/>
                    <a:pt x="11265" y="7764"/>
                  </a:cubicBezTo>
                  <a:cubicBezTo>
                    <a:pt x="8578" y="7764"/>
                    <a:pt x="5857" y="8846"/>
                    <a:pt x="4025" y="10788"/>
                  </a:cubicBezTo>
                  <a:cubicBezTo>
                    <a:pt x="3942" y="10895"/>
                    <a:pt x="3847" y="10978"/>
                    <a:pt x="3763" y="11085"/>
                  </a:cubicBezTo>
                  <a:cubicBezTo>
                    <a:pt x="3228" y="11716"/>
                    <a:pt x="2751" y="12395"/>
                    <a:pt x="2382" y="13133"/>
                  </a:cubicBezTo>
                  <a:cubicBezTo>
                    <a:pt x="1" y="17753"/>
                    <a:pt x="1513" y="23373"/>
                    <a:pt x="5430" y="26623"/>
                  </a:cubicBezTo>
                  <a:cubicBezTo>
                    <a:pt x="6907" y="27849"/>
                    <a:pt x="8693" y="28766"/>
                    <a:pt x="10657" y="29278"/>
                  </a:cubicBezTo>
                  <a:cubicBezTo>
                    <a:pt x="11812" y="29588"/>
                    <a:pt x="13050" y="29754"/>
                    <a:pt x="14324" y="29754"/>
                  </a:cubicBezTo>
                  <a:cubicBezTo>
                    <a:pt x="15991" y="29754"/>
                    <a:pt x="17575" y="29469"/>
                    <a:pt x="19027" y="28945"/>
                  </a:cubicBezTo>
                  <a:cubicBezTo>
                    <a:pt x="20313" y="28504"/>
                    <a:pt x="21504" y="27873"/>
                    <a:pt x="22563" y="27123"/>
                  </a:cubicBezTo>
                  <a:cubicBezTo>
                    <a:pt x="22575" y="27099"/>
                    <a:pt x="22587" y="27099"/>
                    <a:pt x="22587" y="27087"/>
                  </a:cubicBezTo>
                  <a:cubicBezTo>
                    <a:pt x="22599" y="27076"/>
                    <a:pt x="22623" y="27028"/>
                    <a:pt x="22623" y="27004"/>
                  </a:cubicBezTo>
                  <a:cubicBezTo>
                    <a:pt x="22623" y="26968"/>
                    <a:pt x="22599" y="26945"/>
                    <a:pt x="22587" y="26921"/>
                  </a:cubicBezTo>
                  <a:lnTo>
                    <a:pt x="18670" y="23016"/>
                  </a:lnTo>
                  <a:lnTo>
                    <a:pt x="17027" y="21361"/>
                  </a:lnTo>
                  <a:lnTo>
                    <a:pt x="16836" y="21182"/>
                  </a:lnTo>
                  <a:cubicBezTo>
                    <a:pt x="16824" y="21158"/>
                    <a:pt x="16801" y="21146"/>
                    <a:pt x="16777" y="21146"/>
                  </a:cubicBezTo>
                  <a:lnTo>
                    <a:pt x="16765" y="21146"/>
                  </a:lnTo>
                  <a:cubicBezTo>
                    <a:pt x="16753" y="21146"/>
                    <a:pt x="16729" y="21146"/>
                    <a:pt x="16705" y="21158"/>
                  </a:cubicBezTo>
                  <a:cubicBezTo>
                    <a:pt x="16694" y="21158"/>
                    <a:pt x="16694" y="21182"/>
                    <a:pt x="16682" y="21182"/>
                  </a:cubicBezTo>
                  <a:cubicBezTo>
                    <a:pt x="15515" y="22015"/>
                    <a:pt x="14086" y="22492"/>
                    <a:pt x="12550" y="22492"/>
                  </a:cubicBezTo>
                  <a:cubicBezTo>
                    <a:pt x="8645" y="22492"/>
                    <a:pt x="5454" y="19313"/>
                    <a:pt x="5454" y="15384"/>
                  </a:cubicBezTo>
                  <a:cubicBezTo>
                    <a:pt x="5454" y="11478"/>
                    <a:pt x="8621" y="8288"/>
                    <a:pt x="12550" y="8288"/>
                  </a:cubicBezTo>
                  <a:cubicBezTo>
                    <a:pt x="13360" y="8288"/>
                    <a:pt x="14134" y="8418"/>
                    <a:pt x="14860" y="8680"/>
                  </a:cubicBezTo>
                  <a:cubicBezTo>
                    <a:pt x="14872" y="8680"/>
                    <a:pt x="14896" y="8692"/>
                    <a:pt x="14908" y="8692"/>
                  </a:cubicBezTo>
                  <a:lnTo>
                    <a:pt x="14931" y="8692"/>
                  </a:lnTo>
                  <a:cubicBezTo>
                    <a:pt x="15908" y="9038"/>
                    <a:pt x="16813" y="9585"/>
                    <a:pt x="17586" y="10359"/>
                  </a:cubicBezTo>
                  <a:cubicBezTo>
                    <a:pt x="18706" y="11478"/>
                    <a:pt x="19372" y="12859"/>
                    <a:pt x="19575" y="14300"/>
                  </a:cubicBezTo>
                  <a:cubicBezTo>
                    <a:pt x="19599" y="14360"/>
                    <a:pt x="19599" y="14419"/>
                    <a:pt x="19611" y="14479"/>
                  </a:cubicBezTo>
                  <a:cubicBezTo>
                    <a:pt x="19622" y="14538"/>
                    <a:pt x="19622" y="14598"/>
                    <a:pt x="19622" y="14657"/>
                  </a:cubicBezTo>
                  <a:lnTo>
                    <a:pt x="19622" y="14693"/>
                  </a:lnTo>
                  <a:cubicBezTo>
                    <a:pt x="19622" y="14741"/>
                    <a:pt x="19634" y="14800"/>
                    <a:pt x="19634" y="14836"/>
                  </a:cubicBezTo>
                  <a:cubicBezTo>
                    <a:pt x="19634" y="14884"/>
                    <a:pt x="19658" y="14931"/>
                    <a:pt x="19658" y="14991"/>
                  </a:cubicBezTo>
                  <a:cubicBezTo>
                    <a:pt x="19670" y="15122"/>
                    <a:pt x="19670" y="15253"/>
                    <a:pt x="19670" y="15396"/>
                  </a:cubicBezTo>
                  <a:lnTo>
                    <a:pt x="19670" y="15538"/>
                  </a:lnTo>
                  <a:lnTo>
                    <a:pt x="19670" y="15598"/>
                  </a:lnTo>
                  <a:lnTo>
                    <a:pt x="19670" y="15657"/>
                  </a:lnTo>
                  <a:cubicBezTo>
                    <a:pt x="19622" y="16896"/>
                    <a:pt x="19253" y="18110"/>
                    <a:pt x="18563" y="19206"/>
                  </a:cubicBezTo>
                  <a:cubicBezTo>
                    <a:pt x="18551" y="19217"/>
                    <a:pt x="18551" y="19229"/>
                    <a:pt x="18539" y="19241"/>
                  </a:cubicBezTo>
                  <a:lnTo>
                    <a:pt x="18539" y="19253"/>
                  </a:lnTo>
                  <a:lnTo>
                    <a:pt x="18539" y="19289"/>
                  </a:lnTo>
                  <a:cubicBezTo>
                    <a:pt x="18539" y="19301"/>
                    <a:pt x="18539" y="19336"/>
                    <a:pt x="18551" y="19348"/>
                  </a:cubicBezTo>
                  <a:cubicBezTo>
                    <a:pt x="18551" y="19348"/>
                    <a:pt x="18551" y="19360"/>
                    <a:pt x="18563" y="19360"/>
                  </a:cubicBezTo>
                  <a:lnTo>
                    <a:pt x="18599" y="19396"/>
                  </a:lnTo>
                  <a:lnTo>
                    <a:pt x="20420" y="21206"/>
                  </a:lnTo>
                  <a:lnTo>
                    <a:pt x="21456" y="22254"/>
                  </a:lnTo>
                  <a:lnTo>
                    <a:pt x="21492" y="22277"/>
                  </a:lnTo>
                  <a:cubicBezTo>
                    <a:pt x="21492" y="22277"/>
                    <a:pt x="21504" y="22277"/>
                    <a:pt x="21504" y="22301"/>
                  </a:cubicBezTo>
                  <a:cubicBezTo>
                    <a:pt x="21516" y="22313"/>
                    <a:pt x="21527" y="22313"/>
                    <a:pt x="21563" y="22313"/>
                  </a:cubicBezTo>
                  <a:cubicBezTo>
                    <a:pt x="21575" y="22313"/>
                    <a:pt x="21611" y="22313"/>
                    <a:pt x="21623" y="22301"/>
                  </a:cubicBezTo>
                  <a:cubicBezTo>
                    <a:pt x="21635" y="22277"/>
                    <a:pt x="21647" y="22265"/>
                    <a:pt x="21670" y="22265"/>
                  </a:cubicBezTo>
                  <a:cubicBezTo>
                    <a:pt x="22158" y="21849"/>
                    <a:pt x="22623" y="21384"/>
                    <a:pt x="23016" y="20896"/>
                  </a:cubicBezTo>
                  <a:cubicBezTo>
                    <a:pt x="24730" y="18813"/>
                    <a:pt x="25671" y="16110"/>
                    <a:pt x="25611" y="13336"/>
                  </a:cubicBezTo>
                  <a:lnTo>
                    <a:pt x="25611" y="13098"/>
                  </a:lnTo>
                  <a:cubicBezTo>
                    <a:pt x="25611" y="12336"/>
                    <a:pt x="25552" y="11586"/>
                    <a:pt x="25421" y="10871"/>
                  </a:cubicBezTo>
                  <a:cubicBezTo>
                    <a:pt x="24956" y="8323"/>
                    <a:pt x="23790" y="6049"/>
                    <a:pt x="22123" y="4227"/>
                  </a:cubicBezTo>
                  <a:cubicBezTo>
                    <a:pt x="20253" y="2203"/>
                    <a:pt x="17741" y="763"/>
                    <a:pt x="14908" y="239"/>
                  </a:cubicBezTo>
                  <a:cubicBezTo>
                    <a:pt x="14538" y="156"/>
                    <a:pt x="14146" y="60"/>
                    <a:pt x="13776" y="1"/>
                  </a:cubicBezTo>
                  <a:close/>
                </a:path>
              </a:pathLst>
            </a:custGeom>
            <a:solidFill>
              <a:srgbClr val="222222"/>
            </a:solidFill>
            <a:ln>
              <a:noFill/>
            </a:ln>
          </p:spPr>
          <p:txBody>
            <a:bodyPr spcFirstLastPara="1" wrap="square" lIns="182850" tIns="182850" rIns="182850" bIns="182850" anchor="ctr" anchorCtr="0">
              <a:noAutofit/>
            </a:bodyPr>
            <a:lstStyle/>
            <a:p>
              <a:endParaRPr lang="en-US" sz="2800" noProof="0"/>
            </a:p>
          </p:txBody>
        </p:sp>
        <p:sp>
          <p:nvSpPr>
            <p:cNvPr id="273" name="Google Shape;273;g169e3e8f587_0_201"/>
            <p:cNvSpPr/>
            <p:nvPr/>
          </p:nvSpPr>
          <p:spPr>
            <a:xfrm>
              <a:off x="3183725" y="2718925"/>
              <a:ext cx="385175" cy="327725"/>
            </a:xfrm>
            <a:custGeom>
              <a:avLst/>
              <a:gdLst/>
              <a:ahLst/>
              <a:cxnLst/>
              <a:rect l="l" t="t" r="r" b="b"/>
              <a:pathLst>
                <a:path w="15407" h="13109" extrusionOk="0">
                  <a:moveTo>
                    <a:pt x="7716" y="1965"/>
                  </a:moveTo>
                  <a:cubicBezTo>
                    <a:pt x="11478" y="1965"/>
                    <a:pt x="13252" y="3632"/>
                    <a:pt x="13252" y="5989"/>
                  </a:cubicBezTo>
                  <a:cubicBezTo>
                    <a:pt x="13252" y="7132"/>
                    <a:pt x="12823" y="8108"/>
                    <a:pt x="11942" y="8823"/>
                  </a:cubicBezTo>
                  <a:lnTo>
                    <a:pt x="9871" y="6775"/>
                  </a:lnTo>
                  <a:lnTo>
                    <a:pt x="8489" y="8156"/>
                  </a:lnTo>
                  <a:lnTo>
                    <a:pt x="10049" y="9716"/>
                  </a:lnTo>
                  <a:cubicBezTo>
                    <a:pt x="9382" y="9894"/>
                    <a:pt x="8608" y="9989"/>
                    <a:pt x="7716" y="9989"/>
                  </a:cubicBezTo>
                  <a:cubicBezTo>
                    <a:pt x="3953" y="9989"/>
                    <a:pt x="2143" y="8323"/>
                    <a:pt x="2143" y="5989"/>
                  </a:cubicBezTo>
                  <a:cubicBezTo>
                    <a:pt x="2143" y="3632"/>
                    <a:pt x="3929" y="1965"/>
                    <a:pt x="7716" y="1965"/>
                  </a:cubicBezTo>
                  <a:close/>
                  <a:moveTo>
                    <a:pt x="7716" y="0"/>
                  </a:moveTo>
                  <a:cubicBezTo>
                    <a:pt x="2655" y="0"/>
                    <a:pt x="0" y="2572"/>
                    <a:pt x="0" y="5989"/>
                  </a:cubicBezTo>
                  <a:lnTo>
                    <a:pt x="0" y="6144"/>
                  </a:lnTo>
                  <a:cubicBezTo>
                    <a:pt x="0" y="6299"/>
                    <a:pt x="24" y="6441"/>
                    <a:pt x="36" y="6596"/>
                  </a:cubicBezTo>
                  <a:lnTo>
                    <a:pt x="36" y="6620"/>
                  </a:lnTo>
                  <a:cubicBezTo>
                    <a:pt x="322" y="9466"/>
                    <a:pt x="2536" y="11609"/>
                    <a:pt x="6573" y="11942"/>
                  </a:cubicBezTo>
                  <a:cubicBezTo>
                    <a:pt x="6632" y="11942"/>
                    <a:pt x="6692" y="11954"/>
                    <a:pt x="6751" y="11954"/>
                  </a:cubicBezTo>
                  <a:lnTo>
                    <a:pt x="6846" y="11954"/>
                  </a:lnTo>
                  <a:cubicBezTo>
                    <a:pt x="7132" y="11966"/>
                    <a:pt x="7418" y="11978"/>
                    <a:pt x="7704" y="11978"/>
                  </a:cubicBezTo>
                  <a:cubicBezTo>
                    <a:pt x="7977" y="11978"/>
                    <a:pt x="8275" y="11966"/>
                    <a:pt x="8549" y="11954"/>
                  </a:cubicBezTo>
                  <a:lnTo>
                    <a:pt x="8656" y="11954"/>
                  </a:lnTo>
                  <a:cubicBezTo>
                    <a:pt x="8716" y="11954"/>
                    <a:pt x="8775" y="11942"/>
                    <a:pt x="8835" y="11942"/>
                  </a:cubicBezTo>
                  <a:cubicBezTo>
                    <a:pt x="9882" y="11847"/>
                    <a:pt x="10811" y="11644"/>
                    <a:pt x="11609" y="11323"/>
                  </a:cubicBezTo>
                  <a:lnTo>
                    <a:pt x="13395" y="13109"/>
                  </a:lnTo>
                  <a:lnTo>
                    <a:pt x="14788" y="11728"/>
                  </a:lnTo>
                  <a:lnTo>
                    <a:pt x="13371" y="10311"/>
                  </a:lnTo>
                  <a:cubicBezTo>
                    <a:pt x="14526" y="9382"/>
                    <a:pt x="15205" y="8096"/>
                    <a:pt x="15347" y="6620"/>
                  </a:cubicBezTo>
                  <a:cubicBezTo>
                    <a:pt x="15347" y="6560"/>
                    <a:pt x="15359" y="6501"/>
                    <a:pt x="15359" y="6441"/>
                  </a:cubicBezTo>
                  <a:cubicBezTo>
                    <a:pt x="15359" y="6346"/>
                    <a:pt x="15383" y="6251"/>
                    <a:pt x="15383" y="6144"/>
                  </a:cubicBezTo>
                  <a:lnTo>
                    <a:pt x="15383" y="5989"/>
                  </a:lnTo>
                  <a:cubicBezTo>
                    <a:pt x="15407" y="2572"/>
                    <a:pt x="12776" y="0"/>
                    <a:pt x="7716" y="0"/>
                  </a:cubicBezTo>
                  <a:close/>
                </a:path>
              </a:pathLst>
            </a:custGeom>
            <a:solidFill>
              <a:srgbClr val="222222"/>
            </a:solidFill>
            <a:ln>
              <a:noFill/>
            </a:ln>
          </p:spPr>
          <p:txBody>
            <a:bodyPr spcFirstLastPara="1" wrap="square" lIns="182850" tIns="182850" rIns="182850" bIns="182850" anchor="ctr" anchorCtr="0">
              <a:noAutofit/>
            </a:bodyPr>
            <a:lstStyle/>
            <a:p>
              <a:endParaRPr lang="en-US" sz="2800" noProof="0"/>
            </a:p>
          </p:txBody>
        </p:sp>
        <p:sp>
          <p:nvSpPr>
            <p:cNvPr id="274" name="Google Shape;274;g169e3e8f587_0_201"/>
            <p:cNvSpPr/>
            <p:nvPr/>
          </p:nvSpPr>
          <p:spPr>
            <a:xfrm>
              <a:off x="3613525" y="2721900"/>
              <a:ext cx="53025" cy="49125"/>
            </a:xfrm>
            <a:custGeom>
              <a:avLst/>
              <a:gdLst/>
              <a:ahLst/>
              <a:cxnLst/>
              <a:rect l="l" t="t" r="r" b="b"/>
              <a:pathLst>
                <a:path w="2121" h="1965" extrusionOk="0">
                  <a:moveTo>
                    <a:pt x="1" y="0"/>
                  </a:moveTo>
                  <a:lnTo>
                    <a:pt x="1" y="1965"/>
                  </a:lnTo>
                  <a:lnTo>
                    <a:pt x="2120" y="1965"/>
                  </a:lnTo>
                  <a:lnTo>
                    <a:pt x="2120" y="0"/>
                  </a:lnTo>
                  <a:close/>
                </a:path>
              </a:pathLst>
            </a:custGeom>
            <a:solidFill>
              <a:srgbClr val="222222"/>
            </a:solidFill>
            <a:ln>
              <a:noFill/>
            </a:ln>
          </p:spPr>
          <p:txBody>
            <a:bodyPr spcFirstLastPara="1" wrap="square" lIns="182850" tIns="182850" rIns="182850" bIns="182850" anchor="ctr" anchorCtr="0">
              <a:noAutofit/>
            </a:bodyPr>
            <a:lstStyle/>
            <a:p>
              <a:endParaRPr lang="en-US" sz="2800" noProof="0"/>
            </a:p>
          </p:txBody>
        </p:sp>
        <p:sp>
          <p:nvSpPr>
            <p:cNvPr id="275" name="Google Shape;275;g169e3e8f587_0_201"/>
            <p:cNvSpPr/>
            <p:nvPr/>
          </p:nvSpPr>
          <p:spPr>
            <a:xfrm>
              <a:off x="3613525" y="2798975"/>
              <a:ext cx="53025" cy="213150"/>
            </a:xfrm>
            <a:custGeom>
              <a:avLst/>
              <a:gdLst/>
              <a:ahLst/>
              <a:cxnLst/>
              <a:rect l="l" t="t" r="r" b="b"/>
              <a:pathLst>
                <a:path w="2121" h="8526" extrusionOk="0">
                  <a:moveTo>
                    <a:pt x="1" y="1"/>
                  </a:moveTo>
                  <a:lnTo>
                    <a:pt x="1" y="8526"/>
                  </a:lnTo>
                  <a:lnTo>
                    <a:pt x="2120" y="8526"/>
                  </a:lnTo>
                  <a:lnTo>
                    <a:pt x="2120" y="1"/>
                  </a:lnTo>
                  <a:close/>
                </a:path>
              </a:pathLst>
            </a:custGeom>
            <a:solidFill>
              <a:srgbClr val="222222"/>
            </a:solidFill>
            <a:ln>
              <a:noFill/>
            </a:ln>
          </p:spPr>
          <p:txBody>
            <a:bodyPr spcFirstLastPara="1" wrap="square" lIns="182850" tIns="182850" rIns="182850" bIns="182850" anchor="ctr" anchorCtr="0">
              <a:noAutofit/>
            </a:bodyPr>
            <a:lstStyle/>
            <a:p>
              <a:endParaRPr lang="en-US" sz="2800" noProof="0"/>
            </a:p>
          </p:txBody>
        </p:sp>
        <p:sp>
          <p:nvSpPr>
            <p:cNvPr id="276" name="Google Shape;276;g169e3e8f587_0_201"/>
            <p:cNvSpPr/>
            <p:nvPr/>
          </p:nvSpPr>
          <p:spPr>
            <a:xfrm>
              <a:off x="3725750" y="2790650"/>
              <a:ext cx="288450" cy="221475"/>
            </a:xfrm>
            <a:custGeom>
              <a:avLst/>
              <a:gdLst/>
              <a:ahLst/>
              <a:cxnLst/>
              <a:rect l="l" t="t" r="r" b="b"/>
              <a:pathLst>
                <a:path w="11538" h="8859" extrusionOk="0">
                  <a:moveTo>
                    <a:pt x="6239" y="1"/>
                  </a:moveTo>
                  <a:cubicBezTo>
                    <a:pt x="4608" y="1"/>
                    <a:pt x="3322" y="382"/>
                    <a:pt x="2120" y="882"/>
                  </a:cubicBezTo>
                  <a:lnTo>
                    <a:pt x="2108" y="870"/>
                  </a:lnTo>
                  <a:lnTo>
                    <a:pt x="2048" y="334"/>
                  </a:lnTo>
                  <a:lnTo>
                    <a:pt x="1" y="334"/>
                  </a:lnTo>
                  <a:lnTo>
                    <a:pt x="1" y="8859"/>
                  </a:lnTo>
                  <a:lnTo>
                    <a:pt x="2120" y="8859"/>
                  </a:lnTo>
                  <a:lnTo>
                    <a:pt x="2120" y="2596"/>
                  </a:lnTo>
                  <a:cubicBezTo>
                    <a:pt x="3370" y="2275"/>
                    <a:pt x="4644" y="1965"/>
                    <a:pt x="6037" y="1965"/>
                  </a:cubicBezTo>
                  <a:cubicBezTo>
                    <a:pt x="8668" y="1965"/>
                    <a:pt x="9406" y="3049"/>
                    <a:pt x="9406" y="4513"/>
                  </a:cubicBezTo>
                  <a:lnTo>
                    <a:pt x="9406" y="8859"/>
                  </a:lnTo>
                  <a:lnTo>
                    <a:pt x="11526" y="8859"/>
                  </a:lnTo>
                  <a:lnTo>
                    <a:pt x="11526" y="4501"/>
                  </a:lnTo>
                  <a:cubicBezTo>
                    <a:pt x="11538" y="1929"/>
                    <a:pt x="10038" y="1"/>
                    <a:pt x="6239" y="1"/>
                  </a:cubicBezTo>
                  <a:close/>
                </a:path>
              </a:pathLst>
            </a:custGeom>
            <a:solidFill>
              <a:srgbClr val="222222"/>
            </a:solidFill>
            <a:ln>
              <a:noFill/>
            </a:ln>
          </p:spPr>
          <p:txBody>
            <a:bodyPr spcFirstLastPara="1" wrap="square" lIns="182850" tIns="182850" rIns="182850" bIns="182850" anchor="ctr" anchorCtr="0">
              <a:noAutofit/>
            </a:bodyPr>
            <a:lstStyle/>
            <a:p>
              <a:endParaRPr lang="en-US" sz="2800" noProof="0"/>
            </a:p>
          </p:txBody>
        </p:sp>
        <p:sp>
          <p:nvSpPr>
            <p:cNvPr id="277" name="Google Shape;277;g169e3e8f587_0_201"/>
            <p:cNvSpPr/>
            <p:nvPr/>
          </p:nvSpPr>
          <p:spPr>
            <a:xfrm>
              <a:off x="4073700" y="2737675"/>
              <a:ext cx="117300" cy="280400"/>
            </a:xfrm>
            <a:custGeom>
              <a:avLst/>
              <a:gdLst/>
              <a:ahLst/>
              <a:cxnLst/>
              <a:rect l="l" t="t" r="r" b="b"/>
              <a:pathLst>
                <a:path w="4692" h="11216" extrusionOk="0">
                  <a:moveTo>
                    <a:pt x="2120" y="0"/>
                  </a:moveTo>
                  <a:lnTo>
                    <a:pt x="1" y="203"/>
                  </a:lnTo>
                  <a:lnTo>
                    <a:pt x="1" y="2358"/>
                  </a:lnTo>
                  <a:lnTo>
                    <a:pt x="1" y="4120"/>
                  </a:lnTo>
                  <a:lnTo>
                    <a:pt x="1" y="8180"/>
                  </a:lnTo>
                  <a:cubicBezTo>
                    <a:pt x="1" y="10442"/>
                    <a:pt x="989" y="11216"/>
                    <a:pt x="2716" y="11216"/>
                  </a:cubicBezTo>
                  <a:cubicBezTo>
                    <a:pt x="3311" y="11216"/>
                    <a:pt x="3966" y="11109"/>
                    <a:pt x="4692" y="10966"/>
                  </a:cubicBezTo>
                  <a:lnTo>
                    <a:pt x="4692" y="9335"/>
                  </a:lnTo>
                  <a:cubicBezTo>
                    <a:pt x="4144" y="9382"/>
                    <a:pt x="3680" y="9442"/>
                    <a:pt x="3311" y="9442"/>
                  </a:cubicBezTo>
                  <a:cubicBezTo>
                    <a:pt x="2454" y="9442"/>
                    <a:pt x="2120" y="9132"/>
                    <a:pt x="2120" y="8180"/>
                  </a:cubicBezTo>
                  <a:lnTo>
                    <a:pt x="2120" y="4120"/>
                  </a:lnTo>
                  <a:lnTo>
                    <a:pt x="4692" y="4120"/>
                  </a:lnTo>
                  <a:lnTo>
                    <a:pt x="4692" y="2358"/>
                  </a:lnTo>
                  <a:lnTo>
                    <a:pt x="2120" y="2358"/>
                  </a:lnTo>
                  <a:lnTo>
                    <a:pt x="2120" y="0"/>
                  </a:lnTo>
                  <a:close/>
                </a:path>
              </a:pathLst>
            </a:custGeom>
            <a:solidFill>
              <a:srgbClr val="222222"/>
            </a:solidFill>
            <a:ln>
              <a:noFill/>
            </a:ln>
          </p:spPr>
          <p:txBody>
            <a:bodyPr spcFirstLastPara="1" wrap="square" lIns="182850" tIns="182850" rIns="182850" bIns="182850" anchor="ctr" anchorCtr="0">
              <a:noAutofit/>
            </a:bodyPr>
            <a:lstStyle/>
            <a:p>
              <a:endParaRPr lang="en-US" sz="2800" noProof="0"/>
            </a:p>
          </p:txBody>
        </p:sp>
        <p:sp>
          <p:nvSpPr>
            <p:cNvPr id="278" name="Google Shape;278;g169e3e8f587_0_201"/>
            <p:cNvSpPr/>
            <p:nvPr/>
          </p:nvSpPr>
          <p:spPr>
            <a:xfrm>
              <a:off x="4235625" y="2790650"/>
              <a:ext cx="311375" cy="227725"/>
            </a:xfrm>
            <a:custGeom>
              <a:avLst/>
              <a:gdLst/>
              <a:ahLst/>
              <a:cxnLst/>
              <a:rect l="l" t="t" r="r" b="b"/>
              <a:pathLst>
                <a:path w="12455" h="9109" extrusionOk="0">
                  <a:moveTo>
                    <a:pt x="5883" y="1929"/>
                  </a:moveTo>
                  <a:cubicBezTo>
                    <a:pt x="8097" y="1929"/>
                    <a:pt x="9514" y="2572"/>
                    <a:pt x="9228" y="3870"/>
                  </a:cubicBezTo>
                  <a:lnTo>
                    <a:pt x="2239" y="3870"/>
                  </a:lnTo>
                  <a:cubicBezTo>
                    <a:pt x="2513" y="2727"/>
                    <a:pt x="3501" y="1929"/>
                    <a:pt x="5883" y="1929"/>
                  </a:cubicBezTo>
                  <a:close/>
                  <a:moveTo>
                    <a:pt x="5764" y="1"/>
                  </a:moveTo>
                  <a:cubicBezTo>
                    <a:pt x="1882" y="1"/>
                    <a:pt x="1" y="2084"/>
                    <a:pt x="1" y="4620"/>
                  </a:cubicBezTo>
                  <a:cubicBezTo>
                    <a:pt x="1" y="7525"/>
                    <a:pt x="2144" y="9109"/>
                    <a:pt x="6490" y="9109"/>
                  </a:cubicBezTo>
                  <a:cubicBezTo>
                    <a:pt x="8871" y="9109"/>
                    <a:pt x="10883" y="8633"/>
                    <a:pt x="11455" y="8430"/>
                  </a:cubicBezTo>
                  <a:lnTo>
                    <a:pt x="11074" y="6585"/>
                  </a:lnTo>
                  <a:cubicBezTo>
                    <a:pt x="10598" y="6728"/>
                    <a:pt x="8609" y="7168"/>
                    <a:pt x="6430" y="7168"/>
                  </a:cubicBezTo>
                  <a:cubicBezTo>
                    <a:pt x="3882" y="7168"/>
                    <a:pt x="2620" y="6585"/>
                    <a:pt x="2275" y="5406"/>
                  </a:cubicBezTo>
                  <a:lnTo>
                    <a:pt x="11324" y="5406"/>
                  </a:lnTo>
                  <a:cubicBezTo>
                    <a:pt x="12455" y="1810"/>
                    <a:pt x="9502" y="1"/>
                    <a:pt x="5764" y="1"/>
                  </a:cubicBezTo>
                  <a:close/>
                </a:path>
              </a:pathLst>
            </a:custGeom>
            <a:solidFill>
              <a:srgbClr val="222222"/>
            </a:solidFill>
            <a:ln>
              <a:noFill/>
            </a:ln>
          </p:spPr>
          <p:txBody>
            <a:bodyPr spcFirstLastPara="1" wrap="square" lIns="182850" tIns="182850" rIns="182850" bIns="182850" anchor="ctr" anchorCtr="0">
              <a:noAutofit/>
            </a:bodyPr>
            <a:lstStyle/>
            <a:p>
              <a:endParaRPr lang="en-US" sz="2800" noProof="0"/>
            </a:p>
          </p:txBody>
        </p:sp>
        <p:sp>
          <p:nvSpPr>
            <p:cNvPr id="279" name="Google Shape;279;g169e3e8f587_0_201"/>
            <p:cNvSpPr/>
            <p:nvPr/>
          </p:nvSpPr>
          <p:spPr>
            <a:xfrm>
              <a:off x="4564850" y="2790650"/>
              <a:ext cx="294100" cy="227425"/>
            </a:xfrm>
            <a:custGeom>
              <a:avLst/>
              <a:gdLst/>
              <a:ahLst/>
              <a:cxnLst/>
              <a:rect l="l" t="t" r="r" b="b"/>
              <a:pathLst>
                <a:path w="11764" h="9097" extrusionOk="0">
                  <a:moveTo>
                    <a:pt x="5763" y="1"/>
                  </a:moveTo>
                  <a:cubicBezTo>
                    <a:pt x="3810" y="1"/>
                    <a:pt x="238" y="155"/>
                    <a:pt x="238" y="2822"/>
                  </a:cubicBezTo>
                  <a:cubicBezTo>
                    <a:pt x="238" y="5180"/>
                    <a:pt x="3334" y="5394"/>
                    <a:pt x="5941" y="5442"/>
                  </a:cubicBezTo>
                  <a:cubicBezTo>
                    <a:pt x="7894" y="5466"/>
                    <a:pt x="9621" y="5442"/>
                    <a:pt x="9621" y="6180"/>
                  </a:cubicBezTo>
                  <a:cubicBezTo>
                    <a:pt x="9621" y="7085"/>
                    <a:pt x="6799" y="7132"/>
                    <a:pt x="5799" y="7132"/>
                  </a:cubicBezTo>
                  <a:cubicBezTo>
                    <a:pt x="4084" y="7132"/>
                    <a:pt x="2727" y="6954"/>
                    <a:pt x="441" y="6454"/>
                  </a:cubicBezTo>
                  <a:lnTo>
                    <a:pt x="0" y="8383"/>
                  </a:lnTo>
                  <a:cubicBezTo>
                    <a:pt x="2143" y="8918"/>
                    <a:pt x="3608" y="9097"/>
                    <a:pt x="5537" y="9097"/>
                  </a:cubicBezTo>
                  <a:cubicBezTo>
                    <a:pt x="7263" y="9097"/>
                    <a:pt x="11764" y="8954"/>
                    <a:pt x="11764" y="6168"/>
                  </a:cubicBezTo>
                  <a:cubicBezTo>
                    <a:pt x="11764" y="3751"/>
                    <a:pt x="8537" y="3668"/>
                    <a:pt x="5882" y="3620"/>
                  </a:cubicBezTo>
                  <a:cubicBezTo>
                    <a:pt x="4036" y="3608"/>
                    <a:pt x="2405" y="3608"/>
                    <a:pt x="2405" y="2834"/>
                  </a:cubicBezTo>
                  <a:cubicBezTo>
                    <a:pt x="2405" y="2084"/>
                    <a:pt x="3751" y="1965"/>
                    <a:pt x="5394" y="1965"/>
                  </a:cubicBezTo>
                  <a:cubicBezTo>
                    <a:pt x="7287" y="1965"/>
                    <a:pt x="8620" y="2084"/>
                    <a:pt x="10692" y="2441"/>
                  </a:cubicBezTo>
                  <a:lnTo>
                    <a:pt x="11014" y="501"/>
                  </a:lnTo>
                  <a:cubicBezTo>
                    <a:pt x="9109" y="167"/>
                    <a:pt x="7358" y="1"/>
                    <a:pt x="5763" y="1"/>
                  </a:cubicBezTo>
                  <a:close/>
                </a:path>
              </a:pathLst>
            </a:custGeom>
            <a:solidFill>
              <a:srgbClr val="222222"/>
            </a:solidFill>
            <a:ln>
              <a:noFill/>
            </a:ln>
          </p:spPr>
          <p:txBody>
            <a:bodyPr spcFirstLastPara="1" wrap="square" lIns="182850" tIns="182850" rIns="182850" bIns="182850" anchor="ctr" anchorCtr="0">
              <a:noAutofit/>
            </a:bodyPr>
            <a:lstStyle/>
            <a:p>
              <a:endParaRPr lang="en-US" sz="2800" noProof="0"/>
            </a:p>
          </p:txBody>
        </p:sp>
        <p:sp>
          <p:nvSpPr>
            <p:cNvPr id="280" name="Google Shape;280;g169e3e8f587_0_201"/>
            <p:cNvSpPr/>
            <p:nvPr/>
          </p:nvSpPr>
          <p:spPr>
            <a:xfrm>
              <a:off x="4895250" y="2790650"/>
              <a:ext cx="294100" cy="227425"/>
            </a:xfrm>
            <a:custGeom>
              <a:avLst/>
              <a:gdLst/>
              <a:ahLst/>
              <a:cxnLst/>
              <a:rect l="l" t="t" r="r" b="b"/>
              <a:pathLst>
                <a:path w="11764" h="9097" extrusionOk="0">
                  <a:moveTo>
                    <a:pt x="5763" y="1"/>
                  </a:moveTo>
                  <a:cubicBezTo>
                    <a:pt x="3810" y="1"/>
                    <a:pt x="238" y="155"/>
                    <a:pt x="238" y="2822"/>
                  </a:cubicBezTo>
                  <a:cubicBezTo>
                    <a:pt x="238" y="5180"/>
                    <a:pt x="3334" y="5394"/>
                    <a:pt x="5941" y="5442"/>
                  </a:cubicBezTo>
                  <a:cubicBezTo>
                    <a:pt x="7894" y="5466"/>
                    <a:pt x="9620" y="5442"/>
                    <a:pt x="9620" y="6180"/>
                  </a:cubicBezTo>
                  <a:cubicBezTo>
                    <a:pt x="9620" y="7085"/>
                    <a:pt x="6799" y="7132"/>
                    <a:pt x="5787" y="7132"/>
                  </a:cubicBezTo>
                  <a:cubicBezTo>
                    <a:pt x="4084" y="7132"/>
                    <a:pt x="2727" y="6954"/>
                    <a:pt x="429" y="6454"/>
                  </a:cubicBezTo>
                  <a:lnTo>
                    <a:pt x="0" y="8383"/>
                  </a:lnTo>
                  <a:cubicBezTo>
                    <a:pt x="2143" y="8918"/>
                    <a:pt x="3608" y="9097"/>
                    <a:pt x="5537" y="9097"/>
                  </a:cubicBezTo>
                  <a:cubicBezTo>
                    <a:pt x="7263" y="9097"/>
                    <a:pt x="11764" y="8954"/>
                    <a:pt x="11764" y="6168"/>
                  </a:cubicBezTo>
                  <a:cubicBezTo>
                    <a:pt x="11764" y="3751"/>
                    <a:pt x="8537" y="3668"/>
                    <a:pt x="5882" y="3620"/>
                  </a:cubicBezTo>
                  <a:cubicBezTo>
                    <a:pt x="4036" y="3608"/>
                    <a:pt x="2405" y="3608"/>
                    <a:pt x="2405" y="2834"/>
                  </a:cubicBezTo>
                  <a:cubicBezTo>
                    <a:pt x="2405" y="2084"/>
                    <a:pt x="3751" y="1965"/>
                    <a:pt x="5394" y="1965"/>
                  </a:cubicBezTo>
                  <a:cubicBezTo>
                    <a:pt x="7275" y="1965"/>
                    <a:pt x="8620" y="2084"/>
                    <a:pt x="10692" y="2441"/>
                  </a:cubicBezTo>
                  <a:lnTo>
                    <a:pt x="11013" y="501"/>
                  </a:lnTo>
                  <a:cubicBezTo>
                    <a:pt x="9108" y="167"/>
                    <a:pt x="7358" y="1"/>
                    <a:pt x="5763" y="1"/>
                  </a:cubicBezTo>
                  <a:close/>
                </a:path>
              </a:pathLst>
            </a:custGeom>
            <a:solidFill>
              <a:srgbClr val="222222"/>
            </a:solidFill>
            <a:ln>
              <a:noFill/>
            </a:ln>
          </p:spPr>
          <p:txBody>
            <a:bodyPr spcFirstLastPara="1" wrap="square" lIns="182850" tIns="182850" rIns="182850" bIns="182850" anchor="ctr" anchorCtr="0">
              <a:noAutofit/>
            </a:bodyPr>
            <a:lstStyle/>
            <a:p>
              <a:endParaRPr lang="en-US" sz="2800" noProof="0"/>
            </a:p>
          </p:txBody>
        </p:sp>
        <p:sp>
          <p:nvSpPr>
            <p:cNvPr id="281" name="Google Shape;281;g169e3e8f587_0_201"/>
            <p:cNvSpPr/>
            <p:nvPr/>
          </p:nvSpPr>
          <p:spPr>
            <a:xfrm>
              <a:off x="5235175" y="2982350"/>
              <a:ext cx="27700" cy="29775"/>
            </a:xfrm>
            <a:custGeom>
              <a:avLst/>
              <a:gdLst/>
              <a:ahLst/>
              <a:cxnLst/>
              <a:rect l="l" t="t" r="r" b="b"/>
              <a:pathLst>
                <a:path w="1108" h="1191" extrusionOk="0">
                  <a:moveTo>
                    <a:pt x="12" y="0"/>
                  </a:moveTo>
                  <a:lnTo>
                    <a:pt x="0" y="167"/>
                  </a:lnTo>
                  <a:lnTo>
                    <a:pt x="476" y="167"/>
                  </a:lnTo>
                  <a:lnTo>
                    <a:pt x="476" y="1191"/>
                  </a:lnTo>
                  <a:lnTo>
                    <a:pt x="631" y="1191"/>
                  </a:lnTo>
                  <a:lnTo>
                    <a:pt x="631" y="167"/>
                  </a:lnTo>
                  <a:lnTo>
                    <a:pt x="1096" y="167"/>
                  </a:lnTo>
                  <a:lnTo>
                    <a:pt x="1107" y="0"/>
                  </a:lnTo>
                  <a:close/>
                </a:path>
              </a:pathLst>
            </a:custGeom>
            <a:solidFill>
              <a:srgbClr val="222222"/>
            </a:solidFill>
            <a:ln>
              <a:noFill/>
            </a:ln>
          </p:spPr>
          <p:txBody>
            <a:bodyPr spcFirstLastPara="1" wrap="square" lIns="182850" tIns="182850" rIns="182850" bIns="182850" anchor="ctr" anchorCtr="0">
              <a:noAutofit/>
            </a:bodyPr>
            <a:lstStyle/>
            <a:p>
              <a:endParaRPr lang="en-US" sz="2800" noProof="0"/>
            </a:p>
          </p:txBody>
        </p:sp>
        <p:sp>
          <p:nvSpPr>
            <p:cNvPr id="282" name="Google Shape;282;g169e3e8f587_0_201"/>
            <p:cNvSpPr/>
            <p:nvPr/>
          </p:nvSpPr>
          <p:spPr>
            <a:xfrm>
              <a:off x="5264325" y="2982350"/>
              <a:ext cx="33675" cy="29775"/>
            </a:xfrm>
            <a:custGeom>
              <a:avLst/>
              <a:gdLst/>
              <a:ahLst/>
              <a:cxnLst/>
              <a:rect l="l" t="t" r="r" b="b"/>
              <a:pathLst>
                <a:path w="1347" h="1191" extrusionOk="0">
                  <a:moveTo>
                    <a:pt x="1" y="0"/>
                  </a:moveTo>
                  <a:lnTo>
                    <a:pt x="1" y="1191"/>
                  </a:lnTo>
                  <a:lnTo>
                    <a:pt x="180" y="1191"/>
                  </a:lnTo>
                  <a:lnTo>
                    <a:pt x="180" y="298"/>
                  </a:lnTo>
                  <a:lnTo>
                    <a:pt x="584" y="1191"/>
                  </a:lnTo>
                  <a:lnTo>
                    <a:pt x="763" y="1191"/>
                  </a:lnTo>
                  <a:lnTo>
                    <a:pt x="1168" y="298"/>
                  </a:lnTo>
                  <a:lnTo>
                    <a:pt x="1168" y="1191"/>
                  </a:lnTo>
                  <a:lnTo>
                    <a:pt x="1346" y="1191"/>
                  </a:lnTo>
                  <a:lnTo>
                    <a:pt x="1346" y="0"/>
                  </a:lnTo>
                  <a:lnTo>
                    <a:pt x="1108" y="0"/>
                  </a:lnTo>
                  <a:lnTo>
                    <a:pt x="680" y="988"/>
                  </a:lnTo>
                  <a:lnTo>
                    <a:pt x="239" y="0"/>
                  </a:lnTo>
                  <a:close/>
                </a:path>
              </a:pathLst>
            </a:custGeom>
            <a:solidFill>
              <a:srgbClr val="222222"/>
            </a:solidFill>
            <a:ln>
              <a:noFill/>
            </a:ln>
          </p:spPr>
          <p:txBody>
            <a:bodyPr spcFirstLastPara="1" wrap="square" lIns="182850" tIns="182850" rIns="182850" bIns="182850" anchor="ctr" anchorCtr="0">
              <a:noAutofit/>
            </a:bodyPr>
            <a:lstStyle/>
            <a:p>
              <a:endParaRPr lang="en-US" sz="2800" noProof="0"/>
            </a:p>
          </p:txBody>
        </p:sp>
      </p:grpSp>
      <p:sp>
        <p:nvSpPr>
          <p:cNvPr id="283" name="Google Shape;283;g169e3e8f587_0_201"/>
          <p:cNvSpPr/>
          <p:nvPr/>
        </p:nvSpPr>
        <p:spPr>
          <a:xfrm>
            <a:off x="10059850" y="3737100"/>
            <a:ext cx="808800" cy="75000"/>
          </a:xfrm>
          <a:prstGeom prst="roundRect">
            <a:avLst>
              <a:gd name="adj" fmla="val 50000"/>
            </a:avLst>
          </a:prstGeom>
          <a:gradFill>
            <a:gsLst>
              <a:gs pos="0">
                <a:srgbClr val="FF2C34"/>
              </a:gs>
              <a:gs pos="100000">
                <a:srgbClr val="6800FF"/>
              </a:gs>
            </a:gsLst>
            <a:lin ang="2700006" scaled="0"/>
          </a:gradFill>
          <a:ln>
            <a:noFill/>
          </a:ln>
        </p:spPr>
        <p:txBody>
          <a:bodyPr spcFirstLastPara="1" wrap="square" lIns="182850" tIns="182850" rIns="182850" bIns="182850" anchor="ctr" anchorCtr="0">
            <a:noAutofit/>
          </a:bodyPr>
          <a:lstStyle/>
          <a:p>
            <a:endParaRPr lang="en-US" sz="2800" noProof="0"/>
          </a:p>
        </p:txBody>
      </p:sp>
      <p:pic>
        <p:nvPicPr>
          <p:cNvPr id="284" name="Google Shape;284;g169e3e8f587_0_201"/>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 y="-99"/>
            <a:ext cx="9144002" cy="10287002"/>
          </a:xfrm>
          <a:prstGeom prst="rect">
            <a:avLst/>
          </a:prstGeom>
          <a:noFill/>
          <a:ln>
            <a:noFill/>
          </a:ln>
        </p:spPr>
      </p:pic>
    </p:spTree>
    <p:extLst>
      <p:ext uri="{BB962C8B-B14F-4D97-AF65-F5344CB8AC3E}">
        <p14:creationId xmlns:p14="http://schemas.microsoft.com/office/powerpoint/2010/main" val="11122587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816A20-9BE9-185F-2029-737A3E5E3035}"/>
            </a:ext>
          </a:extLst>
        </p:cNvPr>
        <p:cNvGrpSpPr/>
        <p:nvPr/>
      </p:nvGrpSpPr>
      <p:grpSpPr>
        <a:xfrm>
          <a:off x="0" y="0"/>
          <a:ext cx="0" cy="0"/>
          <a:chOff x="0" y="0"/>
          <a:chExt cx="0" cy="0"/>
        </a:xfrm>
      </p:grpSpPr>
      <p:sp>
        <p:nvSpPr>
          <p:cNvPr id="6" name="bg">
            <a:extLst>
              <a:ext uri="{FF2B5EF4-FFF2-40B4-BE49-F238E27FC236}">
                <a16:creationId xmlns:a16="http://schemas.microsoft.com/office/drawing/2014/main" id="{D3198107-DABE-84DC-046B-93A7C737DF5F}"/>
              </a:ext>
            </a:extLst>
          </p:cNvPr>
          <p:cNvSpPr/>
          <p:nvPr/>
        </p:nvSpPr>
        <p:spPr>
          <a:xfrm>
            <a:off x="0" y="0"/>
            <a:ext cx="18283617" cy="10284487"/>
          </a:xfrm>
          <a:prstGeom prst="rect">
            <a:avLst/>
          </a:prstGeom>
          <a:solidFill>
            <a:srgbClr val="6800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12" name="Imagem 11" descr="Retrato de um homem com barba na natureza, segurando um binóculo na frente, olhando para cima">
            <a:extLst>
              <a:ext uri="{FF2B5EF4-FFF2-40B4-BE49-F238E27FC236}">
                <a16:creationId xmlns:a16="http://schemas.microsoft.com/office/drawing/2014/main" id="{97A2AB40-7AB6-A37B-4A56-F8CCCCCE79E8}"/>
              </a:ext>
            </a:extLst>
          </p:cNvPr>
          <p:cNvPicPr>
            <a:picLocks noChangeAspect="1"/>
          </p:cNvPicPr>
          <p:nvPr/>
        </p:nvPicPr>
        <p:blipFill>
          <a:blip r:embed="rId3" cstate="email">
            <a:alphaModFix amt="27000"/>
            <a:extLst>
              <a:ext uri="{28A0092B-C50C-407E-A947-70E740481C1C}">
                <a14:useLocalDpi xmlns:a14="http://schemas.microsoft.com/office/drawing/2010/main"/>
              </a:ext>
            </a:extLst>
          </a:blip>
          <a:srcRect t="-128" r="-28"/>
          <a:stretch/>
        </p:blipFill>
        <p:spPr>
          <a:xfrm>
            <a:off x="-417" y="368"/>
            <a:ext cx="18298226" cy="10282657"/>
          </a:xfrm>
          <a:prstGeom prst="rect">
            <a:avLst/>
          </a:prstGeom>
        </p:spPr>
      </p:pic>
      <p:sp>
        <p:nvSpPr>
          <p:cNvPr id="2" name="Title 1">
            <a:extLst>
              <a:ext uri="{FF2B5EF4-FFF2-40B4-BE49-F238E27FC236}">
                <a16:creationId xmlns:a16="http://schemas.microsoft.com/office/drawing/2014/main" id="{7B47B9C6-B2E7-8CB5-A087-E7719C530E20}"/>
              </a:ext>
            </a:extLst>
          </p:cNvPr>
          <p:cNvSpPr>
            <a:spLocks noGrp="1"/>
          </p:cNvSpPr>
          <p:nvPr>
            <p:ph type="title" idx="4294967295"/>
          </p:nvPr>
        </p:nvSpPr>
        <p:spPr>
          <a:xfrm>
            <a:off x="1080599" y="1823645"/>
            <a:ext cx="7519828" cy="8888837"/>
          </a:xfrm>
        </p:spPr>
        <p:txBody>
          <a:bodyPr/>
          <a:lstStyle/>
          <a:p>
            <a:r>
              <a:rPr lang="en-US" sz="4800" noProof="0">
                <a:solidFill>
                  <a:schemeClr val="tx1"/>
                </a:solidFill>
                <a:latin typeface="Montserrat Bold"/>
              </a:rPr>
              <a:t>The organizations have invested a lot in Agility, mainly resulting from Digital Transformation initiatives, </a:t>
            </a:r>
            <a:r>
              <a:rPr lang="en-US" sz="4800" noProof="0">
                <a:solidFill>
                  <a:schemeClr val="tx1"/>
                </a:solidFill>
                <a:highlight>
                  <a:srgbClr val="6800FF"/>
                </a:highlight>
                <a:latin typeface="Montserrat Bold"/>
              </a:rPr>
              <a:t>but they</a:t>
            </a:r>
            <a:r>
              <a:rPr lang="en-US" sz="4800" noProof="0">
                <a:solidFill>
                  <a:schemeClr val="tx1"/>
                </a:solidFill>
                <a:highlight>
                  <a:srgbClr val="6800FF"/>
                </a:highlight>
              </a:rPr>
              <a:t> </a:t>
            </a:r>
            <a:r>
              <a:rPr lang="en-US" sz="4800" noProof="0">
                <a:solidFill>
                  <a:schemeClr val="tx1"/>
                </a:solidFill>
                <a:highlight>
                  <a:srgbClr val="6800FF"/>
                </a:highlight>
                <a:latin typeface="Montserrat Bold"/>
              </a:rPr>
              <a:t>have not achieved the expected results.</a:t>
            </a:r>
            <a:br>
              <a:rPr lang="en-US" sz="4800" noProof="0">
                <a:highlight>
                  <a:srgbClr val="6800FF"/>
                </a:highlight>
                <a:latin typeface="Montserrat Bold"/>
              </a:rPr>
            </a:br>
            <a:endParaRPr lang="en-US" sz="4800" noProof="0">
              <a:solidFill>
                <a:schemeClr val="tx1"/>
              </a:solidFill>
              <a:latin typeface="Montserrat Bold"/>
            </a:endParaRPr>
          </a:p>
        </p:txBody>
      </p:sp>
      <p:sp>
        <p:nvSpPr>
          <p:cNvPr id="10" name="Google Shape;270;g169e3e8f587_0_201">
            <a:extLst>
              <a:ext uri="{FF2B5EF4-FFF2-40B4-BE49-F238E27FC236}">
                <a16:creationId xmlns:a16="http://schemas.microsoft.com/office/drawing/2014/main" id="{794ECC13-F9E0-F77E-4B79-729DD9731ADA}"/>
              </a:ext>
            </a:extLst>
          </p:cNvPr>
          <p:cNvSpPr txBox="1"/>
          <p:nvPr/>
        </p:nvSpPr>
        <p:spPr>
          <a:xfrm>
            <a:off x="11649073" y="1715993"/>
            <a:ext cx="6658895" cy="6550898"/>
          </a:xfrm>
          <a:prstGeom prst="rect">
            <a:avLst/>
          </a:prstGeom>
          <a:noFill/>
          <a:ln>
            <a:noFill/>
          </a:ln>
        </p:spPr>
        <p:txBody>
          <a:bodyPr spcFirstLastPara="1" wrap="square" lIns="137138" tIns="137138" rIns="137138" bIns="137138" anchor="t" anchorCtr="0">
            <a:noAutofit/>
          </a:bodyPr>
          <a:lstStyle/>
          <a:p>
            <a:pPr marL="342900" marR="0" lvl="0" indent="-342900" algn="l" defTabSz="1371566" rtl="0" eaLnBrk="1" fontAlgn="auto" latinLnBrk="0" hangingPunct="1">
              <a:lnSpc>
                <a:spcPct val="250000"/>
              </a:lnSpc>
              <a:spcBef>
                <a:spcPts val="0"/>
              </a:spcBef>
              <a:spcAft>
                <a:spcPts val="0"/>
              </a:spcAft>
              <a:buClr>
                <a:prstClr val="white"/>
              </a:buClr>
              <a:buSzTx/>
              <a:buFont typeface="Arial" panose="020B0604020202020204" pitchFamily="34" charset="0"/>
              <a:buChar char="•"/>
              <a:tabLst/>
              <a:defRPr/>
            </a:pPr>
            <a:r>
              <a:rPr kumimoji="0" lang="en-US" sz="2000" b="1" i="0" u="none" strike="noStrike" kern="1200" cap="none" spc="0" normalizeH="0" baseline="0" noProof="0">
                <a:ln>
                  <a:noFill/>
                </a:ln>
                <a:solidFill>
                  <a:srgbClr val="FFFFFF"/>
                </a:solidFill>
                <a:effectLst/>
                <a:uLnTx/>
                <a:uFillTx/>
                <a:latin typeface="Montserrat"/>
                <a:ea typeface="Montserrat"/>
                <a:cs typeface="Montserrat"/>
                <a:sym typeface="Montserrat"/>
              </a:rPr>
              <a:t>Accelerate “Time to Market”</a:t>
            </a:r>
            <a:endParaRPr lang="en-US" noProof="0"/>
          </a:p>
          <a:p>
            <a:pPr marL="342900" marR="0" lvl="0" indent="-342900" algn="l" defTabSz="1371566" rtl="0" eaLnBrk="1" fontAlgn="auto" latinLnBrk="0" hangingPunct="1">
              <a:lnSpc>
                <a:spcPct val="250000"/>
              </a:lnSpc>
              <a:spcBef>
                <a:spcPts val="0"/>
              </a:spcBef>
              <a:spcAft>
                <a:spcPts val="0"/>
              </a:spcAft>
              <a:buClr>
                <a:prstClr val="white"/>
              </a:buClr>
              <a:buSzTx/>
              <a:buFont typeface="Arial" panose="020B0604020202020204" pitchFamily="34" charset="0"/>
              <a:buChar char="•"/>
              <a:tabLst/>
              <a:defRPr/>
            </a:pPr>
            <a:r>
              <a:rPr kumimoji="0" lang="en-US" sz="2000" b="1" i="0" u="none" strike="noStrike" kern="1200" cap="none" spc="0" normalizeH="0" baseline="0" noProof="0">
                <a:ln>
                  <a:noFill/>
                </a:ln>
                <a:solidFill>
                  <a:srgbClr val="FFFFFF"/>
                </a:solidFill>
                <a:effectLst/>
                <a:uLnTx/>
                <a:uFillTx/>
                <a:latin typeface="Montserrat"/>
                <a:ea typeface="Montserrat"/>
                <a:cs typeface="Montserrat"/>
                <a:sym typeface="Montserrat"/>
              </a:rPr>
              <a:t>Improve Quality</a:t>
            </a:r>
            <a:endParaRPr lang="en-US" sz="2000" b="1" i="0" u="none" strike="noStrike" kern="1200" cap="none" spc="0" normalizeH="0" baseline="0" noProof="0">
              <a:ln>
                <a:noFill/>
              </a:ln>
              <a:solidFill>
                <a:srgbClr val="FFFFFF"/>
              </a:solidFill>
              <a:effectLst/>
              <a:uLnTx/>
              <a:uFillTx/>
              <a:latin typeface="Montserrat"/>
              <a:ea typeface="Montserrat"/>
              <a:cs typeface="Montserrat"/>
            </a:endParaRPr>
          </a:p>
          <a:p>
            <a:pPr marL="342900" marR="0" lvl="0" indent="-342900" algn="l" defTabSz="1371566" rtl="0" eaLnBrk="1" fontAlgn="auto" latinLnBrk="0" hangingPunct="1">
              <a:lnSpc>
                <a:spcPct val="250000"/>
              </a:lnSpc>
              <a:spcBef>
                <a:spcPts val="0"/>
              </a:spcBef>
              <a:spcAft>
                <a:spcPts val="0"/>
              </a:spcAft>
              <a:buClr>
                <a:prstClr val="white"/>
              </a:buClr>
              <a:buSzTx/>
              <a:buFont typeface="Arial" panose="020B0604020202020204" pitchFamily="34" charset="0"/>
              <a:buChar char="•"/>
              <a:tabLst/>
              <a:defRPr/>
            </a:pPr>
            <a:r>
              <a:rPr kumimoji="0" lang="en-US" sz="2000" b="1" i="0" u="none" strike="noStrike" kern="1200" cap="none" spc="0" normalizeH="0" baseline="0" noProof="0">
                <a:ln>
                  <a:noFill/>
                </a:ln>
                <a:solidFill>
                  <a:srgbClr val="FFFFFF"/>
                </a:solidFill>
                <a:effectLst/>
                <a:uLnTx/>
                <a:uFillTx/>
                <a:latin typeface="Montserrat"/>
                <a:ea typeface="Montserrat"/>
                <a:cs typeface="Montserrat"/>
                <a:sym typeface="Montserrat"/>
              </a:rPr>
              <a:t>Boost Process automation</a:t>
            </a:r>
            <a:endParaRPr lang="en-US" sz="2000" b="1" i="0" u="none" strike="noStrike" kern="1200" cap="none" spc="0" normalizeH="0" baseline="0" noProof="0">
              <a:ln>
                <a:noFill/>
              </a:ln>
              <a:solidFill>
                <a:srgbClr val="FFFFFF"/>
              </a:solidFill>
              <a:effectLst/>
              <a:uLnTx/>
              <a:uFillTx/>
              <a:latin typeface="Montserrat"/>
              <a:ea typeface="Montserrat"/>
              <a:cs typeface="Montserrat"/>
            </a:endParaRPr>
          </a:p>
          <a:p>
            <a:pPr marL="342900" marR="0" lvl="0" indent="-342900" algn="l" defTabSz="1371566" rtl="0" eaLnBrk="1" fontAlgn="auto" latinLnBrk="0" hangingPunct="1">
              <a:lnSpc>
                <a:spcPct val="250000"/>
              </a:lnSpc>
              <a:spcBef>
                <a:spcPts val="0"/>
              </a:spcBef>
              <a:spcAft>
                <a:spcPts val="0"/>
              </a:spcAft>
              <a:buClr>
                <a:prstClr val="white"/>
              </a:buClr>
              <a:buSzTx/>
              <a:buFont typeface="Arial" panose="020B0604020202020204" pitchFamily="34" charset="0"/>
              <a:buChar char="•"/>
              <a:tabLst/>
              <a:defRPr/>
            </a:pPr>
            <a:r>
              <a:rPr kumimoji="0" lang="en-US" sz="2000" b="1" i="0" u="none" strike="noStrike" kern="1200" cap="none" spc="0" normalizeH="0" baseline="0" noProof="0">
                <a:ln>
                  <a:noFill/>
                </a:ln>
                <a:solidFill>
                  <a:srgbClr val="FFFFFF"/>
                </a:solidFill>
                <a:effectLst/>
                <a:uLnTx/>
                <a:uFillTx/>
                <a:latin typeface="Montserrat"/>
                <a:ea typeface="Montserrat"/>
                <a:cs typeface="Montserrat"/>
                <a:sym typeface="Montserrat"/>
              </a:rPr>
              <a:t>Improve the customer experience</a:t>
            </a:r>
            <a:endParaRPr lang="en-US" sz="2000" b="1" i="0" u="none" strike="noStrike" kern="1200" cap="none" spc="0" normalizeH="0" baseline="0" noProof="0">
              <a:ln>
                <a:noFill/>
              </a:ln>
              <a:solidFill>
                <a:srgbClr val="FFFFFF"/>
              </a:solidFill>
              <a:effectLst/>
              <a:uLnTx/>
              <a:uFillTx/>
              <a:latin typeface="Montserrat"/>
              <a:ea typeface="Montserrat"/>
              <a:cs typeface="Montserrat"/>
            </a:endParaRPr>
          </a:p>
          <a:p>
            <a:pPr marL="342900" marR="0" lvl="0" indent="-342900" algn="l" defTabSz="1371566" rtl="0" eaLnBrk="1" fontAlgn="auto" latinLnBrk="0" hangingPunct="1">
              <a:lnSpc>
                <a:spcPct val="250000"/>
              </a:lnSpc>
              <a:spcBef>
                <a:spcPts val="0"/>
              </a:spcBef>
              <a:spcAft>
                <a:spcPts val="0"/>
              </a:spcAft>
              <a:buClr>
                <a:prstClr val="white"/>
              </a:buClr>
              <a:buSzTx/>
              <a:buFont typeface="Arial" panose="020B0604020202020204" pitchFamily="34" charset="0"/>
              <a:buChar char="•"/>
              <a:tabLst/>
              <a:defRPr/>
            </a:pPr>
            <a:r>
              <a:rPr kumimoji="0" lang="en-US" sz="2000" b="1" i="0" u="none" strike="noStrike" kern="1200" cap="none" spc="0" normalizeH="0" baseline="0" noProof="0">
                <a:ln>
                  <a:noFill/>
                </a:ln>
                <a:solidFill>
                  <a:srgbClr val="FFFFFF"/>
                </a:solidFill>
                <a:effectLst/>
                <a:uLnTx/>
                <a:uFillTx/>
                <a:latin typeface="Montserrat"/>
                <a:ea typeface="Montserrat"/>
                <a:cs typeface="Montserrat"/>
                <a:sym typeface="Montserrat"/>
              </a:rPr>
              <a:t>Enable innovation capacity</a:t>
            </a:r>
            <a:endParaRPr lang="en-US" sz="2000" b="1" i="0" u="none" strike="noStrike" kern="1200" cap="none" spc="0" normalizeH="0" baseline="0" noProof="0">
              <a:ln>
                <a:noFill/>
              </a:ln>
              <a:solidFill>
                <a:srgbClr val="FFFFFF"/>
              </a:solidFill>
              <a:effectLst/>
              <a:uLnTx/>
              <a:uFillTx/>
              <a:latin typeface="Montserrat"/>
              <a:ea typeface="Montserrat"/>
              <a:cs typeface="Montserrat"/>
            </a:endParaRPr>
          </a:p>
          <a:p>
            <a:pPr marL="342900" marR="0" lvl="0" indent="-342900" algn="l" defTabSz="1371566" rtl="0" eaLnBrk="1" fontAlgn="auto" latinLnBrk="0" hangingPunct="1">
              <a:lnSpc>
                <a:spcPct val="250000"/>
              </a:lnSpc>
              <a:spcBef>
                <a:spcPts val="0"/>
              </a:spcBef>
              <a:spcAft>
                <a:spcPts val="0"/>
              </a:spcAft>
              <a:buClr>
                <a:prstClr val="white"/>
              </a:buClr>
              <a:buSzTx/>
              <a:buFont typeface="Arial" panose="020B0604020202020204" pitchFamily="34" charset="0"/>
              <a:buChar char="•"/>
              <a:tabLst/>
              <a:defRPr/>
            </a:pPr>
            <a:r>
              <a:rPr kumimoji="0" lang="en-US" sz="2000" b="1" i="0" u="none" strike="noStrike" kern="1200" cap="none" spc="0" normalizeH="0" baseline="0" noProof="0">
                <a:ln>
                  <a:noFill/>
                </a:ln>
                <a:solidFill>
                  <a:srgbClr val="FFFFFF"/>
                </a:solidFill>
                <a:effectLst/>
                <a:uLnTx/>
                <a:uFillTx/>
                <a:latin typeface="Montserrat"/>
                <a:ea typeface="Montserrat"/>
                <a:cs typeface="Montserrat"/>
                <a:sym typeface="Montserrat"/>
              </a:rPr>
              <a:t>Increase competitiveness</a:t>
            </a:r>
            <a:endParaRPr lang="en-US" sz="2000" b="1" i="0" u="none" strike="noStrike" kern="1200" cap="none" spc="0" normalizeH="0" baseline="0" noProof="0">
              <a:ln>
                <a:noFill/>
              </a:ln>
              <a:solidFill>
                <a:srgbClr val="FFFFFF"/>
              </a:solidFill>
              <a:effectLst/>
              <a:uLnTx/>
              <a:uFillTx/>
              <a:latin typeface="Montserrat"/>
              <a:ea typeface="Montserrat"/>
              <a:cs typeface="Montserrat"/>
            </a:endParaRPr>
          </a:p>
          <a:p>
            <a:pPr marL="342900" marR="0" lvl="0" indent="-342900" algn="l" defTabSz="1371566" rtl="0" eaLnBrk="1" fontAlgn="auto" latinLnBrk="0" hangingPunct="1">
              <a:lnSpc>
                <a:spcPct val="250000"/>
              </a:lnSpc>
              <a:spcBef>
                <a:spcPts val="0"/>
              </a:spcBef>
              <a:spcAft>
                <a:spcPts val="0"/>
              </a:spcAft>
              <a:buClr>
                <a:prstClr val="white"/>
              </a:buClr>
              <a:buSzTx/>
              <a:buFont typeface="Arial" panose="020B0604020202020204" pitchFamily="34" charset="0"/>
              <a:buChar char="•"/>
              <a:tabLst/>
              <a:defRPr/>
            </a:pPr>
            <a:r>
              <a:rPr kumimoji="0" lang="en-US" sz="2000" b="1" i="0" u="none" strike="noStrike" kern="1200" cap="none" spc="0" normalizeH="0" baseline="0" noProof="0">
                <a:ln>
                  <a:noFill/>
                </a:ln>
                <a:solidFill>
                  <a:srgbClr val="FFFFFF"/>
                </a:solidFill>
                <a:effectLst/>
                <a:uLnTx/>
                <a:uFillTx/>
                <a:latin typeface="Montserrat"/>
                <a:ea typeface="Montserrat"/>
                <a:cs typeface="Montserrat"/>
                <a:sym typeface="Montserrat"/>
              </a:rPr>
              <a:t>Achieve more Revenue</a:t>
            </a:r>
            <a:endParaRPr lang="en-US" sz="2000" b="1" i="0" u="none" strike="noStrike" kern="1200" cap="none" spc="0" normalizeH="0" baseline="0" noProof="0">
              <a:ln>
                <a:noFill/>
              </a:ln>
              <a:solidFill>
                <a:srgbClr val="FFFFFF"/>
              </a:solidFill>
              <a:effectLst/>
              <a:uLnTx/>
              <a:uFillTx/>
              <a:latin typeface="Montserrat"/>
              <a:ea typeface="Montserrat"/>
              <a:cs typeface="Montserrat"/>
            </a:endParaRPr>
          </a:p>
          <a:p>
            <a:pPr marL="342900" marR="0" lvl="0" indent="-342900" algn="l" defTabSz="1371566" rtl="0" eaLnBrk="1" fontAlgn="auto" latinLnBrk="0" hangingPunct="1">
              <a:lnSpc>
                <a:spcPct val="250000"/>
              </a:lnSpc>
              <a:spcBef>
                <a:spcPts val="0"/>
              </a:spcBef>
              <a:spcAft>
                <a:spcPts val="0"/>
              </a:spcAft>
              <a:buClr>
                <a:prstClr val="white"/>
              </a:buClr>
              <a:buSzTx/>
              <a:buFont typeface="Arial" panose="020B0604020202020204" pitchFamily="34" charset="0"/>
              <a:buChar char="•"/>
              <a:tabLst/>
              <a:defRPr/>
            </a:pPr>
            <a:r>
              <a:rPr kumimoji="0" lang="en-US" sz="2000" b="1" i="0" u="none" strike="noStrike" kern="1200" cap="none" spc="0" normalizeH="0" baseline="0" noProof="0">
                <a:ln>
                  <a:noFill/>
                </a:ln>
                <a:solidFill>
                  <a:srgbClr val="FFFFFF"/>
                </a:solidFill>
                <a:effectLst/>
                <a:uLnTx/>
                <a:uFillTx/>
                <a:latin typeface="Montserrat"/>
                <a:ea typeface="Montserrat"/>
                <a:cs typeface="Montserrat"/>
                <a:sym typeface="Montserrat"/>
              </a:rPr>
              <a:t>Reduce costs</a:t>
            </a:r>
            <a:endParaRPr lang="en-US" sz="2000" b="1" i="0" u="none" strike="noStrike" kern="1200" cap="none" spc="0" normalizeH="0" baseline="0" noProof="0">
              <a:ln>
                <a:noFill/>
              </a:ln>
              <a:solidFill>
                <a:srgbClr val="FFFFFF"/>
              </a:solidFill>
              <a:effectLst/>
              <a:uLnTx/>
              <a:uFillTx/>
              <a:latin typeface="Montserrat"/>
              <a:ea typeface="Montserrat"/>
              <a:cs typeface="Montserrat"/>
            </a:endParaRPr>
          </a:p>
        </p:txBody>
      </p:sp>
      <p:pic>
        <p:nvPicPr>
          <p:cNvPr id="3" name="Imagem 2" descr="Logotipo&#10;&#10;O conteúdo gerado por IA pode estar incorreto.">
            <a:extLst>
              <a:ext uri="{FF2B5EF4-FFF2-40B4-BE49-F238E27FC236}">
                <a16:creationId xmlns:a16="http://schemas.microsoft.com/office/drawing/2014/main" id="{04FBF2A3-E95B-A4EB-BE7A-61C04E55636D}"/>
              </a:ext>
            </a:extLst>
          </p:cNvPr>
          <p:cNvPicPr>
            <a:picLocks noChangeAspect="1"/>
          </p:cNvPicPr>
          <p:nvPr/>
        </p:nvPicPr>
        <p:blipFill>
          <a:blip r:embed="rId4"/>
          <a:stretch>
            <a:fillRect/>
          </a:stretch>
        </p:blipFill>
        <p:spPr>
          <a:xfrm>
            <a:off x="15986342" y="9376372"/>
            <a:ext cx="1534439" cy="396421"/>
          </a:xfrm>
          <a:prstGeom prst="rect">
            <a:avLst/>
          </a:prstGeom>
        </p:spPr>
      </p:pic>
      <p:sp>
        <p:nvSpPr>
          <p:cNvPr id="5" name="TextBox 4">
            <a:extLst>
              <a:ext uri="{FF2B5EF4-FFF2-40B4-BE49-F238E27FC236}">
                <a16:creationId xmlns:a16="http://schemas.microsoft.com/office/drawing/2014/main" id="{E09E9A52-A847-DD25-AA2B-559834DC4D00}"/>
              </a:ext>
            </a:extLst>
          </p:cNvPr>
          <p:cNvSpPr txBox="1"/>
          <p:nvPr/>
        </p:nvSpPr>
        <p:spPr>
          <a:xfrm>
            <a:off x="719138" y="9377725"/>
            <a:ext cx="3255318" cy="326436"/>
          </a:xfrm>
          <a:prstGeom prst="rect">
            <a:avLst/>
          </a:prstGeom>
        </p:spPr>
        <p:txBody>
          <a:bodyPr lIns="0" tIns="0" rIns="0" bIns="0" rtlCol="0" anchor="t">
            <a:spAutoFit/>
          </a:bodyPr>
          <a:lstStyle/>
          <a:p>
            <a:pPr algn="l">
              <a:lnSpc>
                <a:spcPts val="2940"/>
              </a:lnSpc>
            </a:pPr>
            <a:r>
              <a:rPr lang="en-US" sz="1500">
                <a:solidFill>
                  <a:schemeClr val="tx1"/>
                </a:solidFill>
                <a:latin typeface="Montserrat"/>
                <a:ea typeface="Montserrat"/>
                <a:cs typeface="Montserrat"/>
                <a:sym typeface="Montserrat"/>
              </a:rPr>
              <a:t>accelerate your essence</a:t>
            </a:r>
            <a:endParaRPr lang="en-US" sz="1500">
              <a:solidFill>
                <a:schemeClr val="tx1"/>
              </a:solidFill>
              <a:latin typeface="Montserrat"/>
              <a:ea typeface="Montserrat"/>
              <a:cs typeface="Montserrat"/>
            </a:endParaRPr>
          </a:p>
        </p:txBody>
      </p:sp>
    </p:spTree>
    <p:extLst>
      <p:ext uri="{BB962C8B-B14F-4D97-AF65-F5344CB8AC3E}">
        <p14:creationId xmlns:p14="http://schemas.microsoft.com/office/powerpoint/2010/main" val="4511477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B1FC0A-E807-6A59-D7AE-B755AE7413EE}"/>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387508FB-24B9-646A-5767-16541B782E9F}"/>
              </a:ext>
            </a:extLst>
          </p:cNvPr>
          <p:cNvSpPr>
            <a:spLocks noGrp="1"/>
          </p:cNvSpPr>
          <p:nvPr>
            <p:ph type="title"/>
          </p:nvPr>
        </p:nvSpPr>
        <p:spPr>
          <a:xfrm>
            <a:off x="623400" y="5145764"/>
            <a:ext cx="17041200" cy="1145400"/>
          </a:xfrm>
        </p:spPr>
        <p:txBody>
          <a:bodyPr/>
          <a:lstStyle/>
          <a:p>
            <a:r>
              <a:rPr lang="es-ES" sz="4400" b="1" noProof="0" err="1">
                <a:solidFill>
                  <a:schemeClr val="bg1"/>
                </a:solidFill>
                <a:latin typeface="Montserrat Bold"/>
              </a:rPr>
              <a:t>Appendix</a:t>
            </a:r>
            <a:endParaRPr lang="es-ES" sz="4400" b="1" noProof="0">
              <a:solidFill>
                <a:schemeClr val="bg1"/>
              </a:solidFill>
              <a:latin typeface="Montserrat Bold"/>
            </a:endParaRPr>
          </a:p>
        </p:txBody>
      </p:sp>
    </p:spTree>
    <p:extLst>
      <p:ext uri="{BB962C8B-B14F-4D97-AF65-F5344CB8AC3E}">
        <p14:creationId xmlns:p14="http://schemas.microsoft.com/office/powerpoint/2010/main" val="1033739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8D62A77-2245-E1F8-5BB4-ED3B05F16E46}"/>
              </a:ext>
            </a:extLst>
          </p:cNvPr>
          <p:cNvGrpSpPr/>
          <p:nvPr/>
        </p:nvGrpSpPr>
        <p:grpSpPr>
          <a:xfrm>
            <a:off x="11762114" y="6621336"/>
            <a:ext cx="5755036" cy="2925607"/>
            <a:chOff x="7966727" y="3986535"/>
            <a:chExt cx="4196698" cy="2191049"/>
          </a:xfrm>
        </p:grpSpPr>
        <p:sp>
          <p:nvSpPr>
            <p:cNvPr id="23" name="TextBox 22">
              <a:extLst>
                <a:ext uri="{FF2B5EF4-FFF2-40B4-BE49-F238E27FC236}">
                  <a16:creationId xmlns:a16="http://schemas.microsoft.com/office/drawing/2014/main" id="{38299836-79D3-1FE2-CD42-14A6CF951C5E}"/>
                </a:ext>
              </a:extLst>
            </p:cNvPr>
            <p:cNvSpPr txBox="1"/>
            <p:nvPr/>
          </p:nvSpPr>
          <p:spPr>
            <a:xfrm>
              <a:off x="7966727" y="3986535"/>
              <a:ext cx="4196698" cy="276999"/>
            </a:xfrm>
            <a:prstGeom prst="rect">
              <a:avLst/>
            </a:prstGeom>
            <a:noFill/>
          </p:spPr>
          <p:txBody>
            <a:bodyPr wrap="square">
              <a:spAutoFit/>
            </a:bodyPr>
            <a:lstStyle/>
            <a:p>
              <a:pPr algn="ctr"/>
              <a:r>
                <a:rPr lang="es-ES" sz="1200" b="1" i="1" noProof="0">
                  <a:solidFill>
                    <a:schemeClr val="bg1"/>
                  </a:solidFill>
                  <a:latin typeface="Montserrat" panose="00000500000000000000" pitchFamily="2" charset="0"/>
                </a:rPr>
                <a:t>BOM playbook</a:t>
              </a:r>
            </a:p>
          </p:txBody>
        </p:sp>
        <p:grpSp>
          <p:nvGrpSpPr>
            <p:cNvPr id="24" name="Group 23">
              <a:extLst>
                <a:ext uri="{FF2B5EF4-FFF2-40B4-BE49-F238E27FC236}">
                  <a16:creationId xmlns:a16="http://schemas.microsoft.com/office/drawing/2014/main" id="{E923ABE8-F061-66CC-62D1-F347F6CDB012}"/>
                </a:ext>
              </a:extLst>
            </p:cNvPr>
            <p:cNvGrpSpPr/>
            <p:nvPr/>
          </p:nvGrpSpPr>
          <p:grpSpPr>
            <a:xfrm>
              <a:off x="8378801" y="4293998"/>
              <a:ext cx="3784624" cy="1883586"/>
              <a:chOff x="8378801" y="4395763"/>
              <a:chExt cx="3784624" cy="1883586"/>
            </a:xfrm>
          </p:grpSpPr>
          <p:pic>
            <p:nvPicPr>
              <p:cNvPr id="26" name="Picture 25">
                <a:extLst>
                  <a:ext uri="{FF2B5EF4-FFF2-40B4-BE49-F238E27FC236}">
                    <a16:creationId xmlns:a16="http://schemas.microsoft.com/office/drawing/2014/main" id="{199C53E1-A827-D767-0179-2F2BDF1A658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378801" y="4395763"/>
                <a:ext cx="2601132" cy="1463137"/>
              </a:xfrm>
              <a:prstGeom prst="rect">
                <a:avLst/>
              </a:prstGeom>
              <a:effectLst>
                <a:outerShdw blurRad="63500" sx="102000" sy="102000" algn="ctr" rotWithShape="0">
                  <a:prstClr val="black">
                    <a:alpha val="40000"/>
                  </a:prstClr>
                </a:outerShdw>
              </a:effectLst>
            </p:spPr>
          </p:pic>
          <p:pic>
            <p:nvPicPr>
              <p:cNvPr id="27" name="Picture 26">
                <a:extLst>
                  <a:ext uri="{FF2B5EF4-FFF2-40B4-BE49-F238E27FC236}">
                    <a16:creationId xmlns:a16="http://schemas.microsoft.com/office/drawing/2014/main" id="{8923C3D0-8BE2-CBE0-4944-27DC4359C08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790029" y="4944314"/>
                <a:ext cx="2373396" cy="1335035"/>
              </a:xfrm>
              <a:prstGeom prst="rect">
                <a:avLst/>
              </a:prstGeom>
              <a:effectLst>
                <a:outerShdw blurRad="63500" sx="102000" sy="102000" algn="ctr" rotWithShape="0">
                  <a:prstClr val="black">
                    <a:alpha val="40000"/>
                  </a:prstClr>
                </a:outerShdw>
              </a:effectLst>
            </p:spPr>
          </p:pic>
        </p:grpSp>
        <p:pic>
          <p:nvPicPr>
            <p:cNvPr id="25" name="Picture 24">
              <a:extLst>
                <a:ext uri="{FF2B5EF4-FFF2-40B4-BE49-F238E27FC236}">
                  <a16:creationId xmlns:a16="http://schemas.microsoft.com/office/drawing/2014/main" id="{EC2A4748-E9EB-4731-408B-61BE42BEA4C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966727" y="4940492"/>
              <a:ext cx="2025151" cy="1139147"/>
            </a:xfrm>
            <a:prstGeom prst="rect">
              <a:avLst/>
            </a:prstGeom>
            <a:effectLst>
              <a:outerShdw blurRad="63500" sx="102000" sy="102000" algn="ctr" rotWithShape="0">
                <a:prstClr val="black">
                  <a:alpha val="40000"/>
                </a:prstClr>
              </a:outerShdw>
            </a:effectLst>
          </p:spPr>
        </p:pic>
      </p:grpSp>
      <p:sp>
        <p:nvSpPr>
          <p:cNvPr id="47" name="Rectangle 46">
            <a:extLst>
              <a:ext uri="{FF2B5EF4-FFF2-40B4-BE49-F238E27FC236}">
                <a16:creationId xmlns:a16="http://schemas.microsoft.com/office/drawing/2014/main" id="{A8E39E69-ACC6-FAFC-8EF1-F84AEFBB3704}"/>
              </a:ext>
            </a:extLst>
          </p:cNvPr>
          <p:cNvSpPr/>
          <p:nvPr/>
        </p:nvSpPr>
        <p:spPr>
          <a:xfrm>
            <a:off x="11359548" y="6373456"/>
            <a:ext cx="6491140" cy="3643027"/>
          </a:xfrm>
          <a:prstGeom prst="rect">
            <a:avLst/>
          </a:prstGeom>
          <a:solidFill>
            <a:schemeClr val="bg1">
              <a:alpha val="35000"/>
            </a:schemeClr>
          </a:solidFill>
          <a:ln>
            <a:noFill/>
          </a:ln>
          <a:effectLst>
            <a:softEdge rad="3175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828800"/>
            <a:endParaRPr lang="es-ES" sz="2800" noProof="0">
              <a:solidFill>
                <a:srgbClr val="FFFFFF"/>
              </a:solidFill>
              <a:latin typeface="Montserrat" panose="00000500000000000000" pitchFamily="2" charset="0"/>
            </a:endParaRPr>
          </a:p>
        </p:txBody>
      </p:sp>
      <p:sp>
        <p:nvSpPr>
          <p:cNvPr id="2" name="Title 1">
            <a:extLst>
              <a:ext uri="{FF2B5EF4-FFF2-40B4-BE49-F238E27FC236}">
                <a16:creationId xmlns:a16="http://schemas.microsoft.com/office/drawing/2014/main" id="{A6A6D6B5-D372-722E-EADD-9DBDC1F3FD4C}"/>
              </a:ext>
            </a:extLst>
          </p:cNvPr>
          <p:cNvSpPr>
            <a:spLocks noGrp="1"/>
          </p:cNvSpPr>
          <p:nvPr>
            <p:ph type="title" idx="4294967295"/>
          </p:nvPr>
        </p:nvSpPr>
        <p:spPr>
          <a:xfrm>
            <a:off x="1080600" y="1042450"/>
            <a:ext cx="10851570" cy="1145400"/>
          </a:xfrm>
        </p:spPr>
        <p:txBody>
          <a:bodyPr/>
          <a:lstStyle/>
          <a:p>
            <a:r>
              <a:rPr lang="es-ES" noProof="0"/>
              <a:t>Business </a:t>
            </a:r>
            <a:r>
              <a:rPr lang="es-ES" noProof="0" err="1"/>
              <a:t>Driven</a:t>
            </a:r>
            <a:r>
              <a:rPr lang="es-ES" noProof="0"/>
              <a:t> </a:t>
            </a:r>
            <a:r>
              <a:rPr lang="es-ES" noProof="0" err="1"/>
              <a:t>Architecture</a:t>
            </a:r>
            <a:br>
              <a:rPr lang="es-ES" noProof="0"/>
            </a:br>
            <a:r>
              <a:rPr lang="es-ES" sz="2800" noProof="0">
                <a:solidFill>
                  <a:srgbClr val="6800FF"/>
                </a:solidFill>
              </a:rPr>
              <a:t>IT AS A BUSINESS PARTNER </a:t>
            </a:r>
            <a:r>
              <a:rPr lang="es-ES" sz="2800" noProof="0">
                <a:solidFill>
                  <a:schemeClr val="bg1"/>
                </a:solidFill>
              </a:rPr>
              <a:t>– </a:t>
            </a:r>
            <a:r>
              <a:rPr lang="es-ES" sz="2400" noProof="0">
                <a:solidFill>
                  <a:schemeClr val="bg1"/>
                </a:solidFill>
              </a:rPr>
              <a:t>DELIVERABLES EXAMPLES</a:t>
            </a:r>
            <a:endParaRPr lang="es-ES" noProof="0">
              <a:solidFill>
                <a:schemeClr val="bg1"/>
              </a:solidFill>
            </a:endParaRPr>
          </a:p>
        </p:txBody>
      </p:sp>
      <p:sp>
        <p:nvSpPr>
          <p:cNvPr id="4" name="Subtitle 3">
            <a:extLst>
              <a:ext uri="{FF2B5EF4-FFF2-40B4-BE49-F238E27FC236}">
                <a16:creationId xmlns:a16="http://schemas.microsoft.com/office/drawing/2014/main" id="{786DD985-43B3-EE2E-762F-7E4AFA325B98}"/>
              </a:ext>
            </a:extLst>
          </p:cNvPr>
          <p:cNvSpPr>
            <a:spLocks noGrp="1"/>
          </p:cNvSpPr>
          <p:nvPr>
            <p:ph type="subTitle" idx="4294967295"/>
          </p:nvPr>
        </p:nvSpPr>
        <p:spPr>
          <a:xfrm>
            <a:off x="8731280" y="8568450"/>
            <a:ext cx="9263400" cy="1585200"/>
          </a:xfrm>
        </p:spPr>
        <p:txBody>
          <a:bodyPr/>
          <a:lstStyle/>
          <a:p>
            <a:r>
              <a:rPr lang="es-ES" noProof="0"/>
              <a:t>ALIGN IT WITH BUSINESS TO BECOME A PROACTIVE PARTNER</a:t>
            </a:r>
          </a:p>
        </p:txBody>
      </p:sp>
      <p:grpSp>
        <p:nvGrpSpPr>
          <p:cNvPr id="61" name="Group 60">
            <a:extLst>
              <a:ext uri="{FF2B5EF4-FFF2-40B4-BE49-F238E27FC236}">
                <a16:creationId xmlns:a16="http://schemas.microsoft.com/office/drawing/2014/main" id="{BE5BAE68-7142-EB52-57CC-35F36CC22C41}"/>
              </a:ext>
            </a:extLst>
          </p:cNvPr>
          <p:cNvGrpSpPr/>
          <p:nvPr/>
        </p:nvGrpSpPr>
        <p:grpSpPr>
          <a:xfrm>
            <a:off x="938959" y="2337408"/>
            <a:ext cx="4023609" cy="3609452"/>
            <a:chOff x="561180" y="2421701"/>
            <a:chExt cx="4023609" cy="3609452"/>
          </a:xfrm>
        </p:grpSpPr>
        <p:sp>
          <p:nvSpPr>
            <p:cNvPr id="8" name="CuadroTexto 30">
              <a:extLst>
                <a:ext uri="{FF2B5EF4-FFF2-40B4-BE49-F238E27FC236}">
                  <a16:creationId xmlns:a16="http://schemas.microsoft.com/office/drawing/2014/main" id="{ED437583-5A85-6B19-9365-46455E2F3FE4}"/>
                </a:ext>
              </a:extLst>
            </p:cNvPr>
            <p:cNvSpPr txBox="1"/>
            <p:nvPr/>
          </p:nvSpPr>
          <p:spPr>
            <a:xfrm>
              <a:off x="644994" y="2421701"/>
              <a:ext cx="3855980" cy="276999"/>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rtlCol="0">
              <a:spAutoFit/>
            </a:bodyPr>
            <a:lstStyle/>
            <a:p>
              <a:pPr algn="ctr"/>
              <a:r>
                <a:rPr lang="es-ES" sz="1200" b="1" i="1" noProof="0" err="1">
                  <a:solidFill>
                    <a:schemeClr val="bg1"/>
                  </a:solidFill>
                  <a:latin typeface="Montserrat" panose="00000500000000000000" pitchFamily="2" charset="0"/>
                </a:rPr>
                <a:t>Area</a:t>
              </a:r>
              <a:r>
                <a:rPr lang="es-ES" sz="1200" b="1" i="1" noProof="0">
                  <a:solidFill>
                    <a:schemeClr val="bg1"/>
                  </a:solidFill>
                  <a:latin typeface="Montserrat" panose="00000500000000000000" pitchFamily="2" charset="0"/>
                </a:rPr>
                <a:t> </a:t>
              </a:r>
              <a:r>
                <a:rPr lang="es-ES" sz="1200" b="1" i="1" noProof="0" err="1">
                  <a:solidFill>
                    <a:schemeClr val="bg1"/>
                  </a:solidFill>
                  <a:latin typeface="Montserrat" panose="00000500000000000000" pitchFamily="2" charset="0"/>
                </a:rPr>
                <a:t>Vision</a:t>
              </a:r>
              <a:r>
                <a:rPr lang="es-ES" sz="1200" b="1" i="1" noProof="0">
                  <a:solidFill>
                    <a:schemeClr val="bg1"/>
                  </a:solidFill>
                  <a:latin typeface="Montserrat" panose="00000500000000000000" pitchFamily="2" charset="0"/>
                </a:rPr>
                <a:t> / </a:t>
              </a:r>
              <a:r>
                <a:rPr lang="es-ES" sz="1200" b="1" i="1" noProof="0" err="1">
                  <a:solidFill>
                    <a:schemeClr val="bg1"/>
                  </a:solidFill>
                  <a:latin typeface="Montserrat" panose="00000500000000000000" pitchFamily="2" charset="0"/>
                </a:rPr>
                <a:t>Strategic</a:t>
              </a:r>
              <a:r>
                <a:rPr lang="es-ES" sz="1200" b="1" i="1" noProof="0">
                  <a:solidFill>
                    <a:schemeClr val="bg1"/>
                  </a:solidFill>
                  <a:latin typeface="Montserrat" panose="00000500000000000000" pitchFamily="2" charset="0"/>
                </a:rPr>
                <a:t> drivers</a:t>
              </a:r>
            </a:p>
          </p:txBody>
        </p:sp>
        <p:grpSp>
          <p:nvGrpSpPr>
            <p:cNvPr id="60" name="Group 59">
              <a:extLst>
                <a:ext uri="{FF2B5EF4-FFF2-40B4-BE49-F238E27FC236}">
                  <a16:creationId xmlns:a16="http://schemas.microsoft.com/office/drawing/2014/main" id="{F3502F3B-AD33-040F-00C7-75CB4992754D}"/>
                </a:ext>
              </a:extLst>
            </p:cNvPr>
            <p:cNvGrpSpPr/>
            <p:nvPr/>
          </p:nvGrpSpPr>
          <p:grpSpPr>
            <a:xfrm>
              <a:off x="561180" y="2790767"/>
              <a:ext cx="4023609" cy="3240386"/>
              <a:chOff x="289947" y="3502677"/>
              <a:chExt cx="3708745" cy="2983785"/>
            </a:xfrm>
          </p:grpSpPr>
          <p:pic>
            <p:nvPicPr>
              <p:cNvPr id="5" name="Picture 4">
                <a:extLst>
                  <a:ext uri="{FF2B5EF4-FFF2-40B4-BE49-F238E27FC236}">
                    <a16:creationId xmlns:a16="http://schemas.microsoft.com/office/drawing/2014/main" id="{29BBF793-9EF1-A128-AB21-EF988F6DE1F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297134" y="3502677"/>
                <a:ext cx="2357954" cy="1335035"/>
              </a:xfrm>
              <a:prstGeom prst="rect">
                <a:avLst/>
              </a:prstGeom>
              <a:effectLst>
                <a:outerShdw blurRad="50800" dist="38100" dir="2700000" algn="tl" rotWithShape="0">
                  <a:prstClr val="black">
                    <a:alpha val="40000"/>
                  </a:prstClr>
                </a:outerShdw>
              </a:effectLst>
            </p:spPr>
          </p:pic>
          <p:grpSp>
            <p:nvGrpSpPr>
              <p:cNvPr id="13" name="Group 12">
                <a:extLst>
                  <a:ext uri="{FF2B5EF4-FFF2-40B4-BE49-F238E27FC236}">
                    <a16:creationId xmlns:a16="http://schemas.microsoft.com/office/drawing/2014/main" id="{89933776-2D6E-4027-062F-06EDBF8D717D}"/>
                  </a:ext>
                </a:extLst>
              </p:cNvPr>
              <p:cNvGrpSpPr/>
              <p:nvPr/>
            </p:nvGrpSpPr>
            <p:grpSpPr>
              <a:xfrm>
                <a:off x="289947" y="4035662"/>
                <a:ext cx="3708745" cy="2450800"/>
                <a:chOff x="-121865" y="1544312"/>
                <a:chExt cx="3708745" cy="2450800"/>
              </a:xfrm>
            </p:grpSpPr>
            <p:pic>
              <p:nvPicPr>
                <p:cNvPr id="14" name="Picture 13">
                  <a:extLst>
                    <a:ext uri="{FF2B5EF4-FFF2-40B4-BE49-F238E27FC236}">
                      <a16:creationId xmlns:a16="http://schemas.microsoft.com/office/drawing/2014/main" id="{AD48D141-6002-BF21-6CF2-1E3614C66418}"/>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93372" y="1544312"/>
                  <a:ext cx="2364938" cy="1330278"/>
                </a:xfrm>
                <a:prstGeom prst="rect">
                  <a:avLst/>
                </a:prstGeom>
                <a:effectLst>
                  <a:outerShdw blurRad="50800" dist="38100" algn="l" rotWithShape="0">
                    <a:prstClr val="black">
                      <a:alpha val="40000"/>
                    </a:prstClr>
                  </a:outerShdw>
                </a:effectLst>
              </p:spPr>
            </p:pic>
            <p:pic>
              <p:nvPicPr>
                <p:cNvPr id="15" name="Picture 14">
                  <a:extLst>
                    <a:ext uri="{FF2B5EF4-FFF2-40B4-BE49-F238E27FC236}">
                      <a16:creationId xmlns:a16="http://schemas.microsoft.com/office/drawing/2014/main" id="{78DEF62C-4406-2131-7A9D-C395EA67CE44}"/>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62839" y="2017826"/>
                  <a:ext cx="2110584" cy="1187204"/>
                </a:xfrm>
                <a:prstGeom prst="rect">
                  <a:avLst/>
                </a:prstGeom>
                <a:effectLst>
                  <a:outerShdw blurRad="50800" dist="38100" algn="l" rotWithShape="0">
                    <a:prstClr val="black">
                      <a:alpha val="40000"/>
                    </a:prstClr>
                  </a:outerShdw>
                </a:effectLst>
              </p:spPr>
            </p:pic>
            <p:pic>
              <p:nvPicPr>
                <p:cNvPr id="16" name="Picture 15">
                  <a:extLst>
                    <a:ext uri="{FF2B5EF4-FFF2-40B4-BE49-F238E27FC236}">
                      <a16:creationId xmlns:a16="http://schemas.microsoft.com/office/drawing/2014/main" id="{68FC283F-10F9-E9E3-C3B8-46ED45F57576}"/>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586735" y="2458129"/>
                  <a:ext cx="2000145" cy="1125081"/>
                </a:xfrm>
                <a:prstGeom prst="rect">
                  <a:avLst/>
                </a:prstGeom>
                <a:effectLst>
                  <a:outerShdw blurRad="50800" dist="38100" algn="l" rotWithShape="0">
                    <a:prstClr val="black">
                      <a:alpha val="40000"/>
                    </a:prstClr>
                  </a:outerShdw>
                </a:effectLst>
              </p:spPr>
            </p:pic>
            <p:pic>
              <p:nvPicPr>
                <p:cNvPr id="17" name="Picture 16">
                  <a:extLst>
                    <a:ext uri="{FF2B5EF4-FFF2-40B4-BE49-F238E27FC236}">
                      <a16:creationId xmlns:a16="http://schemas.microsoft.com/office/drawing/2014/main" id="{D0EE1FD3-F41B-D61C-E76F-1DC01766BCFC}"/>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21865" y="2735114"/>
                  <a:ext cx="2239996" cy="1259998"/>
                </a:xfrm>
                <a:prstGeom prst="rect">
                  <a:avLst/>
                </a:prstGeom>
                <a:effectLst>
                  <a:outerShdw blurRad="50800" dist="38100" algn="l" rotWithShape="0">
                    <a:prstClr val="black">
                      <a:alpha val="40000"/>
                    </a:prstClr>
                  </a:outerShdw>
                </a:effectLst>
              </p:spPr>
            </p:pic>
          </p:grpSp>
        </p:grpSp>
      </p:grpSp>
      <p:grpSp>
        <p:nvGrpSpPr>
          <p:cNvPr id="43" name="Group 42">
            <a:extLst>
              <a:ext uri="{FF2B5EF4-FFF2-40B4-BE49-F238E27FC236}">
                <a16:creationId xmlns:a16="http://schemas.microsoft.com/office/drawing/2014/main" id="{7E4EC764-8A62-720A-2211-E0A2FD7C43D7}"/>
              </a:ext>
            </a:extLst>
          </p:cNvPr>
          <p:cNvGrpSpPr/>
          <p:nvPr/>
        </p:nvGrpSpPr>
        <p:grpSpPr>
          <a:xfrm>
            <a:off x="5686340" y="5734491"/>
            <a:ext cx="4911830" cy="3811150"/>
            <a:chOff x="5686340" y="5734491"/>
            <a:chExt cx="4911830" cy="3811150"/>
          </a:xfrm>
        </p:grpSpPr>
        <p:sp>
          <p:nvSpPr>
            <p:cNvPr id="11" name="CuadroTexto 35">
              <a:extLst>
                <a:ext uri="{FF2B5EF4-FFF2-40B4-BE49-F238E27FC236}">
                  <a16:creationId xmlns:a16="http://schemas.microsoft.com/office/drawing/2014/main" id="{D2334592-5B4A-E4A2-9F03-D953AF447252}"/>
                </a:ext>
              </a:extLst>
            </p:cNvPr>
            <p:cNvSpPr txBox="1"/>
            <p:nvPr/>
          </p:nvSpPr>
          <p:spPr>
            <a:xfrm>
              <a:off x="6460533" y="5734491"/>
              <a:ext cx="3363445" cy="276999"/>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rtlCol="0">
              <a:spAutoFit/>
            </a:bodyPr>
            <a:lstStyle/>
            <a:p>
              <a:pPr algn="ctr"/>
              <a:r>
                <a:rPr lang="es-ES" sz="1200" b="1" i="1" noProof="0">
                  <a:solidFill>
                    <a:schemeClr val="bg1"/>
                  </a:solidFill>
                  <a:latin typeface="Montserrat" panose="00000500000000000000" pitchFamily="2" charset="0"/>
                </a:rPr>
                <a:t>ROADMAP: AS IS / TO BE </a:t>
              </a:r>
              <a:r>
                <a:rPr lang="es-ES" sz="1200" b="1" i="1" noProof="0" err="1">
                  <a:solidFill>
                    <a:schemeClr val="bg1"/>
                  </a:solidFill>
                  <a:latin typeface="Montserrat" panose="00000500000000000000" pitchFamily="2" charset="0"/>
                </a:rPr>
                <a:t>Systems</a:t>
              </a:r>
              <a:endParaRPr lang="es-ES" sz="1200" b="1" i="1" noProof="0">
                <a:solidFill>
                  <a:schemeClr val="bg1"/>
                </a:solidFill>
                <a:latin typeface="Montserrat" panose="00000500000000000000" pitchFamily="2" charset="0"/>
              </a:endParaRPr>
            </a:p>
          </p:txBody>
        </p:sp>
        <p:grpSp>
          <p:nvGrpSpPr>
            <p:cNvPr id="42" name="Group 41">
              <a:extLst>
                <a:ext uri="{FF2B5EF4-FFF2-40B4-BE49-F238E27FC236}">
                  <a16:creationId xmlns:a16="http://schemas.microsoft.com/office/drawing/2014/main" id="{BE6814BD-C1C5-A679-D5C7-A38DCE3F24DA}"/>
                </a:ext>
              </a:extLst>
            </p:cNvPr>
            <p:cNvGrpSpPr/>
            <p:nvPr/>
          </p:nvGrpSpPr>
          <p:grpSpPr>
            <a:xfrm>
              <a:off x="5686340" y="6177707"/>
              <a:ext cx="4911830" cy="3367934"/>
              <a:chOff x="5170117" y="5904054"/>
              <a:chExt cx="4266590" cy="2945356"/>
            </a:xfrm>
          </p:grpSpPr>
          <p:pic>
            <p:nvPicPr>
              <p:cNvPr id="19" name="Picture 18">
                <a:extLst>
                  <a:ext uri="{FF2B5EF4-FFF2-40B4-BE49-F238E27FC236}">
                    <a16:creationId xmlns:a16="http://schemas.microsoft.com/office/drawing/2014/main" id="{9E9C51A8-C422-8C23-8E00-9D171E4A0E16}"/>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6022510" y="5904054"/>
                <a:ext cx="2791580" cy="1570264"/>
              </a:xfrm>
              <a:prstGeom prst="rect">
                <a:avLst/>
              </a:prstGeom>
              <a:effectLst>
                <a:outerShdw blurRad="63500" sx="102000" sy="102000" algn="ctr" rotWithShape="0">
                  <a:prstClr val="black">
                    <a:alpha val="40000"/>
                  </a:prstClr>
                </a:outerShdw>
              </a:effectLst>
            </p:spPr>
          </p:pic>
          <p:pic>
            <p:nvPicPr>
              <p:cNvPr id="20" name="Picture 19">
                <a:extLst>
                  <a:ext uri="{FF2B5EF4-FFF2-40B4-BE49-F238E27FC236}">
                    <a16:creationId xmlns:a16="http://schemas.microsoft.com/office/drawing/2014/main" id="{A8DE4B4F-ECC9-F752-6D23-FCBB096F13EC}"/>
                  </a:ext>
                </a:extLst>
              </p:cNvPr>
              <p:cNvPicPr>
                <a:picLocks noChangeAspect="1"/>
              </p:cNvPicPr>
              <p:nvPr/>
            </p:nvPicPr>
            <p:blipFill>
              <a:blip r:embed="rId11" cstate="email">
                <a:extLst>
                  <a:ext uri="{28A0092B-C50C-407E-A947-70E740481C1C}">
                    <a14:useLocalDpi xmlns:a14="http://schemas.microsoft.com/office/drawing/2010/main"/>
                  </a:ext>
                </a:extLst>
              </a:blip>
              <a:srcRect/>
              <a:stretch/>
            </p:blipFill>
            <p:spPr>
              <a:xfrm>
                <a:off x="6835575" y="6926787"/>
                <a:ext cx="2601132" cy="1203983"/>
              </a:xfrm>
              <a:prstGeom prst="rect">
                <a:avLst/>
              </a:prstGeom>
              <a:effectLst>
                <a:outerShdw blurRad="63500" sx="102000" sy="102000" algn="ctr" rotWithShape="0">
                  <a:prstClr val="black">
                    <a:alpha val="40000"/>
                  </a:prstClr>
                </a:outerShdw>
              </a:effectLst>
            </p:spPr>
          </p:pic>
          <p:pic>
            <p:nvPicPr>
              <p:cNvPr id="21" name="Picture 20">
                <a:extLst>
                  <a:ext uri="{FF2B5EF4-FFF2-40B4-BE49-F238E27FC236}">
                    <a16:creationId xmlns:a16="http://schemas.microsoft.com/office/drawing/2014/main" id="{1C422448-0817-A95E-4A63-BE1C92D43A4F}"/>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5170117" y="6407537"/>
                <a:ext cx="2517851" cy="1416291"/>
              </a:xfrm>
              <a:prstGeom prst="rect">
                <a:avLst/>
              </a:prstGeom>
              <a:effectLst>
                <a:outerShdw blurRad="63500" sx="102000" sy="102000" algn="ctr" rotWithShape="0">
                  <a:prstClr val="black">
                    <a:alpha val="40000"/>
                  </a:prstClr>
                </a:outerShdw>
              </a:effectLst>
            </p:spPr>
          </p:pic>
          <p:pic>
            <p:nvPicPr>
              <p:cNvPr id="34" name="Picture 33">
                <a:extLst>
                  <a:ext uri="{FF2B5EF4-FFF2-40B4-BE49-F238E27FC236}">
                    <a16:creationId xmlns:a16="http://schemas.microsoft.com/office/drawing/2014/main" id="{D8A98783-EFA4-4A65-E564-ADF551438647}"/>
                  </a:ext>
                </a:extLst>
              </p:cNvPr>
              <p:cNvPicPr>
                <a:picLocks noChangeAspect="1"/>
              </p:cNvPicPr>
              <p:nvPr/>
            </p:nvPicPr>
            <p:blipFill>
              <a:blip r:embed="rId13" cstate="email">
                <a:extLst>
                  <a:ext uri="{28A0092B-C50C-407E-A947-70E740481C1C}">
                    <a14:useLocalDpi xmlns:a14="http://schemas.microsoft.com/office/drawing/2010/main"/>
                  </a:ext>
                </a:extLst>
              </a:blip>
              <a:srcRect/>
              <a:stretch/>
            </p:blipFill>
            <p:spPr>
              <a:xfrm>
                <a:off x="6162895" y="7648475"/>
                <a:ext cx="2510810" cy="1200935"/>
              </a:xfrm>
              <a:prstGeom prst="rect">
                <a:avLst/>
              </a:prstGeom>
              <a:effectLst>
                <a:outerShdw blurRad="63500" sx="102000" sy="102000" algn="ctr" rotWithShape="0">
                  <a:prstClr val="black">
                    <a:alpha val="40000"/>
                  </a:prstClr>
                </a:outerShdw>
              </a:effectLst>
            </p:spPr>
          </p:pic>
        </p:grpSp>
      </p:grpSp>
      <p:grpSp>
        <p:nvGrpSpPr>
          <p:cNvPr id="57" name="Group 56">
            <a:extLst>
              <a:ext uri="{FF2B5EF4-FFF2-40B4-BE49-F238E27FC236}">
                <a16:creationId xmlns:a16="http://schemas.microsoft.com/office/drawing/2014/main" id="{DCE26B3C-197D-7129-6381-7687700738B0}"/>
              </a:ext>
            </a:extLst>
          </p:cNvPr>
          <p:cNvGrpSpPr/>
          <p:nvPr/>
        </p:nvGrpSpPr>
        <p:grpSpPr>
          <a:xfrm>
            <a:off x="696239" y="6414578"/>
            <a:ext cx="3513328" cy="3178419"/>
            <a:chOff x="696239" y="6414578"/>
            <a:chExt cx="3513328" cy="3178419"/>
          </a:xfrm>
        </p:grpSpPr>
        <p:sp>
          <p:nvSpPr>
            <p:cNvPr id="7" name="CuadroTexto 28">
              <a:extLst>
                <a:ext uri="{FF2B5EF4-FFF2-40B4-BE49-F238E27FC236}">
                  <a16:creationId xmlns:a16="http://schemas.microsoft.com/office/drawing/2014/main" id="{555CB1F0-CB8F-61CC-1188-437754819F3F}"/>
                </a:ext>
              </a:extLst>
            </p:cNvPr>
            <p:cNvSpPr txBox="1"/>
            <p:nvPr/>
          </p:nvSpPr>
          <p:spPr>
            <a:xfrm>
              <a:off x="800446" y="6414578"/>
              <a:ext cx="3304914" cy="276999"/>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rtlCol="0">
              <a:spAutoFit/>
            </a:bodyPr>
            <a:lstStyle/>
            <a:p>
              <a:pPr algn="ctr"/>
              <a:r>
                <a:rPr lang="es-ES" sz="1200" b="1" i="1" noProof="0">
                  <a:solidFill>
                    <a:schemeClr val="bg1"/>
                  </a:solidFill>
                  <a:latin typeface="Montserrat" panose="00000500000000000000" pitchFamily="2" charset="0"/>
                </a:rPr>
                <a:t>“</a:t>
              </a:r>
              <a:r>
                <a:rPr lang="es-ES" sz="1200" b="1" i="1" noProof="0" err="1">
                  <a:solidFill>
                    <a:schemeClr val="bg1"/>
                  </a:solidFill>
                  <a:latin typeface="Montserrat" panose="00000500000000000000" pitchFamily="2" charset="0"/>
                </a:rPr>
                <a:t>Pain</a:t>
              </a:r>
              <a:r>
                <a:rPr lang="es-ES" sz="1200" b="1" i="1" noProof="0">
                  <a:solidFill>
                    <a:schemeClr val="bg1"/>
                  </a:solidFill>
                  <a:latin typeface="Montserrat" panose="00000500000000000000" pitchFamily="2" charset="0"/>
                </a:rPr>
                <a:t> </a:t>
              </a:r>
              <a:r>
                <a:rPr lang="es-ES" sz="1200" b="1" i="1" noProof="0" err="1">
                  <a:solidFill>
                    <a:schemeClr val="bg1"/>
                  </a:solidFill>
                  <a:latin typeface="Montserrat" panose="00000500000000000000" pitchFamily="2" charset="0"/>
                </a:rPr>
                <a:t>points</a:t>
              </a:r>
              <a:r>
                <a:rPr lang="es-ES" sz="1200" b="1" i="1" noProof="0">
                  <a:solidFill>
                    <a:schemeClr val="bg1"/>
                  </a:solidFill>
                  <a:latin typeface="Montserrat" panose="00000500000000000000" pitchFamily="2" charset="0"/>
                </a:rPr>
                <a:t>”</a:t>
              </a:r>
            </a:p>
          </p:txBody>
        </p:sp>
        <p:grpSp>
          <p:nvGrpSpPr>
            <p:cNvPr id="56" name="Group 55">
              <a:extLst>
                <a:ext uri="{FF2B5EF4-FFF2-40B4-BE49-F238E27FC236}">
                  <a16:creationId xmlns:a16="http://schemas.microsoft.com/office/drawing/2014/main" id="{56553D31-BC26-3867-CCA8-77BCFE83F413}"/>
                </a:ext>
              </a:extLst>
            </p:cNvPr>
            <p:cNvGrpSpPr/>
            <p:nvPr/>
          </p:nvGrpSpPr>
          <p:grpSpPr>
            <a:xfrm>
              <a:off x="696239" y="6820157"/>
              <a:ext cx="3513328" cy="2772840"/>
              <a:chOff x="1533796" y="7353984"/>
              <a:chExt cx="2566907" cy="2239018"/>
            </a:xfrm>
          </p:grpSpPr>
          <p:pic>
            <p:nvPicPr>
              <p:cNvPr id="28" name="Picture 27">
                <a:extLst>
                  <a:ext uri="{FF2B5EF4-FFF2-40B4-BE49-F238E27FC236}">
                    <a16:creationId xmlns:a16="http://schemas.microsoft.com/office/drawing/2014/main" id="{CBB8E0CD-4E25-3BBB-92CF-702469716CB7}"/>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1555014" y="7353984"/>
                <a:ext cx="2353325" cy="1309574"/>
              </a:xfrm>
              <a:prstGeom prst="rect">
                <a:avLst/>
              </a:prstGeom>
              <a:effectLst>
                <a:outerShdw blurRad="50800" dist="38100" dir="2700000" algn="tl" rotWithShape="0">
                  <a:prstClr val="black">
                    <a:alpha val="40000"/>
                  </a:prstClr>
                </a:outerShdw>
              </a:effectLst>
            </p:spPr>
          </p:pic>
          <p:pic>
            <p:nvPicPr>
              <p:cNvPr id="38" name="Picture 37">
                <a:extLst>
                  <a:ext uri="{FF2B5EF4-FFF2-40B4-BE49-F238E27FC236}">
                    <a16:creationId xmlns:a16="http://schemas.microsoft.com/office/drawing/2014/main" id="{26A08260-B2C3-5A2A-E88F-681AE434900D}"/>
                  </a:ext>
                </a:extLst>
              </p:cNvPr>
              <p:cNvPicPr>
                <a:picLocks noChangeAspect="1"/>
              </p:cNvPicPr>
              <p:nvPr/>
            </p:nvPicPr>
            <p:blipFill>
              <a:blip r:embed="rId15" cstate="email">
                <a:extLst>
                  <a:ext uri="{28A0092B-C50C-407E-A947-70E740481C1C}">
                    <a14:useLocalDpi xmlns:a14="http://schemas.microsoft.com/office/drawing/2010/main"/>
                  </a:ext>
                </a:extLst>
              </a:blip>
              <a:srcRect/>
              <a:stretch/>
            </p:blipFill>
            <p:spPr>
              <a:xfrm>
                <a:off x="1533796" y="8335557"/>
                <a:ext cx="2566907" cy="1257445"/>
              </a:xfrm>
              <a:prstGeom prst="rect">
                <a:avLst/>
              </a:prstGeom>
              <a:effectLst>
                <a:outerShdw blurRad="63500" sx="102000" sy="102000" algn="ctr" rotWithShape="0">
                  <a:prstClr val="black">
                    <a:alpha val="40000"/>
                  </a:prstClr>
                </a:outerShdw>
              </a:effectLst>
            </p:spPr>
          </p:pic>
        </p:grpSp>
      </p:grpSp>
      <p:grpSp>
        <p:nvGrpSpPr>
          <p:cNvPr id="62" name="Group 61">
            <a:extLst>
              <a:ext uri="{FF2B5EF4-FFF2-40B4-BE49-F238E27FC236}">
                <a16:creationId xmlns:a16="http://schemas.microsoft.com/office/drawing/2014/main" id="{63FC755A-1677-D336-FFDC-8FFA3CCF9D20}"/>
              </a:ext>
            </a:extLst>
          </p:cNvPr>
          <p:cNvGrpSpPr/>
          <p:nvPr/>
        </p:nvGrpSpPr>
        <p:grpSpPr>
          <a:xfrm>
            <a:off x="5917033" y="2442668"/>
            <a:ext cx="4230951" cy="2708646"/>
            <a:chOff x="5917033" y="2442668"/>
            <a:chExt cx="4230951" cy="2708646"/>
          </a:xfrm>
        </p:grpSpPr>
        <p:sp>
          <p:nvSpPr>
            <p:cNvPr id="9" name="CuadroTexto 31">
              <a:extLst>
                <a:ext uri="{FF2B5EF4-FFF2-40B4-BE49-F238E27FC236}">
                  <a16:creationId xmlns:a16="http://schemas.microsoft.com/office/drawing/2014/main" id="{C775A046-659B-A853-D156-7A85BCCC1E19}"/>
                </a:ext>
              </a:extLst>
            </p:cNvPr>
            <p:cNvSpPr txBox="1"/>
            <p:nvPr/>
          </p:nvSpPr>
          <p:spPr>
            <a:xfrm>
              <a:off x="6376621" y="2442668"/>
              <a:ext cx="3311775" cy="276999"/>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rtlCol="0">
              <a:spAutoFit/>
            </a:bodyPr>
            <a:lstStyle/>
            <a:p>
              <a:pPr algn="ctr"/>
              <a:r>
                <a:rPr lang="es-ES" sz="1200" b="1" i="1" noProof="0" err="1">
                  <a:solidFill>
                    <a:schemeClr val="bg1"/>
                  </a:solidFill>
                  <a:latin typeface="Montserrat" panose="00000500000000000000" pitchFamily="2" charset="0"/>
                </a:rPr>
                <a:t>Capabilities</a:t>
              </a:r>
              <a:r>
                <a:rPr lang="es-ES" sz="1200" b="1" i="1" noProof="0">
                  <a:solidFill>
                    <a:schemeClr val="bg1"/>
                  </a:solidFill>
                  <a:latin typeface="Montserrat" panose="00000500000000000000" pitchFamily="2" charset="0"/>
                </a:rPr>
                <a:t> </a:t>
              </a:r>
              <a:r>
                <a:rPr lang="es-ES" sz="1200" b="1" i="1" noProof="0" err="1">
                  <a:solidFill>
                    <a:schemeClr val="bg1"/>
                  </a:solidFill>
                  <a:latin typeface="Montserrat" panose="00000500000000000000" pitchFamily="2" charset="0"/>
                </a:rPr>
                <a:t>Mapping</a:t>
              </a:r>
              <a:endParaRPr lang="es-ES" sz="1200" b="1" i="1" noProof="0">
                <a:solidFill>
                  <a:schemeClr val="bg1"/>
                </a:solidFill>
                <a:latin typeface="Montserrat" panose="00000500000000000000" pitchFamily="2" charset="0"/>
              </a:endParaRPr>
            </a:p>
          </p:txBody>
        </p:sp>
        <p:grpSp>
          <p:nvGrpSpPr>
            <p:cNvPr id="51" name="Group 50">
              <a:extLst>
                <a:ext uri="{FF2B5EF4-FFF2-40B4-BE49-F238E27FC236}">
                  <a16:creationId xmlns:a16="http://schemas.microsoft.com/office/drawing/2014/main" id="{5917284E-4853-7EB6-0012-68309683AD32}"/>
                </a:ext>
              </a:extLst>
            </p:cNvPr>
            <p:cNvGrpSpPr/>
            <p:nvPr/>
          </p:nvGrpSpPr>
          <p:grpSpPr>
            <a:xfrm>
              <a:off x="5917033" y="2766336"/>
              <a:ext cx="4230951" cy="2384978"/>
              <a:chOff x="6241723" y="3554784"/>
              <a:chExt cx="3281233" cy="1643223"/>
            </a:xfrm>
          </p:grpSpPr>
          <p:pic>
            <p:nvPicPr>
              <p:cNvPr id="36" name="Picture 35">
                <a:extLst>
                  <a:ext uri="{FF2B5EF4-FFF2-40B4-BE49-F238E27FC236}">
                    <a16:creationId xmlns:a16="http://schemas.microsoft.com/office/drawing/2014/main" id="{F825611A-1CB7-6A04-39D1-D891FC4D93A6}"/>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6241723" y="3554784"/>
                <a:ext cx="2164381" cy="1217464"/>
              </a:xfrm>
              <a:prstGeom prst="rect">
                <a:avLst/>
              </a:prstGeom>
              <a:effectLst>
                <a:outerShdw blurRad="50800" dist="38100" dir="2700000" algn="tl" rotWithShape="0">
                  <a:prstClr val="black">
                    <a:alpha val="40000"/>
                  </a:prstClr>
                </a:outerShdw>
              </a:effectLst>
            </p:spPr>
          </p:pic>
          <p:pic>
            <p:nvPicPr>
              <p:cNvPr id="39" name="Picture 38">
                <a:extLst>
                  <a:ext uri="{FF2B5EF4-FFF2-40B4-BE49-F238E27FC236}">
                    <a16:creationId xmlns:a16="http://schemas.microsoft.com/office/drawing/2014/main" id="{7C663175-8493-A024-EEA6-B0D979669722}"/>
                  </a:ext>
                </a:extLst>
              </p:cNvPr>
              <p:cNvPicPr>
                <a:picLocks noChangeAspect="1"/>
              </p:cNvPicPr>
              <p:nvPr/>
            </p:nvPicPr>
            <p:blipFill>
              <a:blip r:embed="rId17" cstate="email">
                <a:extLst>
                  <a:ext uri="{28A0092B-C50C-407E-A947-70E740481C1C}">
                    <a14:useLocalDpi xmlns:a14="http://schemas.microsoft.com/office/drawing/2010/main"/>
                  </a:ext>
                </a:extLst>
              </a:blip>
              <a:srcRect/>
              <a:stretch/>
            </p:blipFill>
            <p:spPr>
              <a:xfrm>
                <a:off x="7543537" y="3980543"/>
                <a:ext cx="1979419" cy="1217464"/>
              </a:xfrm>
              <a:prstGeom prst="rect">
                <a:avLst/>
              </a:prstGeom>
              <a:effectLst>
                <a:outerShdw blurRad="50800" dist="38100" dir="2700000" algn="tl" rotWithShape="0">
                  <a:prstClr val="black">
                    <a:alpha val="40000"/>
                  </a:prstClr>
                </a:outerShdw>
              </a:effectLst>
            </p:spPr>
          </p:pic>
        </p:grpSp>
      </p:grpSp>
      <p:grpSp>
        <p:nvGrpSpPr>
          <p:cNvPr id="41" name="Group 40">
            <a:extLst>
              <a:ext uri="{FF2B5EF4-FFF2-40B4-BE49-F238E27FC236}">
                <a16:creationId xmlns:a16="http://schemas.microsoft.com/office/drawing/2014/main" id="{1A9D6F5F-801C-EAA5-4700-AD2400BFCA7E}"/>
              </a:ext>
            </a:extLst>
          </p:cNvPr>
          <p:cNvGrpSpPr/>
          <p:nvPr/>
        </p:nvGrpSpPr>
        <p:grpSpPr>
          <a:xfrm>
            <a:off x="11601157" y="2486138"/>
            <a:ext cx="6024558" cy="3375933"/>
            <a:chOff x="11601157" y="2486138"/>
            <a:chExt cx="6024558" cy="3375933"/>
          </a:xfrm>
        </p:grpSpPr>
        <p:sp>
          <p:nvSpPr>
            <p:cNvPr id="10" name="CuadroTexto 32">
              <a:extLst>
                <a:ext uri="{FF2B5EF4-FFF2-40B4-BE49-F238E27FC236}">
                  <a16:creationId xmlns:a16="http://schemas.microsoft.com/office/drawing/2014/main" id="{64EBAFEE-7FED-57D9-4C96-44BD322332E7}"/>
                </a:ext>
              </a:extLst>
            </p:cNvPr>
            <p:cNvSpPr txBox="1"/>
            <p:nvPr/>
          </p:nvSpPr>
          <p:spPr>
            <a:xfrm>
              <a:off x="13246584" y="2486138"/>
              <a:ext cx="2732386" cy="461665"/>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rtlCol="0">
              <a:spAutoFit/>
            </a:bodyPr>
            <a:lstStyle/>
            <a:p>
              <a:pPr algn="ctr"/>
              <a:r>
                <a:rPr lang="es-ES" sz="1200" b="1" i="1" noProof="0" err="1">
                  <a:solidFill>
                    <a:schemeClr val="bg1"/>
                  </a:solidFill>
                  <a:latin typeface="Montserrat" panose="00000500000000000000" pitchFamily="2" charset="0"/>
                </a:rPr>
                <a:t>Prioritization</a:t>
              </a:r>
              <a:r>
                <a:rPr lang="es-ES" sz="1200" b="1" i="1" noProof="0">
                  <a:solidFill>
                    <a:schemeClr val="bg1"/>
                  </a:solidFill>
                  <a:latin typeface="Montserrat" panose="00000500000000000000" pitchFamily="2" charset="0"/>
                </a:rPr>
                <a:t>, </a:t>
              </a:r>
              <a:r>
                <a:rPr lang="es-ES" sz="1200" b="1" i="1" noProof="0" err="1">
                  <a:solidFill>
                    <a:schemeClr val="bg1"/>
                  </a:solidFill>
                  <a:latin typeface="Montserrat" panose="00000500000000000000" pitchFamily="2" charset="0"/>
                </a:rPr>
                <a:t>Roadmap</a:t>
              </a:r>
              <a:r>
                <a:rPr lang="es-ES" sz="1200" b="1" i="1" noProof="0">
                  <a:solidFill>
                    <a:schemeClr val="bg1"/>
                  </a:solidFill>
                  <a:latin typeface="Montserrat" panose="00000500000000000000" pitchFamily="2" charset="0"/>
                </a:rPr>
                <a:t> &amp; </a:t>
              </a:r>
              <a:r>
                <a:rPr lang="es-ES" sz="1200" b="1" i="1" noProof="0" err="1">
                  <a:solidFill>
                    <a:schemeClr val="bg1"/>
                  </a:solidFill>
                  <a:latin typeface="Montserrat" panose="00000500000000000000" pitchFamily="2" charset="0"/>
                </a:rPr>
                <a:t>Initiatives</a:t>
              </a:r>
              <a:endParaRPr lang="es-ES" sz="1200" b="1" i="1" noProof="0">
                <a:solidFill>
                  <a:schemeClr val="bg1"/>
                </a:solidFill>
                <a:latin typeface="Montserrat" panose="00000500000000000000" pitchFamily="2" charset="0"/>
              </a:endParaRPr>
            </a:p>
          </p:txBody>
        </p:sp>
        <p:grpSp>
          <p:nvGrpSpPr>
            <p:cNvPr id="40" name="Group 39">
              <a:extLst>
                <a:ext uri="{FF2B5EF4-FFF2-40B4-BE49-F238E27FC236}">
                  <a16:creationId xmlns:a16="http://schemas.microsoft.com/office/drawing/2014/main" id="{CE185A11-3C48-34BF-7C50-D6C89C6A6715}"/>
                </a:ext>
              </a:extLst>
            </p:cNvPr>
            <p:cNvGrpSpPr/>
            <p:nvPr/>
          </p:nvGrpSpPr>
          <p:grpSpPr>
            <a:xfrm>
              <a:off x="11601157" y="3051101"/>
              <a:ext cx="6024558" cy="2810970"/>
              <a:chOff x="12486809" y="3723808"/>
              <a:chExt cx="5148734" cy="2153394"/>
            </a:xfrm>
          </p:grpSpPr>
          <p:pic>
            <p:nvPicPr>
              <p:cNvPr id="6" name="Picture 5">
                <a:extLst>
                  <a:ext uri="{FF2B5EF4-FFF2-40B4-BE49-F238E27FC236}">
                    <a16:creationId xmlns:a16="http://schemas.microsoft.com/office/drawing/2014/main" id="{5CC31849-839A-9B22-D9AF-6E4C569074FA}"/>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12486809" y="3723808"/>
                <a:ext cx="2495282" cy="1403596"/>
              </a:xfrm>
              <a:prstGeom prst="rect">
                <a:avLst/>
              </a:prstGeom>
              <a:effectLst>
                <a:outerShdw blurRad="50800" dist="38100" algn="l" rotWithShape="0">
                  <a:prstClr val="black">
                    <a:alpha val="40000"/>
                  </a:prstClr>
                </a:outerShdw>
              </a:effectLst>
            </p:spPr>
          </p:pic>
          <p:pic>
            <p:nvPicPr>
              <p:cNvPr id="37" name="Picture 36">
                <a:extLst>
                  <a:ext uri="{FF2B5EF4-FFF2-40B4-BE49-F238E27FC236}">
                    <a16:creationId xmlns:a16="http://schemas.microsoft.com/office/drawing/2014/main" id="{4F16F46E-D29D-69E5-1C2C-E18F83EC0C9D}"/>
                  </a:ext>
                </a:extLst>
              </p:cNvPr>
              <p:cNvPicPr>
                <a:picLocks noChangeAspect="1"/>
              </p:cNvPicPr>
              <p:nvPr/>
            </p:nvPicPr>
            <p:blipFill>
              <a:blip r:embed="rId19" cstate="email">
                <a:extLst>
                  <a:ext uri="{28A0092B-C50C-407E-A947-70E740481C1C}">
                    <a14:useLocalDpi xmlns:a14="http://schemas.microsoft.com/office/drawing/2010/main"/>
                  </a:ext>
                </a:extLst>
              </a:blip>
              <a:srcRect/>
              <a:stretch/>
            </p:blipFill>
            <p:spPr>
              <a:xfrm>
                <a:off x="13574091" y="4639162"/>
                <a:ext cx="2495281" cy="1238040"/>
              </a:xfrm>
              <a:prstGeom prst="rect">
                <a:avLst/>
              </a:prstGeom>
              <a:effectLst>
                <a:outerShdw blurRad="50800" dist="38100" dir="2700000" algn="tl" rotWithShape="0">
                  <a:prstClr val="black">
                    <a:alpha val="40000"/>
                  </a:prstClr>
                </a:outerShdw>
              </a:effectLst>
            </p:spPr>
          </p:pic>
          <p:pic>
            <p:nvPicPr>
              <p:cNvPr id="18" name="Picture 17">
                <a:extLst>
                  <a:ext uri="{FF2B5EF4-FFF2-40B4-BE49-F238E27FC236}">
                    <a16:creationId xmlns:a16="http://schemas.microsoft.com/office/drawing/2014/main" id="{DB587807-1425-D193-FB63-1B62D235ECEA}"/>
                  </a:ext>
                </a:extLst>
              </p:cNvPr>
              <p:cNvPicPr>
                <a:picLocks noChangeAspect="1"/>
              </p:cNvPicPr>
              <p:nvPr/>
            </p:nvPicPr>
            <p:blipFill>
              <a:blip r:embed="rId20" cstate="email">
                <a:extLst>
                  <a:ext uri="{28A0092B-C50C-407E-A947-70E740481C1C}">
                    <a14:useLocalDpi xmlns:a14="http://schemas.microsoft.com/office/drawing/2010/main"/>
                  </a:ext>
                </a:extLst>
              </a:blip>
              <a:srcRect/>
              <a:stretch/>
            </p:blipFill>
            <p:spPr>
              <a:xfrm>
                <a:off x="15144639" y="3739456"/>
                <a:ext cx="2490904" cy="1117847"/>
              </a:xfrm>
              <a:prstGeom prst="rect">
                <a:avLst/>
              </a:prstGeom>
              <a:effectLst>
                <a:outerShdw blurRad="63500" sx="102000" sy="102000" algn="ctr" rotWithShape="0">
                  <a:prstClr val="black">
                    <a:alpha val="40000"/>
                  </a:prstClr>
                </a:outerShdw>
              </a:effectLst>
            </p:spPr>
          </p:pic>
        </p:grpSp>
      </p:grpSp>
      <p:sp>
        <p:nvSpPr>
          <p:cNvPr id="49" name="Rectangle 48">
            <a:extLst>
              <a:ext uri="{FF2B5EF4-FFF2-40B4-BE49-F238E27FC236}">
                <a16:creationId xmlns:a16="http://schemas.microsoft.com/office/drawing/2014/main" id="{CF5351EA-1203-D718-24D1-995879F1A9C3}"/>
              </a:ext>
            </a:extLst>
          </p:cNvPr>
          <p:cNvSpPr/>
          <p:nvPr/>
        </p:nvSpPr>
        <p:spPr>
          <a:xfrm>
            <a:off x="5464964" y="5710004"/>
            <a:ext cx="5447577" cy="3976135"/>
          </a:xfrm>
          <a:prstGeom prst="rect">
            <a:avLst/>
          </a:prstGeom>
          <a:solidFill>
            <a:schemeClr val="bg1">
              <a:alpha val="35000"/>
            </a:schemeClr>
          </a:solidFill>
          <a:ln>
            <a:noFill/>
          </a:ln>
          <a:effectLst>
            <a:softEdge rad="3175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828800"/>
            <a:endParaRPr lang="es-ES" sz="2800" noProof="0">
              <a:solidFill>
                <a:srgbClr val="FFFFFF"/>
              </a:solidFill>
              <a:latin typeface="Montserrat" panose="00000500000000000000" pitchFamily="2" charset="0"/>
            </a:endParaRPr>
          </a:p>
        </p:txBody>
      </p:sp>
      <p:sp>
        <p:nvSpPr>
          <p:cNvPr id="52" name="Rectangle 51">
            <a:extLst>
              <a:ext uri="{FF2B5EF4-FFF2-40B4-BE49-F238E27FC236}">
                <a16:creationId xmlns:a16="http://schemas.microsoft.com/office/drawing/2014/main" id="{0B595C72-CE2B-CEFE-E68F-7C56D111F6C7}"/>
              </a:ext>
            </a:extLst>
          </p:cNvPr>
          <p:cNvSpPr/>
          <p:nvPr/>
        </p:nvSpPr>
        <p:spPr>
          <a:xfrm>
            <a:off x="5645521" y="2333458"/>
            <a:ext cx="5267019" cy="3376545"/>
          </a:xfrm>
          <a:prstGeom prst="rect">
            <a:avLst/>
          </a:prstGeom>
          <a:solidFill>
            <a:schemeClr val="bg1">
              <a:alpha val="35000"/>
            </a:schemeClr>
          </a:solidFill>
          <a:ln>
            <a:noFill/>
          </a:ln>
          <a:effectLst>
            <a:softEdge rad="3175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828800"/>
            <a:endParaRPr lang="es-ES" sz="2800" noProof="0">
              <a:solidFill>
                <a:srgbClr val="FFFFFF"/>
              </a:solidFill>
              <a:latin typeface="Montserrat" panose="00000500000000000000" pitchFamily="2" charset="0"/>
            </a:endParaRPr>
          </a:p>
        </p:txBody>
      </p:sp>
      <p:sp>
        <p:nvSpPr>
          <p:cNvPr id="53" name="Rectangle 52">
            <a:extLst>
              <a:ext uri="{FF2B5EF4-FFF2-40B4-BE49-F238E27FC236}">
                <a16:creationId xmlns:a16="http://schemas.microsoft.com/office/drawing/2014/main" id="{A92BBE92-D3CF-7D0D-6925-1D6F8416109F}"/>
              </a:ext>
            </a:extLst>
          </p:cNvPr>
          <p:cNvSpPr/>
          <p:nvPr/>
        </p:nvSpPr>
        <p:spPr>
          <a:xfrm>
            <a:off x="11387664" y="2333460"/>
            <a:ext cx="6555955" cy="3976135"/>
          </a:xfrm>
          <a:prstGeom prst="rect">
            <a:avLst/>
          </a:prstGeom>
          <a:solidFill>
            <a:schemeClr val="bg1">
              <a:alpha val="35000"/>
            </a:schemeClr>
          </a:solidFill>
          <a:ln>
            <a:noFill/>
          </a:ln>
          <a:effectLst>
            <a:softEdge rad="3175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828800"/>
            <a:endParaRPr lang="es-ES" sz="2800" noProof="0">
              <a:solidFill>
                <a:srgbClr val="FFFFFF"/>
              </a:solidFill>
              <a:latin typeface="Montserrat" panose="00000500000000000000" pitchFamily="2" charset="0"/>
            </a:endParaRPr>
          </a:p>
        </p:txBody>
      </p:sp>
      <p:sp>
        <p:nvSpPr>
          <p:cNvPr id="58" name="Rectangle 57">
            <a:extLst>
              <a:ext uri="{FF2B5EF4-FFF2-40B4-BE49-F238E27FC236}">
                <a16:creationId xmlns:a16="http://schemas.microsoft.com/office/drawing/2014/main" id="{14B8ADCD-522A-6D73-AE01-6E2A3E898D63}"/>
              </a:ext>
            </a:extLst>
          </p:cNvPr>
          <p:cNvSpPr/>
          <p:nvPr/>
        </p:nvSpPr>
        <p:spPr>
          <a:xfrm>
            <a:off x="371196" y="6347130"/>
            <a:ext cx="4256830" cy="3669353"/>
          </a:xfrm>
          <a:prstGeom prst="rect">
            <a:avLst/>
          </a:prstGeom>
          <a:solidFill>
            <a:schemeClr val="bg1">
              <a:alpha val="35000"/>
            </a:schemeClr>
          </a:solidFill>
          <a:ln>
            <a:noFill/>
          </a:ln>
          <a:effectLst>
            <a:softEdge rad="3175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828800"/>
            <a:endParaRPr lang="es-ES" sz="2800" noProof="0">
              <a:solidFill>
                <a:srgbClr val="FFFFFF"/>
              </a:solidFill>
              <a:latin typeface="Montserrat" panose="00000500000000000000" pitchFamily="2" charset="0"/>
            </a:endParaRPr>
          </a:p>
        </p:txBody>
      </p:sp>
      <p:sp>
        <p:nvSpPr>
          <p:cNvPr id="63" name="Rectangle 62">
            <a:extLst>
              <a:ext uri="{FF2B5EF4-FFF2-40B4-BE49-F238E27FC236}">
                <a16:creationId xmlns:a16="http://schemas.microsoft.com/office/drawing/2014/main" id="{8C05FDD3-5C0C-DB94-95E1-A6015C4D0655}"/>
              </a:ext>
            </a:extLst>
          </p:cNvPr>
          <p:cNvSpPr/>
          <p:nvPr/>
        </p:nvSpPr>
        <p:spPr>
          <a:xfrm>
            <a:off x="418812" y="2333460"/>
            <a:ext cx="5010574" cy="4013670"/>
          </a:xfrm>
          <a:prstGeom prst="rect">
            <a:avLst/>
          </a:prstGeom>
          <a:solidFill>
            <a:schemeClr val="bg1">
              <a:alpha val="35000"/>
            </a:schemeClr>
          </a:solidFill>
          <a:ln>
            <a:noFill/>
          </a:ln>
          <a:effectLst>
            <a:softEdge rad="3175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828800"/>
            <a:endParaRPr lang="es-ES" sz="2800" noProof="0">
              <a:solidFill>
                <a:srgbClr val="FFFFFF"/>
              </a:solidFill>
              <a:latin typeface="Montserrat" panose="00000500000000000000" pitchFamily="2" charset="0"/>
            </a:endParaRPr>
          </a:p>
        </p:txBody>
      </p:sp>
      <p:sp>
        <p:nvSpPr>
          <p:cNvPr id="3" name="Google Shape;1036;p29">
            <a:extLst>
              <a:ext uri="{FF2B5EF4-FFF2-40B4-BE49-F238E27FC236}">
                <a16:creationId xmlns:a16="http://schemas.microsoft.com/office/drawing/2014/main" id="{55861FF6-427E-C930-DE04-8CF5D3589E9E}"/>
              </a:ext>
            </a:extLst>
          </p:cNvPr>
          <p:cNvSpPr txBox="1"/>
          <p:nvPr/>
        </p:nvSpPr>
        <p:spPr>
          <a:xfrm rot="1485693">
            <a:off x="13941784" y="908044"/>
            <a:ext cx="2876810" cy="453183"/>
          </a:xfrm>
          <a:prstGeom prst="rect">
            <a:avLst/>
          </a:prstGeom>
          <a:solidFill>
            <a:srgbClr val="6800FF"/>
          </a:solidFill>
          <a:ln w="9525" cap="flat" cmpd="sng">
            <a:noFill/>
            <a:prstDash val="solid"/>
            <a:round/>
            <a:headEnd type="none" w="sm" len="sm"/>
            <a:tailEnd type="none" w="sm" len="sm"/>
          </a:ln>
        </p:spPr>
        <p:txBody>
          <a:bodyPr spcFirstLastPara="1" wrap="square" lIns="0" tIns="72000" rIns="0" bIns="7200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defTabSz="1828800"/>
            <a:r>
              <a:rPr lang="es-ES" sz="2000" b="1" noProof="0">
                <a:solidFill>
                  <a:srgbClr val="FFFFFF"/>
                </a:solidFill>
                <a:latin typeface="Montserrat Bold"/>
              </a:rPr>
              <a:t>ILLUSTRATIVE</a:t>
            </a:r>
            <a:endParaRPr lang="es-ES" sz="1100" noProof="0">
              <a:latin typeface="Montserrat Bold"/>
            </a:endParaRPr>
          </a:p>
        </p:txBody>
      </p:sp>
    </p:spTree>
    <p:extLst>
      <p:ext uri="{BB962C8B-B14F-4D97-AF65-F5344CB8AC3E}">
        <p14:creationId xmlns:p14="http://schemas.microsoft.com/office/powerpoint/2010/main" val="37091488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A6D6B5-D372-722E-EADD-9DBDC1F3FD4C}"/>
              </a:ext>
            </a:extLst>
          </p:cNvPr>
          <p:cNvSpPr>
            <a:spLocks noGrp="1"/>
          </p:cNvSpPr>
          <p:nvPr>
            <p:ph type="title" idx="4294967295"/>
          </p:nvPr>
        </p:nvSpPr>
        <p:spPr>
          <a:xfrm>
            <a:off x="1080600" y="1042450"/>
            <a:ext cx="10358926" cy="1145400"/>
          </a:xfrm>
        </p:spPr>
        <p:txBody>
          <a:bodyPr/>
          <a:lstStyle/>
          <a:p>
            <a:r>
              <a:rPr lang="es-ES" noProof="0"/>
              <a:t>Business </a:t>
            </a:r>
            <a:r>
              <a:rPr lang="es-ES" noProof="0" err="1"/>
              <a:t>Driven</a:t>
            </a:r>
            <a:r>
              <a:rPr lang="es-ES" noProof="0"/>
              <a:t> </a:t>
            </a:r>
            <a:r>
              <a:rPr lang="es-ES" noProof="0" err="1"/>
              <a:t>Architecture</a:t>
            </a:r>
            <a:br>
              <a:rPr lang="es-ES" noProof="0"/>
            </a:br>
            <a:r>
              <a:rPr lang="es-ES" sz="2800" noProof="0">
                <a:solidFill>
                  <a:srgbClr val="6800FF"/>
                </a:solidFill>
              </a:rPr>
              <a:t>IMPROVE IT EFFECTIVENESS </a:t>
            </a:r>
            <a:r>
              <a:rPr lang="es-ES" sz="2800" noProof="0">
                <a:solidFill>
                  <a:schemeClr val="bg1"/>
                </a:solidFill>
              </a:rPr>
              <a:t>– </a:t>
            </a:r>
            <a:r>
              <a:rPr lang="es-ES" sz="2400" noProof="0">
                <a:solidFill>
                  <a:schemeClr val="bg1"/>
                </a:solidFill>
              </a:rPr>
              <a:t>DELIVERABLES EXAMPLES</a:t>
            </a:r>
            <a:endParaRPr lang="es-ES" noProof="0">
              <a:solidFill>
                <a:schemeClr val="bg1"/>
              </a:solidFill>
            </a:endParaRPr>
          </a:p>
        </p:txBody>
      </p:sp>
      <p:sp>
        <p:nvSpPr>
          <p:cNvPr id="4" name="Subtitle 3">
            <a:extLst>
              <a:ext uri="{FF2B5EF4-FFF2-40B4-BE49-F238E27FC236}">
                <a16:creationId xmlns:a16="http://schemas.microsoft.com/office/drawing/2014/main" id="{786DD985-43B3-EE2E-762F-7E4AFA325B98}"/>
              </a:ext>
            </a:extLst>
          </p:cNvPr>
          <p:cNvSpPr>
            <a:spLocks noGrp="1"/>
          </p:cNvSpPr>
          <p:nvPr>
            <p:ph type="subTitle" idx="4294967295"/>
          </p:nvPr>
        </p:nvSpPr>
        <p:spPr>
          <a:xfrm>
            <a:off x="8731280" y="8568450"/>
            <a:ext cx="9263400" cy="1585200"/>
          </a:xfrm>
        </p:spPr>
        <p:txBody>
          <a:bodyPr/>
          <a:lstStyle/>
          <a:p>
            <a:r>
              <a:rPr lang="es-ES" noProof="0"/>
              <a:t>ENSURE MAXIMUM OPEX, PEX AND CAPEX EFFICIENCY AND SERVICE LEVELS </a:t>
            </a:r>
          </a:p>
        </p:txBody>
      </p:sp>
      <p:grpSp>
        <p:nvGrpSpPr>
          <p:cNvPr id="80" name="Group 79">
            <a:extLst>
              <a:ext uri="{FF2B5EF4-FFF2-40B4-BE49-F238E27FC236}">
                <a16:creationId xmlns:a16="http://schemas.microsoft.com/office/drawing/2014/main" id="{62D298B3-CC05-C448-3D82-59FFCBF5248E}"/>
              </a:ext>
            </a:extLst>
          </p:cNvPr>
          <p:cNvGrpSpPr/>
          <p:nvPr/>
        </p:nvGrpSpPr>
        <p:grpSpPr>
          <a:xfrm>
            <a:off x="7259449" y="2613932"/>
            <a:ext cx="3322516" cy="2109374"/>
            <a:chOff x="1444843" y="2451868"/>
            <a:chExt cx="3322516" cy="2109374"/>
          </a:xfrm>
        </p:grpSpPr>
        <p:pic>
          <p:nvPicPr>
            <p:cNvPr id="32" name="Picture 31">
              <a:extLst>
                <a:ext uri="{FF2B5EF4-FFF2-40B4-BE49-F238E27FC236}">
                  <a16:creationId xmlns:a16="http://schemas.microsoft.com/office/drawing/2014/main" id="{D8F85332-2E3A-6574-337E-F62AD475272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1444843" y="2836457"/>
              <a:ext cx="3322516" cy="1724785"/>
            </a:xfrm>
            <a:prstGeom prst="rect">
              <a:avLst/>
            </a:prstGeom>
            <a:effectLst>
              <a:outerShdw blurRad="63500" sx="102000" sy="102000" algn="ctr" rotWithShape="0">
                <a:prstClr val="black">
                  <a:alpha val="40000"/>
                </a:prstClr>
              </a:outerShdw>
            </a:effectLst>
          </p:spPr>
        </p:pic>
        <p:sp>
          <p:nvSpPr>
            <p:cNvPr id="31" name="CuadroTexto 15">
              <a:extLst>
                <a:ext uri="{FF2B5EF4-FFF2-40B4-BE49-F238E27FC236}">
                  <a16:creationId xmlns:a16="http://schemas.microsoft.com/office/drawing/2014/main" id="{1C975A5B-9346-2238-159D-17422FC39014}"/>
                </a:ext>
              </a:extLst>
            </p:cNvPr>
            <p:cNvSpPr txBox="1"/>
            <p:nvPr/>
          </p:nvSpPr>
          <p:spPr>
            <a:xfrm>
              <a:off x="1450888" y="2451868"/>
              <a:ext cx="3310427" cy="276999"/>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rtlCol="0">
              <a:spAutoFit/>
            </a:bodyPr>
            <a:lstStyle/>
            <a:p>
              <a:pPr algn="ctr"/>
              <a:r>
                <a:rPr lang="es-ES" sz="1200" b="1" noProof="0">
                  <a:solidFill>
                    <a:schemeClr val="bg1"/>
                  </a:solidFill>
                  <a:latin typeface="Montserrat" panose="00000500000000000000" pitchFamily="2" charset="0"/>
                </a:rPr>
                <a:t>Key IT </a:t>
              </a:r>
              <a:r>
                <a:rPr lang="es-ES" sz="1200" b="1" noProof="0" err="1">
                  <a:solidFill>
                    <a:schemeClr val="bg1"/>
                  </a:solidFill>
                  <a:latin typeface="Montserrat" panose="00000500000000000000" pitchFamily="2" charset="0"/>
                </a:rPr>
                <a:t>Processes</a:t>
              </a:r>
              <a:endParaRPr lang="es-ES" sz="1200" b="1" noProof="0">
                <a:solidFill>
                  <a:schemeClr val="bg1"/>
                </a:solidFill>
                <a:latin typeface="Montserrat" panose="00000500000000000000" pitchFamily="2" charset="0"/>
              </a:endParaRPr>
            </a:p>
          </p:txBody>
        </p:sp>
      </p:grpSp>
      <p:grpSp>
        <p:nvGrpSpPr>
          <p:cNvPr id="83" name="Group 82">
            <a:extLst>
              <a:ext uri="{FF2B5EF4-FFF2-40B4-BE49-F238E27FC236}">
                <a16:creationId xmlns:a16="http://schemas.microsoft.com/office/drawing/2014/main" id="{87E97DBD-7A84-F867-06A2-6CF2D8E80603}"/>
              </a:ext>
            </a:extLst>
          </p:cNvPr>
          <p:cNvGrpSpPr/>
          <p:nvPr/>
        </p:nvGrpSpPr>
        <p:grpSpPr>
          <a:xfrm>
            <a:off x="7030490" y="5991640"/>
            <a:ext cx="5384660" cy="3628239"/>
            <a:chOff x="818987" y="6174388"/>
            <a:chExt cx="5384660" cy="3628239"/>
          </a:xfrm>
        </p:grpSpPr>
        <p:grpSp>
          <p:nvGrpSpPr>
            <p:cNvPr id="81" name="Group 80">
              <a:extLst>
                <a:ext uri="{FF2B5EF4-FFF2-40B4-BE49-F238E27FC236}">
                  <a16:creationId xmlns:a16="http://schemas.microsoft.com/office/drawing/2014/main" id="{A7FD5850-A358-4891-277A-10812EA2D8C2}"/>
                </a:ext>
              </a:extLst>
            </p:cNvPr>
            <p:cNvGrpSpPr/>
            <p:nvPr/>
          </p:nvGrpSpPr>
          <p:grpSpPr>
            <a:xfrm>
              <a:off x="818987" y="6489946"/>
              <a:ext cx="5384660" cy="3312681"/>
              <a:chOff x="1996611" y="6783943"/>
              <a:chExt cx="4292408" cy="2358905"/>
            </a:xfrm>
          </p:grpSpPr>
          <p:pic>
            <p:nvPicPr>
              <p:cNvPr id="29" name="Picture 28">
                <a:extLst>
                  <a:ext uri="{FF2B5EF4-FFF2-40B4-BE49-F238E27FC236}">
                    <a16:creationId xmlns:a16="http://schemas.microsoft.com/office/drawing/2014/main" id="{4C897DA6-B709-31AF-73A8-959AB5C91FE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996611" y="6783943"/>
                <a:ext cx="2532782" cy="1584000"/>
              </a:xfrm>
              <a:prstGeom prst="rect">
                <a:avLst/>
              </a:prstGeom>
              <a:effectLst>
                <a:outerShdw blurRad="50800" dist="38100" dir="2700000" algn="tl" rotWithShape="0">
                  <a:prstClr val="black">
                    <a:alpha val="40000"/>
                  </a:prstClr>
                </a:outerShdw>
              </a:effectLst>
            </p:spPr>
          </p:pic>
          <p:pic>
            <p:nvPicPr>
              <p:cNvPr id="30" name="Picture 29">
                <a:extLst>
                  <a:ext uri="{FF2B5EF4-FFF2-40B4-BE49-F238E27FC236}">
                    <a16:creationId xmlns:a16="http://schemas.microsoft.com/office/drawing/2014/main" id="{F6909BAB-3D2A-E908-EDA0-ABA2150C1453}"/>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3473020" y="7696981"/>
                <a:ext cx="2815999" cy="1445867"/>
              </a:xfrm>
              <a:prstGeom prst="rect">
                <a:avLst/>
              </a:prstGeom>
              <a:effectLst>
                <a:outerShdw blurRad="50800" dist="38100" dir="2700000" algn="tl" rotWithShape="0">
                  <a:prstClr val="black">
                    <a:alpha val="40000"/>
                  </a:prstClr>
                </a:outerShdw>
              </a:effectLst>
            </p:spPr>
          </p:pic>
        </p:grpSp>
        <p:sp>
          <p:nvSpPr>
            <p:cNvPr id="67" name="CuadroTexto 15">
              <a:extLst>
                <a:ext uri="{FF2B5EF4-FFF2-40B4-BE49-F238E27FC236}">
                  <a16:creationId xmlns:a16="http://schemas.microsoft.com/office/drawing/2014/main" id="{99C511D1-EAA3-06C6-D5AB-73E54BE5F3A3}"/>
                </a:ext>
              </a:extLst>
            </p:cNvPr>
            <p:cNvSpPr txBox="1"/>
            <p:nvPr/>
          </p:nvSpPr>
          <p:spPr>
            <a:xfrm>
              <a:off x="1645799" y="6174388"/>
              <a:ext cx="3731037" cy="276999"/>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rtlCol="0">
              <a:spAutoFit/>
            </a:bodyPr>
            <a:lstStyle/>
            <a:p>
              <a:pPr algn="ctr"/>
              <a:r>
                <a:rPr lang="es-ES" sz="1200" b="1" noProof="0" err="1">
                  <a:solidFill>
                    <a:schemeClr val="bg1"/>
                  </a:solidFill>
                  <a:latin typeface="Montserrat" panose="00000500000000000000" pitchFamily="2" charset="0"/>
                </a:rPr>
                <a:t>Delivery</a:t>
              </a:r>
              <a:r>
                <a:rPr lang="es-ES" sz="1200" b="1" noProof="0">
                  <a:solidFill>
                    <a:schemeClr val="bg1"/>
                  </a:solidFill>
                  <a:latin typeface="Montserrat" panose="00000500000000000000" pitchFamily="2" charset="0"/>
                </a:rPr>
                <a:t> </a:t>
              </a:r>
              <a:r>
                <a:rPr lang="es-ES" sz="1200" b="1" noProof="0" err="1">
                  <a:solidFill>
                    <a:schemeClr val="bg1"/>
                  </a:solidFill>
                  <a:latin typeface="Montserrat" panose="00000500000000000000" pitchFamily="2" charset="0"/>
                </a:rPr>
                <a:t>Optimization</a:t>
              </a:r>
              <a:r>
                <a:rPr lang="es-ES" sz="1200" b="1" noProof="0">
                  <a:solidFill>
                    <a:schemeClr val="bg1"/>
                  </a:solidFill>
                  <a:latin typeface="Montserrat" panose="00000500000000000000" pitchFamily="2" charset="0"/>
                </a:rPr>
                <a:t> </a:t>
              </a:r>
              <a:r>
                <a:rPr lang="es-ES" sz="1200" b="1" noProof="0" err="1">
                  <a:solidFill>
                    <a:schemeClr val="bg1"/>
                  </a:solidFill>
                  <a:latin typeface="Montserrat" panose="00000500000000000000" pitchFamily="2" charset="0"/>
                </a:rPr>
                <a:t>Model</a:t>
              </a:r>
              <a:r>
                <a:rPr lang="es-ES" sz="1200" b="1" noProof="0">
                  <a:solidFill>
                    <a:schemeClr val="bg1"/>
                  </a:solidFill>
                  <a:latin typeface="Montserrat" panose="00000500000000000000" pitchFamily="2" charset="0"/>
                </a:rPr>
                <a:t> – </a:t>
              </a:r>
              <a:r>
                <a:rPr lang="es-ES" sz="1200" b="1" noProof="0" err="1">
                  <a:solidFill>
                    <a:schemeClr val="bg1"/>
                  </a:solidFill>
                  <a:latin typeface="Montserrat" panose="00000500000000000000" pitchFamily="2" charset="0"/>
                </a:rPr>
                <a:t>CoE’s</a:t>
              </a:r>
              <a:endParaRPr lang="es-ES" sz="1200" b="1" noProof="0">
                <a:solidFill>
                  <a:schemeClr val="bg1"/>
                </a:solidFill>
                <a:latin typeface="Montserrat" panose="00000500000000000000" pitchFamily="2" charset="0"/>
              </a:endParaRPr>
            </a:p>
          </p:txBody>
        </p:sp>
      </p:grpSp>
      <p:grpSp>
        <p:nvGrpSpPr>
          <p:cNvPr id="85" name="Group 84">
            <a:extLst>
              <a:ext uri="{FF2B5EF4-FFF2-40B4-BE49-F238E27FC236}">
                <a16:creationId xmlns:a16="http://schemas.microsoft.com/office/drawing/2014/main" id="{CE384FE4-CB4D-AB17-C674-ED8E45A487A7}"/>
              </a:ext>
            </a:extLst>
          </p:cNvPr>
          <p:cNvGrpSpPr/>
          <p:nvPr/>
        </p:nvGrpSpPr>
        <p:grpSpPr>
          <a:xfrm>
            <a:off x="845586" y="2623870"/>
            <a:ext cx="5764870" cy="4890764"/>
            <a:chOff x="6961665" y="4320781"/>
            <a:chExt cx="5764870" cy="4890764"/>
          </a:xfrm>
        </p:grpSpPr>
        <p:sp>
          <p:nvSpPr>
            <p:cNvPr id="35" name="CuadroTexto 15">
              <a:extLst>
                <a:ext uri="{FF2B5EF4-FFF2-40B4-BE49-F238E27FC236}">
                  <a16:creationId xmlns:a16="http://schemas.microsoft.com/office/drawing/2014/main" id="{19E95AAE-B118-554B-927B-F04740624070}"/>
                </a:ext>
              </a:extLst>
            </p:cNvPr>
            <p:cNvSpPr txBox="1"/>
            <p:nvPr/>
          </p:nvSpPr>
          <p:spPr>
            <a:xfrm>
              <a:off x="7488807" y="4320781"/>
              <a:ext cx="3950719" cy="276999"/>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rtlCol="0">
              <a:spAutoFit/>
            </a:bodyPr>
            <a:lstStyle/>
            <a:p>
              <a:pPr algn="ctr"/>
              <a:r>
                <a:rPr lang="es-ES" sz="1200" b="1" noProof="0" err="1">
                  <a:solidFill>
                    <a:schemeClr val="bg1"/>
                  </a:solidFill>
                  <a:latin typeface="Montserrat" panose="00000500000000000000" pitchFamily="2" charset="0"/>
                </a:rPr>
                <a:t>Setup</a:t>
              </a:r>
              <a:r>
                <a:rPr lang="es-ES" sz="1200" b="1" noProof="0">
                  <a:solidFill>
                    <a:schemeClr val="bg1"/>
                  </a:solidFill>
                  <a:latin typeface="Montserrat" panose="00000500000000000000" pitchFamily="2" charset="0"/>
                </a:rPr>
                <a:t> and Run new </a:t>
              </a:r>
              <a:r>
                <a:rPr lang="es-ES" sz="1200" b="1" noProof="0" err="1">
                  <a:solidFill>
                    <a:schemeClr val="bg1"/>
                  </a:solidFill>
                  <a:latin typeface="Montserrat" panose="00000500000000000000" pitchFamily="2" charset="0"/>
                </a:rPr>
                <a:t>models</a:t>
              </a:r>
              <a:endParaRPr lang="es-ES" sz="1200" b="1" noProof="0">
                <a:solidFill>
                  <a:schemeClr val="bg1"/>
                </a:solidFill>
                <a:latin typeface="Montserrat" panose="00000500000000000000" pitchFamily="2" charset="0"/>
              </a:endParaRPr>
            </a:p>
          </p:txBody>
        </p:sp>
        <p:grpSp>
          <p:nvGrpSpPr>
            <p:cNvPr id="84" name="Group 83">
              <a:extLst>
                <a:ext uri="{FF2B5EF4-FFF2-40B4-BE49-F238E27FC236}">
                  <a16:creationId xmlns:a16="http://schemas.microsoft.com/office/drawing/2014/main" id="{DA97A4CE-68D0-70D7-B658-D813D0D4939F}"/>
                </a:ext>
              </a:extLst>
            </p:cNvPr>
            <p:cNvGrpSpPr/>
            <p:nvPr/>
          </p:nvGrpSpPr>
          <p:grpSpPr>
            <a:xfrm>
              <a:off x="6961665" y="4601824"/>
              <a:ext cx="5764870" cy="4609721"/>
              <a:chOff x="5885426" y="3231948"/>
              <a:chExt cx="4443256" cy="3416324"/>
            </a:xfrm>
          </p:grpSpPr>
          <p:pic>
            <p:nvPicPr>
              <p:cNvPr id="48" name="Picture 47">
                <a:extLst>
                  <a:ext uri="{FF2B5EF4-FFF2-40B4-BE49-F238E27FC236}">
                    <a16:creationId xmlns:a16="http://schemas.microsoft.com/office/drawing/2014/main" id="{BB8B79D6-B958-FF28-E401-C20802854B2F}"/>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885426" y="3231948"/>
                <a:ext cx="2816000" cy="1584000"/>
              </a:xfrm>
              <a:prstGeom prst="rect">
                <a:avLst/>
              </a:prstGeom>
            </p:spPr>
          </p:pic>
          <p:pic>
            <p:nvPicPr>
              <p:cNvPr id="65" name="Picture 64">
                <a:extLst>
                  <a:ext uri="{FF2B5EF4-FFF2-40B4-BE49-F238E27FC236}">
                    <a16:creationId xmlns:a16="http://schemas.microsoft.com/office/drawing/2014/main" id="{EC02A1FB-BD55-162A-81C1-1F4EFB58398A}"/>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564540" y="3806681"/>
                <a:ext cx="2816001" cy="1584000"/>
              </a:xfrm>
              <a:prstGeom prst="rect">
                <a:avLst/>
              </a:prstGeom>
              <a:effectLst>
                <a:outerShdw blurRad="50800" dist="38100" dir="2700000" algn="tl" rotWithShape="0">
                  <a:prstClr val="black">
                    <a:alpha val="40000"/>
                  </a:prstClr>
                </a:outerShdw>
              </a:effectLst>
            </p:spPr>
          </p:pic>
          <p:pic>
            <p:nvPicPr>
              <p:cNvPr id="77" name="Picture 76">
                <a:extLst>
                  <a:ext uri="{FF2B5EF4-FFF2-40B4-BE49-F238E27FC236}">
                    <a16:creationId xmlns:a16="http://schemas.microsoft.com/office/drawing/2014/main" id="{7DB51884-8C2B-0E76-7376-710210CF84E3}"/>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015244" y="4517807"/>
                <a:ext cx="2835200" cy="1601054"/>
              </a:xfrm>
              <a:prstGeom prst="rect">
                <a:avLst/>
              </a:prstGeom>
              <a:effectLst>
                <a:outerShdw blurRad="50800" dist="38100" dir="2700000" algn="tl" rotWithShape="0">
                  <a:prstClr val="black">
                    <a:alpha val="40000"/>
                  </a:prstClr>
                </a:outerShdw>
              </a:effectLst>
            </p:spPr>
          </p:pic>
          <p:pic>
            <p:nvPicPr>
              <p:cNvPr id="78" name="Picture 77">
                <a:extLst>
                  <a:ext uri="{FF2B5EF4-FFF2-40B4-BE49-F238E27FC236}">
                    <a16:creationId xmlns:a16="http://schemas.microsoft.com/office/drawing/2014/main" id="{BE92A00A-468E-9980-8BA1-DCC6BA5C38AE}"/>
                  </a:ext>
                </a:extLst>
              </p:cNvPr>
              <p:cNvPicPr>
                <a:picLocks noChangeAspect="1"/>
              </p:cNvPicPr>
              <p:nvPr/>
            </p:nvPicPr>
            <p:blipFill>
              <a:blip r:embed="rId8" cstate="email">
                <a:extLst>
                  <a:ext uri="{28A0092B-C50C-407E-A947-70E740481C1C}">
                    <a14:useLocalDpi xmlns:a14="http://schemas.microsoft.com/office/drawing/2010/main"/>
                  </a:ext>
                </a:extLst>
              </a:blip>
              <a:srcRect/>
              <a:stretch/>
            </p:blipFill>
            <p:spPr>
              <a:xfrm>
                <a:off x="7512682" y="5239720"/>
                <a:ext cx="2816000" cy="1408552"/>
              </a:xfrm>
              <a:prstGeom prst="rect">
                <a:avLst/>
              </a:prstGeom>
              <a:effectLst>
                <a:outerShdw blurRad="50800" dist="38100" dir="2700000" algn="tl" rotWithShape="0">
                  <a:prstClr val="black">
                    <a:alpha val="40000"/>
                  </a:prstClr>
                </a:outerShdw>
              </a:effectLst>
            </p:spPr>
          </p:pic>
        </p:grpSp>
      </p:grpSp>
      <p:grpSp>
        <p:nvGrpSpPr>
          <p:cNvPr id="88" name="Group 87">
            <a:extLst>
              <a:ext uri="{FF2B5EF4-FFF2-40B4-BE49-F238E27FC236}">
                <a16:creationId xmlns:a16="http://schemas.microsoft.com/office/drawing/2014/main" id="{9A0B00C0-F700-DF64-33E8-B4F688292BA0}"/>
              </a:ext>
            </a:extLst>
          </p:cNvPr>
          <p:cNvGrpSpPr/>
          <p:nvPr/>
        </p:nvGrpSpPr>
        <p:grpSpPr>
          <a:xfrm>
            <a:off x="12082119" y="2361193"/>
            <a:ext cx="5951560" cy="6542510"/>
            <a:chOff x="12082119" y="2361193"/>
            <a:chExt cx="5951560" cy="6542510"/>
          </a:xfrm>
        </p:grpSpPr>
        <p:sp>
          <p:nvSpPr>
            <p:cNvPr id="68" name="CuadroTexto 15">
              <a:extLst>
                <a:ext uri="{FF2B5EF4-FFF2-40B4-BE49-F238E27FC236}">
                  <a16:creationId xmlns:a16="http://schemas.microsoft.com/office/drawing/2014/main" id="{12909185-C6E1-7DFB-B740-04795E34A8B1}"/>
                </a:ext>
              </a:extLst>
            </p:cNvPr>
            <p:cNvSpPr txBox="1"/>
            <p:nvPr/>
          </p:nvSpPr>
          <p:spPr>
            <a:xfrm>
              <a:off x="12783638" y="2361193"/>
              <a:ext cx="4547205" cy="276999"/>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rtlCol="0">
              <a:spAutoFit/>
            </a:bodyPr>
            <a:lstStyle/>
            <a:p>
              <a:pPr algn="ctr"/>
              <a:r>
                <a:rPr lang="es-ES" sz="1200" b="1" noProof="0">
                  <a:solidFill>
                    <a:schemeClr val="bg1"/>
                  </a:solidFill>
                  <a:latin typeface="Montserrat" panose="00000500000000000000" pitchFamily="2" charset="0"/>
                </a:rPr>
                <a:t>Enterprise </a:t>
              </a:r>
              <a:r>
                <a:rPr lang="es-ES" sz="1200" b="1" noProof="0" err="1">
                  <a:solidFill>
                    <a:schemeClr val="bg1"/>
                  </a:solidFill>
                  <a:latin typeface="Montserrat" panose="00000500000000000000" pitchFamily="2" charset="0"/>
                </a:rPr>
                <a:t>Architecture</a:t>
              </a:r>
              <a:r>
                <a:rPr lang="es-ES" sz="1200" b="1" noProof="0">
                  <a:solidFill>
                    <a:schemeClr val="bg1"/>
                  </a:solidFill>
                  <a:latin typeface="Montserrat" panose="00000500000000000000" pitchFamily="2" charset="0"/>
                </a:rPr>
                <a:t> </a:t>
              </a:r>
              <a:r>
                <a:rPr lang="es-ES" sz="1200" b="1" noProof="0" err="1">
                  <a:solidFill>
                    <a:schemeClr val="bg1"/>
                  </a:solidFill>
                  <a:latin typeface="Montserrat" panose="00000500000000000000" pitchFamily="2" charset="0"/>
                </a:rPr>
                <a:t>Governance</a:t>
              </a:r>
              <a:endParaRPr lang="es-ES" sz="1200" b="1" noProof="0">
                <a:solidFill>
                  <a:schemeClr val="bg1"/>
                </a:solidFill>
                <a:latin typeface="Montserrat" panose="00000500000000000000" pitchFamily="2" charset="0"/>
              </a:endParaRPr>
            </a:p>
          </p:txBody>
        </p:sp>
        <p:grpSp>
          <p:nvGrpSpPr>
            <p:cNvPr id="86" name="Group 85">
              <a:extLst>
                <a:ext uri="{FF2B5EF4-FFF2-40B4-BE49-F238E27FC236}">
                  <a16:creationId xmlns:a16="http://schemas.microsoft.com/office/drawing/2014/main" id="{DE8801B9-1E33-3B11-F450-F591F55C8C97}"/>
                </a:ext>
              </a:extLst>
            </p:cNvPr>
            <p:cNvGrpSpPr/>
            <p:nvPr/>
          </p:nvGrpSpPr>
          <p:grpSpPr>
            <a:xfrm>
              <a:off x="12082119" y="2694987"/>
              <a:ext cx="5951560" cy="6208716"/>
              <a:chOff x="12683873" y="4860885"/>
              <a:chExt cx="5118925" cy="4732763"/>
            </a:xfrm>
          </p:grpSpPr>
          <p:pic>
            <p:nvPicPr>
              <p:cNvPr id="3" name="Picture 2">
                <a:extLst>
                  <a:ext uri="{FF2B5EF4-FFF2-40B4-BE49-F238E27FC236}">
                    <a16:creationId xmlns:a16="http://schemas.microsoft.com/office/drawing/2014/main" id="{C8655889-A957-99ED-BB0E-B5378EC3DC76}"/>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2683873" y="4860885"/>
                <a:ext cx="3090704" cy="1732054"/>
              </a:xfrm>
              <a:prstGeom prst="rect">
                <a:avLst/>
              </a:prstGeom>
              <a:effectLst>
                <a:outerShdw blurRad="50800" dist="38100" dir="2700000" algn="tl" rotWithShape="0">
                  <a:prstClr val="black">
                    <a:alpha val="40000"/>
                  </a:prstClr>
                </a:outerShdw>
              </a:effectLst>
            </p:spPr>
          </p:pic>
          <p:pic>
            <p:nvPicPr>
              <p:cNvPr id="69" name="Picture 68">
                <a:extLst>
                  <a:ext uri="{FF2B5EF4-FFF2-40B4-BE49-F238E27FC236}">
                    <a16:creationId xmlns:a16="http://schemas.microsoft.com/office/drawing/2014/main" id="{DE156794-BAA7-6BEF-4507-8B1FB1301AA7}"/>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3186989" y="5378388"/>
                <a:ext cx="2816000" cy="1584000"/>
              </a:xfrm>
              <a:prstGeom prst="rect">
                <a:avLst/>
              </a:prstGeom>
              <a:effectLst>
                <a:outerShdw blurRad="63500" sx="102000" sy="102000" algn="ctr" rotWithShape="0">
                  <a:prstClr val="black">
                    <a:alpha val="40000"/>
                  </a:prstClr>
                </a:outerShdw>
              </a:effectLst>
            </p:spPr>
          </p:pic>
          <p:pic>
            <p:nvPicPr>
              <p:cNvPr id="70" name="Picture 69">
                <a:extLst>
                  <a:ext uri="{FF2B5EF4-FFF2-40B4-BE49-F238E27FC236}">
                    <a16:creationId xmlns:a16="http://schemas.microsoft.com/office/drawing/2014/main" id="{BD3788F1-0066-B16B-B999-71067240DD35}"/>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3509737" y="5947597"/>
                <a:ext cx="2816000" cy="1584000"/>
              </a:xfrm>
              <a:prstGeom prst="rect">
                <a:avLst/>
              </a:prstGeom>
              <a:effectLst>
                <a:outerShdw blurRad="63500" sx="102000" sy="102000" algn="ctr" rotWithShape="0">
                  <a:prstClr val="black">
                    <a:alpha val="40000"/>
                  </a:prstClr>
                </a:outerShdw>
              </a:effectLst>
            </p:spPr>
          </p:pic>
          <p:pic>
            <p:nvPicPr>
              <p:cNvPr id="71" name="Picture 70">
                <a:extLst>
                  <a:ext uri="{FF2B5EF4-FFF2-40B4-BE49-F238E27FC236}">
                    <a16:creationId xmlns:a16="http://schemas.microsoft.com/office/drawing/2014/main" id="{D86B60DF-76DA-F7CE-91CC-2925B3FF494F}"/>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13991034" y="6441742"/>
                <a:ext cx="2816000" cy="1584000"/>
              </a:xfrm>
              <a:prstGeom prst="rect">
                <a:avLst/>
              </a:prstGeom>
              <a:effectLst>
                <a:outerShdw blurRad="63500" sx="102000" sy="102000" algn="ctr" rotWithShape="0">
                  <a:prstClr val="black">
                    <a:alpha val="40000"/>
                  </a:prstClr>
                </a:outerShdw>
              </a:effectLst>
            </p:spPr>
          </p:pic>
          <p:pic>
            <p:nvPicPr>
              <p:cNvPr id="72" name="Picture 71">
                <a:extLst>
                  <a:ext uri="{FF2B5EF4-FFF2-40B4-BE49-F238E27FC236}">
                    <a16:creationId xmlns:a16="http://schemas.microsoft.com/office/drawing/2014/main" id="{28C4A99F-09D2-0369-5940-50650669ECB6}"/>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14267248" y="6939184"/>
                <a:ext cx="2816000" cy="1584000"/>
              </a:xfrm>
              <a:prstGeom prst="rect">
                <a:avLst/>
              </a:prstGeom>
              <a:effectLst>
                <a:outerShdw blurRad="63500" sx="102000" sy="102000" algn="ctr" rotWithShape="0">
                  <a:prstClr val="black">
                    <a:alpha val="40000"/>
                  </a:prstClr>
                </a:outerShdw>
              </a:effectLst>
            </p:spPr>
          </p:pic>
          <p:pic>
            <p:nvPicPr>
              <p:cNvPr id="73" name="Picture 72">
                <a:extLst>
                  <a:ext uri="{FF2B5EF4-FFF2-40B4-BE49-F238E27FC236}">
                    <a16:creationId xmlns:a16="http://schemas.microsoft.com/office/drawing/2014/main" id="{328D345F-9D58-40E7-9B4A-13ACAA7F6559}"/>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14680652" y="7531145"/>
                <a:ext cx="2816000" cy="1584000"/>
              </a:xfrm>
              <a:prstGeom prst="rect">
                <a:avLst/>
              </a:prstGeom>
              <a:effectLst>
                <a:outerShdw blurRad="63500" sx="102000" sy="102000" algn="ctr" rotWithShape="0">
                  <a:prstClr val="black">
                    <a:alpha val="40000"/>
                  </a:prstClr>
                </a:outerShdw>
              </a:effectLst>
            </p:spPr>
          </p:pic>
          <p:pic>
            <p:nvPicPr>
              <p:cNvPr id="79" name="Picture 78">
                <a:extLst>
                  <a:ext uri="{FF2B5EF4-FFF2-40B4-BE49-F238E27FC236}">
                    <a16:creationId xmlns:a16="http://schemas.microsoft.com/office/drawing/2014/main" id="{55C11AD9-0050-5F67-5DC9-40FC1A27C925}"/>
                  </a:ext>
                </a:extLst>
              </p:cNvPr>
              <p:cNvPicPr>
                <a:picLocks noChangeAspect="1"/>
              </p:cNvPicPr>
              <p:nvPr/>
            </p:nvPicPr>
            <p:blipFill>
              <a:blip r:embed="rId15" cstate="email">
                <a:extLst>
                  <a:ext uri="{28A0092B-C50C-407E-A947-70E740481C1C}">
                    <a14:useLocalDpi xmlns:a14="http://schemas.microsoft.com/office/drawing/2010/main"/>
                  </a:ext>
                </a:extLst>
              </a:blip>
              <a:srcRect/>
              <a:stretch/>
            </p:blipFill>
            <p:spPr>
              <a:xfrm>
                <a:off x="15125554" y="8258333"/>
                <a:ext cx="2677244" cy="1335315"/>
              </a:xfrm>
              <a:prstGeom prst="rect">
                <a:avLst/>
              </a:prstGeom>
              <a:effectLst>
                <a:outerShdw blurRad="63500" sx="102000" sy="102000" algn="ctr" rotWithShape="0">
                  <a:prstClr val="black">
                    <a:alpha val="40000"/>
                  </a:prstClr>
                </a:outerShdw>
              </a:effectLst>
            </p:spPr>
          </p:pic>
        </p:grpSp>
      </p:grpSp>
      <p:sp>
        <p:nvSpPr>
          <p:cNvPr id="63" name="Rectangle 62">
            <a:extLst>
              <a:ext uri="{FF2B5EF4-FFF2-40B4-BE49-F238E27FC236}">
                <a16:creationId xmlns:a16="http://schemas.microsoft.com/office/drawing/2014/main" id="{8C05FDD3-5C0C-DB94-95E1-A6015C4D0655}"/>
              </a:ext>
            </a:extLst>
          </p:cNvPr>
          <p:cNvSpPr/>
          <p:nvPr/>
        </p:nvSpPr>
        <p:spPr>
          <a:xfrm>
            <a:off x="6762758" y="2481237"/>
            <a:ext cx="4309642" cy="2690645"/>
          </a:xfrm>
          <a:prstGeom prst="rect">
            <a:avLst/>
          </a:prstGeom>
          <a:solidFill>
            <a:schemeClr val="bg1">
              <a:alpha val="35000"/>
            </a:schemeClr>
          </a:solidFill>
          <a:ln>
            <a:noFill/>
          </a:ln>
          <a:effectLst>
            <a:softEdge rad="3175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828800"/>
            <a:endParaRPr lang="es-ES" sz="2800" noProof="0">
              <a:solidFill>
                <a:srgbClr val="FFFFFF"/>
              </a:solidFill>
              <a:latin typeface="Montserrat" panose="00000500000000000000" pitchFamily="2" charset="0"/>
            </a:endParaRPr>
          </a:p>
        </p:txBody>
      </p:sp>
      <p:sp>
        <p:nvSpPr>
          <p:cNvPr id="58" name="Rectangle 57">
            <a:extLst>
              <a:ext uri="{FF2B5EF4-FFF2-40B4-BE49-F238E27FC236}">
                <a16:creationId xmlns:a16="http://schemas.microsoft.com/office/drawing/2014/main" id="{14B8ADCD-522A-6D73-AE01-6E2A3E898D63}"/>
              </a:ext>
            </a:extLst>
          </p:cNvPr>
          <p:cNvSpPr/>
          <p:nvPr/>
        </p:nvSpPr>
        <p:spPr>
          <a:xfrm>
            <a:off x="6744436" y="5874963"/>
            <a:ext cx="6084081" cy="4219059"/>
          </a:xfrm>
          <a:prstGeom prst="rect">
            <a:avLst/>
          </a:prstGeom>
          <a:solidFill>
            <a:schemeClr val="bg1">
              <a:alpha val="35000"/>
            </a:schemeClr>
          </a:solidFill>
          <a:ln>
            <a:noFill/>
          </a:ln>
          <a:effectLst>
            <a:softEdge rad="3175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828800"/>
            <a:endParaRPr lang="es-ES" sz="2800" noProof="0">
              <a:solidFill>
                <a:srgbClr val="FFFFFF"/>
              </a:solidFill>
              <a:latin typeface="Montserrat" panose="00000500000000000000" pitchFamily="2" charset="0"/>
            </a:endParaRPr>
          </a:p>
        </p:txBody>
      </p:sp>
      <p:sp>
        <p:nvSpPr>
          <p:cNvPr id="49" name="Rectangle 48">
            <a:extLst>
              <a:ext uri="{FF2B5EF4-FFF2-40B4-BE49-F238E27FC236}">
                <a16:creationId xmlns:a16="http://schemas.microsoft.com/office/drawing/2014/main" id="{CF5351EA-1203-D718-24D1-995879F1A9C3}"/>
              </a:ext>
            </a:extLst>
          </p:cNvPr>
          <p:cNvSpPr/>
          <p:nvPr/>
        </p:nvSpPr>
        <p:spPr>
          <a:xfrm>
            <a:off x="610202" y="2626697"/>
            <a:ext cx="6535437" cy="5412898"/>
          </a:xfrm>
          <a:prstGeom prst="rect">
            <a:avLst/>
          </a:prstGeom>
          <a:solidFill>
            <a:schemeClr val="bg1">
              <a:alpha val="35000"/>
            </a:schemeClr>
          </a:solidFill>
          <a:ln>
            <a:noFill/>
          </a:ln>
          <a:effectLst>
            <a:softEdge rad="3175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828800"/>
            <a:endParaRPr lang="es-ES" sz="2800" noProof="0">
              <a:solidFill>
                <a:srgbClr val="FFFFFF"/>
              </a:solidFill>
              <a:latin typeface="Montserrat" panose="00000500000000000000" pitchFamily="2" charset="0"/>
            </a:endParaRPr>
          </a:p>
        </p:txBody>
      </p:sp>
      <p:grpSp>
        <p:nvGrpSpPr>
          <p:cNvPr id="5" name="Group 4">
            <a:extLst>
              <a:ext uri="{FF2B5EF4-FFF2-40B4-BE49-F238E27FC236}">
                <a16:creationId xmlns:a16="http://schemas.microsoft.com/office/drawing/2014/main" id="{F5D9461B-CCEC-EA9D-0E7C-E74846B22503}"/>
              </a:ext>
            </a:extLst>
          </p:cNvPr>
          <p:cNvGrpSpPr/>
          <p:nvPr/>
        </p:nvGrpSpPr>
        <p:grpSpPr>
          <a:xfrm>
            <a:off x="11745222" y="2343150"/>
            <a:ext cx="6438601" cy="6726793"/>
            <a:chOff x="11745222" y="2343150"/>
            <a:chExt cx="6438601" cy="6726793"/>
          </a:xfrm>
        </p:grpSpPr>
        <p:sp>
          <p:nvSpPr>
            <p:cNvPr id="47" name="Rectangle 46">
              <a:extLst>
                <a:ext uri="{FF2B5EF4-FFF2-40B4-BE49-F238E27FC236}">
                  <a16:creationId xmlns:a16="http://schemas.microsoft.com/office/drawing/2014/main" id="{A8E39E69-ACC6-FAFC-8EF1-F84AEFBB3704}"/>
                </a:ext>
              </a:extLst>
            </p:cNvPr>
            <p:cNvSpPr/>
            <p:nvPr/>
          </p:nvSpPr>
          <p:spPr>
            <a:xfrm>
              <a:off x="12940520" y="2343150"/>
              <a:ext cx="5243303" cy="6726793"/>
            </a:xfrm>
            <a:prstGeom prst="rect">
              <a:avLst/>
            </a:prstGeom>
            <a:solidFill>
              <a:schemeClr val="bg1">
                <a:alpha val="35000"/>
              </a:schemeClr>
            </a:solidFill>
            <a:ln>
              <a:noFill/>
            </a:ln>
            <a:effectLst>
              <a:softEdge rad="3175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828800"/>
              <a:endParaRPr lang="es-ES" sz="2800" noProof="0">
                <a:solidFill>
                  <a:srgbClr val="FFFFFF"/>
                </a:solidFill>
                <a:latin typeface="Montserrat" panose="00000500000000000000" pitchFamily="2" charset="0"/>
              </a:endParaRPr>
            </a:p>
          </p:txBody>
        </p:sp>
        <p:sp>
          <p:nvSpPr>
            <p:cNvPr id="89" name="Rectangle 88">
              <a:extLst>
                <a:ext uri="{FF2B5EF4-FFF2-40B4-BE49-F238E27FC236}">
                  <a16:creationId xmlns:a16="http://schemas.microsoft.com/office/drawing/2014/main" id="{EE326385-1936-4C34-8DB0-6E7930D2EA1A}"/>
                </a:ext>
              </a:extLst>
            </p:cNvPr>
            <p:cNvSpPr/>
            <p:nvPr/>
          </p:nvSpPr>
          <p:spPr>
            <a:xfrm>
              <a:off x="11745222" y="2343150"/>
              <a:ext cx="1839018" cy="4284051"/>
            </a:xfrm>
            <a:prstGeom prst="rect">
              <a:avLst/>
            </a:prstGeom>
            <a:solidFill>
              <a:schemeClr val="bg1">
                <a:alpha val="35000"/>
              </a:schemeClr>
            </a:solidFill>
            <a:ln>
              <a:noFill/>
            </a:ln>
            <a:effectLst>
              <a:softEdge rad="3175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828800"/>
              <a:endParaRPr lang="es-ES" sz="2800" noProof="0">
                <a:solidFill>
                  <a:srgbClr val="FFFFFF"/>
                </a:solidFill>
                <a:latin typeface="Montserrat" panose="00000500000000000000" pitchFamily="2" charset="0"/>
              </a:endParaRPr>
            </a:p>
          </p:txBody>
        </p:sp>
      </p:grpSp>
      <p:sp>
        <p:nvSpPr>
          <p:cNvPr id="6" name="Google Shape;1036;p29">
            <a:extLst>
              <a:ext uri="{FF2B5EF4-FFF2-40B4-BE49-F238E27FC236}">
                <a16:creationId xmlns:a16="http://schemas.microsoft.com/office/drawing/2014/main" id="{55861FF6-427E-C930-DE04-8CF5D3589E9E}"/>
              </a:ext>
            </a:extLst>
          </p:cNvPr>
          <p:cNvSpPr txBox="1"/>
          <p:nvPr/>
        </p:nvSpPr>
        <p:spPr>
          <a:xfrm rot="1485693">
            <a:off x="13941784" y="908044"/>
            <a:ext cx="2876810" cy="453183"/>
          </a:xfrm>
          <a:prstGeom prst="rect">
            <a:avLst/>
          </a:prstGeom>
          <a:solidFill>
            <a:srgbClr val="6800FF"/>
          </a:solidFill>
          <a:ln w="9525" cap="flat" cmpd="sng">
            <a:noFill/>
            <a:prstDash val="solid"/>
            <a:round/>
            <a:headEnd type="none" w="sm" len="sm"/>
            <a:tailEnd type="none" w="sm" len="sm"/>
          </a:ln>
        </p:spPr>
        <p:txBody>
          <a:bodyPr spcFirstLastPara="1" wrap="square" lIns="0" tIns="72000" rIns="0" bIns="7200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defTabSz="1828800"/>
            <a:r>
              <a:rPr lang="es-ES" sz="2000" b="1" noProof="0">
                <a:solidFill>
                  <a:srgbClr val="FFFFFF"/>
                </a:solidFill>
                <a:latin typeface="Montserrat Bold"/>
              </a:rPr>
              <a:t>ILLUSTRATIVE</a:t>
            </a:r>
            <a:endParaRPr lang="es-ES" sz="1100" noProof="0">
              <a:latin typeface="Montserrat Bold"/>
            </a:endParaRPr>
          </a:p>
        </p:txBody>
      </p:sp>
    </p:spTree>
    <p:extLst>
      <p:ext uri="{BB962C8B-B14F-4D97-AF65-F5344CB8AC3E}">
        <p14:creationId xmlns:p14="http://schemas.microsoft.com/office/powerpoint/2010/main" val="13456688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9" name="Group 88">
            <a:extLst>
              <a:ext uri="{FF2B5EF4-FFF2-40B4-BE49-F238E27FC236}">
                <a16:creationId xmlns:a16="http://schemas.microsoft.com/office/drawing/2014/main" id="{ECDED1FD-8254-B0B7-A9F5-3E9998CA1DD0}"/>
              </a:ext>
            </a:extLst>
          </p:cNvPr>
          <p:cNvGrpSpPr/>
          <p:nvPr/>
        </p:nvGrpSpPr>
        <p:grpSpPr>
          <a:xfrm>
            <a:off x="11779403" y="2274000"/>
            <a:ext cx="4283528" cy="3244703"/>
            <a:chOff x="11620653" y="2359725"/>
            <a:chExt cx="4283528" cy="3244703"/>
          </a:xfrm>
        </p:grpSpPr>
        <p:sp>
          <p:nvSpPr>
            <p:cNvPr id="12" name="TextBox 11">
              <a:extLst>
                <a:ext uri="{FF2B5EF4-FFF2-40B4-BE49-F238E27FC236}">
                  <a16:creationId xmlns:a16="http://schemas.microsoft.com/office/drawing/2014/main" id="{B4ABA704-CD8A-0C49-6815-D15093017B0C}"/>
                </a:ext>
              </a:extLst>
            </p:cNvPr>
            <p:cNvSpPr txBox="1"/>
            <p:nvPr/>
          </p:nvSpPr>
          <p:spPr>
            <a:xfrm>
              <a:off x="11850503" y="2359725"/>
              <a:ext cx="3823828" cy="276999"/>
            </a:xfrm>
            <a:prstGeom prst="rect">
              <a:avLst/>
            </a:prstGeom>
            <a:noFill/>
          </p:spPr>
          <p:txBody>
            <a:bodyPr wrap="square">
              <a:spAutoFit/>
            </a:bodyPr>
            <a:lstStyle/>
            <a:p>
              <a:pPr algn="ctr"/>
              <a:r>
                <a:rPr lang="es-ES" sz="1200" b="1" noProof="0">
                  <a:solidFill>
                    <a:schemeClr val="bg1"/>
                  </a:solidFill>
                  <a:latin typeface="Montserrat" panose="00000500000000000000" pitchFamily="2" charset="0"/>
                </a:rPr>
                <a:t>Architecture Reference models</a:t>
              </a:r>
            </a:p>
          </p:txBody>
        </p:sp>
        <p:grpSp>
          <p:nvGrpSpPr>
            <p:cNvPr id="88" name="Group 87">
              <a:extLst>
                <a:ext uri="{FF2B5EF4-FFF2-40B4-BE49-F238E27FC236}">
                  <a16:creationId xmlns:a16="http://schemas.microsoft.com/office/drawing/2014/main" id="{6B2C3E0E-596B-AC84-4826-F6CE353695EB}"/>
                </a:ext>
              </a:extLst>
            </p:cNvPr>
            <p:cNvGrpSpPr/>
            <p:nvPr/>
          </p:nvGrpSpPr>
          <p:grpSpPr>
            <a:xfrm>
              <a:off x="11620653" y="2758627"/>
              <a:ext cx="4283528" cy="2845801"/>
              <a:chOff x="7600108" y="3240674"/>
              <a:chExt cx="3831933" cy="2352977"/>
            </a:xfrm>
          </p:grpSpPr>
          <p:grpSp>
            <p:nvGrpSpPr>
              <p:cNvPr id="29" name="Group 28">
                <a:extLst>
                  <a:ext uri="{FF2B5EF4-FFF2-40B4-BE49-F238E27FC236}">
                    <a16:creationId xmlns:a16="http://schemas.microsoft.com/office/drawing/2014/main" id="{F94F872B-2E71-CEB6-1A29-26FB85D41462}"/>
                  </a:ext>
                </a:extLst>
              </p:cNvPr>
              <p:cNvGrpSpPr/>
              <p:nvPr/>
            </p:nvGrpSpPr>
            <p:grpSpPr>
              <a:xfrm>
                <a:off x="7600108" y="3240674"/>
                <a:ext cx="2880694" cy="1584000"/>
                <a:chOff x="8364575" y="2927276"/>
                <a:chExt cx="3622694" cy="2036182"/>
              </a:xfrm>
              <a:effectLst>
                <a:outerShdw blurRad="63500" sx="102000" sy="102000" algn="ctr" rotWithShape="0">
                  <a:prstClr val="black">
                    <a:alpha val="40000"/>
                  </a:prstClr>
                </a:outerShdw>
              </a:effectLst>
            </p:grpSpPr>
            <p:pic>
              <p:nvPicPr>
                <p:cNvPr id="30" name="Picture 6" descr="Diagram&#10;&#10;Description automatically generated">
                  <a:extLst>
                    <a:ext uri="{FF2B5EF4-FFF2-40B4-BE49-F238E27FC236}">
                      <a16:creationId xmlns:a16="http://schemas.microsoft.com/office/drawing/2014/main" id="{C77C73D5-0FCB-5206-1551-05E799A8FA9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364575" y="2927276"/>
                  <a:ext cx="3622694" cy="2036182"/>
                </a:xfrm>
                <a:prstGeom prst="rect">
                  <a:avLst/>
                </a:prstGeom>
              </p:spPr>
            </p:pic>
            <p:sp>
              <p:nvSpPr>
                <p:cNvPr id="31" name="Rectangle 30">
                  <a:extLst>
                    <a:ext uri="{FF2B5EF4-FFF2-40B4-BE49-F238E27FC236}">
                      <a16:creationId xmlns:a16="http://schemas.microsoft.com/office/drawing/2014/main" id="{D8DBF862-5976-2857-3B0B-20826F63BFD2}"/>
                    </a:ext>
                  </a:extLst>
                </p:cNvPr>
                <p:cNvSpPr/>
                <p:nvPr/>
              </p:nvSpPr>
              <p:spPr>
                <a:xfrm>
                  <a:off x="8376552" y="4828367"/>
                  <a:ext cx="584795" cy="1302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noProof="0">
                    <a:solidFill>
                      <a:schemeClr val="bg1"/>
                    </a:solidFill>
                    <a:latin typeface="Montserrat" panose="00000500000000000000" pitchFamily="2" charset="0"/>
                  </a:endParaRPr>
                </a:p>
              </p:txBody>
            </p:sp>
          </p:grpSp>
          <p:pic>
            <p:nvPicPr>
              <p:cNvPr id="83" name="Picture 82">
                <a:extLst>
                  <a:ext uri="{FF2B5EF4-FFF2-40B4-BE49-F238E27FC236}">
                    <a16:creationId xmlns:a16="http://schemas.microsoft.com/office/drawing/2014/main" id="{A18A1EAE-C042-A0EF-19E6-3B5DC9CF478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161054" y="3736511"/>
                <a:ext cx="2905304" cy="1624056"/>
              </a:xfrm>
              <a:prstGeom prst="rect">
                <a:avLst/>
              </a:prstGeom>
              <a:effectLst>
                <a:outerShdw blurRad="50800" dist="38100" dir="2700000" algn="tl" rotWithShape="0">
                  <a:prstClr val="black">
                    <a:alpha val="40000"/>
                  </a:prstClr>
                </a:outerShdw>
              </a:effectLst>
            </p:spPr>
          </p:pic>
          <p:pic>
            <p:nvPicPr>
              <p:cNvPr id="85" name="Picture 84">
                <a:extLst>
                  <a:ext uri="{FF2B5EF4-FFF2-40B4-BE49-F238E27FC236}">
                    <a16:creationId xmlns:a16="http://schemas.microsoft.com/office/drawing/2014/main" id="{FE15B16C-B73A-BBB7-6F75-58CF4EF726CD}"/>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8754797" y="4259475"/>
                <a:ext cx="2677244" cy="1334176"/>
              </a:xfrm>
              <a:prstGeom prst="rect">
                <a:avLst/>
              </a:prstGeom>
              <a:effectLst>
                <a:outerShdw blurRad="63500" sx="102000" sy="102000" algn="ctr" rotWithShape="0">
                  <a:prstClr val="black">
                    <a:alpha val="40000"/>
                  </a:prstClr>
                </a:outerShdw>
              </a:effectLst>
            </p:spPr>
          </p:pic>
        </p:grpSp>
      </p:grpSp>
      <p:sp>
        <p:nvSpPr>
          <p:cNvPr id="52" name="Rectangle 51">
            <a:extLst>
              <a:ext uri="{FF2B5EF4-FFF2-40B4-BE49-F238E27FC236}">
                <a16:creationId xmlns:a16="http://schemas.microsoft.com/office/drawing/2014/main" id="{0B595C72-CE2B-CEFE-E68F-7C56D111F6C7}"/>
              </a:ext>
            </a:extLst>
          </p:cNvPr>
          <p:cNvSpPr/>
          <p:nvPr/>
        </p:nvSpPr>
        <p:spPr>
          <a:xfrm>
            <a:off x="11302888" y="2275106"/>
            <a:ext cx="5251561" cy="3679956"/>
          </a:xfrm>
          <a:prstGeom prst="rect">
            <a:avLst/>
          </a:prstGeom>
          <a:solidFill>
            <a:schemeClr val="bg1">
              <a:alpha val="35000"/>
            </a:schemeClr>
          </a:solidFill>
          <a:ln>
            <a:noFill/>
          </a:ln>
          <a:effectLst>
            <a:softEdge rad="3175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828800"/>
            <a:endParaRPr lang="es-ES" sz="2800" noProof="0">
              <a:solidFill>
                <a:srgbClr val="FFFFFF"/>
              </a:solidFill>
              <a:latin typeface="Montserrat" panose="00000500000000000000" pitchFamily="2" charset="0"/>
            </a:endParaRPr>
          </a:p>
        </p:txBody>
      </p:sp>
      <p:sp>
        <p:nvSpPr>
          <p:cNvPr id="2" name="Title 1">
            <a:extLst>
              <a:ext uri="{FF2B5EF4-FFF2-40B4-BE49-F238E27FC236}">
                <a16:creationId xmlns:a16="http://schemas.microsoft.com/office/drawing/2014/main" id="{A6A6D6B5-D372-722E-EADD-9DBDC1F3FD4C}"/>
              </a:ext>
            </a:extLst>
          </p:cNvPr>
          <p:cNvSpPr>
            <a:spLocks noGrp="1"/>
          </p:cNvSpPr>
          <p:nvPr>
            <p:ph type="title" idx="4294967295"/>
          </p:nvPr>
        </p:nvSpPr>
        <p:spPr>
          <a:xfrm>
            <a:off x="1080599" y="1042450"/>
            <a:ext cx="14340375" cy="1145400"/>
          </a:xfrm>
        </p:spPr>
        <p:txBody>
          <a:bodyPr/>
          <a:lstStyle/>
          <a:p>
            <a:r>
              <a:rPr lang="es-ES" noProof="0"/>
              <a:t>Business </a:t>
            </a:r>
            <a:r>
              <a:rPr lang="es-ES" noProof="0" err="1"/>
              <a:t>Driven</a:t>
            </a:r>
            <a:r>
              <a:rPr lang="es-ES" noProof="0"/>
              <a:t> </a:t>
            </a:r>
            <a:r>
              <a:rPr lang="es-ES" noProof="0" err="1"/>
              <a:t>Architecture</a:t>
            </a:r>
            <a:br>
              <a:rPr lang="es-ES" noProof="0"/>
            </a:br>
            <a:r>
              <a:rPr lang="es-ES" sz="2800" noProof="0">
                <a:solidFill>
                  <a:srgbClr val="6800FF"/>
                </a:solidFill>
              </a:rPr>
              <a:t>TECHNOLOGY AS A COMPETITIVE ADVANTAGE </a:t>
            </a:r>
            <a:r>
              <a:rPr lang="es-ES" sz="2800" noProof="0">
                <a:solidFill>
                  <a:schemeClr val="bg1"/>
                </a:solidFill>
              </a:rPr>
              <a:t>– </a:t>
            </a:r>
            <a:r>
              <a:rPr lang="es-ES" sz="2400" noProof="0">
                <a:solidFill>
                  <a:schemeClr val="bg1"/>
                </a:solidFill>
              </a:rPr>
              <a:t>DELIVERABLES EXAMPLES</a:t>
            </a:r>
            <a:endParaRPr lang="es-ES" noProof="0">
              <a:solidFill>
                <a:schemeClr val="bg1"/>
              </a:solidFill>
            </a:endParaRPr>
          </a:p>
        </p:txBody>
      </p:sp>
      <p:sp>
        <p:nvSpPr>
          <p:cNvPr id="4" name="Subtitle 3">
            <a:extLst>
              <a:ext uri="{FF2B5EF4-FFF2-40B4-BE49-F238E27FC236}">
                <a16:creationId xmlns:a16="http://schemas.microsoft.com/office/drawing/2014/main" id="{786DD985-43B3-EE2E-762F-7E4AFA325B98}"/>
              </a:ext>
            </a:extLst>
          </p:cNvPr>
          <p:cNvSpPr>
            <a:spLocks noGrp="1"/>
          </p:cNvSpPr>
          <p:nvPr>
            <p:ph type="subTitle" idx="4294967295"/>
          </p:nvPr>
        </p:nvSpPr>
        <p:spPr>
          <a:xfrm>
            <a:off x="8731280" y="8568450"/>
            <a:ext cx="9263400" cy="1585200"/>
          </a:xfrm>
        </p:spPr>
        <p:txBody>
          <a:bodyPr/>
          <a:lstStyle/>
          <a:p>
            <a:r>
              <a:rPr lang="es-ES" noProof="0"/>
              <a:t>LEVERAGING MARKET TRENDS AND SOLUTIONS</a:t>
            </a:r>
          </a:p>
        </p:txBody>
      </p:sp>
      <p:grpSp>
        <p:nvGrpSpPr>
          <p:cNvPr id="90" name="Group 89">
            <a:extLst>
              <a:ext uri="{FF2B5EF4-FFF2-40B4-BE49-F238E27FC236}">
                <a16:creationId xmlns:a16="http://schemas.microsoft.com/office/drawing/2014/main" id="{87EED5E2-3961-9032-037F-B43B908BC9C4}"/>
              </a:ext>
            </a:extLst>
          </p:cNvPr>
          <p:cNvGrpSpPr/>
          <p:nvPr/>
        </p:nvGrpSpPr>
        <p:grpSpPr>
          <a:xfrm>
            <a:off x="12300481" y="5972623"/>
            <a:ext cx="5250877" cy="3402473"/>
            <a:chOff x="11773994" y="6011325"/>
            <a:chExt cx="5250877" cy="3402473"/>
          </a:xfrm>
        </p:grpSpPr>
        <p:sp>
          <p:nvSpPr>
            <p:cNvPr id="35" name="TextBox 34">
              <a:extLst>
                <a:ext uri="{FF2B5EF4-FFF2-40B4-BE49-F238E27FC236}">
                  <a16:creationId xmlns:a16="http://schemas.microsoft.com/office/drawing/2014/main" id="{F927E3FB-3FA2-1893-B3AA-CE824F004012}"/>
                </a:ext>
              </a:extLst>
            </p:cNvPr>
            <p:cNvSpPr txBox="1"/>
            <p:nvPr/>
          </p:nvSpPr>
          <p:spPr>
            <a:xfrm>
              <a:off x="12487515" y="6011325"/>
              <a:ext cx="3823828" cy="276999"/>
            </a:xfrm>
            <a:prstGeom prst="rect">
              <a:avLst/>
            </a:prstGeom>
            <a:noFill/>
          </p:spPr>
          <p:txBody>
            <a:bodyPr wrap="square">
              <a:spAutoFit/>
            </a:bodyPr>
            <a:lstStyle/>
            <a:p>
              <a:pPr algn="ctr"/>
              <a:r>
                <a:rPr lang="es-ES" sz="1200" b="1" noProof="0">
                  <a:solidFill>
                    <a:schemeClr val="bg1"/>
                  </a:solidFill>
                  <a:latin typeface="Montserrat" panose="00000500000000000000" pitchFamily="2" charset="0"/>
                </a:rPr>
                <a:t>From Value Preservation to Value Creation</a:t>
              </a:r>
            </a:p>
          </p:txBody>
        </p:sp>
        <p:grpSp>
          <p:nvGrpSpPr>
            <p:cNvPr id="86" name="Group 85">
              <a:extLst>
                <a:ext uri="{FF2B5EF4-FFF2-40B4-BE49-F238E27FC236}">
                  <a16:creationId xmlns:a16="http://schemas.microsoft.com/office/drawing/2014/main" id="{83C8975E-1786-EF4C-90EA-6FEE6DB1F647}"/>
                </a:ext>
              </a:extLst>
            </p:cNvPr>
            <p:cNvGrpSpPr/>
            <p:nvPr/>
          </p:nvGrpSpPr>
          <p:grpSpPr>
            <a:xfrm>
              <a:off x="11773994" y="6460199"/>
              <a:ext cx="5250877" cy="2953599"/>
              <a:chOff x="10286304" y="6799786"/>
              <a:chExt cx="4122213" cy="2260891"/>
            </a:xfrm>
          </p:grpSpPr>
          <p:pic>
            <p:nvPicPr>
              <p:cNvPr id="74" name="Picture 73">
                <a:extLst>
                  <a:ext uri="{FF2B5EF4-FFF2-40B4-BE49-F238E27FC236}">
                    <a16:creationId xmlns:a16="http://schemas.microsoft.com/office/drawing/2014/main" id="{F6B1F696-1B96-0809-8A55-3E0730DB860E}"/>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286304" y="6799786"/>
                <a:ext cx="2816000" cy="1584000"/>
              </a:xfrm>
              <a:prstGeom prst="rect">
                <a:avLst/>
              </a:prstGeom>
              <a:effectLst>
                <a:outerShdw blurRad="50800" dist="38100" dir="2700000" algn="tl" rotWithShape="0">
                  <a:prstClr val="black">
                    <a:alpha val="40000"/>
                  </a:prstClr>
                </a:outerShdw>
              </a:effectLst>
            </p:spPr>
          </p:pic>
          <p:pic>
            <p:nvPicPr>
              <p:cNvPr id="75" name="Picture 74">
                <a:extLst>
                  <a:ext uri="{FF2B5EF4-FFF2-40B4-BE49-F238E27FC236}">
                    <a16:creationId xmlns:a16="http://schemas.microsoft.com/office/drawing/2014/main" id="{F74B0349-D4F3-E467-0BC9-4DF2DECE55C2}"/>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1463175" y="7403922"/>
                <a:ext cx="2945342" cy="1656755"/>
              </a:xfrm>
              <a:prstGeom prst="rect">
                <a:avLst/>
              </a:prstGeom>
              <a:effectLst>
                <a:outerShdw blurRad="50800" dist="38100" dir="2700000" algn="tl" rotWithShape="0">
                  <a:prstClr val="black">
                    <a:alpha val="40000"/>
                  </a:prstClr>
                </a:outerShdw>
              </a:effectLst>
            </p:spPr>
          </p:pic>
        </p:grpSp>
      </p:grpSp>
      <p:grpSp>
        <p:nvGrpSpPr>
          <p:cNvPr id="92" name="Group 91">
            <a:extLst>
              <a:ext uri="{FF2B5EF4-FFF2-40B4-BE49-F238E27FC236}">
                <a16:creationId xmlns:a16="http://schemas.microsoft.com/office/drawing/2014/main" id="{9748CCE1-B9F0-3B77-AF1F-1923DDB61BB5}"/>
              </a:ext>
            </a:extLst>
          </p:cNvPr>
          <p:cNvGrpSpPr/>
          <p:nvPr/>
        </p:nvGrpSpPr>
        <p:grpSpPr>
          <a:xfrm>
            <a:off x="5264735" y="5476526"/>
            <a:ext cx="6075632" cy="4289215"/>
            <a:chOff x="4749710" y="5612815"/>
            <a:chExt cx="6075632" cy="4289215"/>
          </a:xfrm>
        </p:grpSpPr>
        <p:grpSp>
          <p:nvGrpSpPr>
            <p:cNvPr id="91" name="Group 90">
              <a:extLst>
                <a:ext uri="{FF2B5EF4-FFF2-40B4-BE49-F238E27FC236}">
                  <a16:creationId xmlns:a16="http://schemas.microsoft.com/office/drawing/2014/main" id="{F13A6871-47CB-13B7-2AA5-966905A0972C}"/>
                </a:ext>
              </a:extLst>
            </p:cNvPr>
            <p:cNvGrpSpPr/>
            <p:nvPr/>
          </p:nvGrpSpPr>
          <p:grpSpPr>
            <a:xfrm>
              <a:off x="4749710" y="6010275"/>
              <a:ext cx="6075632" cy="3891755"/>
              <a:chOff x="4073256" y="6909546"/>
              <a:chExt cx="4862142" cy="2992484"/>
            </a:xfrm>
          </p:grpSpPr>
          <p:grpSp>
            <p:nvGrpSpPr>
              <p:cNvPr id="48" name="Group 47">
                <a:extLst>
                  <a:ext uri="{FF2B5EF4-FFF2-40B4-BE49-F238E27FC236}">
                    <a16:creationId xmlns:a16="http://schemas.microsoft.com/office/drawing/2014/main" id="{5FCE1621-A79F-D557-2355-4C00FE67DECC}"/>
                  </a:ext>
                </a:extLst>
              </p:cNvPr>
              <p:cNvGrpSpPr/>
              <p:nvPr/>
            </p:nvGrpSpPr>
            <p:grpSpPr>
              <a:xfrm>
                <a:off x="4667912" y="8043531"/>
                <a:ext cx="3889526" cy="1858499"/>
                <a:chOff x="544179" y="3818920"/>
                <a:chExt cx="3889526" cy="1858499"/>
              </a:xfrm>
            </p:grpSpPr>
            <p:pic>
              <p:nvPicPr>
                <p:cNvPr id="65" name="Imagen 5">
                  <a:extLst>
                    <a:ext uri="{FF2B5EF4-FFF2-40B4-BE49-F238E27FC236}">
                      <a16:creationId xmlns:a16="http://schemas.microsoft.com/office/drawing/2014/main" id="{C877C932-C804-3A2F-7CE2-9CBDA168DBC2}"/>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44179" y="3855950"/>
                  <a:ext cx="3889526" cy="1821469"/>
                </a:xfrm>
                <a:prstGeom prst="rect">
                  <a:avLst/>
                </a:prstGeom>
                <a:effectLst>
                  <a:outerShdw blurRad="50800" dist="38100" dir="2700000" algn="tl" rotWithShape="0">
                    <a:prstClr val="black">
                      <a:alpha val="40000"/>
                    </a:prstClr>
                  </a:outerShdw>
                </a:effectLst>
              </p:spPr>
            </p:pic>
            <p:sp>
              <p:nvSpPr>
                <p:cNvPr id="66" name="Rectangle 65">
                  <a:extLst>
                    <a:ext uri="{FF2B5EF4-FFF2-40B4-BE49-F238E27FC236}">
                      <a16:creationId xmlns:a16="http://schemas.microsoft.com/office/drawing/2014/main" id="{76EE0EBD-F894-CA85-C707-D1F0112CE90A}"/>
                    </a:ext>
                  </a:extLst>
                </p:cNvPr>
                <p:cNvSpPr/>
                <p:nvPr/>
              </p:nvSpPr>
              <p:spPr>
                <a:xfrm>
                  <a:off x="544179" y="3818920"/>
                  <a:ext cx="3889526" cy="1164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noProof="0">
                    <a:solidFill>
                      <a:schemeClr val="bg1"/>
                    </a:solidFill>
                    <a:latin typeface="Montserrat" panose="00000500000000000000" pitchFamily="2" charset="0"/>
                  </a:endParaRPr>
                </a:p>
              </p:txBody>
            </p:sp>
          </p:grpSp>
          <p:pic>
            <p:nvPicPr>
              <p:cNvPr id="67" name="Picture 66">
                <a:extLst>
                  <a:ext uri="{FF2B5EF4-FFF2-40B4-BE49-F238E27FC236}">
                    <a16:creationId xmlns:a16="http://schemas.microsoft.com/office/drawing/2014/main" id="{39D065A1-E15D-113A-FD0A-E50DA76D02A2}"/>
                  </a:ext>
                </a:extLst>
              </p:cNvPr>
              <p:cNvPicPr>
                <a:picLocks noChangeAspect="1"/>
              </p:cNvPicPr>
              <p:nvPr/>
            </p:nvPicPr>
            <p:blipFill>
              <a:blip r:embed="rId8" cstate="email">
                <a:extLst>
                  <a:ext uri="{28A0092B-C50C-407E-A947-70E740481C1C}">
                    <a14:useLocalDpi xmlns:a14="http://schemas.microsoft.com/office/drawing/2010/main"/>
                  </a:ext>
                </a:extLst>
              </a:blip>
              <a:srcRect/>
              <a:stretch/>
            </p:blipFill>
            <p:spPr>
              <a:xfrm>
                <a:off x="4073256" y="6909546"/>
                <a:ext cx="2816000" cy="1398381"/>
              </a:xfrm>
              <a:prstGeom prst="rect">
                <a:avLst/>
              </a:prstGeom>
              <a:effectLst>
                <a:outerShdw blurRad="50800" dist="38100" dir="2700000" algn="tl" rotWithShape="0">
                  <a:prstClr val="black">
                    <a:alpha val="40000"/>
                  </a:prstClr>
                </a:outerShdw>
              </a:effectLst>
            </p:spPr>
          </p:pic>
          <p:grpSp>
            <p:nvGrpSpPr>
              <p:cNvPr id="68" name="Group 67">
                <a:extLst>
                  <a:ext uri="{FF2B5EF4-FFF2-40B4-BE49-F238E27FC236}">
                    <a16:creationId xmlns:a16="http://schemas.microsoft.com/office/drawing/2014/main" id="{DDB9AEB6-C170-610B-F4BB-64C9CA9844BA}"/>
                  </a:ext>
                </a:extLst>
              </p:cNvPr>
              <p:cNvGrpSpPr/>
              <p:nvPr/>
            </p:nvGrpSpPr>
            <p:grpSpPr>
              <a:xfrm>
                <a:off x="6829215" y="6961513"/>
                <a:ext cx="2106183" cy="1798147"/>
                <a:chOff x="2952240" y="4050681"/>
                <a:chExt cx="2106183" cy="1798147"/>
              </a:xfrm>
            </p:grpSpPr>
            <p:pic>
              <p:nvPicPr>
                <p:cNvPr id="69" name="Imagen 33">
                  <a:extLst>
                    <a:ext uri="{FF2B5EF4-FFF2-40B4-BE49-F238E27FC236}">
                      <a16:creationId xmlns:a16="http://schemas.microsoft.com/office/drawing/2014/main" id="{468CB55F-4442-55BB-593F-909C1EF7A16E}"/>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952240" y="4145879"/>
                  <a:ext cx="2106183" cy="1702949"/>
                </a:xfrm>
                <a:prstGeom prst="rect">
                  <a:avLst/>
                </a:prstGeom>
                <a:effectLst>
                  <a:outerShdw blurRad="50800" dist="38100" dir="2700000" algn="tl" rotWithShape="0">
                    <a:prstClr val="black">
                      <a:alpha val="40000"/>
                    </a:prstClr>
                  </a:outerShdw>
                </a:effectLst>
              </p:spPr>
            </p:pic>
            <p:sp>
              <p:nvSpPr>
                <p:cNvPr id="70" name="CuadroTexto 16">
                  <a:extLst>
                    <a:ext uri="{FF2B5EF4-FFF2-40B4-BE49-F238E27FC236}">
                      <a16:creationId xmlns:a16="http://schemas.microsoft.com/office/drawing/2014/main" id="{ADDE283F-8141-04D9-1BD4-7AF730784267}"/>
                    </a:ext>
                  </a:extLst>
                </p:cNvPr>
                <p:cNvSpPr txBox="1"/>
                <p:nvPr/>
              </p:nvSpPr>
              <p:spPr>
                <a:xfrm>
                  <a:off x="3012281" y="4050681"/>
                  <a:ext cx="1997869" cy="200055"/>
                </a:xfrm>
                <a:prstGeom prst="rect">
                  <a:avLst/>
                </a:prstGeom>
                <a:solidFill>
                  <a:schemeClr val="bg1"/>
                </a:solidFill>
                <a:ln w="12700">
                  <a:miter lim="400000"/>
                </a:ln>
                <a:extLst>
                  <a:ext uri="{C572A759-6A51-4108-AA02-DFA0A04FC94B}">
                    <ma14:wrappingTextBoxFlag xmlns:ma14="http://schemas.microsoft.com/office/mac/drawingml/2011/main" xmlns="" val="1"/>
                  </a:ext>
                </a:extLst>
              </p:spPr>
              <p:txBody>
                <a:bodyPr wrap="square" lIns="45719" rIns="45719" rtlCol="0">
                  <a:spAutoFit/>
                </a:bodyPr>
                <a:lstStyle/>
                <a:p>
                  <a:pPr algn="ctr"/>
                  <a:r>
                    <a:rPr lang="es-ES" sz="700" b="1" noProof="0">
                      <a:solidFill>
                        <a:schemeClr val="bg1"/>
                      </a:solidFill>
                      <a:latin typeface="Montserrat" panose="00000500000000000000" pitchFamily="2" charset="0"/>
                    </a:rPr>
                    <a:t>Business </a:t>
                  </a:r>
                  <a:r>
                    <a:rPr lang="es-ES" sz="700" b="1" noProof="0" err="1">
                      <a:solidFill>
                        <a:schemeClr val="bg1"/>
                      </a:solidFill>
                      <a:latin typeface="Montserrat" panose="00000500000000000000" pitchFamily="2" charset="0"/>
                    </a:rPr>
                    <a:t>Value</a:t>
                  </a:r>
                  <a:r>
                    <a:rPr lang="es-ES" sz="700" b="1" noProof="0">
                      <a:solidFill>
                        <a:schemeClr val="bg1"/>
                      </a:solidFill>
                      <a:latin typeface="Montserrat" panose="00000500000000000000" pitchFamily="2" charset="0"/>
                    </a:rPr>
                    <a:t> vs </a:t>
                  </a:r>
                  <a:r>
                    <a:rPr lang="es-ES" sz="700" b="1" noProof="0" err="1">
                      <a:solidFill>
                        <a:schemeClr val="bg1"/>
                      </a:solidFill>
                      <a:latin typeface="Montserrat" panose="00000500000000000000" pitchFamily="2" charset="0"/>
                    </a:rPr>
                    <a:t>Application</a:t>
                  </a:r>
                  <a:r>
                    <a:rPr lang="es-ES" sz="700" b="1" noProof="0">
                      <a:solidFill>
                        <a:schemeClr val="bg1"/>
                      </a:solidFill>
                      <a:latin typeface="Montserrat" panose="00000500000000000000" pitchFamily="2" charset="0"/>
                    </a:rPr>
                    <a:t> </a:t>
                  </a:r>
                  <a:r>
                    <a:rPr lang="es-ES" sz="700" b="1" noProof="0" err="1">
                      <a:solidFill>
                        <a:schemeClr val="bg1"/>
                      </a:solidFill>
                      <a:latin typeface="Montserrat" panose="00000500000000000000" pitchFamily="2" charset="0"/>
                    </a:rPr>
                    <a:t>Quality</a:t>
                  </a:r>
                  <a:endParaRPr lang="es-ES" sz="700" b="1" noProof="0">
                    <a:solidFill>
                      <a:schemeClr val="bg1"/>
                    </a:solidFill>
                    <a:latin typeface="Montserrat" panose="00000500000000000000" pitchFamily="2" charset="0"/>
                  </a:endParaRPr>
                </a:p>
              </p:txBody>
            </p:sp>
          </p:grpSp>
        </p:grpSp>
        <p:sp>
          <p:nvSpPr>
            <p:cNvPr id="76" name="CuadroTexto 16">
              <a:extLst>
                <a:ext uri="{FF2B5EF4-FFF2-40B4-BE49-F238E27FC236}">
                  <a16:creationId xmlns:a16="http://schemas.microsoft.com/office/drawing/2014/main" id="{5B974F02-75E5-46B3-94B1-5F0BC50F2FF1}"/>
                </a:ext>
              </a:extLst>
            </p:cNvPr>
            <p:cNvSpPr txBox="1"/>
            <p:nvPr/>
          </p:nvSpPr>
          <p:spPr>
            <a:xfrm>
              <a:off x="5289061" y="5612815"/>
              <a:ext cx="4996930" cy="276999"/>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rtlCol="0">
              <a:spAutoFit/>
            </a:bodyPr>
            <a:lstStyle/>
            <a:p>
              <a:pPr algn="ctr"/>
              <a:r>
                <a:rPr lang="es-ES" sz="1200" b="1" noProof="0" err="1">
                  <a:solidFill>
                    <a:schemeClr val="bg1"/>
                  </a:solidFill>
                  <a:latin typeface="Montserrat" panose="00000500000000000000" pitchFamily="2" charset="0"/>
                </a:rPr>
                <a:t>Domain</a:t>
              </a:r>
              <a:r>
                <a:rPr lang="es-ES" sz="1200" b="1" noProof="0">
                  <a:solidFill>
                    <a:schemeClr val="bg1"/>
                  </a:solidFill>
                  <a:latin typeface="Montserrat" panose="00000500000000000000" pitchFamily="2" charset="0"/>
                </a:rPr>
                <a:t> </a:t>
              </a:r>
              <a:r>
                <a:rPr lang="es-ES" sz="1200" b="1" noProof="0" err="1">
                  <a:solidFill>
                    <a:schemeClr val="bg1"/>
                  </a:solidFill>
                  <a:latin typeface="Montserrat" panose="00000500000000000000" pitchFamily="2" charset="0"/>
                </a:rPr>
                <a:t>mapping</a:t>
              </a:r>
              <a:r>
                <a:rPr lang="es-ES" sz="1200" b="1" noProof="0">
                  <a:solidFill>
                    <a:schemeClr val="bg1"/>
                  </a:solidFill>
                  <a:latin typeface="Montserrat" panose="00000500000000000000" pitchFamily="2" charset="0"/>
                </a:rPr>
                <a:t> and </a:t>
              </a:r>
              <a:r>
                <a:rPr lang="es-ES" sz="1200" b="1" noProof="0" err="1">
                  <a:solidFill>
                    <a:schemeClr val="bg1"/>
                  </a:solidFill>
                  <a:latin typeface="Montserrat" panose="00000500000000000000" pitchFamily="2" charset="0"/>
                </a:rPr>
                <a:t>categorization</a:t>
              </a:r>
              <a:r>
                <a:rPr lang="es-ES" sz="1200" b="1" noProof="0">
                  <a:solidFill>
                    <a:schemeClr val="bg1"/>
                  </a:solidFill>
                  <a:latin typeface="Montserrat" panose="00000500000000000000" pitchFamily="2" charset="0"/>
                </a:rPr>
                <a:t> / Business </a:t>
              </a:r>
              <a:r>
                <a:rPr lang="es-ES" sz="1200" b="1" noProof="0" err="1">
                  <a:solidFill>
                    <a:schemeClr val="bg1"/>
                  </a:solidFill>
                  <a:latin typeface="Montserrat" panose="00000500000000000000" pitchFamily="2" charset="0"/>
                </a:rPr>
                <a:t>Alignment</a:t>
              </a:r>
              <a:endParaRPr lang="es-ES" sz="1200" b="1" noProof="0">
                <a:solidFill>
                  <a:schemeClr val="bg1"/>
                </a:solidFill>
                <a:latin typeface="Montserrat" panose="00000500000000000000" pitchFamily="2" charset="0"/>
              </a:endParaRPr>
            </a:p>
          </p:txBody>
        </p:sp>
      </p:grpSp>
      <p:grpSp>
        <p:nvGrpSpPr>
          <p:cNvPr id="94" name="Group 93">
            <a:extLst>
              <a:ext uri="{FF2B5EF4-FFF2-40B4-BE49-F238E27FC236}">
                <a16:creationId xmlns:a16="http://schemas.microsoft.com/office/drawing/2014/main" id="{4A5343D7-53B9-CDE3-636B-71E470CC7BF2}"/>
              </a:ext>
            </a:extLst>
          </p:cNvPr>
          <p:cNvGrpSpPr/>
          <p:nvPr/>
        </p:nvGrpSpPr>
        <p:grpSpPr>
          <a:xfrm>
            <a:off x="594013" y="2568310"/>
            <a:ext cx="4037339" cy="4086088"/>
            <a:chOff x="239695" y="3229603"/>
            <a:chExt cx="4037339" cy="4086088"/>
          </a:xfrm>
        </p:grpSpPr>
        <p:sp>
          <p:nvSpPr>
            <p:cNvPr id="32" name="CuadroTexto 15">
              <a:extLst>
                <a:ext uri="{FF2B5EF4-FFF2-40B4-BE49-F238E27FC236}">
                  <a16:creationId xmlns:a16="http://schemas.microsoft.com/office/drawing/2014/main" id="{678B584C-26E2-798A-FA50-D1A4C272D6A7}"/>
                </a:ext>
              </a:extLst>
            </p:cNvPr>
            <p:cNvSpPr txBox="1"/>
            <p:nvPr/>
          </p:nvSpPr>
          <p:spPr>
            <a:xfrm>
              <a:off x="358841" y="3229603"/>
              <a:ext cx="3799047" cy="276999"/>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rtlCol="0">
              <a:spAutoFit/>
            </a:bodyPr>
            <a:lstStyle/>
            <a:p>
              <a:pPr algn="ctr"/>
              <a:r>
                <a:rPr lang="es-ES" sz="1200" b="1" noProof="0" err="1">
                  <a:solidFill>
                    <a:schemeClr val="bg1"/>
                  </a:solidFill>
                  <a:latin typeface="Montserrat" panose="00000500000000000000" pitchFamily="2" charset="0"/>
                </a:rPr>
                <a:t>Application</a:t>
              </a:r>
              <a:r>
                <a:rPr lang="es-ES" sz="1200" b="1" noProof="0">
                  <a:solidFill>
                    <a:schemeClr val="bg1"/>
                  </a:solidFill>
                  <a:latin typeface="Montserrat" panose="00000500000000000000" pitchFamily="2" charset="0"/>
                </a:rPr>
                <a:t> / </a:t>
              </a:r>
              <a:r>
                <a:rPr lang="es-ES" sz="1200" b="1" noProof="0" err="1">
                  <a:solidFill>
                    <a:schemeClr val="bg1"/>
                  </a:solidFill>
                  <a:latin typeface="Montserrat" panose="00000500000000000000" pitchFamily="2" charset="0"/>
                </a:rPr>
                <a:t>Platform</a:t>
              </a:r>
              <a:r>
                <a:rPr lang="es-ES" sz="1200" b="1" noProof="0">
                  <a:solidFill>
                    <a:schemeClr val="bg1"/>
                  </a:solidFill>
                  <a:latin typeface="Montserrat" panose="00000500000000000000" pitchFamily="2" charset="0"/>
                </a:rPr>
                <a:t> </a:t>
              </a:r>
              <a:r>
                <a:rPr lang="es-ES" sz="1200" b="1" noProof="0" err="1">
                  <a:solidFill>
                    <a:schemeClr val="bg1"/>
                  </a:solidFill>
                  <a:latin typeface="Montserrat" panose="00000500000000000000" pitchFamily="2" charset="0"/>
                </a:rPr>
                <a:t>Inventory</a:t>
              </a:r>
              <a:endParaRPr lang="es-ES" sz="1200" b="1" noProof="0">
                <a:solidFill>
                  <a:schemeClr val="bg1"/>
                </a:solidFill>
                <a:latin typeface="Montserrat" panose="00000500000000000000" pitchFamily="2" charset="0"/>
              </a:endParaRPr>
            </a:p>
          </p:txBody>
        </p:sp>
        <p:grpSp>
          <p:nvGrpSpPr>
            <p:cNvPr id="93" name="Group 92">
              <a:extLst>
                <a:ext uri="{FF2B5EF4-FFF2-40B4-BE49-F238E27FC236}">
                  <a16:creationId xmlns:a16="http://schemas.microsoft.com/office/drawing/2014/main" id="{D5571E5F-8CA8-478E-4495-C654DF04FD57}"/>
                </a:ext>
              </a:extLst>
            </p:cNvPr>
            <p:cNvGrpSpPr/>
            <p:nvPr/>
          </p:nvGrpSpPr>
          <p:grpSpPr>
            <a:xfrm>
              <a:off x="239695" y="3603426"/>
              <a:ext cx="4037339" cy="3712265"/>
              <a:chOff x="239695" y="3603426"/>
              <a:chExt cx="4037339" cy="3712265"/>
            </a:xfrm>
          </p:grpSpPr>
          <p:pic>
            <p:nvPicPr>
              <p:cNvPr id="71" name="Picture 70">
                <a:extLst>
                  <a:ext uri="{FF2B5EF4-FFF2-40B4-BE49-F238E27FC236}">
                    <a16:creationId xmlns:a16="http://schemas.microsoft.com/office/drawing/2014/main" id="{DEFEB7EB-8E93-AFC7-AD0D-180EA8ED5B19}"/>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034879" y="3603426"/>
                <a:ext cx="3242155" cy="1823713"/>
              </a:xfrm>
              <a:prstGeom prst="rect">
                <a:avLst/>
              </a:prstGeom>
              <a:effectLst>
                <a:outerShdw blurRad="63500" sx="102000" sy="102000" algn="ctr" rotWithShape="0">
                  <a:prstClr val="black">
                    <a:alpha val="40000"/>
                  </a:prstClr>
                </a:outerShdw>
              </a:effectLst>
            </p:spPr>
          </p:pic>
          <p:pic>
            <p:nvPicPr>
              <p:cNvPr id="73" name="Picture 72">
                <a:extLst>
                  <a:ext uri="{FF2B5EF4-FFF2-40B4-BE49-F238E27FC236}">
                    <a16:creationId xmlns:a16="http://schemas.microsoft.com/office/drawing/2014/main" id="{F88DB3F1-2BB8-CD54-2AB9-7968750D85B5}"/>
                  </a:ext>
                </a:extLst>
              </p:cNvPr>
              <p:cNvPicPr>
                <a:picLocks noChangeAspect="1"/>
              </p:cNvPicPr>
              <p:nvPr/>
            </p:nvPicPr>
            <p:blipFill>
              <a:blip r:embed="rId11" cstate="email">
                <a:extLst>
                  <a:ext uri="{28A0092B-C50C-407E-A947-70E740481C1C}">
                    <a14:useLocalDpi xmlns:a14="http://schemas.microsoft.com/office/drawing/2010/main"/>
                  </a:ext>
                </a:extLst>
              </a:blip>
              <a:srcRect/>
              <a:stretch/>
            </p:blipFill>
            <p:spPr>
              <a:xfrm>
                <a:off x="705464" y="4473877"/>
                <a:ext cx="3308536" cy="1603982"/>
              </a:xfrm>
              <a:prstGeom prst="rect">
                <a:avLst/>
              </a:prstGeom>
              <a:effectLst>
                <a:outerShdw blurRad="63500" sx="102000" sy="102000" algn="ctr" rotWithShape="0">
                  <a:prstClr val="black">
                    <a:alpha val="40000"/>
                  </a:prstClr>
                </a:outerShdw>
              </a:effectLst>
            </p:spPr>
          </p:pic>
          <p:pic>
            <p:nvPicPr>
              <p:cNvPr id="77" name="Imagen 3">
                <a:extLst>
                  <a:ext uri="{FF2B5EF4-FFF2-40B4-BE49-F238E27FC236}">
                    <a16:creationId xmlns:a16="http://schemas.microsoft.com/office/drawing/2014/main" id="{FC5C424A-FE37-81EB-CE8D-38D6330C0CEB}"/>
                  </a:ext>
                </a:extLst>
              </p:cNvPr>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239695" y="5407091"/>
                <a:ext cx="3572803" cy="1908600"/>
              </a:xfrm>
              <a:prstGeom prst="rect">
                <a:avLst/>
              </a:prstGeom>
              <a:effectLst>
                <a:outerShdw blurRad="50800" dist="38100" dir="5400000" algn="t" rotWithShape="0">
                  <a:prstClr val="black">
                    <a:alpha val="40000"/>
                  </a:prstClr>
                </a:outerShdw>
              </a:effectLst>
            </p:spPr>
          </p:pic>
        </p:grpSp>
      </p:grpSp>
      <p:sp>
        <p:nvSpPr>
          <p:cNvPr id="47" name="Rectangle 46">
            <a:extLst>
              <a:ext uri="{FF2B5EF4-FFF2-40B4-BE49-F238E27FC236}">
                <a16:creationId xmlns:a16="http://schemas.microsoft.com/office/drawing/2014/main" id="{A8E39E69-ACC6-FAFC-8EF1-F84AEFBB3704}"/>
              </a:ext>
            </a:extLst>
          </p:cNvPr>
          <p:cNvSpPr/>
          <p:nvPr/>
        </p:nvSpPr>
        <p:spPr>
          <a:xfrm>
            <a:off x="12039553" y="6057824"/>
            <a:ext cx="6002747" cy="3867226"/>
          </a:xfrm>
          <a:prstGeom prst="rect">
            <a:avLst/>
          </a:prstGeom>
          <a:solidFill>
            <a:schemeClr val="bg1">
              <a:alpha val="35000"/>
            </a:schemeClr>
          </a:solidFill>
          <a:ln>
            <a:noFill/>
          </a:ln>
          <a:effectLst>
            <a:softEdge rad="3175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828800"/>
            <a:endParaRPr lang="es-ES" sz="2800" noProof="0">
              <a:solidFill>
                <a:srgbClr val="FFFFFF"/>
              </a:solidFill>
              <a:latin typeface="Montserrat" panose="00000500000000000000" pitchFamily="2" charset="0"/>
            </a:endParaRPr>
          </a:p>
        </p:txBody>
      </p:sp>
      <p:sp>
        <p:nvSpPr>
          <p:cNvPr id="58" name="Rectangle 57">
            <a:extLst>
              <a:ext uri="{FF2B5EF4-FFF2-40B4-BE49-F238E27FC236}">
                <a16:creationId xmlns:a16="http://schemas.microsoft.com/office/drawing/2014/main" id="{14B8ADCD-522A-6D73-AE01-6E2A3E898D63}"/>
              </a:ext>
            </a:extLst>
          </p:cNvPr>
          <p:cNvSpPr/>
          <p:nvPr/>
        </p:nvSpPr>
        <p:spPr>
          <a:xfrm>
            <a:off x="4806508" y="5523276"/>
            <a:ext cx="7050644" cy="4759861"/>
          </a:xfrm>
          <a:prstGeom prst="rect">
            <a:avLst/>
          </a:prstGeom>
          <a:solidFill>
            <a:schemeClr val="bg1">
              <a:alpha val="35000"/>
            </a:schemeClr>
          </a:solidFill>
          <a:ln>
            <a:noFill/>
          </a:ln>
          <a:effectLst>
            <a:softEdge rad="3175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828800"/>
            <a:endParaRPr lang="es-ES" sz="2800" noProof="0">
              <a:solidFill>
                <a:srgbClr val="FFFFFF"/>
              </a:solidFill>
              <a:latin typeface="Montserrat" panose="00000500000000000000" pitchFamily="2" charset="0"/>
            </a:endParaRPr>
          </a:p>
        </p:txBody>
      </p:sp>
      <p:sp>
        <p:nvSpPr>
          <p:cNvPr id="63" name="Rectangle 62">
            <a:extLst>
              <a:ext uri="{FF2B5EF4-FFF2-40B4-BE49-F238E27FC236}">
                <a16:creationId xmlns:a16="http://schemas.microsoft.com/office/drawing/2014/main" id="{8C05FDD3-5C0C-DB94-95E1-A6015C4D0655}"/>
              </a:ext>
            </a:extLst>
          </p:cNvPr>
          <p:cNvSpPr/>
          <p:nvPr/>
        </p:nvSpPr>
        <p:spPr>
          <a:xfrm>
            <a:off x="46261" y="2510363"/>
            <a:ext cx="5218474" cy="4759861"/>
          </a:xfrm>
          <a:prstGeom prst="rect">
            <a:avLst/>
          </a:prstGeom>
          <a:solidFill>
            <a:schemeClr val="bg1">
              <a:alpha val="35000"/>
            </a:schemeClr>
          </a:solidFill>
          <a:ln>
            <a:noFill/>
          </a:ln>
          <a:effectLst>
            <a:softEdge rad="3175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828800"/>
            <a:endParaRPr lang="es-ES" sz="2800" noProof="0">
              <a:solidFill>
                <a:srgbClr val="FFFFFF"/>
              </a:solidFill>
              <a:latin typeface="Montserrat" panose="00000500000000000000" pitchFamily="2" charset="0"/>
            </a:endParaRPr>
          </a:p>
        </p:txBody>
      </p:sp>
      <p:sp>
        <p:nvSpPr>
          <p:cNvPr id="3" name="Google Shape;1036;p29">
            <a:extLst>
              <a:ext uri="{FF2B5EF4-FFF2-40B4-BE49-F238E27FC236}">
                <a16:creationId xmlns:a16="http://schemas.microsoft.com/office/drawing/2014/main" id="{55861FF6-427E-C930-DE04-8CF5D3589E9E}"/>
              </a:ext>
            </a:extLst>
          </p:cNvPr>
          <p:cNvSpPr txBox="1"/>
          <p:nvPr/>
        </p:nvSpPr>
        <p:spPr>
          <a:xfrm rot="1485693">
            <a:off x="13941784" y="908044"/>
            <a:ext cx="2876810" cy="453183"/>
          </a:xfrm>
          <a:prstGeom prst="rect">
            <a:avLst/>
          </a:prstGeom>
          <a:solidFill>
            <a:srgbClr val="6800FF"/>
          </a:solidFill>
          <a:ln w="9525" cap="flat" cmpd="sng">
            <a:noFill/>
            <a:prstDash val="solid"/>
            <a:round/>
            <a:headEnd type="none" w="sm" len="sm"/>
            <a:tailEnd type="none" w="sm" len="sm"/>
          </a:ln>
        </p:spPr>
        <p:txBody>
          <a:bodyPr spcFirstLastPara="1" wrap="square" lIns="0" tIns="72000" rIns="0" bIns="7200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defTabSz="1828800"/>
            <a:r>
              <a:rPr lang="es-ES" sz="2000" b="1" noProof="0">
                <a:solidFill>
                  <a:srgbClr val="FFFFFF"/>
                </a:solidFill>
                <a:latin typeface="Montserrat Bold"/>
              </a:rPr>
              <a:t>ILLUSTRATIVE</a:t>
            </a:r>
            <a:endParaRPr lang="es-ES" sz="1100" noProof="0">
              <a:latin typeface="Montserrat Bold"/>
            </a:endParaRPr>
          </a:p>
        </p:txBody>
      </p:sp>
    </p:spTree>
    <p:extLst>
      <p:ext uri="{BB962C8B-B14F-4D97-AF65-F5344CB8AC3E}">
        <p14:creationId xmlns:p14="http://schemas.microsoft.com/office/powerpoint/2010/main" val="4571856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A6D6B5-D372-722E-EADD-9DBDC1F3FD4C}"/>
              </a:ext>
            </a:extLst>
          </p:cNvPr>
          <p:cNvSpPr>
            <a:spLocks noGrp="1"/>
          </p:cNvSpPr>
          <p:nvPr>
            <p:ph type="title" idx="4294967295"/>
          </p:nvPr>
        </p:nvSpPr>
        <p:spPr>
          <a:xfrm>
            <a:off x="1080599" y="1042450"/>
            <a:ext cx="12073425" cy="1145400"/>
          </a:xfrm>
        </p:spPr>
        <p:txBody>
          <a:bodyPr/>
          <a:lstStyle/>
          <a:p>
            <a:r>
              <a:rPr lang="es-ES" noProof="0"/>
              <a:t>Business </a:t>
            </a:r>
            <a:r>
              <a:rPr lang="es-ES" noProof="0" err="1"/>
              <a:t>Driven</a:t>
            </a:r>
            <a:r>
              <a:rPr lang="es-ES" noProof="0"/>
              <a:t> </a:t>
            </a:r>
            <a:r>
              <a:rPr lang="es-ES" noProof="0" err="1"/>
              <a:t>Architecture</a:t>
            </a:r>
            <a:br>
              <a:rPr lang="es-ES" noProof="0"/>
            </a:br>
            <a:r>
              <a:rPr lang="es-ES" sz="2800" noProof="0">
                <a:solidFill>
                  <a:srgbClr val="6800FF"/>
                </a:solidFill>
              </a:rPr>
              <a:t>ARCHITECTURE ADVISORY SERVICES </a:t>
            </a:r>
            <a:r>
              <a:rPr lang="es-ES" sz="2800" noProof="0">
                <a:solidFill>
                  <a:schemeClr val="bg1"/>
                </a:solidFill>
              </a:rPr>
              <a:t>– </a:t>
            </a:r>
            <a:r>
              <a:rPr lang="es-ES" sz="2400" noProof="0">
                <a:solidFill>
                  <a:schemeClr val="bg1"/>
                </a:solidFill>
              </a:rPr>
              <a:t>DELIVERABLES EXAMPLES</a:t>
            </a:r>
            <a:endParaRPr lang="es-ES" noProof="0">
              <a:solidFill>
                <a:schemeClr val="bg1"/>
              </a:solidFill>
            </a:endParaRPr>
          </a:p>
        </p:txBody>
      </p:sp>
      <p:sp>
        <p:nvSpPr>
          <p:cNvPr id="4" name="Subtitle 3">
            <a:extLst>
              <a:ext uri="{FF2B5EF4-FFF2-40B4-BE49-F238E27FC236}">
                <a16:creationId xmlns:a16="http://schemas.microsoft.com/office/drawing/2014/main" id="{786DD985-43B3-EE2E-762F-7E4AFA325B98}"/>
              </a:ext>
            </a:extLst>
          </p:cNvPr>
          <p:cNvSpPr>
            <a:spLocks noGrp="1"/>
          </p:cNvSpPr>
          <p:nvPr>
            <p:ph type="subTitle" idx="4294967295"/>
          </p:nvPr>
        </p:nvSpPr>
        <p:spPr>
          <a:xfrm>
            <a:off x="7848600" y="8568450"/>
            <a:ext cx="10193700" cy="1585200"/>
          </a:xfrm>
        </p:spPr>
        <p:txBody>
          <a:bodyPr/>
          <a:lstStyle/>
          <a:p>
            <a:r>
              <a:rPr lang="es-ES" noProof="0"/>
              <a:t>RECOMMEND ARCHITECTURE PATHS, DO’S AND DON’TS BASED ON EXECUTIVE EXPERIENCES</a:t>
            </a:r>
          </a:p>
        </p:txBody>
      </p:sp>
      <p:grpSp>
        <p:nvGrpSpPr>
          <p:cNvPr id="133" name="Group 132">
            <a:extLst>
              <a:ext uri="{FF2B5EF4-FFF2-40B4-BE49-F238E27FC236}">
                <a16:creationId xmlns:a16="http://schemas.microsoft.com/office/drawing/2014/main" id="{DD35991B-73D7-9080-815C-AFC3AE1C36B4}"/>
              </a:ext>
            </a:extLst>
          </p:cNvPr>
          <p:cNvGrpSpPr/>
          <p:nvPr/>
        </p:nvGrpSpPr>
        <p:grpSpPr>
          <a:xfrm>
            <a:off x="2875141" y="2805099"/>
            <a:ext cx="12537719" cy="6172749"/>
            <a:chOff x="2702282" y="3071800"/>
            <a:chExt cx="11811703" cy="5128099"/>
          </a:xfrm>
        </p:grpSpPr>
        <p:pic>
          <p:nvPicPr>
            <p:cNvPr id="113" name="Picture 112">
              <a:extLst>
                <a:ext uri="{FF2B5EF4-FFF2-40B4-BE49-F238E27FC236}">
                  <a16:creationId xmlns:a16="http://schemas.microsoft.com/office/drawing/2014/main" id="{18D5FCFD-481E-4302-865B-BFFCBBDD985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89176" y="3071800"/>
              <a:ext cx="3617379" cy="1692000"/>
            </a:xfrm>
            <a:prstGeom prst="rect">
              <a:avLst/>
            </a:prstGeom>
            <a:effectLst>
              <a:outerShdw blurRad="50800" dist="38100" dir="5400000" algn="t" rotWithShape="0">
                <a:prstClr val="black">
                  <a:alpha val="40000"/>
                </a:prstClr>
              </a:outerShdw>
            </a:effectLst>
          </p:spPr>
        </p:pic>
        <p:pic>
          <p:nvPicPr>
            <p:cNvPr id="114" name="Picture 113">
              <a:extLst>
                <a:ext uri="{FF2B5EF4-FFF2-40B4-BE49-F238E27FC236}">
                  <a16:creationId xmlns:a16="http://schemas.microsoft.com/office/drawing/2014/main" id="{2B82D694-5FA3-765F-1788-8D819BBC7C3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090366" y="6027096"/>
              <a:ext cx="2379747" cy="1692000"/>
            </a:xfrm>
            <a:prstGeom prst="rect">
              <a:avLst/>
            </a:prstGeom>
            <a:effectLst>
              <a:outerShdw blurRad="50800" dist="38100" dir="5400000" algn="t" rotWithShape="0">
                <a:prstClr val="black">
                  <a:alpha val="40000"/>
                </a:prstClr>
              </a:outerShdw>
            </a:effectLst>
          </p:spPr>
        </p:pic>
        <p:sp>
          <p:nvSpPr>
            <p:cNvPr id="116" name="CuadroTexto 15">
              <a:extLst>
                <a:ext uri="{FF2B5EF4-FFF2-40B4-BE49-F238E27FC236}">
                  <a16:creationId xmlns:a16="http://schemas.microsoft.com/office/drawing/2014/main" id="{21CAF3BF-4F2C-E935-AD7C-D13582520B11}"/>
                </a:ext>
              </a:extLst>
            </p:cNvPr>
            <p:cNvSpPr txBox="1"/>
            <p:nvPr/>
          </p:nvSpPr>
          <p:spPr>
            <a:xfrm>
              <a:off x="2702282" y="3212910"/>
              <a:ext cx="4215745" cy="276999"/>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rtlCol="0">
              <a:spAutoFit/>
            </a:bodyPr>
            <a:lstStyle/>
            <a:p>
              <a:pPr algn="ctr"/>
              <a:r>
                <a:rPr lang="es-ES" sz="1200" b="1" noProof="0">
                  <a:solidFill>
                    <a:schemeClr val="bg1"/>
                  </a:solidFill>
                  <a:latin typeface="Montserrat" panose="00000500000000000000" pitchFamily="2" charset="0"/>
                </a:rPr>
                <a:t>Corporate </a:t>
              </a:r>
              <a:r>
                <a:rPr lang="es-ES" sz="1200" b="1" noProof="0" err="1">
                  <a:solidFill>
                    <a:schemeClr val="bg1"/>
                  </a:solidFill>
                  <a:latin typeface="Montserrat" panose="00000500000000000000" pitchFamily="2" charset="0"/>
                </a:rPr>
                <a:t>Strategy</a:t>
              </a:r>
              <a:r>
                <a:rPr lang="es-ES" sz="1200" b="1" noProof="0">
                  <a:solidFill>
                    <a:schemeClr val="bg1"/>
                  </a:solidFill>
                  <a:latin typeface="Montserrat" panose="00000500000000000000" pitchFamily="2" charset="0"/>
                </a:rPr>
                <a:t> </a:t>
              </a:r>
              <a:r>
                <a:rPr lang="es-ES" sz="1200" b="1" noProof="0" err="1">
                  <a:solidFill>
                    <a:schemeClr val="bg1"/>
                  </a:solidFill>
                  <a:latin typeface="Montserrat" panose="00000500000000000000" pitchFamily="2" charset="0"/>
                </a:rPr>
                <a:t>leveraging</a:t>
              </a:r>
              <a:r>
                <a:rPr lang="es-ES" sz="1200" b="1" noProof="0">
                  <a:solidFill>
                    <a:schemeClr val="bg1"/>
                  </a:solidFill>
                  <a:latin typeface="Montserrat" panose="00000500000000000000" pitchFamily="2" charset="0"/>
                </a:rPr>
                <a:t> </a:t>
              </a:r>
              <a:r>
                <a:rPr lang="es-ES" sz="1200" b="1" noProof="0" err="1">
                  <a:solidFill>
                    <a:schemeClr val="bg1"/>
                  </a:solidFill>
                  <a:latin typeface="Montserrat" panose="00000500000000000000" pitchFamily="2" charset="0"/>
                </a:rPr>
                <a:t>Technology</a:t>
              </a:r>
              <a:endParaRPr lang="es-ES" sz="1200" b="1" noProof="0">
                <a:solidFill>
                  <a:schemeClr val="bg1"/>
                </a:solidFill>
                <a:latin typeface="Montserrat" panose="00000500000000000000" pitchFamily="2" charset="0"/>
              </a:endParaRPr>
            </a:p>
          </p:txBody>
        </p:sp>
        <p:pic>
          <p:nvPicPr>
            <p:cNvPr id="117" name="Picture 116">
              <a:extLst>
                <a:ext uri="{FF2B5EF4-FFF2-40B4-BE49-F238E27FC236}">
                  <a16:creationId xmlns:a16="http://schemas.microsoft.com/office/drawing/2014/main" id="{69AF7E7C-ECE9-D5F5-D32B-3601BC7276D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671216" y="6449483"/>
              <a:ext cx="3008000" cy="1692000"/>
            </a:xfrm>
            <a:prstGeom prst="rect">
              <a:avLst/>
            </a:prstGeom>
            <a:effectLst>
              <a:outerShdw blurRad="50800" dist="38100" dir="5400000" algn="t" rotWithShape="0">
                <a:prstClr val="black">
                  <a:alpha val="40000"/>
                </a:prstClr>
              </a:outerShdw>
            </a:effectLst>
          </p:spPr>
        </p:pic>
        <p:grpSp>
          <p:nvGrpSpPr>
            <p:cNvPr id="118" name="Group 117">
              <a:extLst>
                <a:ext uri="{FF2B5EF4-FFF2-40B4-BE49-F238E27FC236}">
                  <a16:creationId xmlns:a16="http://schemas.microsoft.com/office/drawing/2014/main" id="{C1A54035-A7BD-05A4-C408-B976AA04E3CD}"/>
                </a:ext>
              </a:extLst>
            </p:cNvPr>
            <p:cNvGrpSpPr/>
            <p:nvPr/>
          </p:nvGrpSpPr>
          <p:grpSpPr>
            <a:xfrm>
              <a:off x="8768466" y="4340233"/>
              <a:ext cx="3439587" cy="1912708"/>
              <a:chOff x="3649110" y="1392764"/>
              <a:chExt cx="3439587" cy="1912708"/>
            </a:xfrm>
          </p:grpSpPr>
          <p:pic>
            <p:nvPicPr>
              <p:cNvPr id="119" name="Picture 118">
                <a:extLst>
                  <a:ext uri="{FF2B5EF4-FFF2-40B4-BE49-F238E27FC236}">
                    <a16:creationId xmlns:a16="http://schemas.microsoft.com/office/drawing/2014/main" id="{F3B60CA8-7983-4033-927F-0ACA7969663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649110" y="1613472"/>
                <a:ext cx="3268438" cy="1692000"/>
              </a:xfrm>
              <a:prstGeom prst="rect">
                <a:avLst/>
              </a:prstGeom>
              <a:effectLst>
                <a:outerShdw blurRad="50800" dist="38100" dir="5400000" algn="t" rotWithShape="0">
                  <a:prstClr val="black">
                    <a:alpha val="40000"/>
                  </a:prstClr>
                </a:outerShdw>
              </a:effectLst>
            </p:spPr>
          </p:pic>
          <p:sp>
            <p:nvSpPr>
              <p:cNvPr id="120" name="Rectangle 119">
                <a:extLst>
                  <a:ext uri="{FF2B5EF4-FFF2-40B4-BE49-F238E27FC236}">
                    <a16:creationId xmlns:a16="http://schemas.microsoft.com/office/drawing/2014/main" id="{DFAF8D09-37F5-8C50-2CE0-FD2A095ED0FB}"/>
                  </a:ext>
                </a:extLst>
              </p:cNvPr>
              <p:cNvSpPr/>
              <p:nvPr/>
            </p:nvSpPr>
            <p:spPr>
              <a:xfrm>
                <a:off x="6644081" y="1392764"/>
                <a:ext cx="444616" cy="5433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noProof="0">
                  <a:solidFill>
                    <a:schemeClr val="bg1"/>
                  </a:solidFill>
                  <a:latin typeface="Montserrat" panose="00000500000000000000" pitchFamily="2" charset="0"/>
                </a:endParaRPr>
              </a:p>
            </p:txBody>
          </p:sp>
        </p:grpSp>
        <p:grpSp>
          <p:nvGrpSpPr>
            <p:cNvPr id="121" name="Group 120">
              <a:extLst>
                <a:ext uri="{FF2B5EF4-FFF2-40B4-BE49-F238E27FC236}">
                  <a16:creationId xmlns:a16="http://schemas.microsoft.com/office/drawing/2014/main" id="{271180C2-347C-34F6-2C45-F04BB79DD433}"/>
                </a:ext>
              </a:extLst>
            </p:cNvPr>
            <p:cNvGrpSpPr/>
            <p:nvPr/>
          </p:nvGrpSpPr>
          <p:grpSpPr>
            <a:xfrm>
              <a:off x="10125477" y="5810017"/>
              <a:ext cx="3380139" cy="2014690"/>
              <a:chOff x="3767141" y="1902828"/>
              <a:chExt cx="3380139" cy="2014690"/>
            </a:xfrm>
          </p:grpSpPr>
          <p:pic>
            <p:nvPicPr>
              <p:cNvPr id="122" name="Picture 121">
                <a:extLst>
                  <a:ext uri="{FF2B5EF4-FFF2-40B4-BE49-F238E27FC236}">
                    <a16:creationId xmlns:a16="http://schemas.microsoft.com/office/drawing/2014/main" id="{7B03D3BB-02AD-650B-4EE6-C4B4091FF253}"/>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767141" y="2225518"/>
                <a:ext cx="3157831" cy="1692000"/>
              </a:xfrm>
              <a:prstGeom prst="rect">
                <a:avLst/>
              </a:prstGeom>
              <a:effectLst>
                <a:outerShdw blurRad="50800" dist="38100" dir="5400000" algn="t" rotWithShape="0">
                  <a:prstClr val="black">
                    <a:alpha val="40000"/>
                  </a:prstClr>
                </a:outerShdw>
              </a:effectLst>
            </p:spPr>
          </p:pic>
          <p:sp>
            <p:nvSpPr>
              <p:cNvPr id="123" name="Rectangle 122">
                <a:extLst>
                  <a:ext uri="{FF2B5EF4-FFF2-40B4-BE49-F238E27FC236}">
                    <a16:creationId xmlns:a16="http://schemas.microsoft.com/office/drawing/2014/main" id="{B21A00CA-41C7-81F7-5D1B-243136626C83}"/>
                  </a:ext>
                </a:extLst>
              </p:cNvPr>
              <p:cNvSpPr/>
              <p:nvPr/>
            </p:nvSpPr>
            <p:spPr>
              <a:xfrm>
                <a:off x="6702664" y="1902828"/>
                <a:ext cx="444616" cy="5433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noProof="0">
                  <a:solidFill>
                    <a:schemeClr val="bg1"/>
                  </a:solidFill>
                  <a:latin typeface="Montserrat" panose="00000500000000000000" pitchFamily="2" charset="0"/>
                </a:endParaRPr>
              </a:p>
            </p:txBody>
          </p:sp>
        </p:grpSp>
        <p:pic>
          <p:nvPicPr>
            <p:cNvPr id="124" name="Picture 123">
              <a:extLst>
                <a:ext uri="{FF2B5EF4-FFF2-40B4-BE49-F238E27FC236}">
                  <a16:creationId xmlns:a16="http://schemas.microsoft.com/office/drawing/2014/main" id="{C7DCD07E-C2DF-5F36-B707-519B5FFA7E6D}"/>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999131" y="4815899"/>
              <a:ext cx="3436875" cy="1692000"/>
            </a:xfrm>
            <a:prstGeom prst="rect">
              <a:avLst/>
            </a:prstGeom>
            <a:effectLst>
              <a:outerShdw blurRad="50800" dist="38100" dir="5400000" algn="t" rotWithShape="0">
                <a:prstClr val="black">
                  <a:alpha val="40000"/>
                </a:prstClr>
              </a:outerShdw>
            </a:effectLst>
          </p:spPr>
        </p:pic>
        <p:pic>
          <p:nvPicPr>
            <p:cNvPr id="125" name="Picture 124">
              <a:extLst>
                <a:ext uri="{FF2B5EF4-FFF2-40B4-BE49-F238E27FC236}">
                  <a16:creationId xmlns:a16="http://schemas.microsoft.com/office/drawing/2014/main" id="{E58DC2E0-BD28-778B-C98D-C8223C6BFF5B}"/>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742822" y="3605853"/>
              <a:ext cx="2473764" cy="1692000"/>
            </a:xfrm>
            <a:prstGeom prst="rect">
              <a:avLst/>
            </a:prstGeom>
            <a:effectLst>
              <a:outerShdw blurRad="50800" dist="38100" dir="5400000" algn="t" rotWithShape="0">
                <a:prstClr val="black">
                  <a:alpha val="40000"/>
                </a:prstClr>
              </a:outerShdw>
            </a:effectLst>
          </p:spPr>
        </p:pic>
        <p:pic>
          <p:nvPicPr>
            <p:cNvPr id="126" name="Picture 125">
              <a:extLst>
                <a:ext uri="{FF2B5EF4-FFF2-40B4-BE49-F238E27FC236}">
                  <a16:creationId xmlns:a16="http://schemas.microsoft.com/office/drawing/2014/main" id="{39225942-02F6-86E2-B7EF-52D7A0102B6A}"/>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8160638" y="6507899"/>
              <a:ext cx="3082005" cy="1692000"/>
            </a:xfrm>
            <a:prstGeom prst="rect">
              <a:avLst/>
            </a:prstGeom>
            <a:effectLst>
              <a:outerShdw blurRad="50800" dist="38100" dir="5400000" algn="t" rotWithShape="0">
                <a:prstClr val="black">
                  <a:alpha val="40000"/>
                </a:prstClr>
              </a:outerShdw>
            </a:effectLst>
          </p:spPr>
        </p:pic>
        <p:pic>
          <p:nvPicPr>
            <p:cNvPr id="127" name="Picture 126">
              <a:extLst>
                <a:ext uri="{FF2B5EF4-FFF2-40B4-BE49-F238E27FC236}">
                  <a16:creationId xmlns:a16="http://schemas.microsoft.com/office/drawing/2014/main" id="{3D2D9CFD-8DEC-2FA5-377E-CEA28FE30EE5}"/>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3679412" y="3861319"/>
              <a:ext cx="4257291" cy="1692000"/>
            </a:xfrm>
            <a:prstGeom prst="rect">
              <a:avLst/>
            </a:prstGeom>
            <a:effectLst>
              <a:outerShdw blurRad="50800" dist="38100" dir="5400000" algn="t" rotWithShape="0">
                <a:prstClr val="black">
                  <a:alpha val="40000"/>
                </a:prstClr>
              </a:outerShdw>
            </a:effectLst>
          </p:spPr>
        </p:pic>
        <p:pic>
          <p:nvPicPr>
            <p:cNvPr id="128" name="Picture 127">
              <a:extLst>
                <a:ext uri="{FF2B5EF4-FFF2-40B4-BE49-F238E27FC236}">
                  <a16:creationId xmlns:a16="http://schemas.microsoft.com/office/drawing/2014/main" id="{3D480961-7423-B355-7A38-5391E145C23A}"/>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4376945" y="4201814"/>
              <a:ext cx="3302271" cy="1692000"/>
            </a:xfrm>
            <a:prstGeom prst="rect">
              <a:avLst/>
            </a:prstGeom>
            <a:effectLst>
              <a:outerShdw blurRad="50800" dist="38100" dir="5400000" algn="t" rotWithShape="0">
                <a:prstClr val="black">
                  <a:alpha val="40000"/>
                </a:prstClr>
              </a:outerShdw>
            </a:effectLst>
          </p:spPr>
        </p:pic>
        <p:pic>
          <p:nvPicPr>
            <p:cNvPr id="129" name="Picture 128">
              <a:extLst>
                <a:ext uri="{FF2B5EF4-FFF2-40B4-BE49-F238E27FC236}">
                  <a16:creationId xmlns:a16="http://schemas.microsoft.com/office/drawing/2014/main" id="{2AE13887-CE29-C788-8DDF-67B2CAA018AC}"/>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5022850" y="4675591"/>
              <a:ext cx="3864476" cy="1692000"/>
            </a:xfrm>
            <a:prstGeom prst="rect">
              <a:avLst/>
            </a:prstGeom>
            <a:effectLst>
              <a:outerShdw blurRad="50800" dist="38100" dir="5400000" algn="t" rotWithShape="0">
                <a:prstClr val="black">
                  <a:alpha val="40000"/>
                </a:prstClr>
              </a:outerShdw>
            </a:effectLst>
          </p:spPr>
        </p:pic>
        <p:pic>
          <p:nvPicPr>
            <p:cNvPr id="130" name="Picture 129">
              <a:extLst>
                <a:ext uri="{FF2B5EF4-FFF2-40B4-BE49-F238E27FC236}">
                  <a16:creationId xmlns:a16="http://schemas.microsoft.com/office/drawing/2014/main" id="{631C106D-1C4A-0AFE-DFE3-170A64A82ADF}"/>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5774080" y="5233332"/>
              <a:ext cx="4412238" cy="1692000"/>
            </a:xfrm>
            <a:prstGeom prst="rect">
              <a:avLst/>
            </a:prstGeom>
            <a:effectLst>
              <a:outerShdw blurRad="50800" dist="38100" dir="5400000" algn="t" rotWithShape="0">
                <a:prstClr val="black">
                  <a:alpha val="40000"/>
                </a:prstClr>
              </a:outerShdw>
            </a:effectLst>
          </p:spPr>
        </p:pic>
        <p:pic>
          <p:nvPicPr>
            <p:cNvPr id="131" name="Picture 130">
              <a:extLst>
                <a:ext uri="{FF2B5EF4-FFF2-40B4-BE49-F238E27FC236}">
                  <a16:creationId xmlns:a16="http://schemas.microsoft.com/office/drawing/2014/main" id="{E32BEDB4-067E-6A06-BC74-63C498BBDD19}"/>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10877704" y="3465983"/>
              <a:ext cx="2813321" cy="1692000"/>
            </a:xfrm>
            <a:prstGeom prst="rect">
              <a:avLst/>
            </a:prstGeom>
            <a:effectLst>
              <a:outerShdw blurRad="50800" dist="38100" dir="5400000" algn="t" rotWithShape="0">
                <a:prstClr val="black">
                  <a:alpha val="40000"/>
                </a:prstClr>
              </a:outerShdw>
            </a:effectLst>
          </p:spPr>
        </p:pic>
        <p:sp>
          <p:nvSpPr>
            <p:cNvPr id="132" name="CuadroTexto 15">
              <a:extLst>
                <a:ext uri="{FF2B5EF4-FFF2-40B4-BE49-F238E27FC236}">
                  <a16:creationId xmlns:a16="http://schemas.microsoft.com/office/drawing/2014/main" id="{212DBC97-96F6-AC5E-0641-836FDBEB8501}"/>
                </a:ext>
              </a:extLst>
            </p:cNvPr>
            <p:cNvSpPr txBox="1"/>
            <p:nvPr/>
          </p:nvSpPr>
          <p:spPr>
            <a:xfrm>
              <a:off x="10896606" y="3097898"/>
              <a:ext cx="3617379" cy="276999"/>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rtlCol="0">
              <a:spAutoFit/>
            </a:bodyPr>
            <a:lstStyle/>
            <a:p>
              <a:pPr algn="ctr"/>
              <a:r>
                <a:rPr lang="es-ES" sz="1200" b="1" noProof="0">
                  <a:solidFill>
                    <a:schemeClr val="bg1"/>
                  </a:solidFill>
                  <a:latin typeface="Montserrat" panose="00000500000000000000" pitchFamily="2" charset="0"/>
                </a:rPr>
                <a:t>New Business </a:t>
              </a:r>
              <a:r>
                <a:rPr lang="es-ES" sz="1200" b="1" noProof="0" err="1">
                  <a:solidFill>
                    <a:schemeClr val="bg1"/>
                  </a:solidFill>
                  <a:latin typeface="Montserrat" panose="00000500000000000000" pitchFamily="2" charset="0"/>
                </a:rPr>
                <a:t>Models</a:t>
              </a:r>
              <a:endParaRPr lang="es-ES" sz="1200" b="1" noProof="0">
                <a:solidFill>
                  <a:schemeClr val="bg1"/>
                </a:solidFill>
                <a:latin typeface="Montserrat" panose="00000500000000000000" pitchFamily="2" charset="0"/>
              </a:endParaRPr>
            </a:p>
          </p:txBody>
        </p:sp>
      </p:grpSp>
      <p:sp>
        <p:nvSpPr>
          <p:cNvPr id="53" name="Rectangle 52">
            <a:extLst>
              <a:ext uri="{FF2B5EF4-FFF2-40B4-BE49-F238E27FC236}">
                <a16:creationId xmlns:a16="http://schemas.microsoft.com/office/drawing/2014/main" id="{A92BBE92-D3CF-7D0D-6925-1D6F8416109F}"/>
              </a:ext>
            </a:extLst>
          </p:cNvPr>
          <p:cNvSpPr/>
          <p:nvPr/>
        </p:nvSpPr>
        <p:spPr>
          <a:xfrm>
            <a:off x="2257425" y="2329991"/>
            <a:ext cx="13582649" cy="7128334"/>
          </a:xfrm>
          <a:prstGeom prst="rect">
            <a:avLst/>
          </a:prstGeom>
          <a:solidFill>
            <a:schemeClr val="bg1">
              <a:alpha val="35000"/>
            </a:schemeClr>
          </a:solidFill>
          <a:ln>
            <a:noFill/>
          </a:ln>
          <a:effectLst>
            <a:softEdge rad="3175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828800"/>
            <a:endParaRPr lang="es-ES" sz="2800" noProof="0">
              <a:solidFill>
                <a:srgbClr val="FFFFFF"/>
              </a:solidFill>
              <a:latin typeface="Montserrat" panose="00000500000000000000" pitchFamily="2" charset="0"/>
            </a:endParaRPr>
          </a:p>
        </p:txBody>
      </p:sp>
      <p:sp>
        <p:nvSpPr>
          <p:cNvPr id="3" name="Google Shape;1036;p29">
            <a:extLst>
              <a:ext uri="{FF2B5EF4-FFF2-40B4-BE49-F238E27FC236}">
                <a16:creationId xmlns:a16="http://schemas.microsoft.com/office/drawing/2014/main" id="{55861FF6-427E-C930-DE04-8CF5D3589E9E}"/>
              </a:ext>
            </a:extLst>
          </p:cNvPr>
          <p:cNvSpPr txBox="1"/>
          <p:nvPr/>
        </p:nvSpPr>
        <p:spPr>
          <a:xfrm rot="1485693">
            <a:off x="13941784" y="908044"/>
            <a:ext cx="2876810" cy="453183"/>
          </a:xfrm>
          <a:prstGeom prst="rect">
            <a:avLst/>
          </a:prstGeom>
          <a:solidFill>
            <a:srgbClr val="6800FF"/>
          </a:solidFill>
          <a:ln w="9525" cap="flat" cmpd="sng">
            <a:noFill/>
            <a:prstDash val="solid"/>
            <a:round/>
            <a:headEnd type="none" w="sm" len="sm"/>
            <a:tailEnd type="none" w="sm" len="sm"/>
          </a:ln>
        </p:spPr>
        <p:txBody>
          <a:bodyPr spcFirstLastPara="1" wrap="square" lIns="0" tIns="72000" rIns="0" bIns="7200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defTabSz="1828800"/>
            <a:r>
              <a:rPr lang="es-ES" sz="2000" b="1" noProof="0">
                <a:solidFill>
                  <a:srgbClr val="FFFFFF"/>
                </a:solidFill>
                <a:latin typeface="Montserrat Bold"/>
              </a:rPr>
              <a:t>ILLUSTRATIVE</a:t>
            </a:r>
            <a:endParaRPr lang="es-ES" sz="1100" noProof="0">
              <a:latin typeface="Montserrat Bold"/>
            </a:endParaRPr>
          </a:p>
        </p:txBody>
      </p:sp>
    </p:spTree>
    <p:extLst>
      <p:ext uri="{BB962C8B-B14F-4D97-AF65-F5344CB8AC3E}">
        <p14:creationId xmlns:p14="http://schemas.microsoft.com/office/powerpoint/2010/main" val="2533942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A6D6B5-D372-722E-EADD-9DBDC1F3FD4C}"/>
              </a:ext>
            </a:extLst>
          </p:cNvPr>
          <p:cNvSpPr>
            <a:spLocks noGrp="1"/>
          </p:cNvSpPr>
          <p:nvPr>
            <p:ph type="title" idx="4294967295"/>
          </p:nvPr>
        </p:nvSpPr>
        <p:spPr>
          <a:xfrm>
            <a:off x="1080600" y="1042450"/>
            <a:ext cx="11452858" cy="1145400"/>
          </a:xfrm>
        </p:spPr>
        <p:txBody>
          <a:bodyPr/>
          <a:lstStyle/>
          <a:p>
            <a:r>
              <a:rPr lang="es-ES" noProof="0"/>
              <a:t>Business </a:t>
            </a:r>
            <a:r>
              <a:rPr lang="es-ES" noProof="0" err="1"/>
              <a:t>Driven</a:t>
            </a:r>
            <a:r>
              <a:rPr lang="es-ES" noProof="0"/>
              <a:t> </a:t>
            </a:r>
            <a:r>
              <a:rPr lang="es-ES" noProof="0" err="1"/>
              <a:t>Architecture</a:t>
            </a:r>
            <a:br>
              <a:rPr lang="es-ES" noProof="0"/>
            </a:br>
            <a:r>
              <a:rPr lang="es-ES" sz="2800" noProof="0">
                <a:solidFill>
                  <a:srgbClr val="6800FF"/>
                </a:solidFill>
              </a:rPr>
              <a:t>PROTECT ORGANIZATION ASSETS </a:t>
            </a:r>
            <a:r>
              <a:rPr lang="es-ES" sz="2800" noProof="0">
                <a:solidFill>
                  <a:schemeClr val="bg1"/>
                </a:solidFill>
              </a:rPr>
              <a:t>– </a:t>
            </a:r>
            <a:r>
              <a:rPr lang="es-ES" sz="2400" noProof="0">
                <a:solidFill>
                  <a:schemeClr val="bg1"/>
                </a:solidFill>
              </a:rPr>
              <a:t>DELIVERABLES EXAMPLES</a:t>
            </a:r>
            <a:endParaRPr lang="es-ES" noProof="0">
              <a:solidFill>
                <a:schemeClr val="bg1"/>
              </a:solidFill>
            </a:endParaRPr>
          </a:p>
        </p:txBody>
      </p:sp>
      <p:sp>
        <p:nvSpPr>
          <p:cNvPr id="4" name="Subtitle 3">
            <a:extLst>
              <a:ext uri="{FF2B5EF4-FFF2-40B4-BE49-F238E27FC236}">
                <a16:creationId xmlns:a16="http://schemas.microsoft.com/office/drawing/2014/main" id="{786DD985-43B3-EE2E-762F-7E4AFA325B98}"/>
              </a:ext>
            </a:extLst>
          </p:cNvPr>
          <p:cNvSpPr>
            <a:spLocks noGrp="1"/>
          </p:cNvSpPr>
          <p:nvPr>
            <p:ph type="subTitle" idx="4294967295"/>
          </p:nvPr>
        </p:nvSpPr>
        <p:spPr>
          <a:xfrm>
            <a:off x="8731280" y="8568450"/>
            <a:ext cx="9263400" cy="1585200"/>
          </a:xfrm>
        </p:spPr>
        <p:txBody>
          <a:bodyPr/>
          <a:lstStyle/>
          <a:p>
            <a:r>
              <a:rPr lang="es-ES" noProof="0"/>
              <a:t>FOCUS ON SECURITY STRATEGY AND MAJOR IMPACTING INITIATIVES</a:t>
            </a:r>
          </a:p>
        </p:txBody>
      </p:sp>
      <p:grpSp>
        <p:nvGrpSpPr>
          <p:cNvPr id="66" name="Group 65">
            <a:extLst>
              <a:ext uri="{FF2B5EF4-FFF2-40B4-BE49-F238E27FC236}">
                <a16:creationId xmlns:a16="http://schemas.microsoft.com/office/drawing/2014/main" id="{9543D07A-402E-EA44-A197-07BA0BD1217C}"/>
              </a:ext>
            </a:extLst>
          </p:cNvPr>
          <p:cNvGrpSpPr/>
          <p:nvPr/>
        </p:nvGrpSpPr>
        <p:grpSpPr>
          <a:xfrm>
            <a:off x="4085770" y="2365833"/>
            <a:ext cx="10333683" cy="6878728"/>
            <a:chOff x="1002463" y="3079580"/>
            <a:chExt cx="6658787" cy="5882991"/>
          </a:xfrm>
        </p:grpSpPr>
        <p:sp>
          <p:nvSpPr>
            <p:cNvPr id="3" name="CuadroTexto 15">
              <a:extLst>
                <a:ext uri="{FF2B5EF4-FFF2-40B4-BE49-F238E27FC236}">
                  <a16:creationId xmlns:a16="http://schemas.microsoft.com/office/drawing/2014/main" id="{6DF98C40-5890-7876-6B72-436CD77CCBE3}"/>
                </a:ext>
              </a:extLst>
            </p:cNvPr>
            <p:cNvSpPr txBox="1"/>
            <p:nvPr/>
          </p:nvSpPr>
          <p:spPr>
            <a:xfrm>
              <a:off x="2009265" y="3079580"/>
              <a:ext cx="4645182" cy="276999"/>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rtlCol="0">
              <a:spAutoFit/>
            </a:bodyPr>
            <a:lstStyle/>
            <a:p>
              <a:pPr algn="ctr"/>
              <a:r>
                <a:rPr lang="es-ES" sz="1200" b="1" noProof="0" err="1">
                  <a:solidFill>
                    <a:schemeClr val="bg1"/>
                  </a:solidFill>
                  <a:latin typeface="Montserrat" panose="00000500000000000000" pitchFamily="2" charset="0"/>
                </a:rPr>
                <a:t>Cybersecurity</a:t>
              </a:r>
              <a:r>
                <a:rPr lang="es-ES" sz="1200" b="1" noProof="0">
                  <a:solidFill>
                    <a:schemeClr val="bg1"/>
                  </a:solidFill>
                  <a:latin typeface="Montserrat" panose="00000500000000000000" pitchFamily="2" charset="0"/>
                </a:rPr>
                <a:t> </a:t>
              </a:r>
              <a:r>
                <a:rPr lang="es-ES" sz="1200" b="1" noProof="0" err="1">
                  <a:solidFill>
                    <a:schemeClr val="bg1"/>
                  </a:solidFill>
                  <a:latin typeface="Montserrat" panose="00000500000000000000" pitchFamily="2" charset="0"/>
                </a:rPr>
                <a:t>Strategy</a:t>
              </a:r>
              <a:r>
                <a:rPr lang="es-ES" sz="1200" b="1" noProof="0">
                  <a:solidFill>
                    <a:schemeClr val="bg1"/>
                  </a:solidFill>
                  <a:latin typeface="Montserrat" panose="00000500000000000000" pitchFamily="2" charset="0"/>
                </a:rPr>
                <a:t> and Enablement</a:t>
              </a:r>
            </a:p>
          </p:txBody>
        </p:sp>
        <p:grpSp>
          <p:nvGrpSpPr>
            <p:cNvPr id="65" name="Group 64">
              <a:extLst>
                <a:ext uri="{FF2B5EF4-FFF2-40B4-BE49-F238E27FC236}">
                  <a16:creationId xmlns:a16="http://schemas.microsoft.com/office/drawing/2014/main" id="{3C495CCE-11C0-F4DB-EA5D-8CBCE1F6BB2D}"/>
                </a:ext>
              </a:extLst>
            </p:cNvPr>
            <p:cNvGrpSpPr/>
            <p:nvPr/>
          </p:nvGrpSpPr>
          <p:grpSpPr>
            <a:xfrm>
              <a:off x="1002463" y="3513640"/>
              <a:ext cx="6658787" cy="5448931"/>
              <a:chOff x="1476470" y="3383012"/>
              <a:chExt cx="5010213" cy="4290510"/>
            </a:xfrm>
          </p:grpSpPr>
          <p:grpSp>
            <p:nvGrpSpPr>
              <p:cNvPr id="12" name="Group 11">
                <a:extLst>
                  <a:ext uri="{FF2B5EF4-FFF2-40B4-BE49-F238E27FC236}">
                    <a16:creationId xmlns:a16="http://schemas.microsoft.com/office/drawing/2014/main" id="{7EE0FE32-3EE0-44A5-0CF9-6F4B495F1117}"/>
                  </a:ext>
                </a:extLst>
              </p:cNvPr>
              <p:cNvGrpSpPr/>
              <p:nvPr/>
            </p:nvGrpSpPr>
            <p:grpSpPr>
              <a:xfrm>
                <a:off x="1476470" y="3383012"/>
                <a:ext cx="4854190" cy="2629337"/>
                <a:chOff x="-81480" y="1703045"/>
                <a:chExt cx="6944707" cy="3518883"/>
              </a:xfrm>
            </p:grpSpPr>
            <p:pic>
              <p:nvPicPr>
                <p:cNvPr id="29" name="Picture 28">
                  <a:extLst>
                    <a:ext uri="{FF2B5EF4-FFF2-40B4-BE49-F238E27FC236}">
                      <a16:creationId xmlns:a16="http://schemas.microsoft.com/office/drawing/2014/main" id="{49D98608-B9CC-A5BA-9B62-6E95629E9FD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23538" y="1807831"/>
                  <a:ext cx="4013461" cy="2257574"/>
                </a:xfrm>
                <a:prstGeom prst="rect">
                  <a:avLst/>
                </a:prstGeom>
                <a:effectLst>
                  <a:outerShdw blurRad="63500" sx="102000" sy="102000" algn="ctr" rotWithShape="0">
                    <a:prstClr val="black">
                      <a:alpha val="40000"/>
                    </a:prstClr>
                  </a:outerShdw>
                </a:effectLst>
              </p:spPr>
            </p:pic>
            <p:pic>
              <p:nvPicPr>
                <p:cNvPr id="30" name="Picture 29">
                  <a:extLst>
                    <a:ext uri="{FF2B5EF4-FFF2-40B4-BE49-F238E27FC236}">
                      <a16:creationId xmlns:a16="http://schemas.microsoft.com/office/drawing/2014/main" id="{99AC2FD8-5E53-6121-A4B5-F902912C7CC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535542" y="1703045"/>
                  <a:ext cx="3768694" cy="2119892"/>
                </a:xfrm>
                <a:prstGeom prst="rect">
                  <a:avLst/>
                </a:prstGeom>
                <a:effectLst>
                  <a:outerShdw blurRad="63500" sx="102000" sy="102000" algn="ctr" rotWithShape="0">
                    <a:prstClr val="black">
                      <a:alpha val="40000"/>
                    </a:prstClr>
                  </a:outerShdw>
                </a:effectLst>
              </p:spPr>
            </p:pic>
            <p:pic>
              <p:nvPicPr>
                <p:cNvPr id="31" name="Picture 30">
                  <a:extLst>
                    <a:ext uri="{FF2B5EF4-FFF2-40B4-BE49-F238E27FC236}">
                      <a16:creationId xmlns:a16="http://schemas.microsoft.com/office/drawing/2014/main" id="{2D6251B1-A82B-C7C8-4AF1-E939E15D3FE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849760" y="2615457"/>
                  <a:ext cx="4013467" cy="2257576"/>
                </a:xfrm>
                <a:prstGeom prst="rect">
                  <a:avLst/>
                </a:prstGeom>
                <a:effectLst>
                  <a:outerShdw blurRad="63500" sx="102000" sy="102000" algn="ctr" rotWithShape="0">
                    <a:prstClr val="black">
                      <a:alpha val="40000"/>
                    </a:prstClr>
                  </a:outerShdw>
                </a:effectLst>
              </p:spPr>
            </p:pic>
            <p:pic>
              <p:nvPicPr>
                <p:cNvPr id="32" name="Picture 31">
                  <a:extLst>
                    <a:ext uri="{FF2B5EF4-FFF2-40B4-BE49-F238E27FC236}">
                      <a16:creationId xmlns:a16="http://schemas.microsoft.com/office/drawing/2014/main" id="{FF4A9A27-8F1F-76EA-BEDF-98D08D4783F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1480" y="3040559"/>
                  <a:ext cx="3877998" cy="2181369"/>
                </a:xfrm>
                <a:prstGeom prst="rect">
                  <a:avLst/>
                </a:prstGeom>
                <a:effectLst>
                  <a:outerShdw blurRad="63500" sx="102000" sy="102000" algn="ctr" rotWithShape="0">
                    <a:prstClr val="black">
                      <a:alpha val="40000"/>
                    </a:prstClr>
                  </a:outerShdw>
                </a:effectLst>
              </p:spPr>
            </p:pic>
          </p:grpSp>
          <p:pic>
            <p:nvPicPr>
              <p:cNvPr id="33" name="Picture 32">
                <a:extLst>
                  <a:ext uri="{FF2B5EF4-FFF2-40B4-BE49-F238E27FC236}">
                    <a16:creationId xmlns:a16="http://schemas.microsoft.com/office/drawing/2014/main" id="{2AD60D07-7CAA-8BFE-DB8D-03424EA982A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574315" y="4993837"/>
                <a:ext cx="3912368" cy="1692000"/>
              </a:xfrm>
              <a:prstGeom prst="rect">
                <a:avLst/>
              </a:prstGeom>
              <a:effectLst>
                <a:outerShdw blurRad="50800" dist="38100" algn="l" rotWithShape="0">
                  <a:prstClr val="black">
                    <a:alpha val="40000"/>
                  </a:prstClr>
                </a:outerShdw>
              </a:effectLst>
            </p:spPr>
          </p:pic>
          <p:pic>
            <p:nvPicPr>
              <p:cNvPr id="35" name="Picture 34">
                <a:extLst>
                  <a:ext uri="{FF2B5EF4-FFF2-40B4-BE49-F238E27FC236}">
                    <a16:creationId xmlns:a16="http://schemas.microsoft.com/office/drawing/2014/main" id="{A66FDD6F-00EC-AEA9-A7BF-062F7853F8F6}"/>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759568" y="5680963"/>
                <a:ext cx="2998900" cy="1686881"/>
              </a:xfrm>
              <a:prstGeom prst="rect">
                <a:avLst/>
              </a:prstGeom>
              <a:effectLst>
                <a:outerShdw blurRad="50800" dist="38100" algn="l" rotWithShape="0">
                  <a:prstClr val="black">
                    <a:alpha val="40000"/>
                  </a:prstClr>
                </a:outerShdw>
              </a:effectLst>
            </p:spPr>
          </p:pic>
          <p:pic>
            <p:nvPicPr>
              <p:cNvPr id="48" name="Picture 47">
                <a:extLst>
                  <a:ext uri="{FF2B5EF4-FFF2-40B4-BE49-F238E27FC236}">
                    <a16:creationId xmlns:a16="http://schemas.microsoft.com/office/drawing/2014/main" id="{2DD77DD8-FE6F-68F5-7A79-010DC0368D1D}"/>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052852" y="5981522"/>
                <a:ext cx="3024065" cy="1692000"/>
              </a:xfrm>
              <a:prstGeom prst="rect">
                <a:avLst/>
              </a:prstGeom>
              <a:effectLst>
                <a:outerShdw blurRad="50800" dist="38100" algn="l" rotWithShape="0">
                  <a:prstClr val="black">
                    <a:alpha val="40000"/>
                  </a:prstClr>
                </a:outerShdw>
              </a:effectLst>
            </p:spPr>
          </p:pic>
        </p:grpSp>
      </p:grpSp>
      <p:sp>
        <p:nvSpPr>
          <p:cNvPr id="67" name="Rectangle 66">
            <a:extLst>
              <a:ext uri="{FF2B5EF4-FFF2-40B4-BE49-F238E27FC236}">
                <a16:creationId xmlns:a16="http://schemas.microsoft.com/office/drawing/2014/main" id="{89269D5C-B622-3452-9D6F-9B20EBF10D4A}"/>
              </a:ext>
            </a:extLst>
          </p:cNvPr>
          <p:cNvSpPr/>
          <p:nvPr/>
        </p:nvSpPr>
        <p:spPr>
          <a:xfrm>
            <a:off x="3543019" y="2385744"/>
            <a:ext cx="11646180" cy="7365054"/>
          </a:xfrm>
          <a:prstGeom prst="rect">
            <a:avLst/>
          </a:prstGeom>
          <a:solidFill>
            <a:schemeClr val="bg1">
              <a:alpha val="35000"/>
            </a:schemeClr>
          </a:solidFill>
          <a:ln>
            <a:noFill/>
          </a:ln>
          <a:effectLst>
            <a:softEdge rad="3175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828800"/>
            <a:endParaRPr lang="es-ES" sz="2800" noProof="0">
              <a:solidFill>
                <a:srgbClr val="FFFFFF"/>
              </a:solidFill>
              <a:latin typeface="Montserrat" panose="00000500000000000000" pitchFamily="2" charset="0"/>
            </a:endParaRPr>
          </a:p>
        </p:txBody>
      </p:sp>
      <p:sp>
        <p:nvSpPr>
          <p:cNvPr id="6" name="Google Shape;1036;p29">
            <a:extLst>
              <a:ext uri="{FF2B5EF4-FFF2-40B4-BE49-F238E27FC236}">
                <a16:creationId xmlns:a16="http://schemas.microsoft.com/office/drawing/2014/main" id="{55861FF6-427E-C930-DE04-8CF5D3589E9E}"/>
              </a:ext>
            </a:extLst>
          </p:cNvPr>
          <p:cNvSpPr txBox="1"/>
          <p:nvPr/>
        </p:nvSpPr>
        <p:spPr>
          <a:xfrm rot="1485693">
            <a:off x="13941784" y="908044"/>
            <a:ext cx="2876810" cy="453183"/>
          </a:xfrm>
          <a:prstGeom prst="rect">
            <a:avLst/>
          </a:prstGeom>
          <a:solidFill>
            <a:srgbClr val="6800FF"/>
          </a:solidFill>
          <a:ln w="9525" cap="flat" cmpd="sng">
            <a:noFill/>
            <a:prstDash val="solid"/>
            <a:round/>
            <a:headEnd type="none" w="sm" len="sm"/>
            <a:tailEnd type="none" w="sm" len="sm"/>
          </a:ln>
        </p:spPr>
        <p:txBody>
          <a:bodyPr spcFirstLastPara="1" wrap="square" lIns="0" tIns="72000" rIns="0" bIns="7200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defTabSz="1828800"/>
            <a:r>
              <a:rPr lang="es-ES" sz="2000" b="1" noProof="0">
                <a:solidFill>
                  <a:srgbClr val="FFFFFF"/>
                </a:solidFill>
                <a:latin typeface="Montserrat Bold"/>
              </a:rPr>
              <a:t>ILLUSTRATIVE</a:t>
            </a:r>
            <a:endParaRPr lang="es-ES" sz="1100" noProof="0">
              <a:latin typeface="Montserrat Bold"/>
            </a:endParaRPr>
          </a:p>
        </p:txBody>
      </p:sp>
    </p:spTree>
    <p:extLst>
      <p:ext uri="{BB962C8B-B14F-4D97-AF65-F5344CB8AC3E}">
        <p14:creationId xmlns:p14="http://schemas.microsoft.com/office/powerpoint/2010/main" val="17354583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Shape 1162"/>
        <p:cNvGrpSpPr/>
        <p:nvPr/>
      </p:nvGrpSpPr>
      <p:grpSpPr>
        <a:xfrm>
          <a:off x="0" y="0"/>
          <a:ext cx="0" cy="0"/>
          <a:chOff x="0" y="0"/>
          <a:chExt cx="0" cy="0"/>
        </a:xfrm>
      </p:grpSpPr>
      <p:sp>
        <p:nvSpPr>
          <p:cNvPr id="1163" name="Google Shape;1163;p34"/>
          <p:cNvSpPr txBox="1"/>
          <p:nvPr/>
        </p:nvSpPr>
        <p:spPr>
          <a:xfrm>
            <a:off x="1080600" y="1042450"/>
            <a:ext cx="10126200" cy="1145400"/>
          </a:xfrm>
          <a:prstGeom prst="rect">
            <a:avLst/>
          </a:prstGeom>
          <a:noFill/>
          <a:ln>
            <a:noFill/>
          </a:ln>
        </p:spPr>
        <p:txBody>
          <a:bodyPr spcFirstLastPara="1" wrap="square" lIns="182850" tIns="182850" rIns="182850" bIns="182850" anchor="t" anchorCtr="0">
            <a:noAutofit/>
          </a:bodyPr>
          <a:lstStyle/>
          <a:p>
            <a:pPr marL="0" marR="0" lvl="0" indent="0" algn="l" defTabSz="1828800" rtl="0" eaLnBrk="1" fontAlgn="auto" latinLnBrk="0" hangingPunct="1">
              <a:lnSpc>
                <a:spcPct val="100000"/>
              </a:lnSpc>
              <a:spcBef>
                <a:spcPts val="0"/>
              </a:spcBef>
              <a:spcAft>
                <a:spcPts val="0"/>
              </a:spcAft>
              <a:buClr>
                <a:srgbClr val="000000"/>
              </a:buClr>
              <a:buSzPts val="2000"/>
              <a:buFont typeface="Arial"/>
              <a:buNone/>
              <a:tabLst/>
              <a:defRPr/>
            </a:pPr>
            <a:r>
              <a:rPr kumimoji="0" lang="es-ES" sz="4000" b="1" i="0" u="none" strike="noStrike" kern="0" cap="none" spc="0" normalizeH="0" baseline="0" noProof="0">
                <a:ln>
                  <a:noFill/>
                </a:ln>
                <a:solidFill>
                  <a:srgbClr val="6800FF"/>
                </a:solidFill>
                <a:effectLst/>
                <a:uLnTx/>
                <a:uFillTx/>
                <a:latin typeface="Montserrat"/>
                <a:ea typeface="Montserrat"/>
                <a:cs typeface="Montserrat"/>
                <a:sym typeface="Montserrat"/>
              </a:rPr>
              <a:t>BOOSTERS </a:t>
            </a:r>
            <a:r>
              <a:rPr kumimoji="0" lang="es-ES" sz="4000" b="1" i="0" u="none" strike="noStrike" kern="0" cap="none" spc="0" normalizeH="0" baseline="0" noProof="0">
                <a:ln>
                  <a:noFill/>
                </a:ln>
                <a:solidFill>
                  <a:srgbClr val="222222"/>
                </a:solidFill>
                <a:effectLst/>
                <a:uLnTx/>
                <a:uFillTx/>
                <a:latin typeface="Montserrat"/>
                <a:ea typeface="Montserrat"/>
                <a:cs typeface="Montserrat"/>
                <a:sym typeface="Montserrat"/>
              </a:rPr>
              <a:t>– TOOLS AND ARTIFACTS</a:t>
            </a:r>
            <a:endParaRPr kumimoji="0" lang="es-ES" sz="4000" b="1" i="0" u="none" strike="noStrike" kern="0" cap="none" spc="0" normalizeH="0" baseline="0" noProof="0">
              <a:ln>
                <a:noFill/>
              </a:ln>
              <a:solidFill>
                <a:srgbClr val="222222"/>
              </a:solidFill>
              <a:effectLst/>
              <a:uLnTx/>
              <a:uFillTx/>
              <a:latin typeface="Montserrat"/>
              <a:ea typeface="Montserrat"/>
              <a:cs typeface="Montserrat"/>
              <a:sym typeface="Arial"/>
            </a:endParaRPr>
          </a:p>
        </p:txBody>
      </p:sp>
      <p:pic>
        <p:nvPicPr>
          <p:cNvPr id="1189" name="Google Shape;1189;p34" descr="C:\Documents and Settings\anwmonda\Desktop\inventory.bmp"/>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9400550" y="7257376"/>
            <a:ext cx="1825200" cy="1162200"/>
          </a:xfrm>
          <a:prstGeom prst="roundRect">
            <a:avLst>
              <a:gd name="adj" fmla="val 0"/>
            </a:avLst>
          </a:prstGeom>
          <a:solidFill>
            <a:srgbClr val="ECECEC"/>
          </a:solidFill>
          <a:ln>
            <a:noFill/>
          </a:ln>
        </p:spPr>
      </p:pic>
      <p:pic>
        <p:nvPicPr>
          <p:cNvPr id="1190" name="Google Shape;1190;p34"/>
          <p:cNvPicPr preferRelativeResize="0"/>
          <p:nvPr/>
        </p:nvPicPr>
        <p:blipFill rotWithShape="1">
          <a:blip r:embed="rId4" cstate="email">
            <a:alphaModFix/>
            <a:extLst>
              <a:ext uri="{28A0092B-C50C-407E-A947-70E740481C1C}">
                <a14:useLocalDpi xmlns:a14="http://schemas.microsoft.com/office/drawing/2010/main"/>
              </a:ext>
            </a:extLst>
          </a:blip>
          <a:srcRect/>
          <a:stretch/>
        </p:blipFill>
        <p:spPr>
          <a:xfrm>
            <a:off x="11560628" y="7257376"/>
            <a:ext cx="1825200" cy="1162200"/>
          </a:xfrm>
          <a:prstGeom prst="roundRect">
            <a:avLst>
              <a:gd name="adj" fmla="val 0"/>
            </a:avLst>
          </a:prstGeom>
          <a:solidFill>
            <a:srgbClr val="ECECEC"/>
          </a:solidFill>
          <a:ln>
            <a:noFill/>
          </a:ln>
        </p:spPr>
      </p:pic>
      <p:pic>
        <p:nvPicPr>
          <p:cNvPr id="1191" name="Google Shape;1191;p34"/>
          <p:cNvPicPr preferRelativeResize="0"/>
          <p:nvPr/>
        </p:nvPicPr>
        <p:blipFill rotWithShape="1">
          <a:blip r:embed="rId5" cstate="email">
            <a:alphaModFix/>
            <a:extLst>
              <a:ext uri="{28A0092B-C50C-407E-A947-70E740481C1C}">
                <a14:useLocalDpi xmlns:a14="http://schemas.microsoft.com/office/drawing/2010/main"/>
              </a:ext>
            </a:extLst>
          </a:blip>
          <a:srcRect/>
          <a:stretch/>
        </p:blipFill>
        <p:spPr>
          <a:xfrm>
            <a:off x="15947734" y="2403938"/>
            <a:ext cx="1799400" cy="1200000"/>
          </a:xfrm>
          <a:prstGeom prst="roundRect">
            <a:avLst>
              <a:gd name="adj" fmla="val 0"/>
            </a:avLst>
          </a:prstGeom>
          <a:solidFill>
            <a:srgbClr val="ECECEC"/>
          </a:solidFill>
          <a:ln>
            <a:noFill/>
          </a:ln>
        </p:spPr>
      </p:pic>
      <p:pic>
        <p:nvPicPr>
          <p:cNvPr id="1192" name="Google Shape;1192;p34"/>
          <p:cNvPicPr preferRelativeResize="0"/>
          <p:nvPr/>
        </p:nvPicPr>
        <p:blipFill rotWithShape="1">
          <a:blip r:embed="rId6" cstate="email">
            <a:alphaModFix/>
            <a:extLst>
              <a:ext uri="{28A0092B-C50C-407E-A947-70E740481C1C}">
                <a14:useLocalDpi xmlns:a14="http://schemas.microsoft.com/office/drawing/2010/main"/>
              </a:ext>
            </a:extLst>
          </a:blip>
          <a:srcRect/>
          <a:stretch/>
        </p:blipFill>
        <p:spPr>
          <a:xfrm>
            <a:off x="13787656" y="2403938"/>
            <a:ext cx="1799400" cy="1200000"/>
          </a:xfrm>
          <a:prstGeom prst="roundRect">
            <a:avLst>
              <a:gd name="adj" fmla="val 0"/>
            </a:avLst>
          </a:prstGeom>
          <a:solidFill>
            <a:srgbClr val="ECECEC"/>
          </a:solidFill>
          <a:ln>
            <a:noFill/>
          </a:ln>
        </p:spPr>
      </p:pic>
      <p:pic>
        <p:nvPicPr>
          <p:cNvPr id="1193" name="Google Shape;1193;p34"/>
          <p:cNvPicPr preferRelativeResize="0"/>
          <p:nvPr/>
        </p:nvPicPr>
        <p:blipFill rotWithShape="1">
          <a:blip r:embed="rId7" cstate="email">
            <a:alphaModFix/>
            <a:extLst>
              <a:ext uri="{28A0092B-C50C-407E-A947-70E740481C1C}">
                <a14:useLocalDpi xmlns:a14="http://schemas.microsoft.com/office/drawing/2010/main"/>
              </a:ext>
            </a:extLst>
          </a:blip>
          <a:srcRect/>
          <a:stretch/>
        </p:blipFill>
        <p:spPr>
          <a:xfrm>
            <a:off x="15947732" y="4779066"/>
            <a:ext cx="1825200" cy="1224000"/>
          </a:xfrm>
          <a:prstGeom prst="roundRect">
            <a:avLst>
              <a:gd name="adj" fmla="val 0"/>
            </a:avLst>
          </a:prstGeom>
          <a:solidFill>
            <a:srgbClr val="ECECEC"/>
          </a:solidFill>
          <a:ln>
            <a:noFill/>
          </a:ln>
        </p:spPr>
      </p:pic>
      <p:pic>
        <p:nvPicPr>
          <p:cNvPr id="1194" name="Google Shape;1194;p34"/>
          <p:cNvPicPr preferRelativeResize="0"/>
          <p:nvPr/>
        </p:nvPicPr>
        <p:blipFill rotWithShape="1">
          <a:blip r:embed="rId8" cstate="email">
            <a:alphaModFix/>
            <a:extLst>
              <a:ext uri="{28A0092B-C50C-407E-A947-70E740481C1C}">
                <a14:useLocalDpi xmlns:a14="http://schemas.microsoft.com/office/drawing/2010/main"/>
              </a:ext>
            </a:extLst>
          </a:blip>
          <a:srcRect/>
          <a:stretch/>
        </p:blipFill>
        <p:spPr>
          <a:xfrm>
            <a:off x="13787654" y="4779066"/>
            <a:ext cx="1825200" cy="1224000"/>
          </a:xfrm>
          <a:prstGeom prst="roundRect">
            <a:avLst>
              <a:gd name="adj" fmla="val 0"/>
            </a:avLst>
          </a:prstGeom>
          <a:solidFill>
            <a:srgbClr val="ECECEC"/>
          </a:solidFill>
          <a:ln>
            <a:noFill/>
          </a:ln>
        </p:spPr>
      </p:pic>
      <p:pic>
        <p:nvPicPr>
          <p:cNvPr id="1201" name="Google Shape;1201;p34"/>
          <p:cNvPicPr preferRelativeResize="0"/>
          <p:nvPr/>
        </p:nvPicPr>
        <p:blipFill rotWithShape="1">
          <a:blip r:embed="rId9" cstate="email">
            <a:alphaModFix/>
            <a:extLst>
              <a:ext uri="{28A0092B-C50C-407E-A947-70E740481C1C}">
                <a14:useLocalDpi xmlns:a14="http://schemas.microsoft.com/office/drawing/2010/main"/>
              </a:ext>
            </a:extLst>
          </a:blip>
          <a:srcRect/>
          <a:stretch/>
        </p:blipFill>
        <p:spPr>
          <a:xfrm>
            <a:off x="626720" y="2593988"/>
            <a:ext cx="1749600" cy="1173600"/>
          </a:xfrm>
          <a:prstGeom prst="roundRect">
            <a:avLst>
              <a:gd name="adj" fmla="val 0"/>
            </a:avLst>
          </a:prstGeom>
          <a:solidFill>
            <a:srgbClr val="ECECEC"/>
          </a:solidFill>
          <a:ln>
            <a:noFill/>
          </a:ln>
        </p:spPr>
      </p:pic>
      <p:pic>
        <p:nvPicPr>
          <p:cNvPr id="1202" name="Google Shape;1202;p34"/>
          <p:cNvPicPr preferRelativeResize="0"/>
          <p:nvPr/>
        </p:nvPicPr>
        <p:blipFill rotWithShape="1">
          <a:blip r:embed="rId10" cstate="email">
            <a:alphaModFix/>
            <a:extLst>
              <a:ext uri="{28A0092B-C50C-407E-A947-70E740481C1C}">
                <a14:useLocalDpi xmlns:a14="http://schemas.microsoft.com/office/drawing/2010/main"/>
              </a:ext>
            </a:extLst>
          </a:blip>
          <a:srcRect/>
          <a:stretch/>
        </p:blipFill>
        <p:spPr>
          <a:xfrm>
            <a:off x="2832830" y="2632088"/>
            <a:ext cx="1749600" cy="1173600"/>
          </a:xfrm>
          <a:prstGeom prst="roundRect">
            <a:avLst>
              <a:gd name="adj" fmla="val 0"/>
            </a:avLst>
          </a:prstGeom>
          <a:solidFill>
            <a:srgbClr val="ECECEC"/>
          </a:solidFill>
          <a:ln>
            <a:noFill/>
          </a:ln>
        </p:spPr>
      </p:pic>
      <p:pic>
        <p:nvPicPr>
          <p:cNvPr id="1203" name="Google Shape;1203;p34"/>
          <p:cNvPicPr preferRelativeResize="0"/>
          <p:nvPr/>
        </p:nvPicPr>
        <p:blipFill rotWithShape="1">
          <a:blip r:embed="rId11" cstate="email">
            <a:alphaModFix/>
            <a:extLst>
              <a:ext uri="{28A0092B-C50C-407E-A947-70E740481C1C}">
                <a14:useLocalDpi xmlns:a14="http://schemas.microsoft.com/office/drawing/2010/main"/>
              </a:ext>
            </a:extLst>
          </a:blip>
          <a:srcRect/>
          <a:stretch/>
        </p:blipFill>
        <p:spPr>
          <a:xfrm>
            <a:off x="593102" y="4886480"/>
            <a:ext cx="1749600" cy="1173600"/>
          </a:xfrm>
          <a:prstGeom prst="roundRect">
            <a:avLst>
              <a:gd name="adj" fmla="val 0"/>
            </a:avLst>
          </a:prstGeom>
          <a:solidFill>
            <a:srgbClr val="ECECEC"/>
          </a:solidFill>
          <a:ln>
            <a:noFill/>
          </a:ln>
        </p:spPr>
      </p:pic>
      <p:pic>
        <p:nvPicPr>
          <p:cNvPr id="1204" name="Google Shape;1204;p34"/>
          <p:cNvPicPr preferRelativeResize="0"/>
          <p:nvPr/>
        </p:nvPicPr>
        <p:blipFill rotWithShape="1">
          <a:blip r:embed="rId12" cstate="email">
            <a:alphaModFix/>
            <a:extLst>
              <a:ext uri="{28A0092B-C50C-407E-A947-70E740481C1C}">
                <a14:useLocalDpi xmlns:a14="http://schemas.microsoft.com/office/drawing/2010/main"/>
              </a:ext>
            </a:extLst>
          </a:blip>
          <a:srcRect/>
          <a:stretch/>
        </p:blipFill>
        <p:spPr>
          <a:xfrm>
            <a:off x="2819850" y="4873292"/>
            <a:ext cx="1749600" cy="1173600"/>
          </a:xfrm>
          <a:prstGeom prst="roundRect">
            <a:avLst>
              <a:gd name="adj" fmla="val 0"/>
            </a:avLst>
          </a:prstGeom>
          <a:solidFill>
            <a:srgbClr val="ECECEC"/>
          </a:solidFill>
          <a:ln>
            <a:noFill/>
          </a:ln>
        </p:spPr>
      </p:pic>
      <p:pic>
        <p:nvPicPr>
          <p:cNvPr id="1205" name="Google Shape;1205;p34"/>
          <p:cNvPicPr preferRelativeResize="0"/>
          <p:nvPr/>
        </p:nvPicPr>
        <p:blipFill rotWithShape="1">
          <a:blip r:embed="rId13" cstate="email">
            <a:alphaModFix/>
            <a:extLst>
              <a:ext uri="{28A0092B-C50C-407E-A947-70E740481C1C}">
                <a14:useLocalDpi xmlns:a14="http://schemas.microsoft.com/office/drawing/2010/main"/>
              </a:ext>
            </a:extLst>
          </a:blip>
          <a:srcRect/>
          <a:stretch/>
        </p:blipFill>
        <p:spPr>
          <a:xfrm>
            <a:off x="2769424" y="7346312"/>
            <a:ext cx="1749600" cy="1173600"/>
          </a:xfrm>
          <a:prstGeom prst="roundRect">
            <a:avLst>
              <a:gd name="adj" fmla="val 8594"/>
            </a:avLst>
          </a:prstGeom>
          <a:solidFill>
            <a:srgbClr val="ECECEC"/>
          </a:solidFill>
          <a:ln>
            <a:noFill/>
          </a:ln>
        </p:spPr>
      </p:pic>
      <p:pic>
        <p:nvPicPr>
          <p:cNvPr id="1206" name="Google Shape;1206;p34"/>
          <p:cNvPicPr preferRelativeResize="0"/>
          <p:nvPr/>
        </p:nvPicPr>
        <p:blipFill rotWithShape="1">
          <a:blip r:embed="rId14" cstate="email">
            <a:alphaModFix/>
            <a:extLst>
              <a:ext uri="{28A0092B-C50C-407E-A947-70E740481C1C}">
                <a14:useLocalDpi xmlns:a14="http://schemas.microsoft.com/office/drawing/2010/main"/>
              </a:ext>
            </a:extLst>
          </a:blip>
          <a:srcRect/>
          <a:stretch/>
        </p:blipFill>
        <p:spPr>
          <a:xfrm>
            <a:off x="542676" y="7346312"/>
            <a:ext cx="1749600" cy="1173600"/>
          </a:xfrm>
          <a:prstGeom prst="roundRect">
            <a:avLst>
              <a:gd name="adj" fmla="val 8594"/>
            </a:avLst>
          </a:prstGeom>
          <a:solidFill>
            <a:srgbClr val="ECECEC"/>
          </a:solidFill>
          <a:ln>
            <a:noFill/>
          </a:ln>
        </p:spPr>
      </p:pic>
      <p:pic>
        <p:nvPicPr>
          <p:cNvPr id="1213" name="Google Shape;1213;p34" descr="capture.PNG"/>
          <p:cNvPicPr preferRelativeResize="0"/>
          <p:nvPr/>
        </p:nvPicPr>
        <p:blipFill rotWithShape="1">
          <a:blip r:embed="rId15" cstate="email">
            <a:alphaModFix/>
            <a:extLst>
              <a:ext uri="{28A0092B-C50C-407E-A947-70E740481C1C}">
                <a14:useLocalDpi xmlns:a14="http://schemas.microsoft.com/office/drawing/2010/main"/>
              </a:ext>
            </a:extLst>
          </a:blip>
          <a:srcRect/>
          <a:stretch/>
        </p:blipFill>
        <p:spPr>
          <a:xfrm>
            <a:off x="5014256" y="2486754"/>
            <a:ext cx="1966200" cy="1318800"/>
          </a:xfrm>
          <a:prstGeom prst="roundRect">
            <a:avLst>
              <a:gd name="adj" fmla="val 0"/>
            </a:avLst>
          </a:prstGeom>
          <a:solidFill>
            <a:srgbClr val="ECECEC"/>
          </a:solidFill>
          <a:ln>
            <a:noFill/>
          </a:ln>
        </p:spPr>
      </p:pic>
      <p:pic>
        <p:nvPicPr>
          <p:cNvPr id="1214" name="Google Shape;1214;p34" descr="dashboard.png"/>
          <p:cNvPicPr preferRelativeResize="0"/>
          <p:nvPr/>
        </p:nvPicPr>
        <p:blipFill rotWithShape="1">
          <a:blip r:embed="rId16" cstate="email">
            <a:alphaModFix/>
            <a:extLst>
              <a:ext uri="{28A0092B-C50C-407E-A947-70E740481C1C}">
                <a14:useLocalDpi xmlns:a14="http://schemas.microsoft.com/office/drawing/2010/main"/>
              </a:ext>
            </a:extLst>
          </a:blip>
          <a:srcRect/>
          <a:stretch/>
        </p:blipFill>
        <p:spPr>
          <a:xfrm>
            <a:off x="7173300" y="2486754"/>
            <a:ext cx="1966200" cy="1318800"/>
          </a:xfrm>
          <a:prstGeom prst="roundRect">
            <a:avLst>
              <a:gd name="adj" fmla="val 0"/>
            </a:avLst>
          </a:prstGeom>
          <a:solidFill>
            <a:srgbClr val="ECECEC"/>
          </a:solidFill>
          <a:ln>
            <a:noFill/>
          </a:ln>
        </p:spPr>
      </p:pic>
      <p:pic>
        <p:nvPicPr>
          <p:cNvPr id="1215" name="Google Shape;1215;p34" descr="opportunity.PNG"/>
          <p:cNvPicPr preferRelativeResize="0"/>
          <p:nvPr/>
        </p:nvPicPr>
        <p:blipFill rotWithShape="1">
          <a:blip r:embed="rId17" cstate="email">
            <a:alphaModFix/>
            <a:extLst>
              <a:ext uri="{28A0092B-C50C-407E-A947-70E740481C1C}">
                <a14:useLocalDpi xmlns:a14="http://schemas.microsoft.com/office/drawing/2010/main"/>
              </a:ext>
            </a:extLst>
          </a:blip>
          <a:srcRect/>
          <a:stretch/>
        </p:blipFill>
        <p:spPr>
          <a:xfrm>
            <a:off x="7139682" y="4818264"/>
            <a:ext cx="1966200" cy="1318800"/>
          </a:xfrm>
          <a:prstGeom prst="roundRect">
            <a:avLst>
              <a:gd name="adj" fmla="val 0"/>
            </a:avLst>
          </a:prstGeom>
          <a:solidFill>
            <a:srgbClr val="ECECEC"/>
          </a:solidFill>
          <a:ln>
            <a:noFill/>
          </a:ln>
        </p:spPr>
      </p:pic>
      <p:pic>
        <p:nvPicPr>
          <p:cNvPr id="1216" name="Google Shape;1216;p34" descr="logical2physical.PNG"/>
          <p:cNvPicPr preferRelativeResize="0"/>
          <p:nvPr/>
        </p:nvPicPr>
        <p:blipFill rotWithShape="1">
          <a:blip r:embed="rId18" cstate="email">
            <a:alphaModFix/>
            <a:extLst>
              <a:ext uri="{28A0092B-C50C-407E-A947-70E740481C1C}">
                <a14:useLocalDpi xmlns:a14="http://schemas.microsoft.com/office/drawing/2010/main"/>
              </a:ext>
            </a:extLst>
          </a:blip>
          <a:srcRect/>
          <a:stretch/>
        </p:blipFill>
        <p:spPr>
          <a:xfrm>
            <a:off x="4980638" y="4818264"/>
            <a:ext cx="1966200" cy="1318800"/>
          </a:xfrm>
          <a:prstGeom prst="roundRect">
            <a:avLst>
              <a:gd name="adj" fmla="val 0"/>
            </a:avLst>
          </a:prstGeom>
          <a:solidFill>
            <a:srgbClr val="ECECEC"/>
          </a:solidFill>
          <a:ln>
            <a:noFill/>
          </a:ln>
        </p:spPr>
      </p:pic>
      <p:pic>
        <p:nvPicPr>
          <p:cNvPr id="1217" name="Google Shape;1217;p34" descr="tmap.png"/>
          <p:cNvPicPr preferRelativeResize="0"/>
          <p:nvPr/>
        </p:nvPicPr>
        <p:blipFill rotWithShape="1">
          <a:blip r:embed="rId19" cstate="email">
            <a:alphaModFix/>
            <a:extLst>
              <a:ext uri="{28A0092B-C50C-407E-A947-70E740481C1C}">
                <a14:useLocalDpi xmlns:a14="http://schemas.microsoft.com/office/drawing/2010/main"/>
              </a:ext>
            </a:extLst>
          </a:blip>
          <a:srcRect/>
          <a:stretch/>
        </p:blipFill>
        <p:spPr>
          <a:xfrm>
            <a:off x="4930214" y="7263520"/>
            <a:ext cx="1966200" cy="1318800"/>
          </a:xfrm>
          <a:prstGeom prst="roundRect">
            <a:avLst>
              <a:gd name="adj" fmla="val 0"/>
            </a:avLst>
          </a:prstGeom>
          <a:solidFill>
            <a:srgbClr val="ECECEC"/>
          </a:solidFill>
          <a:ln>
            <a:noFill/>
          </a:ln>
        </p:spPr>
      </p:pic>
      <p:pic>
        <p:nvPicPr>
          <p:cNvPr id="1218" name="Google Shape;1218;p34" descr="dashboard.png"/>
          <p:cNvPicPr preferRelativeResize="0"/>
          <p:nvPr/>
        </p:nvPicPr>
        <p:blipFill rotWithShape="1">
          <a:blip r:embed="rId20" cstate="email">
            <a:alphaModFix/>
            <a:extLst>
              <a:ext uri="{28A0092B-C50C-407E-A947-70E740481C1C}">
                <a14:useLocalDpi xmlns:a14="http://schemas.microsoft.com/office/drawing/2010/main"/>
              </a:ext>
            </a:extLst>
          </a:blip>
          <a:srcRect/>
          <a:stretch/>
        </p:blipFill>
        <p:spPr>
          <a:xfrm>
            <a:off x="7089256" y="7263520"/>
            <a:ext cx="1966200" cy="1318800"/>
          </a:xfrm>
          <a:prstGeom prst="roundRect">
            <a:avLst>
              <a:gd name="adj" fmla="val 0"/>
            </a:avLst>
          </a:prstGeom>
          <a:solidFill>
            <a:srgbClr val="ECECEC"/>
          </a:solidFill>
          <a:ln>
            <a:noFill/>
          </a:ln>
        </p:spPr>
      </p:pic>
      <p:sp>
        <p:nvSpPr>
          <p:cNvPr id="1183" name="Google Shape;1183;p34"/>
          <p:cNvSpPr/>
          <p:nvPr/>
        </p:nvSpPr>
        <p:spPr>
          <a:xfrm>
            <a:off x="9260206" y="8631420"/>
            <a:ext cx="1995600" cy="731400"/>
          </a:xfrm>
          <a:prstGeom prst="roundRect">
            <a:avLst>
              <a:gd name="adj" fmla="val 16667"/>
            </a:avLst>
          </a:prstGeom>
          <a:solidFill>
            <a:srgbClr val="6800FF"/>
          </a:solidFill>
          <a:ln>
            <a:noFill/>
          </a:ln>
        </p:spPr>
        <p:txBody>
          <a:bodyPr spcFirstLastPara="1" wrap="square" lIns="0" tIns="0" rIns="0" bIns="0" anchor="ctr" anchorCtr="0">
            <a:noAutofit/>
          </a:bodyPr>
          <a:lstStyle/>
          <a:p>
            <a:pPr marL="0" marR="0" lvl="0" indent="0" algn="ctr" defTabSz="1828800" rtl="0" eaLnBrk="1" fontAlgn="auto" latinLnBrk="0" hangingPunct="1">
              <a:lnSpc>
                <a:spcPct val="100000"/>
              </a:lnSpc>
              <a:spcBef>
                <a:spcPts val="0"/>
              </a:spcBef>
              <a:spcAft>
                <a:spcPts val="0"/>
              </a:spcAft>
              <a:buClr>
                <a:srgbClr val="000000"/>
              </a:buClr>
              <a:buSzTx/>
              <a:buFont typeface="Arial"/>
              <a:buNone/>
              <a:tabLst/>
              <a:defRPr/>
            </a:pPr>
            <a:r>
              <a:rPr kumimoji="0" lang="es-ES" sz="1200" b="0" i="0" u="none" strike="noStrike" kern="0" cap="none" spc="0" normalizeH="0" baseline="0" noProof="0" err="1">
                <a:ln>
                  <a:noFill/>
                </a:ln>
                <a:solidFill>
                  <a:srgbClr val="FFFFFF"/>
                </a:solidFill>
                <a:effectLst/>
                <a:uLnTx/>
                <a:uFillTx/>
                <a:latin typeface="Montserrat"/>
                <a:cs typeface="Arial"/>
                <a:sym typeface="Arial"/>
              </a:rPr>
              <a:t>Application</a:t>
            </a:r>
            <a:r>
              <a:rPr kumimoji="0" lang="es-ES" sz="1200" b="0" i="0" u="none" strike="noStrike" kern="0" cap="none" spc="0" normalizeH="0" baseline="0" noProof="0">
                <a:ln>
                  <a:noFill/>
                </a:ln>
                <a:solidFill>
                  <a:srgbClr val="FFFFFF"/>
                </a:solidFill>
                <a:effectLst/>
                <a:uLnTx/>
                <a:uFillTx/>
                <a:latin typeface="Montserrat"/>
                <a:cs typeface="Arial"/>
                <a:sym typeface="Arial"/>
              </a:rPr>
              <a:t> </a:t>
            </a:r>
            <a:r>
              <a:rPr kumimoji="0" lang="es-ES" sz="1200" b="0" i="0" u="none" strike="noStrike" kern="0" cap="none" spc="0" normalizeH="0" baseline="0" noProof="0" err="1">
                <a:ln>
                  <a:noFill/>
                </a:ln>
                <a:solidFill>
                  <a:srgbClr val="FFFFFF"/>
                </a:solidFill>
                <a:effectLst/>
                <a:uLnTx/>
                <a:uFillTx/>
                <a:latin typeface="Montserrat"/>
                <a:cs typeface="Arial"/>
                <a:sym typeface="Arial"/>
              </a:rPr>
              <a:t>Inventory</a:t>
            </a:r>
            <a:r>
              <a:rPr kumimoji="0" lang="es-ES" sz="1200" b="0" i="0" u="none" strike="noStrike" kern="0" cap="none" spc="0" normalizeH="0" baseline="0" noProof="0">
                <a:ln>
                  <a:noFill/>
                </a:ln>
                <a:solidFill>
                  <a:srgbClr val="FFFFFF"/>
                </a:solidFill>
                <a:effectLst/>
                <a:uLnTx/>
                <a:uFillTx/>
                <a:latin typeface="Montserrat"/>
                <a:cs typeface="Arial"/>
                <a:sym typeface="Arial"/>
              </a:rPr>
              <a:t> </a:t>
            </a:r>
            <a:endParaRPr kumimoji="0" lang="es-ES" sz="1200" b="0" i="0" u="none" strike="noStrike" kern="0" cap="none" spc="0" normalizeH="0" baseline="0" noProof="0">
              <a:ln>
                <a:noFill/>
              </a:ln>
              <a:solidFill>
                <a:srgbClr val="000000"/>
              </a:solidFill>
              <a:effectLst/>
              <a:uLnTx/>
              <a:uFillTx/>
              <a:latin typeface="Montserrat"/>
              <a:cs typeface="Arial"/>
              <a:sym typeface="Arial"/>
            </a:endParaRPr>
          </a:p>
        </p:txBody>
      </p:sp>
      <p:sp>
        <p:nvSpPr>
          <p:cNvPr id="1184" name="Google Shape;1184;p34"/>
          <p:cNvSpPr/>
          <p:nvPr/>
        </p:nvSpPr>
        <p:spPr>
          <a:xfrm>
            <a:off x="11489054" y="8631420"/>
            <a:ext cx="1995600" cy="731400"/>
          </a:xfrm>
          <a:prstGeom prst="roundRect">
            <a:avLst>
              <a:gd name="adj" fmla="val 16667"/>
            </a:avLst>
          </a:prstGeom>
          <a:solidFill>
            <a:srgbClr val="6800FF"/>
          </a:solidFill>
          <a:ln>
            <a:noFill/>
          </a:ln>
        </p:spPr>
        <p:txBody>
          <a:bodyPr spcFirstLastPara="1" wrap="square" lIns="0" tIns="0" rIns="0" bIns="0" anchor="ctr" anchorCtr="0">
            <a:noAutofit/>
          </a:bodyPr>
          <a:lstStyle/>
          <a:p>
            <a:pPr marL="0" marR="0" lvl="0" indent="0" algn="ctr" defTabSz="1828800" rtl="0" eaLnBrk="1" fontAlgn="auto" latinLnBrk="0" hangingPunct="1">
              <a:lnSpc>
                <a:spcPct val="100000"/>
              </a:lnSpc>
              <a:spcBef>
                <a:spcPts val="0"/>
              </a:spcBef>
              <a:spcAft>
                <a:spcPts val="0"/>
              </a:spcAft>
              <a:buClr>
                <a:srgbClr val="000000"/>
              </a:buClr>
              <a:buSzTx/>
              <a:buFont typeface="Arial"/>
              <a:buNone/>
              <a:tabLst/>
              <a:defRPr/>
            </a:pPr>
            <a:r>
              <a:rPr kumimoji="0" lang="es-ES" sz="1200" b="0" i="0" u="none" strike="noStrike" kern="0" cap="none" spc="0" normalizeH="0" baseline="0" noProof="0" err="1">
                <a:ln>
                  <a:noFill/>
                </a:ln>
                <a:solidFill>
                  <a:srgbClr val="FFFFFF"/>
                </a:solidFill>
                <a:effectLst/>
                <a:uLnTx/>
                <a:uFillTx/>
                <a:latin typeface="Montserrat"/>
                <a:cs typeface="Arial"/>
                <a:sym typeface="Arial"/>
              </a:rPr>
              <a:t>Technology</a:t>
            </a:r>
            <a:r>
              <a:rPr kumimoji="0" lang="es-ES" sz="1200" b="0" i="0" u="none" strike="noStrike" kern="0" cap="none" spc="0" normalizeH="0" baseline="0" noProof="0">
                <a:ln>
                  <a:noFill/>
                </a:ln>
                <a:solidFill>
                  <a:srgbClr val="FFFFFF"/>
                </a:solidFill>
                <a:effectLst/>
                <a:uLnTx/>
                <a:uFillTx/>
                <a:latin typeface="Montserrat"/>
                <a:cs typeface="Arial"/>
                <a:sym typeface="Arial"/>
              </a:rPr>
              <a:t> </a:t>
            </a:r>
            <a:r>
              <a:rPr kumimoji="0" lang="es-ES" sz="1200" b="0" i="0" u="none" strike="noStrike" kern="0" cap="none" spc="0" normalizeH="0" baseline="0" noProof="0" err="1">
                <a:ln>
                  <a:noFill/>
                </a:ln>
                <a:solidFill>
                  <a:srgbClr val="FFFFFF"/>
                </a:solidFill>
                <a:effectLst/>
                <a:uLnTx/>
                <a:uFillTx/>
                <a:latin typeface="Montserrat"/>
                <a:cs typeface="Arial"/>
                <a:sym typeface="Arial"/>
              </a:rPr>
              <a:t>stack</a:t>
            </a:r>
            <a:r>
              <a:rPr kumimoji="0" lang="es-ES" sz="1200" b="0" i="0" u="none" strike="noStrike" kern="0" cap="none" spc="0" normalizeH="0" baseline="0" noProof="0">
                <a:ln>
                  <a:noFill/>
                </a:ln>
                <a:solidFill>
                  <a:srgbClr val="FFFFFF"/>
                </a:solidFill>
                <a:effectLst/>
                <a:uLnTx/>
                <a:uFillTx/>
                <a:latin typeface="Montserrat"/>
                <a:cs typeface="Arial"/>
                <a:sym typeface="Arial"/>
              </a:rPr>
              <a:t> </a:t>
            </a:r>
            <a:endParaRPr kumimoji="0" lang="es-ES" sz="1200" b="0" i="0" u="none" strike="noStrike" kern="0" cap="none" spc="0" normalizeH="0" baseline="0" noProof="0">
              <a:ln>
                <a:noFill/>
              </a:ln>
              <a:solidFill>
                <a:srgbClr val="000000"/>
              </a:solidFill>
              <a:effectLst/>
              <a:uLnTx/>
              <a:uFillTx/>
              <a:latin typeface="Montserrat"/>
              <a:cs typeface="Arial"/>
              <a:sym typeface="Arial"/>
            </a:endParaRPr>
          </a:p>
        </p:txBody>
      </p:sp>
      <p:sp>
        <p:nvSpPr>
          <p:cNvPr id="1185" name="Google Shape;1185;p34"/>
          <p:cNvSpPr/>
          <p:nvPr/>
        </p:nvSpPr>
        <p:spPr>
          <a:xfrm>
            <a:off x="13647310" y="3785496"/>
            <a:ext cx="1995600" cy="731400"/>
          </a:xfrm>
          <a:prstGeom prst="roundRect">
            <a:avLst>
              <a:gd name="adj" fmla="val 16667"/>
            </a:avLst>
          </a:prstGeom>
          <a:solidFill>
            <a:srgbClr val="6800FF"/>
          </a:solidFill>
          <a:ln>
            <a:noFill/>
          </a:ln>
        </p:spPr>
        <p:txBody>
          <a:bodyPr spcFirstLastPara="1" wrap="square" lIns="0" tIns="0" rIns="0" bIns="0" anchor="ctr" anchorCtr="0">
            <a:noAutofit/>
          </a:bodyPr>
          <a:lstStyle/>
          <a:p>
            <a:pPr marL="0" marR="0" lvl="0" indent="0" algn="ctr" defTabSz="1828800" rtl="0" eaLnBrk="1" fontAlgn="auto" latinLnBrk="0" hangingPunct="1">
              <a:lnSpc>
                <a:spcPct val="100000"/>
              </a:lnSpc>
              <a:spcBef>
                <a:spcPts val="0"/>
              </a:spcBef>
              <a:spcAft>
                <a:spcPts val="0"/>
              </a:spcAft>
              <a:buClr>
                <a:srgbClr val="000000"/>
              </a:buClr>
              <a:buSzTx/>
              <a:buFont typeface="Arial"/>
              <a:buNone/>
              <a:tabLst/>
              <a:defRPr/>
            </a:pPr>
            <a:r>
              <a:rPr kumimoji="0" lang="es-ES" sz="1200" b="0" i="0" u="none" strike="noStrike" kern="0" cap="none" spc="0" normalizeH="0" baseline="0" noProof="0">
                <a:ln>
                  <a:noFill/>
                </a:ln>
                <a:solidFill>
                  <a:srgbClr val="FFFFFF"/>
                </a:solidFill>
                <a:effectLst/>
                <a:uLnTx/>
                <a:uFillTx/>
                <a:latin typeface="Montserrat"/>
                <a:cs typeface="Arial"/>
                <a:sym typeface="Arial"/>
              </a:rPr>
              <a:t>Business </a:t>
            </a:r>
            <a:r>
              <a:rPr kumimoji="0" lang="es-ES" sz="1200" b="0" i="0" u="none" strike="noStrike" kern="0" cap="none" spc="0" normalizeH="0" baseline="0" noProof="0" err="1">
                <a:ln>
                  <a:noFill/>
                </a:ln>
                <a:solidFill>
                  <a:srgbClr val="FFFFFF"/>
                </a:solidFill>
                <a:effectLst/>
                <a:uLnTx/>
                <a:uFillTx/>
                <a:latin typeface="Montserrat"/>
                <a:cs typeface="Arial"/>
                <a:sym typeface="Arial"/>
              </a:rPr>
              <a:t>Growth</a:t>
            </a:r>
            <a:r>
              <a:rPr kumimoji="0" lang="es-ES" sz="1200" b="0" i="0" u="none" strike="noStrike" kern="0" cap="none" spc="0" normalizeH="0" baseline="0" noProof="0">
                <a:ln>
                  <a:noFill/>
                </a:ln>
                <a:solidFill>
                  <a:srgbClr val="FFFFFF"/>
                </a:solidFill>
                <a:effectLst/>
                <a:uLnTx/>
                <a:uFillTx/>
                <a:latin typeface="Montserrat"/>
                <a:cs typeface="Arial"/>
                <a:sym typeface="Arial"/>
              </a:rPr>
              <a:t> </a:t>
            </a:r>
            <a:r>
              <a:rPr kumimoji="0" lang="es-ES" sz="1200" b="0" i="0" u="none" strike="noStrike" kern="0" cap="none" spc="0" normalizeH="0" baseline="0" noProof="0" err="1">
                <a:ln>
                  <a:noFill/>
                </a:ln>
                <a:solidFill>
                  <a:srgbClr val="FFFFFF"/>
                </a:solidFill>
                <a:effectLst/>
                <a:uLnTx/>
                <a:uFillTx/>
                <a:latin typeface="Montserrat"/>
                <a:cs typeface="Arial"/>
                <a:sym typeface="Arial"/>
              </a:rPr>
              <a:t>Heat</a:t>
            </a:r>
            <a:r>
              <a:rPr kumimoji="0" lang="es-ES" sz="1200" b="0" i="0" u="none" strike="noStrike" kern="0" cap="none" spc="0" normalizeH="0" baseline="0" noProof="0">
                <a:ln>
                  <a:noFill/>
                </a:ln>
                <a:solidFill>
                  <a:srgbClr val="FFFFFF"/>
                </a:solidFill>
                <a:effectLst/>
                <a:uLnTx/>
                <a:uFillTx/>
                <a:latin typeface="Montserrat"/>
                <a:cs typeface="Arial"/>
                <a:sym typeface="Arial"/>
              </a:rPr>
              <a:t> </a:t>
            </a:r>
            <a:r>
              <a:rPr kumimoji="0" lang="es-ES" sz="1200" b="0" i="0" u="none" strike="noStrike" kern="0" cap="none" spc="0" normalizeH="0" baseline="0" noProof="0" err="1">
                <a:ln>
                  <a:noFill/>
                </a:ln>
                <a:solidFill>
                  <a:srgbClr val="FFFFFF"/>
                </a:solidFill>
                <a:effectLst/>
                <a:uLnTx/>
                <a:uFillTx/>
                <a:latin typeface="Montserrat"/>
                <a:cs typeface="Arial"/>
                <a:sym typeface="Arial"/>
              </a:rPr>
              <a:t>Map</a:t>
            </a:r>
            <a:endParaRPr kumimoji="0" lang="es-ES" sz="1200" b="0" i="0" u="none" strike="noStrike" kern="0" cap="none" spc="0" normalizeH="0" baseline="0" noProof="0">
              <a:ln>
                <a:noFill/>
              </a:ln>
              <a:solidFill>
                <a:srgbClr val="000000"/>
              </a:solidFill>
              <a:effectLst/>
              <a:uLnTx/>
              <a:uFillTx/>
              <a:latin typeface="Montserrat"/>
              <a:cs typeface="Arial"/>
              <a:sym typeface="Arial"/>
            </a:endParaRPr>
          </a:p>
        </p:txBody>
      </p:sp>
      <p:sp>
        <p:nvSpPr>
          <p:cNvPr id="1186" name="Google Shape;1186;p34"/>
          <p:cNvSpPr/>
          <p:nvPr/>
        </p:nvSpPr>
        <p:spPr>
          <a:xfrm>
            <a:off x="15876158" y="3785498"/>
            <a:ext cx="1995600" cy="731400"/>
          </a:xfrm>
          <a:prstGeom prst="roundRect">
            <a:avLst>
              <a:gd name="adj" fmla="val 16667"/>
            </a:avLst>
          </a:prstGeom>
          <a:solidFill>
            <a:srgbClr val="6800FF"/>
          </a:solidFill>
          <a:ln>
            <a:noFill/>
          </a:ln>
        </p:spPr>
        <p:txBody>
          <a:bodyPr spcFirstLastPara="1" wrap="square" lIns="0" tIns="0" rIns="0" bIns="0" anchor="ctr" anchorCtr="0">
            <a:noAutofit/>
          </a:bodyPr>
          <a:lstStyle/>
          <a:p>
            <a:pPr marL="0" marR="0" lvl="0" indent="0" algn="ctr" defTabSz="1828800" rtl="0" eaLnBrk="1" fontAlgn="auto" latinLnBrk="0" hangingPunct="1">
              <a:lnSpc>
                <a:spcPct val="100000"/>
              </a:lnSpc>
              <a:spcBef>
                <a:spcPts val="0"/>
              </a:spcBef>
              <a:spcAft>
                <a:spcPts val="0"/>
              </a:spcAft>
              <a:buClr>
                <a:srgbClr val="000000"/>
              </a:buClr>
              <a:buSzTx/>
              <a:buFont typeface="Arial"/>
              <a:buNone/>
              <a:tabLst/>
              <a:defRPr/>
            </a:pPr>
            <a:r>
              <a:rPr kumimoji="0" lang="es-ES" sz="1200" b="0" i="0" u="none" strike="noStrike" kern="0" cap="none" spc="0" normalizeH="0" baseline="0" noProof="0" err="1">
                <a:ln>
                  <a:noFill/>
                </a:ln>
                <a:solidFill>
                  <a:srgbClr val="FFFFFF"/>
                </a:solidFill>
                <a:effectLst/>
                <a:uLnTx/>
                <a:uFillTx/>
                <a:latin typeface="Montserrat"/>
                <a:cs typeface="Arial"/>
                <a:sym typeface="Arial"/>
              </a:rPr>
              <a:t>Risk</a:t>
            </a:r>
            <a:r>
              <a:rPr kumimoji="0" lang="es-ES" sz="1200" b="0" i="0" u="none" strike="noStrike" kern="0" cap="none" spc="0" normalizeH="0" baseline="0" noProof="0">
                <a:ln>
                  <a:noFill/>
                </a:ln>
                <a:solidFill>
                  <a:srgbClr val="FFFFFF"/>
                </a:solidFill>
                <a:effectLst/>
                <a:uLnTx/>
                <a:uFillTx/>
                <a:latin typeface="Montserrat"/>
                <a:cs typeface="Arial"/>
                <a:sym typeface="Arial"/>
              </a:rPr>
              <a:t> </a:t>
            </a:r>
            <a:r>
              <a:rPr kumimoji="0" lang="es-ES" sz="1200" b="0" i="0" u="none" strike="noStrike" kern="0" cap="none" spc="0" normalizeH="0" baseline="0" noProof="0" err="1">
                <a:ln>
                  <a:noFill/>
                </a:ln>
                <a:solidFill>
                  <a:srgbClr val="FFFFFF"/>
                </a:solidFill>
                <a:effectLst/>
                <a:uLnTx/>
                <a:uFillTx/>
                <a:latin typeface="Montserrat"/>
                <a:cs typeface="Arial"/>
                <a:sym typeface="Arial"/>
              </a:rPr>
              <a:t>Analysis</a:t>
            </a:r>
            <a:r>
              <a:rPr kumimoji="0" lang="es-ES" sz="1200" b="0" i="0" u="none" strike="noStrike" kern="0" cap="none" spc="0" normalizeH="0" baseline="0" noProof="0">
                <a:ln>
                  <a:noFill/>
                </a:ln>
                <a:solidFill>
                  <a:srgbClr val="FFFFFF"/>
                </a:solidFill>
                <a:effectLst/>
                <a:uLnTx/>
                <a:uFillTx/>
                <a:latin typeface="Montserrat"/>
                <a:cs typeface="Arial"/>
                <a:sym typeface="Arial"/>
              </a:rPr>
              <a:t> DR &amp;</a:t>
            </a:r>
            <a:br>
              <a:rPr kumimoji="0" lang="es-ES" sz="1200" b="0" i="0" u="none" strike="noStrike" kern="0" cap="none" spc="0" normalizeH="0" baseline="0" noProof="0">
                <a:ln>
                  <a:noFill/>
                </a:ln>
                <a:solidFill>
                  <a:srgbClr val="FFFFFF"/>
                </a:solidFill>
                <a:effectLst/>
                <a:uLnTx/>
                <a:uFillTx/>
                <a:latin typeface="Montserrat"/>
                <a:cs typeface="Arial"/>
                <a:sym typeface="Arial"/>
              </a:rPr>
            </a:br>
            <a:r>
              <a:rPr kumimoji="0" lang="es-ES" sz="1200" b="0" i="0" u="none" strike="noStrike" kern="0" cap="none" spc="0" normalizeH="0" baseline="0" noProof="0" err="1">
                <a:ln>
                  <a:noFill/>
                </a:ln>
                <a:solidFill>
                  <a:srgbClr val="FFFFFF"/>
                </a:solidFill>
                <a:effectLst/>
                <a:uLnTx/>
                <a:uFillTx/>
                <a:latin typeface="Montserrat"/>
                <a:cs typeface="Arial"/>
                <a:sym typeface="Arial"/>
              </a:rPr>
              <a:t>Backup</a:t>
            </a:r>
            <a:r>
              <a:rPr kumimoji="0" lang="es-ES" sz="1200" b="0" i="0" u="none" strike="noStrike" kern="0" cap="none" spc="0" normalizeH="0" baseline="0" noProof="0">
                <a:ln>
                  <a:noFill/>
                </a:ln>
                <a:solidFill>
                  <a:srgbClr val="FFFFFF"/>
                </a:solidFill>
                <a:effectLst/>
                <a:uLnTx/>
                <a:uFillTx/>
                <a:latin typeface="Montserrat"/>
                <a:cs typeface="Arial"/>
                <a:sym typeface="Arial"/>
              </a:rPr>
              <a:t> </a:t>
            </a:r>
            <a:r>
              <a:rPr kumimoji="0" lang="es-ES" sz="1200" b="0" i="0" u="none" strike="noStrike" kern="0" cap="none" spc="0" normalizeH="0" baseline="0" noProof="0" err="1">
                <a:ln>
                  <a:noFill/>
                </a:ln>
                <a:solidFill>
                  <a:srgbClr val="FFFFFF"/>
                </a:solidFill>
                <a:effectLst/>
                <a:uLnTx/>
                <a:uFillTx/>
                <a:latin typeface="Montserrat"/>
                <a:cs typeface="Arial"/>
                <a:sym typeface="Arial"/>
              </a:rPr>
              <a:t>Capabilities</a:t>
            </a:r>
            <a:endParaRPr kumimoji="0" lang="es-ES" sz="1200" b="0" i="0" u="none" strike="noStrike" kern="0" cap="none" spc="0" normalizeH="0" baseline="0" noProof="0">
              <a:ln>
                <a:noFill/>
              </a:ln>
              <a:solidFill>
                <a:srgbClr val="000000"/>
              </a:solidFill>
              <a:effectLst/>
              <a:uLnTx/>
              <a:uFillTx/>
              <a:latin typeface="Montserrat"/>
              <a:cs typeface="Arial"/>
              <a:sym typeface="Arial"/>
            </a:endParaRPr>
          </a:p>
        </p:txBody>
      </p:sp>
      <p:pic>
        <p:nvPicPr>
          <p:cNvPr id="1227" name="Google Shape;1227;p34"/>
          <p:cNvPicPr preferRelativeResize="0"/>
          <p:nvPr/>
        </p:nvPicPr>
        <p:blipFill rotWithShape="1">
          <a:blip r:embed="rId21" cstate="email">
            <a:alphaModFix/>
            <a:extLst>
              <a:ext uri="{28A0092B-C50C-407E-A947-70E740481C1C}">
                <a14:useLocalDpi xmlns:a14="http://schemas.microsoft.com/office/drawing/2010/main"/>
              </a:ext>
            </a:extLst>
          </a:blip>
          <a:srcRect/>
          <a:stretch/>
        </p:blipFill>
        <p:spPr>
          <a:xfrm>
            <a:off x="13653594" y="7217879"/>
            <a:ext cx="1948604" cy="1170626"/>
          </a:xfrm>
          <a:prstGeom prst="rect">
            <a:avLst/>
          </a:prstGeom>
          <a:noFill/>
          <a:ln>
            <a:noFill/>
          </a:ln>
        </p:spPr>
      </p:pic>
      <p:pic>
        <p:nvPicPr>
          <p:cNvPr id="1228" name="Google Shape;1228;p34"/>
          <p:cNvPicPr preferRelativeResize="0"/>
          <p:nvPr/>
        </p:nvPicPr>
        <p:blipFill rotWithShape="1">
          <a:blip r:embed="rId22" cstate="email">
            <a:alphaModFix/>
            <a:extLst>
              <a:ext uri="{28A0092B-C50C-407E-A947-70E740481C1C}">
                <a14:useLocalDpi xmlns:a14="http://schemas.microsoft.com/office/drawing/2010/main"/>
              </a:ext>
            </a:extLst>
          </a:blip>
          <a:srcRect/>
          <a:stretch/>
        </p:blipFill>
        <p:spPr>
          <a:xfrm>
            <a:off x="15884879" y="7217876"/>
            <a:ext cx="1969786" cy="1170432"/>
          </a:xfrm>
          <a:prstGeom prst="rect">
            <a:avLst/>
          </a:prstGeom>
          <a:noFill/>
          <a:ln>
            <a:noFill/>
          </a:ln>
        </p:spPr>
      </p:pic>
      <p:sp>
        <p:nvSpPr>
          <p:cNvPr id="1195" name="Google Shape;1195;p34"/>
          <p:cNvSpPr/>
          <p:nvPr/>
        </p:nvSpPr>
        <p:spPr>
          <a:xfrm>
            <a:off x="501938" y="3763210"/>
            <a:ext cx="1995600" cy="731400"/>
          </a:xfrm>
          <a:prstGeom prst="roundRect">
            <a:avLst>
              <a:gd name="adj" fmla="val 16667"/>
            </a:avLst>
          </a:prstGeom>
          <a:solidFill>
            <a:srgbClr val="6800FF"/>
          </a:solidFill>
          <a:ln>
            <a:noFill/>
          </a:ln>
        </p:spPr>
        <p:txBody>
          <a:bodyPr spcFirstLastPara="1" wrap="square" lIns="0" tIns="0" rIns="0" bIns="0" anchor="ctr" anchorCtr="0">
            <a:noAutofit/>
          </a:bodyPr>
          <a:lstStyle/>
          <a:p>
            <a:pPr marL="0" marR="0" lvl="0" indent="0" algn="ctr" defTabSz="1828800" rtl="0" eaLnBrk="1" fontAlgn="auto" latinLnBrk="0" hangingPunct="1">
              <a:lnSpc>
                <a:spcPct val="100000"/>
              </a:lnSpc>
              <a:spcBef>
                <a:spcPts val="0"/>
              </a:spcBef>
              <a:spcAft>
                <a:spcPts val="0"/>
              </a:spcAft>
              <a:buClr>
                <a:srgbClr val="000000"/>
              </a:buClr>
              <a:buSzTx/>
              <a:buFont typeface="Arial"/>
              <a:buNone/>
              <a:tabLst/>
              <a:defRPr/>
            </a:pPr>
            <a:r>
              <a:rPr kumimoji="0" lang="es-ES" sz="1200" b="0" i="0" u="none" strike="noStrike" kern="0" cap="none" spc="0" normalizeH="0" baseline="0" noProof="0" err="1">
                <a:ln>
                  <a:noFill/>
                </a:ln>
                <a:solidFill>
                  <a:srgbClr val="FFFFFF"/>
                </a:solidFill>
                <a:effectLst/>
                <a:uLnTx/>
                <a:uFillTx/>
                <a:latin typeface="Montserrat"/>
                <a:cs typeface="Arial"/>
                <a:sym typeface="Arial"/>
              </a:rPr>
              <a:t>Landscape</a:t>
            </a:r>
            <a:r>
              <a:rPr kumimoji="0" lang="es-ES" sz="1200" b="0" i="0" u="none" strike="noStrike" kern="0" cap="none" spc="0" normalizeH="0" baseline="0" noProof="0">
                <a:ln>
                  <a:noFill/>
                </a:ln>
                <a:solidFill>
                  <a:srgbClr val="FFFFFF"/>
                </a:solidFill>
                <a:effectLst/>
                <a:uLnTx/>
                <a:uFillTx/>
                <a:latin typeface="Montserrat"/>
                <a:cs typeface="Arial"/>
                <a:sym typeface="Arial"/>
              </a:rPr>
              <a:t> </a:t>
            </a:r>
            <a:r>
              <a:rPr kumimoji="0" lang="es-ES" sz="1200" b="0" i="0" u="none" strike="noStrike" kern="0" cap="none" spc="0" normalizeH="0" baseline="0" noProof="0" err="1">
                <a:ln>
                  <a:noFill/>
                </a:ln>
                <a:solidFill>
                  <a:srgbClr val="FFFFFF"/>
                </a:solidFill>
                <a:effectLst/>
                <a:uLnTx/>
                <a:uFillTx/>
                <a:latin typeface="Montserrat"/>
                <a:cs typeface="Arial"/>
                <a:sym typeface="Arial"/>
              </a:rPr>
              <a:t>Overview</a:t>
            </a:r>
            <a:endParaRPr kumimoji="0" lang="es-ES" sz="1200" b="0" i="0" u="none" strike="noStrike" kern="0" cap="none" spc="0" normalizeH="0" baseline="0" noProof="0">
              <a:ln>
                <a:noFill/>
              </a:ln>
              <a:solidFill>
                <a:srgbClr val="000000"/>
              </a:solidFill>
              <a:effectLst/>
              <a:uLnTx/>
              <a:uFillTx/>
              <a:latin typeface="Montserrat"/>
              <a:cs typeface="Arial"/>
              <a:sym typeface="Arial"/>
            </a:endParaRPr>
          </a:p>
        </p:txBody>
      </p:sp>
      <p:sp>
        <p:nvSpPr>
          <p:cNvPr id="1196" name="Google Shape;1196;p34"/>
          <p:cNvSpPr/>
          <p:nvPr/>
        </p:nvSpPr>
        <p:spPr>
          <a:xfrm>
            <a:off x="2730786" y="3763210"/>
            <a:ext cx="1995600" cy="731400"/>
          </a:xfrm>
          <a:prstGeom prst="roundRect">
            <a:avLst>
              <a:gd name="adj" fmla="val 16667"/>
            </a:avLst>
          </a:prstGeom>
          <a:solidFill>
            <a:srgbClr val="6800FF"/>
          </a:solidFill>
          <a:ln>
            <a:noFill/>
          </a:ln>
        </p:spPr>
        <p:txBody>
          <a:bodyPr spcFirstLastPara="1" wrap="square" lIns="0" tIns="0" rIns="0" bIns="0" anchor="ctr" anchorCtr="0">
            <a:noAutofit/>
          </a:bodyPr>
          <a:lstStyle/>
          <a:p>
            <a:pPr marL="0" marR="0" lvl="0" indent="0" algn="ctr" defTabSz="1828800" rtl="0" eaLnBrk="1" fontAlgn="auto" latinLnBrk="0" hangingPunct="1">
              <a:lnSpc>
                <a:spcPct val="100000"/>
              </a:lnSpc>
              <a:spcBef>
                <a:spcPts val="0"/>
              </a:spcBef>
              <a:spcAft>
                <a:spcPts val="0"/>
              </a:spcAft>
              <a:buClr>
                <a:srgbClr val="000000"/>
              </a:buClr>
              <a:buSzTx/>
              <a:buFont typeface="Arial"/>
              <a:buNone/>
              <a:tabLst/>
              <a:defRPr/>
            </a:pPr>
            <a:r>
              <a:rPr kumimoji="0" lang="es-ES" sz="1200" b="0" i="0" u="none" strike="noStrike" kern="0" cap="none" spc="0" normalizeH="0" baseline="0" noProof="0">
                <a:ln>
                  <a:noFill/>
                </a:ln>
                <a:solidFill>
                  <a:srgbClr val="FFFFFF"/>
                </a:solidFill>
                <a:effectLst/>
                <a:uLnTx/>
                <a:uFillTx/>
                <a:latin typeface="Montserrat"/>
                <a:cs typeface="Arial"/>
                <a:sym typeface="Arial"/>
              </a:rPr>
              <a:t>Business </a:t>
            </a:r>
            <a:r>
              <a:rPr kumimoji="0" lang="es-ES" sz="1200" b="0" i="0" u="none" strike="noStrike" kern="0" cap="none" spc="0" normalizeH="0" baseline="0" noProof="0" err="1">
                <a:ln>
                  <a:noFill/>
                </a:ln>
                <a:solidFill>
                  <a:srgbClr val="FFFFFF"/>
                </a:solidFill>
                <a:effectLst/>
                <a:uLnTx/>
                <a:uFillTx/>
                <a:latin typeface="Montserrat"/>
                <a:cs typeface="Arial"/>
                <a:sym typeface="Arial"/>
              </a:rPr>
              <a:t>Process</a:t>
            </a:r>
            <a:r>
              <a:rPr kumimoji="0" lang="es-ES" sz="1200" b="0" i="0" u="none" strike="noStrike" kern="0" cap="none" spc="0" normalizeH="0" baseline="0" noProof="0">
                <a:ln>
                  <a:noFill/>
                </a:ln>
                <a:solidFill>
                  <a:srgbClr val="FFFFFF"/>
                </a:solidFill>
                <a:effectLst/>
                <a:uLnTx/>
                <a:uFillTx/>
                <a:latin typeface="Montserrat"/>
                <a:cs typeface="Arial"/>
                <a:sym typeface="Arial"/>
              </a:rPr>
              <a:t> </a:t>
            </a:r>
            <a:r>
              <a:rPr kumimoji="0" lang="es-ES" sz="1200" b="0" i="0" u="none" strike="noStrike" kern="0" cap="none" spc="0" normalizeH="0" baseline="0" noProof="0" err="1">
                <a:ln>
                  <a:noFill/>
                </a:ln>
                <a:solidFill>
                  <a:srgbClr val="FFFFFF"/>
                </a:solidFill>
                <a:effectLst/>
                <a:uLnTx/>
                <a:uFillTx/>
                <a:latin typeface="Montserrat"/>
                <a:cs typeface="Arial"/>
                <a:sym typeface="Arial"/>
              </a:rPr>
              <a:t>Capability</a:t>
            </a:r>
            <a:r>
              <a:rPr kumimoji="0" lang="es-ES" sz="1200" b="0" i="0" u="none" strike="noStrike" kern="0" cap="none" spc="0" normalizeH="0" baseline="0" noProof="0">
                <a:ln>
                  <a:noFill/>
                </a:ln>
                <a:solidFill>
                  <a:srgbClr val="FFFFFF"/>
                </a:solidFill>
                <a:effectLst/>
                <a:uLnTx/>
                <a:uFillTx/>
                <a:latin typeface="Montserrat"/>
                <a:cs typeface="Arial"/>
                <a:sym typeface="Arial"/>
              </a:rPr>
              <a:t> </a:t>
            </a:r>
            <a:r>
              <a:rPr kumimoji="0" lang="es-ES" sz="1200" b="0" i="0" u="none" strike="noStrike" kern="0" cap="none" spc="0" normalizeH="0" baseline="0" noProof="0" err="1">
                <a:ln>
                  <a:noFill/>
                </a:ln>
                <a:solidFill>
                  <a:srgbClr val="FFFFFF"/>
                </a:solidFill>
                <a:effectLst/>
                <a:uLnTx/>
                <a:uFillTx/>
                <a:latin typeface="Montserrat"/>
                <a:cs typeface="Arial"/>
                <a:sym typeface="Arial"/>
              </a:rPr>
              <a:t>Map</a:t>
            </a:r>
            <a:endParaRPr kumimoji="0" lang="es-ES" sz="1200" b="0" i="0" u="none" strike="noStrike" kern="0" cap="none" spc="0" normalizeH="0" baseline="0" noProof="0">
              <a:ln>
                <a:noFill/>
              </a:ln>
              <a:solidFill>
                <a:srgbClr val="000000"/>
              </a:solidFill>
              <a:effectLst/>
              <a:uLnTx/>
              <a:uFillTx/>
              <a:latin typeface="Montserrat"/>
              <a:cs typeface="Arial"/>
              <a:sym typeface="Arial"/>
            </a:endParaRPr>
          </a:p>
        </p:txBody>
      </p:sp>
      <p:sp>
        <p:nvSpPr>
          <p:cNvPr id="1197" name="Google Shape;1197;p34"/>
          <p:cNvSpPr/>
          <p:nvPr/>
        </p:nvSpPr>
        <p:spPr>
          <a:xfrm>
            <a:off x="468320" y="6111460"/>
            <a:ext cx="1995600" cy="731400"/>
          </a:xfrm>
          <a:prstGeom prst="roundRect">
            <a:avLst>
              <a:gd name="adj" fmla="val 16667"/>
            </a:avLst>
          </a:prstGeom>
          <a:solidFill>
            <a:srgbClr val="6800FF"/>
          </a:solidFill>
          <a:ln>
            <a:noFill/>
          </a:ln>
        </p:spPr>
        <p:txBody>
          <a:bodyPr spcFirstLastPara="1" wrap="square" lIns="0" tIns="0" rIns="0" bIns="0" anchor="ctr" anchorCtr="0">
            <a:noAutofit/>
          </a:bodyPr>
          <a:lstStyle/>
          <a:p>
            <a:pPr marL="0" marR="0" lvl="0" indent="0" algn="ctr" defTabSz="1828800" rtl="0" eaLnBrk="1" fontAlgn="auto" latinLnBrk="0" hangingPunct="1">
              <a:lnSpc>
                <a:spcPct val="100000"/>
              </a:lnSpc>
              <a:spcBef>
                <a:spcPts val="0"/>
              </a:spcBef>
              <a:spcAft>
                <a:spcPts val="0"/>
              </a:spcAft>
              <a:buClr>
                <a:srgbClr val="000000"/>
              </a:buClr>
              <a:buSzTx/>
              <a:buFont typeface="Arial"/>
              <a:buNone/>
              <a:tabLst/>
              <a:defRPr/>
            </a:pPr>
            <a:r>
              <a:rPr kumimoji="0" lang="es-ES" sz="1200" b="0" i="0" u="none" strike="noStrike" kern="0" cap="none" spc="0" normalizeH="0" baseline="0" noProof="0" err="1">
                <a:ln>
                  <a:noFill/>
                </a:ln>
                <a:solidFill>
                  <a:srgbClr val="FFFFFF"/>
                </a:solidFill>
                <a:effectLst/>
                <a:uLnTx/>
                <a:uFillTx/>
                <a:latin typeface="Montserrat"/>
                <a:cs typeface="Arial"/>
                <a:sym typeface="Arial"/>
              </a:rPr>
              <a:t>Risk</a:t>
            </a:r>
            <a:r>
              <a:rPr kumimoji="0" lang="es-ES" sz="1200" b="0" i="0" u="none" strike="noStrike" kern="0" cap="none" spc="0" normalizeH="0" baseline="0" noProof="0">
                <a:ln>
                  <a:noFill/>
                </a:ln>
                <a:solidFill>
                  <a:srgbClr val="FFFFFF"/>
                </a:solidFill>
                <a:effectLst/>
                <a:uLnTx/>
                <a:uFillTx/>
                <a:latin typeface="Montserrat"/>
                <a:cs typeface="Arial"/>
                <a:sym typeface="Arial"/>
              </a:rPr>
              <a:t> </a:t>
            </a:r>
            <a:r>
              <a:rPr kumimoji="0" lang="es-ES" sz="1200" b="0" i="0" u="none" strike="noStrike" kern="0" cap="none" spc="0" normalizeH="0" baseline="0" noProof="0" err="1">
                <a:ln>
                  <a:noFill/>
                </a:ln>
                <a:solidFill>
                  <a:srgbClr val="FFFFFF"/>
                </a:solidFill>
                <a:effectLst/>
                <a:uLnTx/>
                <a:uFillTx/>
                <a:latin typeface="Montserrat"/>
                <a:cs typeface="Arial"/>
                <a:sym typeface="Arial"/>
              </a:rPr>
              <a:t>Mitigation</a:t>
            </a:r>
            <a:r>
              <a:rPr kumimoji="0" lang="es-ES" sz="1200" b="0" i="0" u="none" strike="noStrike" kern="0" cap="none" spc="0" normalizeH="0" baseline="0" noProof="0">
                <a:ln>
                  <a:noFill/>
                </a:ln>
                <a:solidFill>
                  <a:srgbClr val="FFFFFF"/>
                </a:solidFill>
                <a:effectLst/>
                <a:uLnTx/>
                <a:uFillTx/>
                <a:latin typeface="Montserrat"/>
                <a:cs typeface="Arial"/>
                <a:sym typeface="Arial"/>
              </a:rPr>
              <a:t> </a:t>
            </a:r>
            <a:r>
              <a:rPr kumimoji="0" lang="es-ES" sz="1200" b="0" i="0" u="none" strike="noStrike" kern="0" cap="none" spc="0" normalizeH="0" baseline="0" noProof="0" err="1">
                <a:ln>
                  <a:noFill/>
                </a:ln>
                <a:solidFill>
                  <a:srgbClr val="FFFFFF"/>
                </a:solidFill>
                <a:effectLst/>
                <a:uLnTx/>
                <a:uFillTx/>
                <a:latin typeface="Montserrat"/>
                <a:cs typeface="Arial"/>
                <a:sym typeface="Arial"/>
              </a:rPr>
              <a:t>strategy</a:t>
            </a:r>
            <a:endParaRPr kumimoji="0" lang="es-ES" sz="1200" b="0" i="0" u="none" strike="noStrike" kern="0" cap="none" spc="0" normalizeH="0" baseline="0" noProof="0">
              <a:ln>
                <a:noFill/>
              </a:ln>
              <a:solidFill>
                <a:srgbClr val="000000"/>
              </a:solidFill>
              <a:effectLst/>
              <a:uLnTx/>
              <a:uFillTx/>
              <a:latin typeface="Montserrat"/>
              <a:cs typeface="Arial"/>
              <a:sym typeface="Arial"/>
            </a:endParaRPr>
          </a:p>
        </p:txBody>
      </p:sp>
      <p:sp>
        <p:nvSpPr>
          <p:cNvPr id="1198" name="Google Shape;1198;p34"/>
          <p:cNvSpPr/>
          <p:nvPr/>
        </p:nvSpPr>
        <p:spPr>
          <a:xfrm>
            <a:off x="2697168" y="6111462"/>
            <a:ext cx="1995600" cy="731400"/>
          </a:xfrm>
          <a:prstGeom prst="roundRect">
            <a:avLst>
              <a:gd name="adj" fmla="val 16667"/>
            </a:avLst>
          </a:prstGeom>
          <a:solidFill>
            <a:srgbClr val="6800FF"/>
          </a:solidFill>
          <a:ln>
            <a:noFill/>
          </a:ln>
        </p:spPr>
        <p:txBody>
          <a:bodyPr spcFirstLastPara="1" wrap="square" lIns="0" tIns="0" rIns="0" bIns="0" anchor="ctr" anchorCtr="0">
            <a:noAutofit/>
          </a:bodyPr>
          <a:lstStyle/>
          <a:p>
            <a:pPr marL="0" marR="0" lvl="0" indent="0" algn="ctr" defTabSz="1828800" rtl="0" eaLnBrk="1" fontAlgn="auto" latinLnBrk="0" hangingPunct="1">
              <a:lnSpc>
                <a:spcPct val="100000"/>
              </a:lnSpc>
              <a:spcBef>
                <a:spcPts val="0"/>
              </a:spcBef>
              <a:spcAft>
                <a:spcPts val="0"/>
              </a:spcAft>
              <a:buClr>
                <a:srgbClr val="000000"/>
              </a:buClr>
              <a:buSzTx/>
              <a:buFont typeface="Arial"/>
              <a:buNone/>
              <a:tabLst/>
              <a:defRPr/>
            </a:pPr>
            <a:r>
              <a:rPr kumimoji="0" lang="es-ES" sz="1200" b="0" i="0" u="none" strike="noStrike" kern="0" cap="none" spc="0" normalizeH="0" baseline="0" noProof="0">
                <a:ln>
                  <a:noFill/>
                </a:ln>
                <a:solidFill>
                  <a:srgbClr val="FFFFFF"/>
                </a:solidFill>
                <a:effectLst/>
                <a:uLnTx/>
                <a:uFillTx/>
                <a:latin typeface="Montserrat"/>
                <a:cs typeface="Arial"/>
                <a:sym typeface="Arial"/>
              </a:rPr>
              <a:t>Cost </a:t>
            </a:r>
            <a:r>
              <a:rPr kumimoji="0" lang="es-ES" sz="1200" b="0" i="0" u="none" strike="noStrike" kern="0" cap="none" spc="0" normalizeH="0" baseline="0" noProof="0" err="1">
                <a:ln>
                  <a:noFill/>
                </a:ln>
                <a:solidFill>
                  <a:srgbClr val="FFFFFF"/>
                </a:solidFill>
                <a:effectLst/>
                <a:uLnTx/>
                <a:uFillTx/>
                <a:latin typeface="Montserrat"/>
                <a:cs typeface="Arial"/>
                <a:sym typeface="Arial"/>
              </a:rPr>
              <a:t>Reduction</a:t>
            </a:r>
            <a:r>
              <a:rPr kumimoji="0" lang="es-ES" sz="1200" b="0" i="0" u="none" strike="noStrike" kern="0" cap="none" spc="0" normalizeH="0" baseline="0" noProof="0">
                <a:ln>
                  <a:noFill/>
                </a:ln>
                <a:solidFill>
                  <a:srgbClr val="FFFFFF"/>
                </a:solidFill>
                <a:effectLst/>
                <a:uLnTx/>
                <a:uFillTx/>
                <a:latin typeface="Montserrat"/>
                <a:cs typeface="Arial"/>
                <a:sym typeface="Arial"/>
              </a:rPr>
              <a:t> </a:t>
            </a:r>
            <a:r>
              <a:rPr kumimoji="0" lang="es-ES" sz="1200" b="0" i="0" u="none" strike="noStrike" kern="0" cap="none" spc="0" normalizeH="0" baseline="0" noProof="0" err="1">
                <a:ln>
                  <a:noFill/>
                </a:ln>
                <a:solidFill>
                  <a:srgbClr val="FFFFFF"/>
                </a:solidFill>
                <a:effectLst/>
                <a:uLnTx/>
                <a:uFillTx/>
                <a:latin typeface="Montserrat"/>
                <a:cs typeface="Arial"/>
                <a:sym typeface="Arial"/>
              </a:rPr>
              <a:t>Strategy</a:t>
            </a:r>
            <a:endParaRPr kumimoji="0" lang="es-ES" sz="1200" b="0" i="0" u="none" strike="noStrike" kern="0" cap="none" spc="0" normalizeH="0" baseline="0" noProof="0">
              <a:ln>
                <a:noFill/>
              </a:ln>
              <a:solidFill>
                <a:srgbClr val="000000"/>
              </a:solidFill>
              <a:effectLst/>
              <a:uLnTx/>
              <a:uFillTx/>
              <a:latin typeface="Montserrat"/>
              <a:cs typeface="Arial"/>
              <a:sym typeface="Arial"/>
            </a:endParaRPr>
          </a:p>
        </p:txBody>
      </p:sp>
      <p:sp>
        <p:nvSpPr>
          <p:cNvPr id="1199" name="Google Shape;1199;p34"/>
          <p:cNvSpPr/>
          <p:nvPr/>
        </p:nvSpPr>
        <p:spPr>
          <a:xfrm>
            <a:off x="417894" y="8593812"/>
            <a:ext cx="1995600" cy="731400"/>
          </a:xfrm>
          <a:prstGeom prst="roundRect">
            <a:avLst>
              <a:gd name="adj" fmla="val 16667"/>
            </a:avLst>
          </a:prstGeom>
          <a:solidFill>
            <a:srgbClr val="6800FF"/>
          </a:solidFill>
          <a:ln>
            <a:noFill/>
          </a:ln>
        </p:spPr>
        <p:txBody>
          <a:bodyPr spcFirstLastPara="1" wrap="square" lIns="0" tIns="0" rIns="0" bIns="0" anchor="ctr" anchorCtr="0">
            <a:noAutofit/>
          </a:bodyPr>
          <a:lstStyle/>
          <a:p>
            <a:pPr marL="0" marR="0" lvl="0" indent="0" algn="ctr" defTabSz="1828800" rtl="0" eaLnBrk="1" fontAlgn="auto" latinLnBrk="0" hangingPunct="1">
              <a:lnSpc>
                <a:spcPct val="100000"/>
              </a:lnSpc>
              <a:spcBef>
                <a:spcPts val="0"/>
              </a:spcBef>
              <a:spcAft>
                <a:spcPts val="0"/>
              </a:spcAft>
              <a:buClr>
                <a:srgbClr val="000000"/>
              </a:buClr>
              <a:buSzTx/>
              <a:buFont typeface="Arial"/>
              <a:buNone/>
              <a:tabLst/>
              <a:defRPr/>
            </a:pPr>
            <a:r>
              <a:rPr kumimoji="0" lang="es-ES" sz="1200" b="0" i="0" u="none" strike="noStrike" kern="0" cap="none" spc="0" normalizeH="0" baseline="0" noProof="0" err="1">
                <a:ln>
                  <a:noFill/>
                </a:ln>
                <a:solidFill>
                  <a:srgbClr val="FFFFFF"/>
                </a:solidFill>
                <a:effectLst/>
                <a:uLnTx/>
                <a:uFillTx/>
                <a:latin typeface="Montserrat"/>
                <a:cs typeface="Arial"/>
                <a:sym typeface="Arial"/>
              </a:rPr>
              <a:t>Proposed</a:t>
            </a:r>
            <a:r>
              <a:rPr kumimoji="0" lang="es-ES" sz="1200" b="0" i="0" u="none" strike="noStrike" kern="0" cap="none" spc="0" normalizeH="0" baseline="0" noProof="0">
                <a:ln>
                  <a:noFill/>
                </a:ln>
                <a:solidFill>
                  <a:srgbClr val="FFFFFF"/>
                </a:solidFill>
                <a:effectLst/>
                <a:uLnTx/>
                <a:uFillTx/>
                <a:latin typeface="Montserrat"/>
                <a:cs typeface="Arial"/>
                <a:sym typeface="Arial"/>
              </a:rPr>
              <a:t> Future </a:t>
            </a:r>
            <a:r>
              <a:rPr kumimoji="0" lang="es-ES" sz="1200" b="0" i="0" u="none" strike="noStrike" kern="0" cap="none" spc="0" normalizeH="0" baseline="0" noProof="0" err="1">
                <a:ln>
                  <a:noFill/>
                </a:ln>
                <a:solidFill>
                  <a:srgbClr val="FFFFFF"/>
                </a:solidFill>
                <a:effectLst/>
                <a:uLnTx/>
                <a:uFillTx/>
                <a:latin typeface="Montserrat"/>
                <a:cs typeface="Arial"/>
                <a:sym typeface="Arial"/>
              </a:rPr>
              <a:t>State</a:t>
            </a:r>
            <a:r>
              <a:rPr kumimoji="0" lang="es-ES" sz="1200" b="0" i="0" u="none" strike="noStrike" kern="0" cap="none" spc="0" normalizeH="0" baseline="0" noProof="0">
                <a:ln>
                  <a:noFill/>
                </a:ln>
                <a:solidFill>
                  <a:srgbClr val="FFFFFF"/>
                </a:solidFill>
                <a:effectLst/>
                <a:uLnTx/>
                <a:uFillTx/>
                <a:latin typeface="Montserrat"/>
                <a:cs typeface="Arial"/>
                <a:sym typeface="Arial"/>
              </a:rPr>
              <a:t>- BI</a:t>
            </a:r>
            <a:endParaRPr kumimoji="0" lang="es-ES" sz="1200" b="0" i="0" u="none" strike="noStrike" kern="0" cap="none" spc="0" normalizeH="0" baseline="0" noProof="0">
              <a:ln>
                <a:noFill/>
              </a:ln>
              <a:solidFill>
                <a:srgbClr val="000000"/>
              </a:solidFill>
              <a:effectLst/>
              <a:uLnTx/>
              <a:uFillTx/>
              <a:latin typeface="Montserrat"/>
              <a:cs typeface="Arial"/>
              <a:sym typeface="Arial"/>
            </a:endParaRPr>
          </a:p>
        </p:txBody>
      </p:sp>
      <p:sp>
        <p:nvSpPr>
          <p:cNvPr id="1200" name="Google Shape;1200;p34"/>
          <p:cNvSpPr/>
          <p:nvPr/>
        </p:nvSpPr>
        <p:spPr>
          <a:xfrm>
            <a:off x="2646742" y="8593812"/>
            <a:ext cx="1995600" cy="731400"/>
          </a:xfrm>
          <a:prstGeom prst="roundRect">
            <a:avLst>
              <a:gd name="adj" fmla="val 16667"/>
            </a:avLst>
          </a:prstGeom>
          <a:solidFill>
            <a:srgbClr val="6800FF"/>
          </a:solidFill>
          <a:ln>
            <a:noFill/>
          </a:ln>
        </p:spPr>
        <p:txBody>
          <a:bodyPr spcFirstLastPara="1" wrap="square" lIns="0" tIns="0" rIns="0" bIns="0" anchor="ctr" anchorCtr="0">
            <a:noAutofit/>
          </a:bodyPr>
          <a:lstStyle/>
          <a:p>
            <a:pPr marL="0" marR="0" lvl="0" indent="0" algn="ctr" defTabSz="1828800" rtl="0" eaLnBrk="1" fontAlgn="auto" latinLnBrk="0" hangingPunct="1">
              <a:lnSpc>
                <a:spcPct val="100000"/>
              </a:lnSpc>
              <a:spcBef>
                <a:spcPts val="0"/>
              </a:spcBef>
              <a:spcAft>
                <a:spcPts val="0"/>
              </a:spcAft>
              <a:buClr>
                <a:srgbClr val="000000"/>
              </a:buClr>
              <a:buSzTx/>
              <a:buFont typeface="Arial"/>
              <a:buNone/>
              <a:tabLst/>
              <a:defRPr/>
            </a:pPr>
            <a:r>
              <a:rPr kumimoji="0" lang="es-ES" sz="1200" b="0" i="0" u="none" strike="noStrike" kern="0" cap="none" spc="0" normalizeH="0" baseline="0" noProof="0" err="1">
                <a:ln>
                  <a:noFill/>
                </a:ln>
                <a:solidFill>
                  <a:srgbClr val="FFFFFF"/>
                </a:solidFill>
                <a:effectLst/>
                <a:uLnTx/>
                <a:uFillTx/>
                <a:latin typeface="Montserrat"/>
                <a:cs typeface="Arial"/>
                <a:sym typeface="Arial"/>
              </a:rPr>
              <a:t>Transformation</a:t>
            </a:r>
            <a:r>
              <a:rPr kumimoji="0" lang="es-ES" sz="1200" b="0" i="0" u="none" strike="noStrike" kern="0" cap="none" spc="0" normalizeH="0" baseline="0" noProof="0">
                <a:ln>
                  <a:noFill/>
                </a:ln>
                <a:solidFill>
                  <a:srgbClr val="FFFFFF"/>
                </a:solidFill>
                <a:effectLst/>
                <a:uLnTx/>
                <a:uFillTx/>
                <a:latin typeface="Montserrat"/>
                <a:cs typeface="Arial"/>
                <a:sym typeface="Arial"/>
              </a:rPr>
              <a:t> </a:t>
            </a:r>
            <a:r>
              <a:rPr kumimoji="0" lang="es-ES" sz="1200" b="0" i="0" u="none" strike="noStrike" kern="0" cap="none" spc="0" normalizeH="0" baseline="0" noProof="0" err="1">
                <a:ln>
                  <a:noFill/>
                </a:ln>
                <a:solidFill>
                  <a:srgbClr val="FFFFFF"/>
                </a:solidFill>
                <a:effectLst/>
                <a:uLnTx/>
                <a:uFillTx/>
                <a:latin typeface="Montserrat"/>
                <a:cs typeface="Arial"/>
                <a:sym typeface="Arial"/>
              </a:rPr>
              <a:t>RoadMap</a:t>
            </a:r>
            <a:r>
              <a:rPr kumimoji="0" lang="es-ES" sz="1200" b="0" i="0" u="none" strike="noStrike" kern="0" cap="none" spc="0" normalizeH="0" baseline="0" noProof="0">
                <a:ln>
                  <a:noFill/>
                </a:ln>
                <a:solidFill>
                  <a:srgbClr val="FFFFFF"/>
                </a:solidFill>
                <a:effectLst/>
                <a:uLnTx/>
                <a:uFillTx/>
                <a:latin typeface="Montserrat"/>
                <a:cs typeface="Arial"/>
                <a:sym typeface="Arial"/>
              </a:rPr>
              <a:t> </a:t>
            </a:r>
            <a:endParaRPr kumimoji="0" lang="es-ES" sz="1200" b="0" i="0" u="none" strike="noStrike" kern="0" cap="none" spc="0" normalizeH="0" baseline="0" noProof="0">
              <a:ln>
                <a:noFill/>
              </a:ln>
              <a:solidFill>
                <a:srgbClr val="000000"/>
              </a:solidFill>
              <a:effectLst/>
              <a:uLnTx/>
              <a:uFillTx/>
              <a:latin typeface="Montserrat"/>
              <a:cs typeface="Arial"/>
              <a:sym typeface="Arial"/>
            </a:endParaRPr>
          </a:p>
        </p:txBody>
      </p:sp>
      <p:pic>
        <p:nvPicPr>
          <p:cNvPr id="1240" name="Google Shape;1240;p34"/>
          <p:cNvPicPr preferRelativeResize="0"/>
          <p:nvPr/>
        </p:nvPicPr>
        <p:blipFill rotWithShape="1">
          <a:blip r:embed="rId23" cstate="email">
            <a:alphaModFix/>
            <a:extLst>
              <a:ext uri="{28A0092B-C50C-407E-A947-70E740481C1C}">
                <a14:useLocalDpi xmlns:a14="http://schemas.microsoft.com/office/drawing/2010/main"/>
              </a:ext>
            </a:extLst>
          </a:blip>
          <a:srcRect/>
          <a:stretch/>
        </p:blipFill>
        <p:spPr>
          <a:xfrm>
            <a:off x="11530001" y="2357558"/>
            <a:ext cx="1988318" cy="1199092"/>
          </a:xfrm>
          <a:prstGeom prst="rect">
            <a:avLst/>
          </a:prstGeom>
          <a:noFill/>
          <a:ln>
            <a:noFill/>
          </a:ln>
        </p:spPr>
      </p:pic>
      <p:pic>
        <p:nvPicPr>
          <p:cNvPr id="1241" name="Google Shape;1241;p34"/>
          <p:cNvPicPr preferRelativeResize="0"/>
          <p:nvPr/>
        </p:nvPicPr>
        <p:blipFill rotWithShape="1">
          <a:blip r:embed="rId24" cstate="email">
            <a:alphaModFix/>
            <a:extLst>
              <a:ext uri="{28A0092B-C50C-407E-A947-70E740481C1C}">
                <a14:useLocalDpi xmlns:a14="http://schemas.microsoft.com/office/drawing/2010/main"/>
              </a:ext>
            </a:extLst>
          </a:blip>
          <a:srcRect/>
          <a:stretch/>
        </p:blipFill>
        <p:spPr>
          <a:xfrm>
            <a:off x="9334179" y="2357558"/>
            <a:ext cx="1974266" cy="1199092"/>
          </a:xfrm>
          <a:prstGeom prst="rect">
            <a:avLst/>
          </a:prstGeom>
          <a:noFill/>
          <a:ln>
            <a:noFill/>
          </a:ln>
        </p:spPr>
      </p:pic>
      <p:pic>
        <p:nvPicPr>
          <p:cNvPr id="1242" name="Google Shape;1242;p34"/>
          <p:cNvPicPr preferRelativeResize="0"/>
          <p:nvPr/>
        </p:nvPicPr>
        <p:blipFill rotWithShape="1">
          <a:blip r:embed="rId25" cstate="email">
            <a:alphaModFix/>
            <a:extLst>
              <a:ext uri="{28A0092B-C50C-407E-A947-70E740481C1C}">
                <a14:useLocalDpi xmlns:a14="http://schemas.microsoft.com/office/drawing/2010/main"/>
              </a:ext>
            </a:extLst>
          </a:blip>
          <a:srcRect/>
          <a:stretch/>
        </p:blipFill>
        <p:spPr>
          <a:xfrm>
            <a:off x="9367797" y="4705436"/>
            <a:ext cx="1993190" cy="1199092"/>
          </a:xfrm>
          <a:prstGeom prst="rect">
            <a:avLst/>
          </a:prstGeom>
          <a:noFill/>
          <a:ln>
            <a:noFill/>
          </a:ln>
        </p:spPr>
      </p:pic>
      <p:pic>
        <p:nvPicPr>
          <p:cNvPr id="1243" name="Google Shape;1243;p34"/>
          <p:cNvPicPr preferRelativeResize="0"/>
          <p:nvPr/>
        </p:nvPicPr>
        <p:blipFill rotWithShape="1">
          <a:blip r:embed="rId26" cstate="email">
            <a:alphaModFix/>
            <a:extLst>
              <a:ext uri="{28A0092B-C50C-407E-A947-70E740481C1C}">
                <a14:useLocalDpi xmlns:a14="http://schemas.microsoft.com/office/drawing/2010/main"/>
              </a:ext>
            </a:extLst>
          </a:blip>
          <a:srcRect/>
          <a:stretch/>
        </p:blipFill>
        <p:spPr>
          <a:xfrm>
            <a:off x="11563618" y="4705439"/>
            <a:ext cx="1951508" cy="1199094"/>
          </a:xfrm>
          <a:prstGeom prst="rect">
            <a:avLst/>
          </a:prstGeom>
          <a:noFill/>
          <a:ln>
            <a:noFill/>
          </a:ln>
        </p:spPr>
      </p:pic>
      <p:sp>
        <p:nvSpPr>
          <p:cNvPr id="1207" name="Google Shape;1207;p34"/>
          <p:cNvSpPr/>
          <p:nvPr/>
        </p:nvSpPr>
        <p:spPr>
          <a:xfrm>
            <a:off x="4935256" y="3790862"/>
            <a:ext cx="1995600" cy="731400"/>
          </a:xfrm>
          <a:prstGeom prst="roundRect">
            <a:avLst>
              <a:gd name="adj" fmla="val 16667"/>
            </a:avLst>
          </a:prstGeom>
          <a:solidFill>
            <a:srgbClr val="6800FF"/>
          </a:solidFill>
          <a:ln>
            <a:noFill/>
          </a:ln>
        </p:spPr>
        <p:txBody>
          <a:bodyPr spcFirstLastPara="1" wrap="square" lIns="0" tIns="0" rIns="0" bIns="0" anchor="ctr" anchorCtr="0">
            <a:noAutofit/>
          </a:bodyPr>
          <a:lstStyle/>
          <a:p>
            <a:pPr marL="0" marR="0" lvl="0" indent="0" algn="ctr" defTabSz="1828800" rtl="0" eaLnBrk="1" fontAlgn="auto" latinLnBrk="0" hangingPunct="1">
              <a:lnSpc>
                <a:spcPct val="100000"/>
              </a:lnSpc>
              <a:spcBef>
                <a:spcPts val="0"/>
              </a:spcBef>
              <a:spcAft>
                <a:spcPts val="0"/>
              </a:spcAft>
              <a:buClr>
                <a:srgbClr val="000000"/>
              </a:buClr>
              <a:buSzTx/>
              <a:buFont typeface="Arial"/>
              <a:buNone/>
              <a:tabLst/>
              <a:defRPr/>
            </a:pPr>
            <a:r>
              <a:rPr kumimoji="0" lang="es-ES" sz="1200" b="0" i="0" u="none" strike="noStrike" kern="0" cap="none" spc="0" normalizeH="0" baseline="0" noProof="0" err="1">
                <a:ln>
                  <a:noFill/>
                </a:ln>
                <a:solidFill>
                  <a:srgbClr val="FFFFFF"/>
                </a:solidFill>
                <a:effectLst/>
                <a:uLnTx/>
                <a:uFillTx/>
                <a:latin typeface="Montserrat"/>
                <a:cs typeface="Arial"/>
                <a:sym typeface="Arial"/>
              </a:rPr>
              <a:t>Application</a:t>
            </a:r>
            <a:r>
              <a:rPr kumimoji="0" lang="es-ES" sz="1200" b="0" i="0" u="none" strike="noStrike" kern="0" cap="none" spc="0" normalizeH="0" baseline="0" noProof="0">
                <a:ln>
                  <a:noFill/>
                </a:ln>
                <a:solidFill>
                  <a:srgbClr val="FFFFFF"/>
                </a:solidFill>
                <a:effectLst/>
                <a:uLnTx/>
                <a:uFillTx/>
                <a:latin typeface="Montserrat"/>
                <a:cs typeface="Arial"/>
                <a:sym typeface="Arial"/>
              </a:rPr>
              <a:t> </a:t>
            </a:r>
            <a:r>
              <a:rPr kumimoji="0" lang="es-ES" sz="1200" b="0" i="0" u="none" strike="noStrike" kern="0" cap="none" spc="0" normalizeH="0" baseline="0" noProof="0" err="1">
                <a:ln>
                  <a:noFill/>
                </a:ln>
                <a:solidFill>
                  <a:srgbClr val="FFFFFF"/>
                </a:solidFill>
                <a:effectLst/>
                <a:uLnTx/>
                <a:uFillTx/>
                <a:latin typeface="Montserrat"/>
                <a:cs typeface="Arial"/>
                <a:sym typeface="Arial"/>
              </a:rPr>
              <a:t>to</a:t>
            </a:r>
            <a:r>
              <a:rPr kumimoji="0" lang="es-ES" sz="1200" b="0" i="0" u="none" strike="noStrike" kern="0" cap="none" spc="0" normalizeH="0" baseline="0" noProof="0">
                <a:ln>
                  <a:noFill/>
                </a:ln>
                <a:solidFill>
                  <a:srgbClr val="FFFFFF"/>
                </a:solidFill>
                <a:effectLst/>
                <a:uLnTx/>
                <a:uFillTx/>
                <a:latin typeface="Montserrat"/>
                <a:cs typeface="Arial"/>
                <a:sym typeface="Arial"/>
              </a:rPr>
              <a:t> </a:t>
            </a:r>
            <a:r>
              <a:rPr kumimoji="0" lang="es-ES" sz="1200" b="0" i="0" u="none" strike="noStrike" kern="0" cap="none" spc="0" normalizeH="0" baseline="0" noProof="0" err="1">
                <a:ln>
                  <a:noFill/>
                </a:ln>
                <a:solidFill>
                  <a:srgbClr val="FFFFFF"/>
                </a:solidFill>
                <a:effectLst/>
                <a:uLnTx/>
                <a:uFillTx/>
                <a:latin typeface="Montserrat"/>
                <a:cs typeface="Arial"/>
                <a:sym typeface="Arial"/>
              </a:rPr>
              <a:t>process</a:t>
            </a:r>
            <a:r>
              <a:rPr kumimoji="0" lang="es-ES" sz="1200" b="0" i="0" u="none" strike="noStrike" kern="0" cap="none" spc="0" normalizeH="0" baseline="0" noProof="0">
                <a:ln>
                  <a:noFill/>
                </a:ln>
                <a:solidFill>
                  <a:srgbClr val="FFFFFF"/>
                </a:solidFill>
                <a:effectLst/>
                <a:uLnTx/>
                <a:uFillTx/>
                <a:latin typeface="Montserrat"/>
                <a:cs typeface="Arial"/>
                <a:sym typeface="Arial"/>
              </a:rPr>
              <a:t> capture</a:t>
            </a:r>
            <a:endParaRPr kumimoji="0" lang="es-ES" sz="1200" b="0" i="0" u="none" strike="noStrike" kern="0" cap="none" spc="0" normalizeH="0" baseline="0" noProof="0">
              <a:ln>
                <a:noFill/>
              </a:ln>
              <a:solidFill>
                <a:srgbClr val="000000"/>
              </a:solidFill>
              <a:effectLst/>
              <a:uLnTx/>
              <a:uFillTx/>
              <a:latin typeface="Montserrat"/>
              <a:cs typeface="Arial"/>
              <a:sym typeface="Arial"/>
            </a:endParaRPr>
          </a:p>
        </p:txBody>
      </p:sp>
      <p:sp>
        <p:nvSpPr>
          <p:cNvPr id="1187" name="Google Shape;1187;p34"/>
          <p:cNvSpPr/>
          <p:nvPr/>
        </p:nvSpPr>
        <p:spPr>
          <a:xfrm>
            <a:off x="13647310" y="6116564"/>
            <a:ext cx="1995600" cy="731400"/>
          </a:xfrm>
          <a:prstGeom prst="roundRect">
            <a:avLst>
              <a:gd name="adj" fmla="val 16667"/>
            </a:avLst>
          </a:prstGeom>
          <a:solidFill>
            <a:srgbClr val="6800FF"/>
          </a:solidFill>
          <a:ln>
            <a:noFill/>
          </a:ln>
        </p:spPr>
        <p:txBody>
          <a:bodyPr spcFirstLastPara="1" wrap="square" lIns="0" tIns="0" rIns="0" bIns="0" anchor="ctr" anchorCtr="0">
            <a:noAutofit/>
          </a:bodyPr>
          <a:lstStyle/>
          <a:p>
            <a:pPr marL="0" marR="0" lvl="0" indent="0" algn="ctr" defTabSz="1828800" rtl="0" eaLnBrk="1" fontAlgn="auto" latinLnBrk="0" hangingPunct="1">
              <a:lnSpc>
                <a:spcPct val="100000"/>
              </a:lnSpc>
              <a:spcBef>
                <a:spcPts val="0"/>
              </a:spcBef>
              <a:spcAft>
                <a:spcPts val="0"/>
              </a:spcAft>
              <a:buClr>
                <a:srgbClr val="000000"/>
              </a:buClr>
              <a:buSzTx/>
              <a:buFont typeface="Arial"/>
              <a:buNone/>
              <a:tabLst/>
              <a:defRPr/>
            </a:pPr>
            <a:r>
              <a:rPr kumimoji="0" lang="es-ES" sz="1200" b="0" i="0" u="none" strike="noStrike" kern="0" cap="none" spc="0" normalizeH="0" baseline="0" noProof="0" err="1">
                <a:ln>
                  <a:noFill/>
                </a:ln>
                <a:solidFill>
                  <a:srgbClr val="FFFFFF"/>
                </a:solidFill>
                <a:effectLst/>
                <a:uLnTx/>
                <a:uFillTx/>
                <a:latin typeface="Montserrat"/>
                <a:cs typeface="Arial"/>
                <a:sym typeface="Arial"/>
              </a:rPr>
              <a:t>Transformation</a:t>
            </a:r>
            <a:r>
              <a:rPr kumimoji="0" lang="es-ES" sz="1200" b="0" i="0" u="none" strike="noStrike" kern="0" cap="none" spc="0" normalizeH="0" baseline="0" noProof="0">
                <a:ln>
                  <a:noFill/>
                </a:ln>
                <a:solidFill>
                  <a:srgbClr val="FFFFFF"/>
                </a:solidFill>
                <a:effectLst/>
                <a:uLnTx/>
                <a:uFillTx/>
                <a:latin typeface="Montserrat"/>
                <a:cs typeface="Arial"/>
                <a:sym typeface="Arial"/>
              </a:rPr>
              <a:t> </a:t>
            </a:r>
            <a:r>
              <a:rPr kumimoji="0" lang="es-ES" sz="1200" b="0" i="0" u="none" strike="noStrike" kern="0" cap="none" spc="0" normalizeH="0" baseline="0" noProof="0" err="1">
                <a:ln>
                  <a:noFill/>
                </a:ln>
                <a:solidFill>
                  <a:srgbClr val="FFFFFF"/>
                </a:solidFill>
                <a:effectLst/>
                <a:uLnTx/>
                <a:uFillTx/>
                <a:latin typeface="Montserrat"/>
                <a:cs typeface="Arial"/>
                <a:sym typeface="Arial"/>
              </a:rPr>
              <a:t>Initiatives</a:t>
            </a:r>
            <a:r>
              <a:rPr kumimoji="0" lang="es-ES" sz="1200" b="0" i="0" u="none" strike="noStrike" kern="0" cap="none" spc="0" normalizeH="0" baseline="0" noProof="0">
                <a:ln>
                  <a:noFill/>
                </a:ln>
                <a:solidFill>
                  <a:srgbClr val="FFFFFF"/>
                </a:solidFill>
                <a:effectLst/>
                <a:uLnTx/>
                <a:uFillTx/>
                <a:latin typeface="Montserrat"/>
                <a:cs typeface="Arial"/>
                <a:sym typeface="Arial"/>
              </a:rPr>
              <a:t> </a:t>
            </a:r>
            <a:endParaRPr kumimoji="0" lang="es-ES" sz="1200" b="0" i="0" u="none" strike="noStrike" kern="0" cap="none" spc="0" normalizeH="0" baseline="0" noProof="0">
              <a:ln>
                <a:noFill/>
              </a:ln>
              <a:solidFill>
                <a:srgbClr val="000000"/>
              </a:solidFill>
              <a:effectLst/>
              <a:uLnTx/>
              <a:uFillTx/>
              <a:latin typeface="Montserrat"/>
              <a:cs typeface="Arial"/>
              <a:sym typeface="Arial"/>
            </a:endParaRPr>
          </a:p>
        </p:txBody>
      </p:sp>
      <p:sp>
        <p:nvSpPr>
          <p:cNvPr id="1188" name="Google Shape;1188;p34"/>
          <p:cNvSpPr/>
          <p:nvPr/>
        </p:nvSpPr>
        <p:spPr>
          <a:xfrm>
            <a:off x="15876158" y="6116564"/>
            <a:ext cx="1995600" cy="731400"/>
          </a:xfrm>
          <a:prstGeom prst="roundRect">
            <a:avLst>
              <a:gd name="adj" fmla="val 16667"/>
            </a:avLst>
          </a:prstGeom>
          <a:solidFill>
            <a:srgbClr val="6800FF"/>
          </a:solidFill>
          <a:ln>
            <a:noFill/>
          </a:ln>
        </p:spPr>
        <p:txBody>
          <a:bodyPr spcFirstLastPara="1" wrap="square" lIns="0" tIns="0" rIns="0" bIns="0" anchor="ctr" anchorCtr="0">
            <a:noAutofit/>
          </a:bodyPr>
          <a:lstStyle/>
          <a:p>
            <a:pPr marL="0" marR="0" lvl="0" indent="0" algn="ctr" defTabSz="1828800" rtl="0" eaLnBrk="1" fontAlgn="auto" latinLnBrk="0" hangingPunct="1">
              <a:lnSpc>
                <a:spcPct val="100000"/>
              </a:lnSpc>
              <a:spcBef>
                <a:spcPts val="0"/>
              </a:spcBef>
              <a:spcAft>
                <a:spcPts val="0"/>
              </a:spcAft>
              <a:buClr>
                <a:srgbClr val="000000"/>
              </a:buClr>
              <a:buSzTx/>
              <a:buFont typeface="Arial"/>
              <a:buNone/>
              <a:tabLst/>
              <a:defRPr/>
            </a:pPr>
            <a:r>
              <a:rPr kumimoji="0" lang="es-ES" sz="1200" b="0" i="0" u="none" strike="noStrike" kern="0" cap="none" spc="0" normalizeH="0" baseline="0" noProof="0" err="1">
                <a:ln>
                  <a:noFill/>
                </a:ln>
                <a:solidFill>
                  <a:srgbClr val="FFFFFF"/>
                </a:solidFill>
                <a:effectLst/>
                <a:uLnTx/>
                <a:uFillTx/>
                <a:latin typeface="Montserrat"/>
                <a:cs typeface="Arial"/>
                <a:sym typeface="Arial"/>
              </a:rPr>
              <a:t>To</a:t>
            </a:r>
            <a:r>
              <a:rPr kumimoji="0" lang="es-ES" sz="1200" b="0" i="0" u="none" strike="noStrike" kern="0" cap="none" spc="0" normalizeH="0" baseline="0" noProof="0">
                <a:ln>
                  <a:noFill/>
                </a:ln>
                <a:solidFill>
                  <a:srgbClr val="FFFFFF"/>
                </a:solidFill>
                <a:effectLst/>
                <a:uLnTx/>
                <a:uFillTx/>
                <a:latin typeface="Montserrat"/>
                <a:cs typeface="Arial"/>
                <a:sym typeface="Arial"/>
              </a:rPr>
              <a:t>-Be </a:t>
            </a:r>
            <a:r>
              <a:rPr kumimoji="0" lang="es-ES" sz="1200" b="0" i="0" u="none" strike="noStrike" kern="0" cap="none" spc="0" normalizeH="0" baseline="0" noProof="0" err="1">
                <a:ln>
                  <a:noFill/>
                </a:ln>
                <a:solidFill>
                  <a:srgbClr val="FFFFFF"/>
                </a:solidFill>
                <a:effectLst/>
                <a:uLnTx/>
                <a:uFillTx/>
                <a:latin typeface="Montserrat"/>
                <a:cs typeface="Arial"/>
                <a:sym typeface="Arial"/>
              </a:rPr>
              <a:t>Application</a:t>
            </a:r>
            <a:r>
              <a:rPr kumimoji="0" lang="es-ES" sz="1200" b="0" i="0" u="none" strike="noStrike" kern="0" cap="none" spc="0" normalizeH="0" baseline="0" noProof="0">
                <a:ln>
                  <a:noFill/>
                </a:ln>
                <a:solidFill>
                  <a:srgbClr val="FFFFFF"/>
                </a:solidFill>
                <a:effectLst/>
                <a:uLnTx/>
                <a:uFillTx/>
                <a:latin typeface="Montserrat"/>
                <a:cs typeface="Arial"/>
                <a:sym typeface="Arial"/>
              </a:rPr>
              <a:t> </a:t>
            </a:r>
            <a:r>
              <a:rPr kumimoji="0" lang="es-ES" sz="1200" b="0" i="0" u="none" strike="noStrike" kern="0" cap="none" spc="0" normalizeH="0" baseline="0" noProof="0" err="1">
                <a:ln>
                  <a:noFill/>
                </a:ln>
                <a:solidFill>
                  <a:srgbClr val="FFFFFF"/>
                </a:solidFill>
                <a:effectLst/>
                <a:uLnTx/>
                <a:uFillTx/>
                <a:latin typeface="Montserrat"/>
                <a:cs typeface="Arial"/>
                <a:sym typeface="Arial"/>
              </a:rPr>
              <a:t>Landscape</a:t>
            </a:r>
            <a:r>
              <a:rPr kumimoji="0" lang="es-ES" sz="1200" b="0" i="0" u="none" strike="noStrike" kern="0" cap="none" spc="0" normalizeH="0" baseline="0" noProof="0">
                <a:ln>
                  <a:noFill/>
                </a:ln>
                <a:solidFill>
                  <a:srgbClr val="FFFFFF"/>
                </a:solidFill>
                <a:effectLst/>
                <a:uLnTx/>
                <a:uFillTx/>
                <a:latin typeface="Montserrat"/>
                <a:cs typeface="Arial"/>
                <a:sym typeface="Arial"/>
              </a:rPr>
              <a:t> </a:t>
            </a:r>
            <a:endParaRPr kumimoji="0" lang="es-ES" sz="1200" b="0" i="0" u="none" strike="noStrike" kern="0" cap="none" spc="0" normalizeH="0" baseline="0" noProof="0">
              <a:ln>
                <a:noFill/>
              </a:ln>
              <a:solidFill>
                <a:srgbClr val="000000"/>
              </a:solidFill>
              <a:effectLst/>
              <a:uLnTx/>
              <a:uFillTx/>
              <a:latin typeface="Montserrat"/>
              <a:cs typeface="Arial"/>
              <a:sym typeface="Arial"/>
            </a:endParaRPr>
          </a:p>
        </p:txBody>
      </p:sp>
      <p:sp>
        <p:nvSpPr>
          <p:cNvPr id="1208" name="Google Shape;1208;p34"/>
          <p:cNvSpPr/>
          <p:nvPr/>
        </p:nvSpPr>
        <p:spPr>
          <a:xfrm>
            <a:off x="7164104" y="3790862"/>
            <a:ext cx="1995600" cy="731400"/>
          </a:xfrm>
          <a:prstGeom prst="roundRect">
            <a:avLst>
              <a:gd name="adj" fmla="val 16667"/>
            </a:avLst>
          </a:prstGeom>
          <a:solidFill>
            <a:srgbClr val="6800FF"/>
          </a:solidFill>
          <a:ln>
            <a:noFill/>
          </a:ln>
        </p:spPr>
        <p:txBody>
          <a:bodyPr spcFirstLastPara="1" wrap="square" lIns="0" tIns="0" rIns="0" bIns="0" anchor="ctr" anchorCtr="0">
            <a:noAutofit/>
          </a:bodyPr>
          <a:lstStyle/>
          <a:p>
            <a:pPr marL="0" marR="0" lvl="0" indent="0" algn="ctr" defTabSz="1828800" rtl="0" eaLnBrk="1" fontAlgn="auto" latinLnBrk="0" hangingPunct="1">
              <a:lnSpc>
                <a:spcPct val="100000"/>
              </a:lnSpc>
              <a:spcBef>
                <a:spcPts val="0"/>
              </a:spcBef>
              <a:spcAft>
                <a:spcPts val="0"/>
              </a:spcAft>
              <a:buClr>
                <a:srgbClr val="000000"/>
              </a:buClr>
              <a:buSzTx/>
              <a:buFont typeface="Arial"/>
              <a:buNone/>
              <a:tabLst/>
              <a:defRPr/>
            </a:pPr>
            <a:r>
              <a:rPr kumimoji="0" lang="es-ES" sz="1200" b="0" i="0" u="none" strike="noStrike" kern="0" cap="none" spc="0" normalizeH="0" baseline="0" noProof="0">
                <a:ln>
                  <a:noFill/>
                </a:ln>
                <a:solidFill>
                  <a:srgbClr val="FFFFFF"/>
                </a:solidFill>
                <a:effectLst/>
                <a:uLnTx/>
                <a:uFillTx/>
                <a:latin typeface="Montserrat"/>
                <a:cs typeface="Arial"/>
                <a:sym typeface="Arial"/>
              </a:rPr>
              <a:t>Management </a:t>
            </a:r>
            <a:r>
              <a:rPr kumimoji="0" lang="es-ES" sz="1200" b="0" i="0" u="none" strike="noStrike" kern="0" cap="none" spc="0" normalizeH="0" baseline="0" noProof="0" err="1">
                <a:ln>
                  <a:noFill/>
                </a:ln>
                <a:solidFill>
                  <a:srgbClr val="FFFFFF"/>
                </a:solidFill>
                <a:effectLst/>
                <a:uLnTx/>
                <a:uFillTx/>
                <a:latin typeface="Montserrat"/>
                <a:cs typeface="Arial"/>
                <a:sym typeface="Arial"/>
              </a:rPr>
              <a:t>dashboard</a:t>
            </a:r>
            <a:endParaRPr kumimoji="0" lang="es-ES" sz="1200" b="0" i="0" u="none" strike="noStrike" kern="0" cap="none" spc="0" normalizeH="0" baseline="0" noProof="0">
              <a:ln>
                <a:noFill/>
              </a:ln>
              <a:solidFill>
                <a:srgbClr val="000000"/>
              </a:solidFill>
              <a:effectLst/>
              <a:uLnTx/>
              <a:uFillTx/>
              <a:latin typeface="Montserrat"/>
              <a:cs typeface="Arial"/>
              <a:sym typeface="Arial"/>
            </a:endParaRPr>
          </a:p>
        </p:txBody>
      </p:sp>
      <p:sp>
        <p:nvSpPr>
          <p:cNvPr id="1209" name="Google Shape;1209;p34"/>
          <p:cNvSpPr/>
          <p:nvPr/>
        </p:nvSpPr>
        <p:spPr>
          <a:xfrm>
            <a:off x="4901638" y="6139114"/>
            <a:ext cx="1995600" cy="731400"/>
          </a:xfrm>
          <a:prstGeom prst="roundRect">
            <a:avLst>
              <a:gd name="adj" fmla="val 16667"/>
            </a:avLst>
          </a:prstGeom>
          <a:solidFill>
            <a:srgbClr val="6800FF"/>
          </a:solidFill>
          <a:ln>
            <a:noFill/>
          </a:ln>
        </p:spPr>
        <p:txBody>
          <a:bodyPr spcFirstLastPara="1" wrap="square" lIns="0" tIns="0" rIns="0" bIns="0" anchor="ctr" anchorCtr="0">
            <a:noAutofit/>
          </a:bodyPr>
          <a:lstStyle/>
          <a:p>
            <a:pPr marL="0" marR="0" lvl="0" indent="0" algn="ctr" defTabSz="1828800" rtl="0" eaLnBrk="1" fontAlgn="auto" latinLnBrk="0" hangingPunct="1">
              <a:lnSpc>
                <a:spcPct val="100000"/>
              </a:lnSpc>
              <a:spcBef>
                <a:spcPts val="0"/>
              </a:spcBef>
              <a:spcAft>
                <a:spcPts val="0"/>
              </a:spcAft>
              <a:buClr>
                <a:srgbClr val="000000"/>
              </a:buClr>
              <a:buSzTx/>
              <a:buFont typeface="Arial"/>
              <a:buNone/>
              <a:tabLst/>
              <a:defRPr/>
            </a:pPr>
            <a:r>
              <a:rPr kumimoji="0" lang="es-ES" sz="1200" b="0" i="0" u="none" strike="noStrike" kern="0" cap="none" spc="0" normalizeH="0" baseline="0" noProof="0" err="1">
                <a:ln>
                  <a:noFill/>
                </a:ln>
                <a:solidFill>
                  <a:srgbClr val="FFFFFF"/>
                </a:solidFill>
                <a:effectLst/>
                <a:uLnTx/>
                <a:uFillTx/>
                <a:latin typeface="Montserrat"/>
                <a:cs typeface="Arial"/>
                <a:sym typeface="Arial"/>
              </a:rPr>
              <a:t>Logical</a:t>
            </a:r>
            <a:r>
              <a:rPr kumimoji="0" lang="es-ES" sz="1200" b="0" i="0" u="none" strike="noStrike" kern="0" cap="none" spc="0" normalizeH="0" baseline="0" noProof="0">
                <a:ln>
                  <a:noFill/>
                </a:ln>
                <a:solidFill>
                  <a:srgbClr val="FFFFFF"/>
                </a:solidFill>
                <a:effectLst/>
                <a:uLnTx/>
                <a:uFillTx/>
                <a:latin typeface="Montserrat"/>
                <a:cs typeface="Arial"/>
                <a:sym typeface="Arial"/>
              </a:rPr>
              <a:t> </a:t>
            </a:r>
            <a:r>
              <a:rPr kumimoji="0" lang="es-ES" sz="1200" b="0" i="0" u="none" strike="noStrike" kern="0" cap="none" spc="0" normalizeH="0" baseline="0" noProof="0" err="1">
                <a:ln>
                  <a:noFill/>
                </a:ln>
                <a:solidFill>
                  <a:srgbClr val="FFFFFF"/>
                </a:solidFill>
                <a:effectLst/>
                <a:uLnTx/>
                <a:uFillTx/>
                <a:latin typeface="Montserrat"/>
                <a:cs typeface="Arial"/>
                <a:sym typeface="Arial"/>
              </a:rPr>
              <a:t>to</a:t>
            </a:r>
            <a:r>
              <a:rPr kumimoji="0" lang="es-ES" sz="1200" b="0" i="0" u="none" strike="noStrike" kern="0" cap="none" spc="0" normalizeH="0" baseline="0" noProof="0">
                <a:ln>
                  <a:noFill/>
                </a:ln>
                <a:solidFill>
                  <a:srgbClr val="FFFFFF"/>
                </a:solidFill>
                <a:effectLst/>
                <a:uLnTx/>
                <a:uFillTx/>
                <a:latin typeface="Montserrat"/>
                <a:cs typeface="Arial"/>
                <a:sym typeface="Arial"/>
              </a:rPr>
              <a:t> </a:t>
            </a:r>
            <a:r>
              <a:rPr kumimoji="0" lang="es-ES" sz="1200" b="0" i="0" u="none" strike="noStrike" kern="0" cap="none" spc="0" normalizeH="0" baseline="0" noProof="0" err="1">
                <a:ln>
                  <a:noFill/>
                </a:ln>
                <a:solidFill>
                  <a:srgbClr val="FFFFFF"/>
                </a:solidFill>
                <a:effectLst/>
                <a:uLnTx/>
                <a:uFillTx/>
                <a:latin typeface="Montserrat"/>
                <a:cs typeface="Arial"/>
                <a:sym typeface="Arial"/>
              </a:rPr>
              <a:t>physical</a:t>
            </a:r>
            <a:r>
              <a:rPr kumimoji="0" lang="es-ES" sz="1200" b="0" i="0" u="none" strike="noStrike" kern="0" cap="none" spc="0" normalizeH="0" baseline="0" noProof="0">
                <a:ln>
                  <a:noFill/>
                </a:ln>
                <a:solidFill>
                  <a:srgbClr val="FFFFFF"/>
                </a:solidFill>
                <a:effectLst/>
                <a:uLnTx/>
                <a:uFillTx/>
                <a:latin typeface="Montserrat"/>
                <a:cs typeface="Arial"/>
                <a:sym typeface="Arial"/>
              </a:rPr>
              <a:t> </a:t>
            </a:r>
            <a:r>
              <a:rPr kumimoji="0" lang="es-ES" sz="1200" b="0" i="0" u="none" strike="noStrike" kern="0" cap="none" spc="0" normalizeH="0" baseline="0" noProof="0" err="1">
                <a:ln>
                  <a:noFill/>
                </a:ln>
                <a:solidFill>
                  <a:srgbClr val="FFFFFF"/>
                </a:solidFill>
                <a:effectLst/>
                <a:uLnTx/>
                <a:uFillTx/>
                <a:latin typeface="Montserrat"/>
                <a:cs typeface="Arial"/>
                <a:sym typeface="Arial"/>
              </a:rPr>
              <a:t>application</a:t>
            </a:r>
            <a:r>
              <a:rPr kumimoji="0" lang="es-ES" sz="1200" b="0" i="0" u="none" strike="noStrike" kern="0" cap="none" spc="0" normalizeH="0" baseline="0" noProof="0">
                <a:ln>
                  <a:noFill/>
                </a:ln>
                <a:solidFill>
                  <a:srgbClr val="FFFFFF"/>
                </a:solidFill>
                <a:effectLst/>
                <a:uLnTx/>
                <a:uFillTx/>
                <a:latin typeface="Montserrat"/>
                <a:cs typeface="Arial"/>
                <a:sym typeface="Arial"/>
              </a:rPr>
              <a:t> </a:t>
            </a:r>
            <a:r>
              <a:rPr kumimoji="0" lang="es-ES" sz="1200" b="0" i="0" u="none" strike="noStrike" kern="0" cap="none" spc="0" normalizeH="0" baseline="0" noProof="0" err="1">
                <a:ln>
                  <a:noFill/>
                </a:ln>
                <a:solidFill>
                  <a:srgbClr val="FFFFFF"/>
                </a:solidFill>
                <a:effectLst/>
                <a:uLnTx/>
                <a:uFillTx/>
                <a:latin typeface="Montserrat"/>
                <a:cs typeface="Arial"/>
                <a:sym typeface="Arial"/>
              </a:rPr>
              <a:t>mapping</a:t>
            </a:r>
            <a:endParaRPr kumimoji="0" lang="es-ES" sz="1200" b="0" i="0" u="none" strike="noStrike" kern="0" cap="none" spc="0" normalizeH="0" baseline="0" noProof="0">
              <a:ln>
                <a:noFill/>
              </a:ln>
              <a:solidFill>
                <a:srgbClr val="000000"/>
              </a:solidFill>
              <a:effectLst/>
              <a:uLnTx/>
              <a:uFillTx/>
              <a:latin typeface="Montserrat"/>
              <a:cs typeface="Arial"/>
              <a:sym typeface="Arial"/>
            </a:endParaRPr>
          </a:p>
        </p:txBody>
      </p:sp>
      <p:sp>
        <p:nvSpPr>
          <p:cNvPr id="1210" name="Google Shape;1210;p34"/>
          <p:cNvSpPr/>
          <p:nvPr/>
        </p:nvSpPr>
        <p:spPr>
          <a:xfrm>
            <a:off x="7130486" y="6139116"/>
            <a:ext cx="1995600" cy="731400"/>
          </a:xfrm>
          <a:prstGeom prst="roundRect">
            <a:avLst>
              <a:gd name="adj" fmla="val 16667"/>
            </a:avLst>
          </a:prstGeom>
          <a:solidFill>
            <a:srgbClr val="6800FF"/>
          </a:solidFill>
          <a:ln>
            <a:noFill/>
          </a:ln>
        </p:spPr>
        <p:txBody>
          <a:bodyPr spcFirstLastPara="1" wrap="square" lIns="0" tIns="0" rIns="0" bIns="0" anchor="ctr" anchorCtr="0">
            <a:noAutofit/>
          </a:bodyPr>
          <a:lstStyle/>
          <a:p>
            <a:pPr marL="0" marR="0" lvl="0" indent="0" algn="ctr" defTabSz="1828800" rtl="0" eaLnBrk="1" fontAlgn="auto" latinLnBrk="0" hangingPunct="1">
              <a:lnSpc>
                <a:spcPct val="100000"/>
              </a:lnSpc>
              <a:spcBef>
                <a:spcPts val="0"/>
              </a:spcBef>
              <a:spcAft>
                <a:spcPts val="0"/>
              </a:spcAft>
              <a:buClr>
                <a:srgbClr val="000000"/>
              </a:buClr>
              <a:buSzTx/>
              <a:buFont typeface="Arial"/>
              <a:buNone/>
              <a:tabLst/>
              <a:defRPr/>
            </a:pPr>
            <a:r>
              <a:rPr kumimoji="0" lang="es-ES" sz="1200" b="0" i="0" u="none" strike="noStrike" kern="0" cap="none" spc="0" normalizeH="0" baseline="0" noProof="0">
                <a:ln>
                  <a:noFill/>
                </a:ln>
                <a:solidFill>
                  <a:srgbClr val="FFFFFF"/>
                </a:solidFill>
                <a:effectLst/>
                <a:uLnTx/>
                <a:uFillTx/>
                <a:latin typeface="Montserrat"/>
                <a:cs typeface="Arial"/>
                <a:sym typeface="Arial"/>
              </a:rPr>
              <a:t>Candidate </a:t>
            </a:r>
            <a:r>
              <a:rPr kumimoji="0" lang="es-ES" sz="1200" b="0" i="0" u="none" strike="noStrike" kern="0" cap="none" spc="0" normalizeH="0" baseline="0" noProof="0" err="1">
                <a:ln>
                  <a:noFill/>
                </a:ln>
                <a:solidFill>
                  <a:srgbClr val="FFFFFF"/>
                </a:solidFill>
                <a:effectLst/>
                <a:uLnTx/>
                <a:uFillTx/>
                <a:latin typeface="Montserrat"/>
                <a:cs typeface="Arial"/>
                <a:sym typeface="Arial"/>
              </a:rPr>
              <a:t>opportunity</a:t>
            </a:r>
            <a:r>
              <a:rPr kumimoji="0" lang="es-ES" sz="1200" b="0" i="0" u="none" strike="noStrike" kern="0" cap="none" spc="0" normalizeH="0" baseline="0" noProof="0">
                <a:ln>
                  <a:noFill/>
                </a:ln>
                <a:solidFill>
                  <a:srgbClr val="FFFFFF"/>
                </a:solidFill>
                <a:effectLst/>
                <a:uLnTx/>
                <a:uFillTx/>
                <a:latin typeface="Montserrat"/>
                <a:cs typeface="Arial"/>
                <a:sym typeface="Arial"/>
              </a:rPr>
              <a:t> </a:t>
            </a:r>
            <a:r>
              <a:rPr kumimoji="0" lang="es-ES" sz="1200" b="0" i="0" u="none" strike="noStrike" kern="0" cap="none" spc="0" normalizeH="0" baseline="0" noProof="0" err="1">
                <a:ln>
                  <a:noFill/>
                </a:ln>
                <a:solidFill>
                  <a:srgbClr val="FFFFFF"/>
                </a:solidFill>
                <a:effectLst/>
                <a:uLnTx/>
                <a:uFillTx/>
                <a:latin typeface="Montserrat"/>
                <a:cs typeface="Arial"/>
                <a:sym typeface="Arial"/>
              </a:rPr>
              <a:t>prioritization</a:t>
            </a:r>
            <a:r>
              <a:rPr kumimoji="0" lang="es-ES" sz="1200" b="0" i="0" u="none" strike="noStrike" kern="0" cap="none" spc="0" normalizeH="0" baseline="0" noProof="0">
                <a:ln>
                  <a:noFill/>
                </a:ln>
                <a:solidFill>
                  <a:srgbClr val="FFFFFF"/>
                </a:solidFill>
                <a:effectLst/>
                <a:uLnTx/>
                <a:uFillTx/>
                <a:latin typeface="Montserrat"/>
                <a:cs typeface="Arial"/>
                <a:sym typeface="Arial"/>
              </a:rPr>
              <a:t> </a:t>
            </a:r>
            <a:endParaRPr kumimoji="0" lang="es-ES" sz="1200" b="0" i="0" u="none" strike="noStrike" kern="0" cap="none" spc="0" normalizeH="0" baseline="0" noProof="0">
              <a:ln>
                <a:noFill/>
              </a:ln>
              <a:solidFill>
                <a:srgbClr val="000000"/>
              </a:solidFill>
              <a:effectLst/>
              <a:uLnTx/>
              <a:uFillTx/>
              <a:latin typeface="Montserrat"/>
              <a:cs typeface="Arial"/>
              <a:sym typeface="Arial"/>
            </a:endParaRPr>
          </a:p>
        </p:txBody>
      </p:sp>
      <p:sp>
        <p:nvSpPr>
          <p:cNvPr id="1211" name="Google Shape;1211;p34"/>
          <p:cNvSpPr/>
          <p:nvPr/>
        </p:nvSpPr>
        <p:spPr>
          <a:xfrm>
            <a:off x="4851212" y="8621464"/>
            <a:ext cx="1995600" cy="731400"/>
          </a:xfrm>
          <a:prstGeom prst="roundRect">
            <a:avLst>
              <a:gd name="adj" fmla="val 16667"/>
            </a:avLst>
          </a:prstGeom>
          <a:solidFill>
            <a:srgbClr val="6800FF"/>
          </a:solidFill>
          <a:ln>
            <a:noFill/>
          </a:ln>
        </p:spPr>
        <p:txBody>
          <a:bodyPr spcFirstLastPara="1" wrap="square" lIns="0" tIns="0" rIns="0" bIns="0" anchor="ctr" anchorCtr="0">
            <a:noAutofit/>
          </a:bodyPr>
          <a:lstStyle/>
          <a:p>
            <a:pPr marL="0" marR="0" lvl="0" indent="0" algn="ctr" defTabSz="1828800" rtl="0" eaLnBrk="1" fontAlgn="auto" latinLnBrk="0" hangingPunct="1">
              <a:lnSpc>
                <a:spcPct val="100000"/>
              </a:lnSpc>
              <a:spcBef>
                <a:spcPts val="0"/>
              </a:spcBef>
              <a:spcAft>
                <a:spcPts val="0"/>
              </a:spcAft>
              <a:buClr>
                <a:srgbClr val="000000"/>
              </a:buClr>
              <a:buSzTx/>
              <a:buFont typeface="Arial"/>
              <a:buNone/>
              <a:tabLst/>
              <a:defRPr/>
            </a:pPr>
            <a:r>
              <a:rPr kumimoji="0" lang="es-ES" sz="1200" b="0" i="0" u="none" strike="noStrike" kern="0" cap="none" spc="0" normalizeH="0" baseline="0" noProof="0" err="1">
                <a:ln>
                  <a:noFill/>
                </a:ln>
                <a:solidFill>
                  <a:srgbClr val="FFFFFF"/>
                </a:solidFill>
                <a:effectLst/>
                <a:uLnTx/>
                <a:uFillTx/>
                <a:latin typeface="Montserrat"/>
                <a:cs typeface="Arial"/>
                <a:sym typeface="Arial"/>
              </a:rPr>
              <a:t>Application</a:t>
            </a:r>
            <a:r>
              <a:rPr kumimoji="0" lang="es-ES" sz="1200" b="0" i="0" u="none" strike="noStrike" kern="0" cap="none" spc="0" normalizeH="0" baseline="0" noProof="0">
                <a:ln>
                  <a:noFill/>
                </a:ln>
                <a:solidFill>
                  <a:srgbClr val="FFFFFF"/>
                </a:solidFill>
                <a:effectLst/>
                <a:uLnTx/>
                <a:uFillTx/>
                <a:latin typeface="Montserrat"/>
                <a:cs typeface="Arial"/>
                <a:sym typeface="Arial"/>
              </a:rPr>
              <a:t> </a:t>
            </a:r>
            <a:r>
              <a:rPr kumimoji="0" lang="es-ES" sz="1200" b="0" i="0" u="none" strike="noStrike" kern="0" cap="none" spc="0" normalizeH="0" baseline="0" noProof="0" err="1">
                <a:ln>
                  <a:noFill/>
                </a:ln>
                <a:solidFill>
                  <a:srgbClr val="FFFFFF"/>
                </a:solidFill>
                <a:effectLst/>
                <a:uLnTx/>
                <a:uFillTx/>
                <a:latin typeface="Montserrat"/>
                <a:cs typeface="Arial"/>
                <a:sym typeface="Arial"/>
              </a:rPr>
              <a:t>transition</a:t>
            </a:r>
            <a:r>
              <a:rPr kumimoji="0" lang="es-ES" sz="1200" b="0" i="0" u="none" strike="noStrike" kern="0" cap="none" spc="0" normalizeH="0" baseline="0" noProof="0">
                <a:ln>
                  <a:noFill/>
                </a:ln>
                <a:solidFill>
                  <a:srgbClr val="FFFFFF"/>
                </a:solidFill>
                <a:effectLst/>
                <a:uLnTx/>
                <a:uFillTx/>
                <a:latin typeface="Montserrat"/>
                <a:cs typeface="Arial"/>
                <a:sym typeface="Arial"/>
              </a:rPr>
              <a:t> </a:t>
            </a:r>
            <a:r>
              <a:rPr kumimoji="0" lang="es-ES" sz="1200" b="0" i="0" u="none" strike="noStrike" kern="0" cap="none" spc="0" normalizeH="0" baseline="0" noProof="0" err="1">
                <a:ln>
                  <a:noFill/>
                </a:ln>
                <a:solidFill>
                  <a:srgbClr val="FFFFFF"/>
                </a:solidFill>
                <a:effectLst/>
                <a:uLnTx/>
                <a:uFillTx/>
                <a:latin typeface="Montserrat"/>
                <a:cs typeface="Arial"/>
                <a:sym typeface="Arial"/>
              </a:rPr>
              <a:t>map</a:t>
            </a:r>
            <a:endParaRPr kumimoji="0" lang="es-ES" sz="1200" b="0" i="0" u="none" strike="noStrike" kern="0" cap="none" spc="0" normalizeH="0" baseline="0" noProof="0">
              <a:ln>
                <a:noFill/>
              </a:ln>
              <a:solidFill>
                <a:srgbClr val="000000"/>
              </a:solidFill>
              <a:effectLst/>
              <a:uLnTx/>
              <a:uFillTx/>
              <a:latin typeface="Montserrat"/>
              <a:cs typeface="Arial"/>
              <a:sym typeface="Arial"/>
            </a:endParaRPr>
          </a:p>
        </p:txBody>
      </p:sp>
      <p:sp>
        <p:nvSpPr>
          <p:cNvPr id="1212" name="Google Shape;1212;p34"/>
          <p:cNvSpPr/>
          <p:nvPr/>
        </p:nvSpPr>
        <p:spPr>
          <a:xfrm>
            <a:off x="7080060" y="8621464"/>
            <a:ext cx="1995600" cy="731400"/>
          </a:xfrm>
          <a:prstGeom prst="roundRect">
            <a:avLst>
              <a:gd name="adj" fmla="val 16667"/>
            </a:avLst>
          </a:prstGeom>
          <a:solidFill>
            <a:srgbClr val="6800FF"/>
          </a:solidFill>
          <a:ln>
            <a:noFill/>
          </a:ln>
        </p:spPr>
        <p:txBody>
          <a:bodyPr spcFirstLastPara="1" wrap="square" lIns="0" tIns="0" rIns="0" bIns="0" anchor="ctr" anchorCtr="0">
            <a:noAutofit/>
          </a:bodyPr>
          <a:lstStyle/>
          <a:p>
            <a:pPr marL="0" marR="0" lvl="0" indent="0" algn="ctr" defTabSz="1828800" rtl="0" eaLnBrk="1" fontAlgn="auto" latinLnBrk="0" hangingPunct="1">
              <a:lnSpc>
                <a:spcPct val="100000"/>
              </a:lnSpc>
              <a:spcBef>
                <a:spcPts val="0"/>
              </a:spcBef>
              <a:spcAft>
                <a:spcPts val="0"/>
              </a:spcAft>
              <a:buClr>
                <a:srgbClr val="000000"/>
              </a:buClr>
              <a:buSzTx/>
              <a:buFont typeface="Arial"/>
              <a:buNone/>
              <a:tabLst/>
              <a:defRPr/>
            </a:pPr>
            <a:r>
              <a:rPr kumimoji="0" lang="es-ES" sz="1200" b="0" i="0" u="none" strike="noStrike" kern="0" cap="none" spc="0" normalizeH="0" baseline="0" noProof="0">
                <a:ln>
                  <a:noFill/>
                </a:ln>
                <a:solidFill>
                  <a:srgbClr val="FFFFFF"/>
                </a:solidFill>
                <a:effectLst/>
                <a:uLnTx/>
                <a:uFillTx/>
                <a:latin typeface="Montserrat"/>
                <a:cs typeface="Arial"/>
                <a:sym typeface="Arial"/>
              </a:rPr>
              <a:t>Project </a:t>
            </a:r>
            <a:r>
              <a:rPr kumimoji="0" lang="es-ES" sz="1200" b="0" i="0" u="none" strike="noStrike" kern="0" cap="none" spc="0" normalizeH="0" baseline="0" noProof="0" err="1">
                <a:ln>
                  <a:noFill/>
                </a:ln>
                <a:solidFill>
                  <a:srgbClr val="FFFFFF"/>
                </a:solidFill>
                <a:effectLst/>
                <a:uLnTx/>
                <a:uFillTx/>
                <a:latin typeface="Montserrat"/>
                <a:cs typeface="Arial"/>
                <a:sym typeface="Arial"/>
              </a:rPr>
              <a:t>dashboard</a:t>
            </a:r>
            <a:endParaRPr kumimoji="0" lang="es-ES" sz="1200" b="0" i="0" u="none" strike="noStrike" kern="0" cap="none" spc="0" normalizeH="0" baseline="0" noProof="0">
              <a:ln>
                <a:noFill/>
              </a:ln>
              <a:solidFill>
                <a:srgbClr val="000000"/>
              </a:solidFill>
              <a:effectLst/>
              <a:uLnTx/>
              <a:uFillTx/>
              <a:latin typeface="Montserrat"/>
              <a:cs typeface="Arial"/>
              <a:sym typeface="Arial"/>
            </a:endParaRPr>
          </a:p>
        </p:txBody>
      </p:sp>
      <p:sp>
        <p:nvSpPr>
          <p:cNvPr id="1234" name="Google Shape;1234;p34"/>
          <p:cNvSpPr/>
          <p:nvPr/>
        </p:nvSpPr>
        <p:spPr>
          <a:xfrm>
            <a:off x="13629518" y="8631102"/>
            <a:ext cx="1996088" cy="731400"/>
          </a:xfrm>
          <a:prstGeom prst="roundRect">
            <a:avLst>
              <a:gd name="adj" fmla="val 16667"/>
            </a:avLst>
          </a:prstGeom>
          <a:solidFill>
            <a:srgbClr val="6800FF"/>
          </a:solidFill>
          <a:ln>
            <a:noFill/>
          </a:ln>
        </p:spPr>
        <p:txBody>
          <a:bodyPr spcFirstLastPara="1" wrap="square" lIns="0" tIns="0" rIns="0" bIns="0" anchor="ctr" anchorCtr="0">
            <a:noAutofit/>
          </a:bodyPr>
          <a:lstStyle/>
          <a:p>
            <a:pPr marL="0" marR="0" lvl="0" indent="0" algn="ctr" defTabSz="1828800" rtl="0" eaLnBrk="1" fontAlgn="auto" latinLnBrk="0" hangingPunct="1">
              <a:lnSpc>
                <a:spcPct val="100000"/>
              </a:lnSpc>
              <a:spcBef>
                <a:spcPts val="0"/>
              </a:spcBef>
              <a:spcAft>
                <a:spcPts val="0"/>
              </a:spcAft>
              <a:buClr>
                <a:srgbClr val="000000"/>
              </a:buClr>
              <a:buSzTx/>
              <a:buFont typeface="Arial"/>
              <a:buNone/>
              <a:tabLst/>
              <a:defRPr/>
            </a:pPr>
            <a:r>
              <a:rPr kumimoji="0" lang="es-ES" sz="1200" b="0" i="0" u="none" strike="noStrike" kern="0" cap="none" spc="0" normalizeH="0" baseline="0" noProof="0" err="1">
                <a:ln>
                  <a:noFill/>
                </a:ln>
                <a:solidFill>
                  <a:srgbClr val="FFFFFF"/>
                </a:solidFill>
                <a:effectLst/>
                <a:uLnTx/>
                <a:uFillTx/>
                <a:latin typeface="Montserrat"/>
                <a:cs typeface="Arial"/>
                <a:sym typeface="Arial"/>
              </a:rPr>
              <a:t>Migration</a:t>
            </a:r>
            <a:r>
              <a:rPr kumimoji="0" lang="es-ES" sz="1200" b="0" i="0" u="none" strike="noStrike" kern="0" cap="none" spc="0" normalizeH="0" baseline="0" noProof="0">
                <a:ln>
                  <a:noFill/>
                </a:ln>
                <a:solidFill>
                  <a:srgbClr val="FFFFFF"/>
                </a:solidFill>
                <a:effectLst/>
                <a:uLnTx/>
                <a:uFillTx/>
                <a:latin typeface="Montserrat"/>
                <a:cs typeface="Arial"/>
                <a:sym typeface="Arial"/>
              </a:rPr>
              <a:t> </a:t>
            </a:r>
            <a:r>
              <a:rPr kumimoji="0" lang="es-ES" sz="1200" b="0" i="0" u="none" strike="noStrike" kern="0" cap="none" spc="0" normalizeH="0" baseline="0" noProof="0" err="1">
                <a:ln>
                  <a:noFill/>
                </a:ln>
                <a:solidFill>
                  <a:srgbClr val="FFFFFF"/>
                </a:solidFill>
                <a:effectLst/>
                <a:uLnTx/>
                <a:uFillTx/>
                <a:latin typeface="Montserrat"/>
                <a:cs typeface="Arial"/>
                <a:sym typeface="Arial"/>
              </a:rPr>
              <a:t>Complexity</a:t>
            </a:r>
            <a:r>
              <a:rPr kumimoji="0" lang="es-ES" sz="1200" b="0" i="0" u="none" strike="noStrike" kern="0" cap="none" spc="0" normalizeH="0" baseline="0" noProof="0">
                <a:ln>
                  <a:noFill/>
                </a:ln>
                <a:solidFill>
                  <a:srgbClr val="FFFFFF"/>
                </a:solidFill>
                <a:effectLst/>
                <a:uLnTx/>
                <a:uFillTx/>
                <a:latin typeface="Montserrat"/>
                <a:cs typeface="Arial"/>
                <a:sym typeface="Arial"/>
              </a:rPr>
              <a:t> </a:t>
            </a:r>
            <a:r>
              <a:rPr kumimoji="0" lang="es-ES" sz="1200" b="0" i="0" u="none" strike="noStrike" kern="0" cap="none" spc="0" normalizeH="0" baseline="0" noProof="0" err="1">
                <a:ln>
                  <a:noFill/>
                </a:ln>
                <a:solidFill>
                  <a:srgbClr val="FFFFFF"/>
                </a:solidFill>
                <a:effectLst/>
                <a:uLnTx/>
                <a:uFillTx/>
                <a:latin typeface="Montserrat"/>
                <a:cs typeface="Arial"/>
                <a:sym typeface="Arial"/>
              </a:rPr>
              <a:t>Assessment</a:t>
            </a:r>
            <a:endParaRPr kumimoji="0" lang="es-ES" sz="1200" b="0" i="0" u="none" strike="noStrike" kern="0" cap="none" spc="0" normalizeH="0" baseline="0" noProof="0">
              <a:ln>
                <a:noFill/>
              </a:ln>
              <a:solidFill>
                <a:srgbClr val="000000"/>
              </a:solidFill>
              <a:effectLst/>
              <a:uLnTx/>
              <a:uFillTx/>
              <a:latin typeface="Montserrat"/>
              <a:cs typeface="Arial"/>
              <a:sym typeface="Arial"/>
            </a:endParaRPr>
          </a:p>
        </p:txBody>
      </p:sp>
      <p:sp>
        <p:nvSpPr>
          <p:cNvPr id="1235" name="Google Shape;1235;p34"/>
          <p:cNvSpPr/>
          <p:nvPr/>
        </p:nvSpPr>
        <p:spPr>
          <a:xfrm>
            <a:off x="15858298" y="8630946"/>
            <a:ext cx="1996088" cy="731400"/>
          </a:xfrm>
          <a:prstGeom prst="roundRect">
            <a:avLst>
              <a:gd name="adj" fmla="val 16667"/>
            </a:avLst>
          </a:prstGeom>
          <a:solidFill>
            <a:srgbClr val="6800FF"/>
          </a:solidFill>
          <a:ln>
            <a:noFill/>
          </a:ln>
        </p:spPr>
        <p:txBody>
          <a:bodyPr spcFirstLastPara="1" wrap="square" lIns="0" tIns="0" rIns="0" bIns="0" anchor="ctr" anchorCtr="0">
            <a:noAutofit/>
          </a:bodyPr>
          <a:lstStyle/>
          <a:p>
            <a:pPr marL="0" marR="0" lvl="0" indent="0" algn="ctr" defTabSz="1828800" rtl="0" eaLnBrk="1" fontAlgn="auto" latinLnBrk="0" hangingPunct="1">
              <a:lnSpc>
                <a:spcPct val="100000"/>
              </a:lnSpc>
              <a:spcBef>
                <a:spcPts val="0"/>
              </a:spcBef>
              <a:spcAft>
                <a:spcPts val="0"/>
              </a:spcAft>
              <a:buClr>
                <a:srgbClr val="000000"/>
              </a:buClr>
              <a:buSzTx/>
              <a:buFont typeface="Arial"/>
              <a:buNone/>
              <a:tabLst/>
              <a:defRPr/>
            </a:pPr>
            <a:r>
              <a:rPr kumimoji="0" lang="es-ES" sz="1200" b="0" i="0" u="none" strike="noStrike" kern="0" cap="none" spc="0" normalizeH="0" baseline="0" noProof="0" err="1">
                <a:ln>
                  <a:noFill/>
                </a:ln>
                <a:solidFill>
                  <a:srgbClr val="FFFFFF"/>
                </a:solidFill>
                <a:effectLst/>
                <a:uLnTx/>
                <a:uFillTx/>
                <a:latin typeface="Montserrat"/>
                <a:cs typeface="Arial"/>
                <a:sym typeface="Arial"/>
              </a:rPr>
              <a:t>Application</a:t>
            </a:r>
            <a:r>
              <a:rPr kumimoji="0" lang="es-ES" sz="1200" b="0" i="0" u="none" strike="noStrike" kern="0" cap="none" spc="0" normalizeH="0" baseline="0" noProof="0">
                <a:ln>
                  <a:noFill/>
                </a:ln>
                <a:solidFill>
                  <a:srgbClr val="FFFFFF"/>
                </a:solidFill>
                <a:effectLst/>
                <a:uLnTx/>
                <a:uFillTx/>
                <a:latin typeface="Montserrat"/>
                <a:cs typeface="Arial"/>
                <a:sym typeface="Arial"/>
              </a:rPr>
              <a:t> </a:t>
            </a:r>
            <a:r>
              <a:rPr kumimoji="0" lang="es-ES" sz="1200" b="0" i="0" u="none" strike="noStrike" kern="0" cap="none" spc="0" normalizeH="0" baseline="0" noProof="0" err="1">
                <a:ln>
                  <a:noFill/>
                </a:ln>
                <a:solidFill>
                  <a:srgbClr val="FFFFFF"/>
                </a:solidFill>
                <a:effectLst/>
                <a:uLnTx/>
                <a:uFillTx/>
                <a:latin typeface="Montserrat"/>
                <a:cs typeface="Arial"/>
                <a:sym typeface="Arial"/>
              </a:rPr>
              <a:t>Migration</a:t>
            </a:r>
            <a:r>
              <a:rPr kumimoji="0" lang="es-ES" sz="1200" b="0" i="0" u="none" strike="noStrike" kern="0" cap="none" spc="0" normalizeH="0" baseline="0" noProof="0">
                <a:ln>
                  <a:noFill/>
                </a:ln>
                <a:solidFill>
                  <a:srgbClr val="FFFFFF"/>
                </a:solidFill>
                <a:effectLst/>
                <a:uLnTx/>
                <a:uFillTx/>
                <a:latin typeface="Montserrat"/>
                <a:cs typeface="Arial"/>
                <a:sym typeface="Arial"/>
              </a:rPr>
              <a:t> </a:t>
            </a:r>
            <a:r>
              <a:rPr kumimoji="0" lang="es-ES" sz="1200" b="0" i="0" u="none" strike="noStrike" kern="0" cap="none" spc="0" normalizeH="0" baseline="0" noProof="0" err="1">
                <a:ln>
                  <a:noFill/>
                </a:ln>
                <a:solidFill>
                  <a:srgbClr val="FFFFFF"/>
                </a:solidFill>
                <a:effectLst/>
                <a:uLnTx/>
                <a:uFillTx/>
                <a:latin typeface="Montserrat"/>
                <a:cs typeface="Arial"/>
                <a:sym typeface="Arial"/>
              </a:rPr>
              <a:t>Analysis</a:t>
            </a:r>
            <a:endParaRPr kumimoji="0" lang="es-ES" sz="1200" b="0" i="0" u="none" strike="noStrike" kern="0" cap="none" spc="0" normalizeH="0" baseline="0" noProof="0">
              <a:ln>
                <a:noFill/>
              </a:ln>
              <a:solidFill>
                <a:srgbClr val="000000"/>
              </a:solidFill>
              <a:effectLst/>
              <a:uLnTx/>
              <a:uFillTx/>
              <a:latin typeface="Montserrat"/>
              <a:cs typeface="Arial"/>
              <a:sym typeface="Arial"/>
            </a:endParaRPr>
          </a:p>
        </p:txBody>
      </p:sp>
      <p:sp>
        <p:nvSpPr>
          <p:cNvPr id="1244" name="Google Shape;1244;p34"/>
          <p:cNvSpPr/>
          <p:nvPr/>
        </p:nvSpPr>
        <p:spPr>
          <a:xfrm>
            <a:off x="9310558" y="3782092"/>
            <a:ext cx="1995600" cy="731400"/>
          </a:xfrm>
          <a:prstGeom prst="roundRect">
            <a:avLst>
              <a:gd name="adj" fmla="val 16667"/>
            </a:avLst>
          </a:prstGeom>
          <a:solidFill>
            <a:srgbClr val="6800FF"/>
          </a:solidFill>
          <a:ln>
            <a:noFill/>
          </a:ln>
        </p:spPr>
        <p:txBody>
          <a:bodyPr spcFirstLastPara="1" wrap="square" lIns="0" tIns="0" rIns="0" bIns="0" anchor="ctr" anchorCtr="0">
            <a:noAutofit/>
          </a:bodyPr>
          <a:lstStyle/>
          <a:p>
            <a:pPr marL="0" marR="0" lvl="0" indent="0" algn="ctr" defTabSz="1828800" rtl="0" eaLnBrk="1" fontAlgn="auto" latinLnBrk="0" hangingPunct="1">
              <a:lnSpc>
                <a:spcPct val="100000"/>
              </a:lnSpc>
              <a:spcBef>
                <a:spcPts val="0"/>
              </a:spcBef>
              <a:spcAft>
                <a:spcPts val="0"/>
              </a:spcAft>
              <a:buClr>
                <a:srgbClr val="000000"/>
              </a:buClr>
              <a:buSzTx/>
              <a:buFont typeface="Arial"/>
              <a:buNone/>
              <a:tabLst/>
              <a:defRPr/>
            </a:pPr>
            <a:r>
              <a:rPr kumimoji="0" lang="es-ES" sz="1200" b="0" i="0" u="none" strike="noStrike" kern="0" cap="none" spc="0" normalizeH="0" baseline="0" noProof="0" err="1">
                <a:ln>
                  <a:noFill/>
                </a:ln>
                <a:solidFill>
                  <a:srgbClr val="FFFFFF"/>
                </a:solidFill>
                <a:effectLst/>
                <a:uLnTx/>
                <a:uFillTx/>
                <a:latin typeface="Montserrat"/>
                <a:cs typeface="Arial"/>
                <a:sym typeface="Arial"/>
              </a:rPr>
              <a:t>Current-State</a:t>
            </a:r>
            <a:r>
              <a:rPr kumimoji="0" lang="es-ES" sz="1200" b="0" i="0" u="none" strike="noStrike" kern="0" cap="none" spc="0" normalizeH="0" baseline="0" noProof="0">
                <a:ln>
                  <a:noFill/>
                </a:ln>
                <a:solidFill>
                  <a:srgbClr val="FFFFFF"/>
                </a:solidFill>
                <a:effectLst/>
                <a:uLnTx/>
                <a:uFillTx/>
                <a:latin typeface="Montserrat"/>
                <a:cs typeface="Arial"/>
                <a:sym typeface="Arial"/>
              </a:rPr>
              <a:t> </a:t>
            </a:r>
            <a:r>
              <a:rPr kumimoji="0" lang="es-ES" sz="1200" b="0" i="0" u="none" strike="noStrike" kern="0" cap="none" spc="0" normalizeH="0" baseline="0" noProof="0" err="1">
                <a:ln>
                  <a:noFill/>
                </a:ln>
                <a:solidFill>
                  <a:srgbClr val="FFFFFF"/>
                </a:solidFill>
                <a:effectLst/>
                <a:uLnTx/>
                <a:uFillTx/>
                <a:latin typeface="Montserrat"/>
                <a:cs typeface="Arial"/>
                <a:sym typeface="Arial"/>
              </a:rPr>
              <a:t>Assessment</a:t>
            </a:r>
            <a:endParaRPr kumimoji="0" lang="es-ES" sz="1200" b="0" i="0" u="none" strike="noStrike" kern="0" cap="none" spc="0" normalizeH="0" baseline="0" noProof="0">
              <a:ln>
                <a:noFill/>
              </a:ln>
              <a:solidFill>
                <a:srgbClr val="000000"/>
              </a:solidFill>
              <a:effectLst/>
              <a:uLnTx/>
              <a:uFillTx/>
              <a:latin typeface="Montserrat"/>
              <a:cs typeface="Arial"/>
              <a:sym typeface="Arial"/>
            </a:endParaRPr>
          </a:p>
        </p:txBody>
      </p:sp>
      <p:sp>
        <p:nvSpPr>
          <p:cNvPr id="1245" name="Google Shape;1245;p34"/>
          <p:cNvSpPr/>
          <p:nvPr/>
        </p:nvSpPr>
        <p:spPr>
          <a:xfrm>
            <a:off x="11539406" y="3782092"/>
            <a:ext cx="1995600" cy="731400"/>
          </a:xfrm>
          <a:prstGeom prst="roundRect">
            <a:avLst>
              <a:gd name="adj" fmla="val 16667"/>
            </a:avLst>
          </a:prstGeom>
          <a:solidFill>
            <a:srgbClr val="6800FF"/>
          </a:solidFill>
          <a:ln>
            <a:noFill/>
          </a:ln>
        </p:spPr>
        <p:txBody>
          <a:bodyPr spcFirstLastPara="1" wrap="square" lIns="0" tIns="0" rIns="0" bIns="0" anchor="ctr" anchorCtr="0">
            <a:noAutofit/>
          </a:bodyPr>
          <a:lstStyle/>
          <a:p>
            <a:pPr marL="0" marR="0" lvl="0" indent="0" algn="ctr" defTabSz="1828800" rtl="0" eaLnBrk="1" fontAlgn="auto" latinLnBrk="0" hangingPunct="1">
              <a:lnSpc>
                <a:spcPct val="100000"/>
              </a:lnSpc>
              <a:spcBef>
                <a:spcPts val="0"/>
              </a:spcBef>
              <a:spcAft>
                <a:spcPts val="0"/>
              </a:spcAft>
              <a:buClr>
                <a:srgbClr val="000000"/>
              </a:buClr>
              <a:buSzTx/>
              <a:buFont typeface="Arial"/>
              <a:buNone/>
              <a:tabLst/>
              <a:defRPr/>
            </a:pPr>
            <a:r>
              <a:rPr kumimoji="0" lang="es-ES" sz="1200" b="0" i="0" u="none" strike="noStrike" kern="0" cap="none" spc="0" normalizeH="0" baseline="0" noProof="0" err="1">
                <a:ln>
                  <a:noFill/>
                </a:ln>
                <a:solidFill>
                  <a:srgbClr val="FFFFFF"/>
                </a:solidFill>
                <a:effectLst/>
                <a:uLnTx/>
                <a:uFillTx/>
                <a:latin typeface="Montserrat"/>
                <a:cs typeface="Arial"/>
                <a:sym typeface="Arial"/>
              </a:rPr>
              <a:t>Migration</a:t>
            </a:r>
            <a:r>
              <a:rPr kumimoji="0" lang="es-ES" sz="1200" b="0" i="0" u="none" strike="noStrike" kern="0" cap="none" spc="0" normalizeH="0" baseline="0" noProof="0">
                <a:ln>
                  <a:noFill/>
                </a:ln>
                <a:solidFill>
                  <a:srgbClr val="FFFFFF"/>
                </a:solidFill>
                <a:effectLst/>
                <a:uLnTx/>
                <a:uFillTx/>
                <a:latin typeface="Montserrat"/>
                <a:cs typeface="Arial"/>
                <a:sym typeface="Arial"/>
              </a:rPr>
              <a:t> Destiny </a:t>
            </a:r>
            <a:r>
              <a:rPr kumimoji="0" lang="es-ES" sz="1200" b="0" i="0" u="none" strike="noStrike" kern="0" cap="none" spc="0" normalizeH="0" baseline="0" noProof="0" err="1">
                <a:ln>
                  <a:noFill/>
                </a:ln>
                <a:solidFill>
                  <a:srgbClr val="FFFFFF"/>
                </a:solidFill>
                <a:effectLst/>
                <a:uLnTx/>
                <a:uFillTx/>
                <a:latin typeface="Montserrat"/>
                <a:cs typeface="Arial"/>
                <a:sym typeface="Arial"/>
              </a:rPr>
              <a:t>Analysis</a:t>
            </a:r>
            <a:endParaRPr kumimoji="0" lang="es-ES" sz="1200" b="0" i="0" u="none" strike="noStrike" kern="0" cap="none" spc="0" normalizeH="0" baseline="0" noProof="0">
              <a:ln>
                <a:noFill/>
              </a:ln>
              <a:solidFill>
                <a:srgbClr val="000000"/>
              </a:solidFill>
              <a:effectLst/>
              <a:uLnTx/>
              <a:uFillTx/>
              <a:latin typeface="Montserrat"/>
              <a:cs typeface="Arial"/>
              <a:sym typeface="Arial"/>
            </a:endParaRPr>
          </a:p>
        </p:txBody>
      </p:sp>
      <p:sp>
        <p:nvSpPr>
          <p:cNvPr id="1246" name="Google Shape;1246;p34"/>
          <p:cNvSpPr/>
          <p:nvPr/>
        </p:nvSpPr>
        <p:spPr>
          <a:xfrm>
            <a:off x="9344176" y="6129970"/>
            <a:ext cx="1995600" cy="731400"/>
          </a:xfrm>
          <a:prstGeom prst="roundRect">
            <a:avLst>
              <a:gd name="adj" fmla="val 16667"/>
            </a:avLst>
          </a:prstGeom>
          <a:solidFill>
            <a:srgbClr val="6800FF"/>
          </a:solidFill>
          <a:ln>
            <a:noFill/>
          </a:ln>
        </p:spPr>
        <p:txBody>
          <a:bodyPr spcFirstLastPara="1" wrap="square" lIns="0" tIns="0" rIns="0" bIns="0" anchor="ctr" anchorCtr="0">
            <a:noAutofit/>
          </a:bodyPr>
          <a:lstStyle/>
          <a:p>
            <a:pPr marL="0" marR="0" lvl="0" indent="0" algn="ctr" defTabSz="1828800" rtl="0" eaLnBrk="1" fontAlgn="auto" latinLnBrk="0" hangingPunct="1">
              <a:lnSpc>
                <a:spcPct val="100000"/>
              </a:lnSpc>
              <a:spcBef>
                <a:spcPts val="0"/>
              </a:spcBef>
              <a:spcAft>
                <a:spcPts val="0"/>
              </a:spcAft>
              <a:buClr>
                <a:srgbClr val="000000"/>
              </a:buClr>
              <a:buSzTx/>
              <a:buFont typeface="Arial"/>
              <a:buNone/>
              <a:tabLst/>
              <a:defRPr/>
            </a:pPr>
            <a:r>
              <a:rPr kumimoji="0" lang="es-ES" sz="1200" b="0" i="0" u="none" strike="noStrike" kern="0" cap="none" spc="0" normalizeH="0" baseline="0" noProof="0" err="1">
                <a:ln>
                  <a:noFill/>
                </a:ln>
                <a:solidFill>
                  <a:srgbClr val="FFFFFF"/>
                </a:solidFill>
                <a:effectLst/>
                <a:uLnTx/>
                <a:uFillTx/>
                <a:latin typeface="Montserrat"/>
                <a:cs typeface="Arial"/>
                <a:sym typeface="Arial"/>
              </a:rPr>
              <a:t>Technology</a:t>
            </a:r>
            <a:r>
              <a:rPr kumimoji="0" lang="es-ES" sz="1200" b="0" i="0" u="none" strike="noStrike" kern="0" cap="none" spc="0" normalizeH="0" baseline="0" noProof="0">
                <a:ln>
                  <a:noFill/>
                </a:ln>
                <a:solidFill>
                  <a:srgbClr val="FFFFFF"/>
                </a:solidFill>
                <a:effectLst/>
                <a:uLnTx/>
                <a:uFillTx/>
                <a:latin typeface="Montserrat"/>
                <a:cs typeface="Arial"/>
                <a:sym typeface="Arial"/>
              </a:rPr>
              <a:t> Portfolio </a:t>
            </a:r>
            <a:r>
              <a:rPr kumimoji="0" lang="es-ES" sz="1200" b="0" i="0" u="none" strike="noStrike" kern="0" cap="none" spc="0" normalizeH="0" baseline="0" noProof="0" err="1">
                <a:ln>
                  <a:noFill/>
                </a:ln>
                <a:solidFill>
                  <a:srgbClr val="FFFFFF"/>
                </a:solidFill>
                <a:effectLst/>
                <a:uLnTx/>
                <a:uFillTx/>
                <a:latin typeface="Montserrat"/>
                <a:cs typeface="Arial"/>
                <a:sym typeface="Arial"/>
              </a:rPr>
              <a:t>Profiling</a:t>
            </a:r>
            <a:endParaRPr kumimoji="0" lang="es-ES" sz="1200" b="0" i="0" u="none" strike="noStrike" kern="0" cap="none" spc="0" normalizeH="0" baseline="0" noProof="0">
              <a:ln>
                <a:noFill/>
              </a:ln>
              <a:solidFill>
                <a:srgbClr val="000000"/>
              </a:solidFill>
              <a:effectLst/>
              <a:uLnTx/>
              <a:uFillTx/>
              <a:latin typeface="Montserrat"/>
              <a:cs typeface="Arial"/>
              <a:sym typeface="Arial"/>
            </a:endParaRPr>
          </a:p>
        </p:txBody>
      </p:sp>
      <p:sp>
        <p:nvSpPr>
          <p:cNvPr id="1247" name="Google Shape;1247;p34"/>
          <p:cNvSpPr/>
          <p:nvPr/>
        </p:nvSpPr>
        <p:spPr>
          <a:xfrm>
            <a:off x="11573024" y="6129972"/>
            <a:ext cx="1995600" cy="731400"/>
          </a:xfrm>
          <a:prstGeom prst="roundRect">
            <a:avLst>
              <a:gd name="adj" fmla="val 16667"/>
            </a:avLst>
          </a:prstGeom>
          <a:solidFill>
            <a:srgbClr val="6800FF"/>
          </a:solidFill>
          <a:ln>
            <a:noFill/>
          </a:ln>
        </p:spPr>
        <p:txBody>
          <a:bodyPr spcFirstLastPara="1" wrap="square" lIns="0" tIns="0" rIns="0" bIns="0" anchor="ctr" anchorCtr="0">
            <a:noAutofit/>
          </a:bodyPr>
          <a:lstStyle/>
          <a:p>
            <a:pPr marL="0" marR="0" lvl="0" indent="0" algn="ctr" defTabSz="1828800" rtl="0" eaLnBrk="1" fontAlgn="auto" latinLnBrk="0" hangingPunct="1">
              <a:lnSpc>
                <a:spcPct val="100000"/>
              </a:lnSpc>
              <a:spcBef>
                <a:spcPts val="0"/>
              </a:spcBef>
              <a:spcAft>
                <a:spcPts val="0"/>
              </a:spcAft>
              <a:buClr>
                <a:srgbClr val="000000"/>
              </a:buClr>
              <a:buSzTx/>
              <a:buFont typeface="Arial"/>
              <a:buNone/>
              <a:tabLst/>
              <a:defRPr/>
            </a:pPr>
            <a:r>
              <a:rPr kumimoji="0" lang="es-ES" sz="1200" b="0" i="0" u="none" strike="noStrike" kern="0" cap="none" spc="0" normalizeH="0" baseline="0" noProof="0" err="1">
                <a:ln>
                  <a:noFill/>
                </a:ln>
                <a:solidFill>
                  <a:srgbClr val="FFFFFF"/>
                </a:solidFill>
                <a:effectLst/>
                <a:uLnTx/>
                <a:uFillTx/>
                <a:latin typeface="Montserrat"/>
                <a:cs typeface="Arial"/>
                <a:sym typeface="Arial"/>
              </a:rPr>
              <a:t>Technology</a:t>
            </a:r>
            <a:r>
              <a:rPr kumimoji="0" lang="es-ES" sz="1200" b="0" i="0" u="none" strike="noStrike" kern="0" cap="none" spc="0" normalizeH="0" baseline="0" noProof="0">
                <a:ln>
                  <a:noFill/>
                </a:ln>
                <a:solidFill>
                  <a:srgbClr val="FFFFFF"/>
                </a:solidFill>
                <a:effectLst/>
                <a:uLnTx/>
                <a:uFillTx/>
                <a:latin typeface="Montserrat"/>
                <a:cs typeface="Arial"/>
                <a:sym typeface="Arial"/>
              </a:rPr>
              <a:t> </a:t>
            </a:r>
            <a:r>
              <a:rPr kumimoji="0" lang="es-ES" sz="1200" b="0" i="0" u="none" strike="noStrike" kern="0" cap="none" spc="0" normalizeH="0" baseline="0" noProof="0" err="1">
                <a:ln>
                  <a:noFill/>
                </a:ln>
                <a:solidFill>
                  <a:srgbClr val="FFFFFF"/>
                </a:solidFill>
                <a:effectLst/>
                <a:uLnTx/>
                <a:uFillTx/>
                <a:latin typeface="Montserrat"/>
                <a:cs typeface="Arial"/>
                <a:sym typeface="Arial"/>
              </a:rPr>
              <a:t>Stack</a:t>
            </a:r>
            <a:r>
              <a:rPr kumimoji="0" lang="es-ES" sz="1200" b="0" i="0" u="none" strike="noStrike" kern="0" cap="none" spc="0" normalizeH="0" baseline="0" noProof="0">
                <a:ln>
                  <a:noFill/>
                </a:ln>
                <a:solidFill>
                  <a:srgbClr val="FFFFFF"/>
                </a:solidFill>
                <a:effectLst/>
                <a:uLnTx/>
                <a:uFillTx/>
                <a:latin typeface="Montserrat"/>
                <a:cs typeface="Arial"/>
                <a:sym typeface="Arial"/>
              </a:rPr>
              <a:t> </a:t>
            </a:r>
            <a:r>
              <a:rPr kumimoji="0" lang="es-ES" sz="1200" b="0" i="0" u="none" strike="noStrike" kern="0" cap="none" spc="0" normalizeH="0" baseline="0" noProof="0" err="1">
                <a:ln>
                  <a:noFill/>
                </a:ln>
                <a:solidFill>
                  <a:srgbClr val="FFFFFF"/>
                </a:solidFill>
                <a:effectLst/>
                <a:uLnTx/>
                <a:uFillTx/>
                <a:latin typeface="Montserrat"/>
                <a:cs typeface="Arial"/>
                <a:sym typeface="Arial"/>
              </a:rPr>
              <a:t>Assessment</a:t>
            </a:r>
            <a:r>
              <a:rPr kumimoji="0" lang="es-ES" sz="1200" b="0" i="0" u="none" strike="noStrike" kern="0" cap="none" spc="0" normalizeH="0" baseline="0" noProof="0">
                <a:ln>
                  <a:noFill/>
                </a:ln>
                <a:solidFill>
                  <a:srgbClr val="FFFFFF"/>
                </a:solidFill>
                <a:effectLst/>
                <a:uLnTx/>
                <a:uFillTx/>
                <a:latin typeface="Montserrat"/>
                <a:cs typeface="Arial"/>
                <a:sym typeface="Arial"/>
              </a:rPr>
              <a:t> </a:t>
            </a:r>
            <a:endParaRPr kumimoji="0" lang="es-ES" sz="1200" b="0" i="0" u="none" strike="noStrike" kern="0" cap="none" spc="0" normalizeH="0" baseline="0" noProof="0">
              <a:ln>
                <a:noFill/>
              </a:ln>
              <a:solidFill>
                <a:srgbClr val="000000"/>
              </a:solidFill>
              <a:effectLst/>
              <a:uLnTx/>
              <a:uFillTx/>
              <a:latin typeface="Montserrat"/>
              <a:cs typeface="Arial"/>
              <a:sym typeface="Arial"/>
            </a:endParaRPr>
          </a:p>
        </p:txBody>
      </p:sp>
    </p:spTree>
    <p:extLst>
      <p:ext uri="{BB962C8B-B14F-4D97-AF65-F5344CB8AC3E}">
        <p14:creationId xmlns:p14="http://schemas.microsoft.com/office/powerpoint/2010/main" val="679201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Shape 914"/>
        <p:cNvGrpSpPr/>
        <p:nvPr/>
      </p:nvGrpSpPr>
      <p:grpSpPr>
        <a:xfrm>
          <a:off x="0" y="0"/>
          <a:ext cx="0" cy="0"/>
          <a:chOff x="0" y="0"/>
          <a:chExt cx="0" cy="0"/>
        </a:xfrm>
      </p:grpSpPr>
      <p:sp>
        <p:nvSpPr>
          <p:cNvPr id="919" name="Google Shape;919;p82"/>
          <p:cNvSpPr txBox="1"/>
          <p:nvPr/>
        </p:nvSpPr>
        <p:spPr>
          <a:xfrm>
            <a:off x="11029550" y="8537677"/>
            <a:ext cx="2489400" cy="800158"/>
          </a:xfrm>
          <a:prstGeom prst="rect">
            <a:avLst/>
          </a:prstGeom>
          <a:noFill/>
          <a:ln>
            <a:noFill/>
          </a:ln>
        </p:spPr>
        <p:txBody>
          <a:bodyPr spcFirstLastPara="1" wrap="square" lIns="182850" tIns="182850" rIns="182850" bIns="182850" anchor="t" anchorCtr="0">
            <a:spAutoFit/>
          </a:bodyPr>
          <a:lstStyle/>
          <a:p>
            <a:pPr>
              <a:buSzPts val="1400"/>
            </a:pPr>
            <a:endParaRPr lang="es-ES" sz="2800" noProof="0">
              <a:latin typeface="Proxima Nova"/>
              <a:ea typeface="Proxima Nova"/>
              <a:cs typeface="Proxima Nova"/>
              <a:sym typeface="Proxima Nova"/>
            </a:endParaRPr>
          </a:p>
        </p:txBody>
      </p:sp>
      <p:sp>
        <p:nvSpPr>
          <p:cNvPr id="920" name="Google Shape;920;p82"/>
          <p:cNvSpPr txBox="1"/>
          <p:nvPr/>
        </p:nvSpPr>
        <p:spPr>
          <a:xfrm>
            <a:off x="13772750" y="7118676"/>
            <a:ext cx="2489400" cy="800158"/>
          </a:xfrm>
          <a:prstGeom prst="rect">
            <a:avLst/>
          </a:prstGeom>
          <a:noFill/>
          <a:ln>
            <a:noFill/>
          </a:ln>
        </p:spPr>
        <p:txBody>
          <a:bodyPr spcFirstLastPara="1" wrap="square" lIns="182850" tIns="182850" rIns="182850" bIns="182850" anchor="t" anchorCtr="0">
            <a:spAutoFit/>
          </a:bodyPr>
          <a:lstStyle/>
          <a:p>
            <a:pPr>
              <a:buSzPts val="1400"/>
            </a:pPr>
            <a:endParaRPr lang="es-ES" sz="2800" noProof="0">
              <a:solidFill>
                <a:schemeClr val="bg1"/>
              </a:solidFill>
              <a:latin typeface="Proxima Nova"/>
              <a:ea typeface="Proxima Nova"/>
              <a:cs typeface="Proxima Nova"/>
              <a:sym typeface="Proxima Nova"/>
            </a:endParaRPr>
          </a:p>
        </p:txBody>
      </p:sp>
      <p:graphicFrame>
        <p:nvGraphicFramePr>
          <p:cNvPr id="930" name="Google Shape;930;p82"/>
          <p:cNvGraphicFramePr/>
          <p:nvPr>
            <p:extLst>
              <p:ext uri="{D42A27DB-BD31-4B8C-83A1-F6EECF244321}">
                <p14:modId xmlns:p14="http://schemas.microsoft.com/office/powerpoint/2010/main" val="1476553020"/>
              </p:ext>
            </p:extLst>
          </p:nvPr>
        </p:nvGraphicFramePr>
        <p:xfrm>
          <a:off x="800550" y="2056226"/>
          <a:ext cx="16710300" cy="7003991"/>
        </p:xfrm>
        <a:graphic>
          <a:graphicData uri="http://schemas.openxmlformats.org/drawingml/2006/table">
            <a:tbl>
              <a:tblPr>
                <a:noFill/>
              </a:tblPr>
              <a:tblGrid>
                <a:gridCol w="2735400">
                  <a:extLst>
                    <a:ext uri="{9D8B030D-6E8A-4147-A177-3AD203B41FA5}">
                      <a16:colId xmlns:a16="http://schemas.microsoft.com/office/drawing/2014/main" val="20000"/>
                    </a:ext>
                  </a:extLst>
                </a:gridCol>
                <a:gridCol w="5495800">
                  <a:extLst>
                    <a:ext uri="{9D8B030D-6E8A-4147-A177-3AD203B41FA5}">
                      <a16:colId xmlns:a16="http://schemas.microsoft.com/office/drawing/2014/main" val="20001"/>
                    </a:ext>
                  </a:extLst>
                </a:gridCol>
                <a:gridCol w="2705100">
                  <a:extLst>
                    <a:ext uri="{9D8B030D-6E8A-4147-A177-3AD203B41FA5}">
                      <a16:colId xmlns:a16="http://schemas.microsoft.com/office/drawing/2014/main" val="20002"/>
                    </a:ext>
                  </a:extLst>
                </a:gridCol>
                <a:gridCol w="5774000">
                  <a:extLst>
                    <a:ext uri="{9D8B030D-6E8A-4147-A177-3AD203B41FA5}">
                      <a16:colId xmlns:a16="http://schemas.microsoft.com/office/drawing/2014/main" val="20003"/>
                    </a:ext>
                  </a:extLst>
                </a:gridCol>
              </a:tblGrid>
              <a:tr h="541369">
                <a:tc>
                  <a:txBody>
                    <a:bodyPr/>
                    <a:lstStyle/>
                    <a:p>
                      <a:pPr marL="0" lvl="0" indent="0" algn="ctr" rtl="0">
                        <a:lnSpc>
                          <a:spcPct val="115000"/>
                        </a:lnSpc>
                        <a:spcBef>
                          <a:spcPts val="0"/>
                        </a:spcBef>
                        <a:spcAft>
                          <a:spcPts val="0"/>
                        </a:spcAft>
                        <a:buNone/>
                      </a:pPr>
                      <a:r>
                        <a:rPr lang="es-ES" sz="1800" b="1" noProof="0" err="1">
                          <a:solidFill>
                            <a:schemeClr val="bg1"/>
                          </a:solidFill>
                          <a:latin typeface="Montserrat"/>
                        </a:rPr>
                        <a:t>Cost</a:t>
                      </a:r>
                      <a:r>
                        <a:rPr lang="es-ES" sz="1800" b="1" noProof="0" dirty="0">
                          <a:solidFill>
                            <a:schemeClr val="bg1"/>
                          </a:solidFill>
                          <a:latin typeface="Montserrat"/>
                        </a:rPr>
                        <a:t> Benefit</a:t>
                      </a:r>
                    </a:p>
                  </a:txBody>
                  <a:tcPr marL="57150" marR="57150" marT="38100" marB="38100" anchor="ctr">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solidFill>
                      <a:srgbClr val="6800FF"/>
                    </a:solidFill>
                  </a:tcPr>
                </a:tc>
                <a:tc>
                  <a:txBody>
                    <a:bodyPr/>
                    <a:lstStyle/>
                    <a:p>
                      <a:pPr marL="0" lvl="0" indent="0" algn="ctr" rtl="0">
                        <a:lnSpc>
                          <a:spcPct val="115000"/>
                        </a:lnSpc>
                        <a:spcBef>
                          <a:spcPts val="0"/>
                        </a:spcBef>
                        <a:spcAft>
                          <a:spcPts val="0"/>
                        </a:spcAft>
                        <a:buNone/>
                      </a:pPr>
                      <a:r>
                        <a:rPr lang="es-ES" sz="1800" b="1" noProof="0" err="1">
                          <a:solidFill>
                            <a:schemeClr val="bg1"/>
                          </a:solidFill>
                          <a:latin typeface="Montserrat"/>
                        </a:rPr>
                        <a:t>Value</a:t>
                      </a:r>
                      <a:r>
                        <a:rPr lang="es-ES" sz="1800" b="1" noProof="0" dirty="0">
                          <a:solidFill>
                            <a:schemeClr val="bg1"/>
                          </a:solidFill>
                          <a:latin typeface="Montserrat"/>
                        </a:rPr>
                        <a:t> </a:t>
                      </a:r>
                      <a:r>
                        <a:rPr lang="es-ES" sz="1800" b="1" noProof="0" err="1">
                          <a:solidFill>
                            <a:schemeClr val="bg1"/>
                          </a:solidFill>
                          <a:latin typeface="Montserrat"/>
                        </a:rPr>
                        <a:t>Prop</a:t>
                      </a:r>
                      <a:endParaRPr lang="es-ES" sz="1800" b="1" noProof="0" dirty="0">
                        <a:solidFill>
                          <a:schemeClr val="bg1"/>
                        </a:solidFill>
                        <a:latin typeface="Montserrat"/>
                      </a:endParaRPr>
                    </a:p>
                  </a:txBody>
                  <a:tcPr marL="57150" marR="57150" marT="38100" marB="38100" anchor="ctr">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solidFill>
                      <a:srgbClr val="6800FF"/>
                    </a:solidFill>
                  </a:tcPr>
                </a:tc>
                <a:tc>
                  <a:txBody>
                    <a:bodyPr/>
                    <a:lstStyle/>
                    <a:p>
                      <a:pPr marL="0" lvl="0" indent="0" algn="ctr" rtl="0">
                        <a:lnSpc>
                          <a:spcPct val="115000"/>
                        </a:lnSpc>
                        <a:spcBef>
                          <a:spcPts val="0"/>
                        </a:spcBef>
                        <a:spcAft>
                          <a:spcPts val="0"/>
                        </a:spcAft>
                        <a:buNone/>
                      </a:pPr>
                      <a:r>
                        <a:rPr lang="es-ES" sz="1800" b="1" noProof="0" err="1">
                          <a:solidFill>
                            <a:schemeClr val="bg1"/>
                          </a:solidFill>
                          <a:latin typeface="Montserrat"/>
                        </a:rPr>
                        <a:t>Replaces</a:t>
                      </a:r>
                      <a:endParaRPr lang="es-ES" sz="1800" b="1" noProof="0" dirty="0" err="1">
                        <a:solidFill>
                          <a:schemeClr val="bg1"/>
                        </a:solidFill>
                        <a:latin typeface="Montserrat"/>
                      </a:endParaRPr>
                    </a:p>
                  </a:txBody>
                  <a:tcPr marL="57150" marR="57150" marT="38100" marB="38100" anchor="ctr">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solidFill>
                      <a:srgbClr val="6800FF"/>
                    </a:solidFill>
                  </a:tcPr>
                </a:tc>
                <a:tc>
                  <a:txBody>
                    <a:bodyPr/>
                    <a:lstStyle/>
                    <a:p>
                      <a:pPr marL="0" lvl="0" indent="0" algn="ctr" rtl="0">
                        <a:lnSpc>
                          <a:spcPct val="115000"/>
                        </a:lnSpc>
                        <a:spcBef>
                          <a:spcPts val="0"/>
                        </a:spcBef>
                        <a:spcAft>
                          <a:spcPts val="0"/>
                        </a:spcAft>
                        <a:buNone/>
                      </a:pPr>
                      <a:r>
                        <a:rPr lang="es-ES" sz="1800" b="1" noProof="0" err="1">
                          <a:solidFill>
                            <a:schemeClr val="bg1"/>
                          </a:solidFill>
                          <a:latin typeface="Montserrat"/>
                        </a:rPr>
                        <a:t>Replaces</a:t>
                      </a:r>
                      <a:r>
                        <a:rPr lang="es-ES" sz="1800" b="1" noProof="0" dirty="0">
                          <a:solidFill>
                            <a:schemeClr val="bg1"/>
                          </a:solidFill>
                          <a:latin typeface="Montserrat"/>
                        </a:rPr>
                        <a:t> </a:t>
                      </a:r>
                      <a:r>
                        <a:rPr lang="es-ES" sz="1800" b="1" noProof="0" err="1">
                          <a:solidFill>
                            <a:schemeClr val="bg1"/>
                          </a:solidFill>
                          <a:latin typeface="Montserrat"/>
                        </a:rPr>
                        <a:t>Take</a:t>
                      </a:r>
                      <a:r>
                        <a:rPr lang="es-ES" sz="1800" b="1" noProof="0" dirty="0">
                          <a:solidFill>
                            <a:schemeClr val="bg1"/>
                          </a:solidFill>
                          <a:latin typeface="Montserrat"/>
                        </a:rPr>
                        <a:t> </a:t>
                      </a:r>
                      <a:r>
                        <a:rPr lang="es-ES" sz="1800" b="1" noProof="0" err="1">
                          <a:solidFill>
                            <a:schemeClr val="bg1"/>
                          </a:solidFill>
                          <a:latin typeface="Montserrat"/>
                        </a:rPr>
                        <a:t>Away</a:t>
                      </a:r>
                      <a:endParaRPr lang="es-ES" sz="1800" b="1" noProof="0" dirty="0">
                        <a:solidFill>
                          <a:schemeClr val="bg1"/>
                        </a:solidFill>
                        <a:latin typeface="Montserrat"/>
                      </a:endParaRPr>
                    </a:p>
                  </a:txBody>
                  <a:tcPr marL="57150" marR="57150" marT="38100" marB="38100" anchor="ctr">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solidFill>
                      <a:srgbClr val="6800FF"/>
                    </a:solidFill>
                  </a:tcPr>
                </a:tc>
                <a:extLst>
                  <a:ext uri="{0D108BD9-81ED-4DB2-BD59-A6C34878D82A}">
                    <a16:rowId xmlns:a16="http://schemas.microsoft.com/office/drawing/2014/main" val="10000"/>
                  </a:ext>
                </a:extLst>
              </a:tr>
              <a:tr h="4417850">
                <a:tc rowSpan="2">
                  <a:txBody>
                    <a:bodyPr/>
                    <a:lstStyle/>
                    <a:p>
                      <a:pPr marL="457200" lvl="0" indent="-228600" algn="l" rtl="0">
                        <a:lnSpc>
                          <a:spcPct val="115000"/>
                        </a:lnSpc>
                        <a:spcBef>
                          <a:spcPts val="0"/>
                        </a:spcBef>
                        <a:spcAft>
                          <a:spcPts val="1000"/>
                        </a:spcAft>
                        <a:buNone/>
                      </a:pPr>
                      <a:r>
                        <a:rPr lang="es-ES" sz="1800" noProof="0" dirty="0">
                          <a:solidFill>
                            <a:schemeClr val="tx1"/>
                          </a:solidFill>
                          <a:latin typeface="Montserrat"/>
                        </a:rPr>
                        <a:t>3 </a:t>
                      </a:r>
                      <a:r>
                        <a:rPr lang="es-ES" sz="1800" noProof="0" err="1">
                          <a:solidFill>
                            <a:schemeClr val="tx1"/>
                          </a:solidFill>
                          <a:latin typeface="Montserrat"/>
                        </a:rPr>
                        <a:t>to</a:t>
                      </a:r>
                      <a:r>
                        <a:rPr lang="es-ES" sz="1800" noProof="0" dirty="0">
                          <a:solidFill>
                            <a:schemeClr val="tx1"/>
                          </a:solidFill>
                          <a:latin typeface="Montserrat"/>
                        </a:rPr>
                        <a:t> 8x </a:t>
                      </a:r>
                      <a:r>
                        <a:rPr lang="es-ES" sz="1800" noProof="0" err="1">
                          <a:solidFill>
                            <a:schemeClr val="tx1"/>
                          </a:solidFill>
                          <a:latin typeface="Montserrat"/>
                        </a:rPr>
                        <a:t>cost</a:t>
                      </a:r>
                      <a:r>
                        <a:rPr lang="es-ES" sz="1800" noProof="0" dirty="0">
                          <a:solidFill>
                            <a:schemeClr val="tx1"/>
                          </a:solidFill>
                          <a:latin typeface="Montserrat"/>
                        </a:rPr>
                        <a:t> </a:t>
                      </a:r>
                      <a:r>
                        <a:rPr lang="es-ES" sz="1800" noProof="0" err="1">
                          <a:solidFill>
                            <a:schemeClr val="tx1"/>
                          </a:solidFill>
                          <a:latin typeface="Montserrat"/>
                        </a:rPr>
                        <a:t>savings</a:t>
                      </a:r>
                      <a:endParaRPr lang="es-ES" sz="1800" noProof="0" dirty="0" err="1">
                        <a:solidFill>
                          <a:schemeClr val="tx1"/>
                        </a:solidFill>
                        <a:latin typeface="Montserrat"/>
                      </a:endParaRPr>
                    </a:p>
                  </a:txBody>
                  <a:tcPr marL="57150" marR="57150" marT="38100" marB="38100">
                    <a:lnL w="9525" cap="flat" cmpd="sng">
                      <a:solidFill>
                        <a:srgbClr val="CCCCCC"/>
                      </a:solidFill>
                      <a:prstDash val="solid"/>
                      <a:round/>
                      <a:headEnd type="none" w="sm" len="sm"/>
                      <a:tailEnd type="none" w="sm" len="sm"/>
                    </a:lnL>
                    <a:lnR w="9525" cap="flat" cmpd="sng" algn="ctr">
                      <a:solidFill>
                        <a:srgbClr val="CCCCCC"/>
                      </a:solidFill>
                      <a:prstDash val="solid"/>
                      <a:round/>
                      <a:headEnd type="none" w="sm" len="sm"/>
                      <a:tailEnd type="none" w="sm" len="sm"/>
                    </a:lnR>
                    <a:lnT w="9525" cap="flat" cmpd="sng" algn="ctr">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rowSpan="2">
                  <a:txBody>
                    <a:bodyPr/>
                    <a:lstStyle/>
                    <a:p>
                      <a:pPr marL="457200" lvl="0" indent="-279400" algn="l" rtl="0">
                        <a:lnSpc>
                          <a:spcPct val="115000"/>
                        </a:lnSpc>
                        <a:spcBef>
                          <a:spcPts val="0"/>
                        </a:spcBef>
                        <a:spcAft>
                          <a:spcPts val="0"/>
                        </a:spcAft>
                        <a:buClr>
                          <a:schemeClr val="lt1"/>
                        </a:buClr>
                        <a:buSzPts val="800"/>
                        <a:buChar char="●"/>
                      </a:pPr>
                      <a:r>
                        <a:rPr lang="es-ES" sz="1800" noProof="0" dirty="0" err="1">
                          <a:solidFill>
                            <a:schemeClr val="tx1"/>
                          </a:solidFill>
                          <a:latin typeface="Montserrat"/>
                        </a:rPr>
                        <a:t>Automated</a:t>
                      </a:r>
                      <a:r>
                        <a:rPr lang="es-ES" sz="1800" noProof="0" dirty="0">
                          <a:solidFill>
                            <a:schemeClr val="tx1"/>
                          </a:solidFill>
                          <a:latin typeface="Montserrat"/>
                        </a:rPr>
                        <a:t> Data </a:t>
                      </a:r>
                      <a:r>
                        <a:rPr lang="es-ES" sz="1800" noProof="0" dirty="0" err="1">
                          <a:solidFill>
                            <a:schemeClr val="tx1"/>
                          </a:solidFill>
                          <a:latin typeface="Montserrat"/>
                        </a:rPr>
                        <a:t>Level</a:t>
                      </a:r>
                      <a:r>
                        <a:rPr lang="es-ES" sz="1800" noProof="0" dirty="0">
                          <a:solidFill>
                            <a:schemeClr val="tx1"/>
                          </a:solidFill>
                          <a:latin typeface="Montserrat"/>
                        </a:rPr>
                        <a:t> Security</a:t>
                      </a:r>
                    </a:p>
                    <a:p>
                      <a:pPr marL="457200" lvl="0" indent="-279400" algn="l" rtl="0">
                        <a:lnSpc>
                          <a:spcPct val="115000"/>
                        </a:lnSpc>
                        <a:spcBef>
                          <a:spcPts val="1000"/>
                        </a:spcBef>
                        <a:spcAft>
                          <a:spcPts val="0"/>
                        </a:spcAft>
                        <a:buClr>
                          <a:schemeClr val="lt1"/>
                        </a:buClr>
                        <a:buSzPts val="800"/>
                        <a:buChar char="●"/>
                      </a:pPr>
                      <a:r>
                        <a:rPr lang="es-ES" sz="1800" noProof="0" dirty="0">
                          <a:solidFill>
                            <a:schemeClr val="tx1"/>
                          </a:solidFill>
                          <a:latin typeface="Montserrat"/>
                        </a:rPr>
                        <a:t>Plug and </a:t>
                      </a:r>
                      <a:r>
                        <a:rPr lang="es-ES" sz="1800" noProof="0" err="1">
                          <a:solidFill>
                            <a:schemeClr val="tx1"/>
                          </a:solidFill>
                          <a:latin typeface="Montserrat"/>
                        </a:rPr>
                        <a:t>play</a:t>
                      </a:r>
                      <a:r>
                        <a:rPr lang="es-ES" sz="1800" noProof="0" dirty="0">
                          <a:solidFill>
                            <a:schemeClr val="tx1"/>
                          </a:solidFill>
                          <a:latin typeface="Montserrat"/>
                        </a:rPr>
                        <a:t> </a:t>
                      </a:r>
                      <a:r>
                        <a:rPr lang="es-ES" sz="1800" noProof="0" err="1">
                          <a:solidFill>
                            <a:schemeClr val="tx1"/>
                          </a:solidFill>
                          <a:latin typeface="Montserrat"/>
                        </a:rPr>
                        <a:t>encryption</a:t>
                      </a:r>
                      <a:r>
                        <a:rPr lang="es-ES" sz="1800" noProof="0" dirty="0">
                          <a:solidFill>
                            <a:schemeClr val="tx1"/>
                          </a:solidFill>
                          <a:latin typeface="Montserrat"/>
                        </a:rPr>
                        <a:t> as a </a:t>
                      </a:r>
                      <a:r>
                        <a:rPr lang="es-ES" sz="1800" noProof="0" err="1">
                          <a:solidFill>
                            <a:schemeClr val="tx1"/>
                          </a:solidFill>
                          <a:latin typeface="Montserrat"/>
                        </a:rPr>
                        <a:t>service</a:t>
                      </a:r>
                      <a:endParaRPr lang="es-ES" sz="1800" noProof="0">
                        <a:solidFill>
                          <a:schemeClr val="tx1"/>
                        </a:solidFill>
                        <a:latin typeface="Montserrat"/>
                      </a:endParaRPr>
                    </a:p>
                    <a:p>
                      <a:pPr marL="457200" lvl="0" indent="-279400" algn="l" rtl="0">
                        <a:lnSpc>
                          <a:spcPct val="115000"/>
                        </a:lnSpc>
                        <a:spcBef>
                          <a:spcPts val="1000"/>
                        </a:spcBef>
                        <a:spcAft>
                          <a:spcPts val="0"/>
                        </a:spcAft>
                        <a:buClr>
                          <a:schemeClr val="lt1"/>
                        </a:buClr>
                        <a:buSzPts val="800"/>
                        <a:buChar char="●"/>
                      </a:pPr>
                      <a:r>
                        <a:rPr lang="es-ES" sz="1800" noProof="0" dirty="0" err="1">
                          <a:solidFill>
                            <a:schemeClr val="tx1"/>
                          </a:solidFill>
                          <a:latin typeface="Montserrat"/>
                        </a:rPr>
                        <a:t>Separates</a:t>
                      </a:r>
                      <a:r>
                        <a:rPr lang="es-ES" sz="1800" noProof="0" dirty="0">
                          <a:solidFill>
                            <a:schemeClr val="tx1"/>
                          </a:solidFill>
                          <a:latin typeface="Montserrat"/>
                        </a:rPr>
                        <a:t> </a:t>
                      </a:r>
                      <a:r>
                        <a:rPr lang="es-ES" sz="1800" noProof="0" dirty="0" err="1">
                          <a:solidFill>
                            <a:schemeClr val="tx1"/>
                          </a:solidFill>
                          <a:latin typeface="Montserrat"/>
                        </a:rPr>
                        <a:t>security</a:t>
                      </a:r>
                      <a:r>
                        <a:rPr lang="es-ES" sz="1800" noProof="0" dirty="0">
                          <a:solidFill>
                            <a:schemeClr val="tx1"/>
                          </a:solidFill>
                          <a:latin typeface="Montserrat"/>
                        </a:rPr>
                        <a:t> </a:t>
                      </a:r>
                      <a:r>
                        <a:rPr lang="es-ES" sz="1800" noProof="0" dirty="0" err="1">
                          <a:solidFill>
                            <a:schemeClr val="tx1"/>
                          </a:solidFill>
                          <a:latin typeface="Montserrat"/>
                        </a:rPr>
                        <a:t>from</a:t>
                      </a:r>
                      <a:r>
                        <a:rPr lang="es-ES" sz="1800" noProof="0" dirty="0">
                          <a:solidFill>
                            <a:schemeClr val="tx1"/>
                          </a:solidFill>
                          <a:latin typeface="Montserrat"/>
                        </a:rPr>
                        <a:t> </a:t>
                      </a:r>
                      <a:r>
                        <a:rPr lang="es-ES" sz="1800" noProof="0" dirty="0" err="1">
                          <a:solidFill>
                            <a:schemeClr val="tx1"/>
                          </a:solidFill>
                          <a:latin typeface="Montserrat"/>
                        </a:rPr>
                        <a:t>the</a:t>
                      </a:r>
                      <a:r>
                        <a:rPr lang="es-ES" sz="1800" noProof="0" dirty="0">
                          <a:solidFill>
                            <a:schemeClr val="tx1"/>
                          </a:solidFill>
                          <a:latin typeface="Montserrat"/>
                        </a:rPr>
                        <a:t> </a:t>
                      </a:r>
                      <a:r>
                        <a:rPr lang="es-ES" sz="1800" noProof="0" dirty="0" err="1">
                          <a:solidFill>
                            <a:schemeClr val="tx1"/>
                          </a:solidFill>
                          <a:latin typeface="Montserrat"/>
                        </a:rPr>
                        <a:t>environment</a:t>
                      </a:r>
                      <a:r>
                        <a:rPr lang="es-ES" sz="1800" noProof="0" dirty="0">
                          <a:solidFill>
                            <a:schemeClr val="tx1"/>
                          </a:solidFill>
                          <a:latin typeface="Montserrat"/>
                        </a:rPr>
                        <a:t> </a:t>
                      </a:r>
                      <a:r>
                        <a:rPr lang="es-ES" sz="1800" noProof="0" dirty="0" err="1">
                          <a:solidFill>
                            <a:schemeClr val="tx1"/>
                          </a:solidFill>
                          <a:latin typeface="Montserrat"/>
                        </a:rPr>
                        <a:t>for</a:t>
                      </a:r>
                      <a:r>
                        <a:rPr lang="es-ES" sz="1800" noProof="0" dirty="0">
                          <a:solidFill>
                            <a:schemeClr val="tx1"/>
                          </a:solidFill>
                          <a:latin typeface="Montserrat"/>
                        </a:rPr>
                        <a:t> </a:t>
                      </a:r>
                      <a:r>
                        <a:rPr lang="es-ES" sz="1800" noProof="0" dirty="0" err="1">
                          <a:solidFill>
                            <a:schemeClr val="tx1"/>
                          </a:solidFill>
                          <a:latin typeface="Montserrat"/>
                        </a:rPr>
                        <a:t>each</a:t>
                      </a:r>
                      <a:r>
                        <a:rPr lang="es-ES" sz="1800" noProof="0" dirty="0">
                          <a:solidFill>
                            <a:schemeClr val="tx1"/>
                          </a:solidFill>
                          <a:latin typeface="Montserrat"/>
                        </a:rPr>
                        <a:t> data </a:t>
                      </a:r>
                      <a:r>
                        <a:rPr lang="es-ES" sz="1800" noProof="0" dirty="0" err="1">
                          <a:solidFill>
                            <a:schemeClr val="tx1"/>
                          </a:solidFill>
                          <a:latin typeface="Montserrat"/>
                        </a:rPr>
                        <a:t>object</a:t>
                      </a:r>
                      <a:r>
                        <a:rPr lang="es-ES" sz="1800" noProof="0" dirty="0">
                          <a:solidFill>
                            <a:schemeClr val="tx1"/>
                          </a:solidFill>
                          <a:latin typeface="Montserrat"/>
                        </a:rPr>
                        <a:t> </a:t>
                      </a:r>
                      <a:r>
                        <a:rPr lang="es-ES" sz="1800" noProof="0" dirty="0" err="1">
                          <a:solidFill>
                            <a:schemeClr val="tx1"/>
                          </a:solidFill>
                          <a:latin typeface="Montserrat"/>
                        </a:rPr>
                        <a:t>with</a:t>
                      </a:r>
                      <a:r>
                        <a:rPr lang="es-ES" sz="1800" noProof="0" dirty="0">
                          <a:solidFill>
                            <a:schemeClr val="tx1"/>
                          </a:solidFill>
                          <a:latin typeface="Montserrat"/>
                        </a:rPr>
                        <a:t> </a:t>
                      </a:r>
                      <a:r>
                        <a:rPr lang="es-ES" sz="1800" noProof="0" dirty="0" err="1">
                          <a:solidFill>
                            <a:schemeClr val="tx1"/>
                          </a:solidFill>
                          <a:latin typeface="Montserrat"/>
                        </a:rPr>
                        <a:t>automated</a:t>
                      </a:r>
                      <a:r>
                        <a:rPr lang="es-ES" sz="1800" noProof="0" dirty="0">
                          <a:solidFill>
                            <a:schemeClr val="tx1"/>
                          </a:solidFill>
                          <a:latin typeface="Montserrat"/>
                        </a:rPr>
                        <a:t> </a:t>
                      </a:r>
                      <a:r>
                        <a:rPr lang="es-ES" sz="1800" noProof="0" dirty="0" err="1">
                          <a:solidFill>
                            <a:schemeClr val="tx1"/>
                          </a:solidFill>
                          <a:latin typeface="Montserrat"/>
                        </a:rPr>
                        <a:t>external</a:t>
                      </a:r>
                      <a:r>
                        <a:rPr lang="es-ES" sz="1800" noProof="0" dirty="0">
                          <a:solidFill>
                            <a:schemeClr val="tx1"/>
                          </a:solidFill>
                          <a:latin typeface="Montserrat"/>
                        </a:rPr>
                        <a:t> </a:t>
                      </a:r>
                      <a:r>
                        <a:rPr lang="es-ES" sz="1800" noProof="0" dirty="0" err="1">
                          <a:solidFill>
                            <a:schemeClr val="tx1"/>
                          </a:solidFill>
                          <a:latin typeface="Montserrat"/>
                        </a:rPr>
                        <a:t>key</a:t>
                      </a:r>
                      <a:r>
                        <a:rPr lang="es-ES" sz="1800" noProof="0" dirty="0">
                          <a:solidFill>
                            <a:schemeClr val="tx1"/>
                          </a:solidFill>
                          <a:latin typeface="Montserrat"/>
                        </a:rPr>
                        <a:t> store.</a:t>
                      </a:r>
                    </a:p>
                    <a:p>
                      <a:pPr marL="457200" lvl="0" indent="-279400" algn="l" rtl="0">
                        <a:lnSpc>
                          <a:spcPct val="115000"/>
                        </a:lnSpc>
                        <a:spcBef>
                          <a:spcPts val="1000"/>
                        </a:spcBef>
                        <a:spcAft>
                          <a:spcPts val="0"/>
                        </a:spcAft>
                        <a:buClr>
                          <a:schemeClr val="lt1"/>
                        </a:buClr>
                        <a:buSzPts val="800"/>
                        <a:buChar char="●"/>
                      </a:pPr>
                      <a:r>
                        <a:rPr lang="es-ES" sz="1800" noProof="0" err="1">
                          <a:solidFill>
                            <a:schemeClr val="tx1"/>
                          </a:solidFill>
                          <a:latin typeface="Montserrat"/>
                        </a:rPr>
                        <a:t>Automation</a:t>
                      </a:r>
                      <a:r>
                        <a:rPr lang="es-ES" sz="1800" noProof="0" dirty="0">
                          <a:solidFill>
                            <a:schemeClr val="tx1"/>
                          </a:solidFill>
                          <a:latin typeface="Montserrat"/>
                        </a:rPr>
                        <a:t> </a:t>
                      </a:r>
                      <a:r>
                        <a:rPr lang="es-ES" sz="1800" noProof="0" err="1">
                          <a:solidFill>
                            <a:schemeClr val="tx1"/>
                          </a:solidFill>
                          <a:latin typeface="Montserrat"/>
                        </a:rPr>
                        <a:t>of</a:t>
                      </a:r>
                      <a:r>
                        <a:rPr lang="es-ES" sz="1800" noProof="0" dirty="0">
                          <a:solidFill>
                            <a:schemeClr val="tx1"/>
                          </a:solidFill>
                          <a:latin typeface="Montserrat"/>
                        </a:rPr>
                        <a:t> </a:t>
                      </a:r>
                      <a:r>
                        <a:rPr lang="es-ES" sz="1800" noProof="0" err="1">
                          <a:solidFill>
                            <a:schemeClr val="tx1"/>
                          </a:solidFill>
                          <a:latin typeface="Montserrat"/>
                        </a:rPr>
                        <a:t>external</a:t>
                      </a:r>
                      <a:r>
                        <a:rPr lang="es-ES" sz="1800" noProof="0" dirty="0">
                          <a:solidFill>
                            <a:schemeClr val="tx1"/>
                          </a:solidFill>
                          <a:latin typeface="Montserrat"/>
                        </a:rPr>
                        <a:t> </a:t>
                      </a:r>
                      <a:r>
                        <a:rPr lang="es-ES" sz="1800" noProof="0" err="1">
                          <a:solidFill>
                            <a:schemeClr val="tx1"/>
                          </a:solidFill>
                          <a:latin typeface="Montserrat"/>
                        </a:rPr>
                        <a:t>secrets</a:t>
                      </a:r>
                      <a:r>
                        <a:rPr lang="es-ES" sz="1800" noProof="0" dirty="0">
                          <a:solidFill>
                            <a:schemeClr val="tx1"/>
                          </a:solidFill>
                          <a:latin typeface="Montserrat"/>
                        </a:rPr>
                        <a:t> </a:t>
                      </a:r>
                      <a:r>
                        <a:rPr lang="es-ES" sz="1800" noProof="0" err="1">
                          <a:solidFill>
                            <a:schemeClr val="tx1"/>
                          </a:solidFill>
                          <a:latin typeface="Montserrat"/>
                        </a:rPr>
                        <a:t>management</a:t>
                      </a:r>
                      <a:r>
                        <a:rPr lang="es-ES" sz="1800" noProof="0" dirty="0">
                          <a:solidFill>
                            <a:schemeClr val="tx1"/>
                          </a:solidFill>
                          <a:latin typeface="Montserrat"/>
                        </a:rPr>
                        <a:t> and </a:t>
                      </a:r>
                      <a:r>
                        <a:rPr lang="es-ES" sz="1800" noProof="0" err="1">
                          <a:solidFill>
                            <a:schemeClr val="tx1"/>
                          </a:solidFill>
                          <a:latin typeface="Montserrat"/>
                        </a:rPr>
                        <a:t>rotation</a:t>
                      </a:r>
                      <a:endParaRPr lang="es-ES" sz="1800" noProof="0">
                        <a:solidFill>
                          <a:schemeClr val="tx1"/>
                        </a:solidFill>
                        <a:latin typeface="Montserrat"/>
                      </a:endParaRPr>
                    </a:p>
                    <a:p>
                      <a:pPr marL="457200" lvl="0" indent="-279400" algn="l" rtl="0">
                        <a:lnSpc>
                          <a:spcPct val="115000"/>
                        </a:lnSpc>
                        <a:spcBef>
                          <a:spcPts val="1000"/>
                        </a:spcBef>
                        <a:spcAft>
                          <a:spcPts val="0"/>
                        </a:spcAft>
                        <a:buClr>
                          <a:schemeClr val="lt1"/>
                        </a:buClr>
                        <a:buSzPts val="800"/>
                        <a:buChar char="●"/>
                      </a:pPr>
                      <a:r>
                        <a:rPr lang="es-ES" sz="1800" noProof="0" err="1">
                          <a:solidFill>
                            <a:schemeClr val="tx1"/>
                          </a:solidFill>
                          <a:latin typeface="Montserrat"/>
                        </a:rPr>
                        <a:t>Automated</a:t>
                      </a:r>
                      <a:r>
                        <a:rPr lang="es-ES" sz="1800" noProof="0" dirty="0">
                          <a:solidFill>
                            <a:schemeClr val="tx1"/>
                          </a:solidFill>
                          <a:latin typeface="Montserrat"/>
                        </a:rPr>
                        <a:t> role-</a:t>
                      </a:r>
                      <a:r>
                        <a:rPr lang="es-ES" sz="1800" noProof="0" err="1">
                          <a:solidFill>
                            <a:schemeClr val="tx1"/>
                          </a:solidFill>
                          <a:latin typeface="Montserrat"/>
                        </a:rPr>
                        <a:t>based</a:t>
                      </a:r>
                      <a:r>
                        <a:rPr lang="es-ES" sz="1800" noProof="0" dirty="0">
                          <a:solidFill>
                            <a:schemeClr val="tx1"/>
                          </a:solidFill>
                          <a:latin typeface="Montserrat"/>
                        </a:rPr>
                        <a:t> </a:t>
                      </a:r>
                      <a:r>
                        <a:rPr lang="es-ES" sz="1800" noProof="0" err="1">
                          <a:solidFill>
                            <a:schemeClr val="tx1"/>
                          </a:solidFill>
                          <a:latin typeface="Montserrat"/>
                        </a:rPr>
                        <a:t>access</a:t>
                      </a:r>
                      <a:r>
                        <a:rPr lang="es-ES" sz="1800" noProof="0" dirty="0">
                          <a:solidFill>
                            <a:schemeClr val="tx1"/>
                          </a:solidFill>
                          <a:latin typeface="Montserrat"/>
                        </a:rPr>
                        <a:t> </a:t>
                      </a:r>
                      <a:r>
                        <a:rPr lang="es-ES" sz="1800" noProof="0" err="1">
                          <a:solidFill>
                            <a:schemeClr val="tx1"/>
                          </a:solidFill>
                          <a:latin typeface="Montserrat"/>
                        </a:rPr>
                        <a:t>management</a:t>
                      </a:r>
                      <a:r>
                        <a:rPr lang="es-ES" sz="1800" noProof="0" dirty="0">
                          <a:solidFill>
                            <a:schemeClr val="tx1"/>
                          </a:solidFill>
                          <a:latin typeface="Montserrat"/>
                        </a:rPr>
                        <a:t> at </a:t>
                      </a:r>
                      <a:r>
                        <a:rPr lang="es-ES" sz="1800" noProof="0" err="1">
                          <a:solidFill>
                            <a:schemeClr val="tx1"/>
                          </a:solidFill>
                          <a:latin typeface="Montserrat"/>
                        </a:rPr>
                        <a:t>the</a:t>
                      </a:r>
                      <a:r>
                        <a:rPr lang="es-ES" sz="1800" noProof="0" dirty="0">
                          <a:solidFill>
                            <a:schemeClr val="tx1"/>
                          </a:solidFill>
                          <a:latin typeface="Montserrat"/>
                        </a:rPr>
                        <a:t> data </a:t>
                      </a:r>
                      <a:r>
                        <a:rPr lang="es-ES" sz="1800" noProof="0" err="1">
                          <a:solidFill>
                            <a:schemeClr val="tx1"/>
                          </a:solidFill>
                          <a:latin typeface="Montserrat"/>
                        </a:rPr>
                        <a:t>level</a:t>
                      </a:r>
                      <a:endParaRPr lang="es-ES" sz="1800" noProof="0">
                        <a:solidFill>
                          <a:schemeClr val="tx1"/>
                        </a:solidFill>
                        <a:latin typeface="Montserrat"/>
                      </a:endParaRPr>
                    </a:p>
                    <a:p>
                      <a:pPr marL="457200" lvl="0" indent="-279400" algn="l" rtl="0">
                        <a:lnSpc>
                          <a:spcPct val="115000"/>
                        </a:lnSpc>
                        <a:spcBef>
                          <a:spcPts val="1000"/>
                        </a:spcBef>
                        <a:spcAft>
                          <a:spcPts val="0"/>
                        </a:spcAft>
                        <a:buClr>
                          <a:schemeClr val="lt1"/>
                        </a:buClr>
                        <a:buSzPts val="800"/>
                        <a:buChar char="●"/>
                      </a:pPr>
                      <a:r>
                        <a:rPr lang="es-ES" sz="1800" noProof="0" dirty="0">
                          <a:solidFill>
                            <a:schemeClr val="tx1"/>
                          </a:solidFill>
                          <a:latin typeface="Montserrat"/>
                        </a:rPr>
                        <a:t>Data </a:t>
                      </a:r>
                      <a:r>
                        <a:rPr lang="es-ES" sz="1800" noProof="0" err="1">
                          <a:solidFill>
                            <a:schemeClr val="tx1"/>
                          </a:solidFill>
                          <a:latin typeface="Montserrat"/>
                        </a:rPr>
                        <a:t>object</a:t>
                      </a:r>
                      <a:r>
                        <a:rPr lang="es-ES" sz="1800" noProof="0" dirty="0">
                          <a:solidFill>
                            <a:schemeClr val="tx1"/>
                          </a:solidFill>
                          <a:latin typeface="Montserrat"/>
                        </a:rPr>
                        <a:t> </a:t>
                      </a:r>
                      <a:r>
                        <a:rPr lang="es-ES" sz="1800" noProof="0" err="1">
                          <a:solidFill>
                            <a:schemeClr val="tx1"/>
                          </a:solidFill>
                          <a:latin typeface="Montserrat"/>
                        </a:rPr>
                        <a:t>chain</a:t>
                      </a:r>
                      <a:r>
                        <a:rPr lang="es-ES" sz="1800" noProof="0" dirty="0">
                          <a:solidFill>
                            <a:schemeClr val="tx1"/>
                          </a:solidFill>
                          <a:latin typeface="Montserrat"/>
                        </a:rPr>
                        <a:t> </a:t>
                      </a:r>
                      <a:r>
                        <a:rPr lang="es-ES" sz="1800" noProof="0" err="1">
                          <a:solidFill>
                            <a:schemeClr val="tx1"/>
                          </a:solidFill>
                          <a:latin typeface="Montserrat"/>
                        </a:rPr>
                        <a:t>of</a:t>
                      </a:r>
                      <a:r>
                        <a:rPr lang="es-ES" sz="1800" noProof="0" dirty="0">
                          <a:solidFill>
                            <a:schemeClr val="tx1"/>
                          </a:solidFill>
                          <a:latin typeface="Montserrat"/>
                        </a:rPr>
                        <a:t> </a:t>
                      </a:r>
                      <a:r>
                        <a:rPr lang="es-ES" sz="1800" noProof="0" err="1">
                          <a:solidFill>
                            <a:schemeClr val="tx1"/>
                          </a:solidFill>
                          <a:latin typeface="Montserrat"/>
                        </a:rPr>
                        <a:t>custody</a:t>
                      </a:r>
                      <a:r>
                        <a:rPr lang="es-ES" sz="1800" noProof="0" dirty="0">
                          <a:solidFill>
                            <a:schemeClr val="tx1"/>
                          </a:solidFill>
                          <a:latin typeface="Montserrat"/>
                        </a:rPr>
                        <a:t> </a:t>
                      </a:r>
                      <a:r>
                        <a:rPr lang="es-ES" sz="1800" noProof="0" err="1">
                          <a:solidFill>
                            <a:schemeClr val="tx1"/>
                          </a:solidFill>
                          <a:latin typeface="Montserrat"/>
                        </a:rPr>
                        <a:t>for</a:t>
                      </a:r>
                      <a:r>
                        <a:rPr lang="es-ES" sz="1800" noProof="0" dirty="0">
                          <a:solidFill>
                            <a:schemeClr val="tx1"/>
                          </a:solidFill>
                          <a:latin typeface="Montserrat"/>
                        </a:rPr>
                        <a:t> </a:t>
                      </a:r>
                      <a:r>
                        <a:rPr lang="es-ES" sz="1800" noProof="0" err="1">
                          <a:solidFill>
                            <a:schemeClr val="tx1"/>
                          </a:solidFill>
                          <a:latin typeface="Montserrat"/>
                        </a:rPr>
                        <a:t>compliance</a:t>
                      </a:r>
                      <a:r>
                        <a:rPr lang="es-ES" sz="1800" noProof="0" dirty="0">
                          <a:solidFill>
                            <a:schemeClr val="tx1"/>
                          </a:solidFill>
                          <a:latin typeface="Montserrat"/>
                        </a:rPr>
                        <a:t> </a:t>
                      </a:r>
                      <a:r>
                        <a:rPr lang="es-ES" sz="1800" noProof="0" err="1">
                          <a:solidFill>
                            <a:schemeClr val="tx1"/>
                          </a:solidFill>
                          <a:latin typeface="Montserrat"/>
                        </a:rPr>
                        <a:t>beyond</a:t>
                      </a:r>
                      <a:r>
                        <a:rPr lang="es-ES" sz="1800" noProof="0" dirty="0">
                          <a:solidFill>
                            <a:schemeClr val="tx1"/>
                          </a:solidFill>
                          <a:latin typeface="Montserrat"/>
                        </a:rPr>
                        <a:t> </a:t>
                      </a:r>
                      <a:r>
                        <a:rPr lang="es-ES" sz="1800" noProof="0" err="1">
                          <a:solidFill>
                            <a:schemeClr val="tx1"/>
                          </a:solidFill>
                          <a:latin typeface="Montserrat"/>
                        </a:rPr>
                        <a:t>environment</a:t>
                      </a:r>
                      <a:r>
                        <a:rPr lang="es-ES" sz="1800" noProof="0" dirty="0">
                          <a:solidFill>
                            <a:schemeClr val="tx1"/>
                          </a:solidFill>
                          <a:latin typeface="Montserrat"/>
                        </a:rPr>
                        <a:t> </a:t>
                      </a:r>
                      <a:r>
                        <a:rPr lang="es-ES" sz="1800" noProof="0" err="1">
                          <a:solidFill>
                            <a:schemeClr val="tx1"/>
                          </a:solidFill>
                          <a:latin typeface="Montserrat"/>
                        </a:rPr>
                        <a:t>boundaries</a:t>
                      </a:r>
                      <a:r>
                        <a:rPr lang="es-ES" sz="1800" noProof="0" dirty="0">
                          <a:solidFill>
                            <a:schemeClr val="tx1"/>
                          </a:solidFill>
                          <a:latin typeface="Montserrat"/>
                        </a:rPr>
                        <a:t>.</a:t>
                      </a:r>
                    </a:p>
                    <a:p>
                      <a:pPr marL="457200" lvl="0" indent="-279400" algn="l" rtl="0">
                        <a:lnSpc>
                          <a:spcPct val="115000"/>
                        </a:lnSpc>
                        <a:spcBef>
                          <a:spcPts val="1000"/>
                        </a:spcBef>
                        <a:spcAft>
                          <a:spcPts val="1000"/>
                        </a:spcAft>
                        <a:buClr>
                          <a:schemeClr val="lt1"/>
                        </a:buClr>
                        <a:buSzPts val="800"/>
                        <a:buChar char="●"/>
                      </a:pPr>
                      <a:r>
                        <a:rPr lang="es-ES" sz="1800" noProof="0" err="1">
                          <a:solidFill>
                            <a:schemeClr val="tx1"/>
                          </a:solidFill>
                          <a:latin typeface="Montserrat"/>
                        </a:rPr>
                        <a:t>Massive</a:t>
                      </a:r>
                      <a:r>
                        <a:rPr lang="es-ES" sz="1800" noProof="0" dirty="0">
                          <a:solidFill>
                            <a:schemeClr val="tx1"/>
                          </a:solidFill>
                          <a:latin typeface="Montserrat"/>
                        </a:rPr>
                        <a:t> </a:t>
                      </a:r>
                      <a:r>
                        <a:rPr lang="es-ES" sz="1800" noProof="0" err="1">
                          <a:solidFill>
                            <a:schemeClr val="tx1"/>
                          </a:solidFill>
                          <a:latin typeface="Montserrat"/>
                        </a:rPr>
                        <a:t>cost</a:t>
                      </a:r>
                      <a:r>
                        <a:rPr lang="es-ES" sz="1800" noProof="0" dirty="0">
                          <a:solidFill>
                            <a:schemeClr val="tx1"/>
                          </a:solidFill>
                          <a:latin typeface="Montserrat"/>
                        </a:rPr>
                        <a:t> </a:t>
                      </a:r>
                      <a:r>
                        <a:rPr lang="es-ES" sz="1800" noProof="0" err="1">
                          <a:solidFill>
                            <a:schemeClr val="tx1"/>
                          </a:solidFill>
                          <a:latin typeface="Montserrat"/>
                        </a:rPr>
                        <a:t>savings</a:t>
                      </a:r>
                      <a:r>
                        <a:rPr lang="es-ES" sz="1800" noProof="0" dirty="0">
                          <a:solidFill>
                            <a:schemeClr val="tx1"/>
                          </a:solidFill>
                          <a:latin typeface="Montserrat"/>
                        </a:rPr>
                        <a:t> </a:t>
                      </a:r>
                      <a:r>
                        <a:rPr lang="es-ES" sz="1800" noProof="0" err="1">
                          <a:solidFill>
                            <a:schemeClr val="tx1"/>
                          </a:solidFill>
                          <a:latin typeface="Montserrat"/>
                        </a:rPr>
                        <a:t>with</a:t>
                      </a:r>
                      <a:r>
                        <a:rPr lang="es-ES" sz="1800" noProof="0" dirty="0">
                          <a:solidFill>
                            <a:schemeClr val="tx1"/>
                          </a:solidFill>
                          <a:latin typeface="Montserrat"/>
                        </a:rPr>
                        <a:t> </a:t>
                      </a:r>
                      <a:r>
                        <a:rPr lang="es-ES" sz="1800" noProof="0" err="1">
                          <a:solidFill>
                            <a:schemeClr val="tx1"/>
                          </a:solidFill>
                          <a:latin typeface="Montserrat"/>
                        </a:rPr>
                        <a:t>layer</a:t>
                      </a:r>
                      <a:r>
                        <a:rPr lang="es-ES" sz="1800" noProof="0" dirty="0">
                          <a:solidFill>
                            <a:schemeClr val="tx1"/>
                          </a:solidFill>
                          <a:latin typeface="Montserrat"/>
                        </a:rPr>
                        <a:t> </a:t>
                      </a:r>
                      <a:r>
                        <a:rPr lang="es-ES" sz="1800" noProof="0" err="1">
                          <a:solidFill>
                            <a:schemeClr val="tx1"/>
                          </a:solidFill>
                          <a:latin typeface="Montserrat"/>
                        </a:rPr>
                        <a:t>on</a:t>
                      </a:r>
                      <a:r>
                        <a:rPr lang="es-ES" sz="1800" noProof="0" dirty="0">
                          <a:solidFill>
                            <a:schemeClr val="tx1"/>
                          </a:solidFill>
                          <a:latin typeface="Montserrat"/>
                        </a:rPr>
                        <a:t> </a:t>
                      </a:r>
                      <a:r>
                        <a:rPr lang="es-ES" sz="1800" noProof="0" err="1">
                          <a:solidFill>
                            <a:schemeClr val="tx1"/>
                          </a:solidFill>
                          <a:latin typeface="Montserrat"/>
                        </a:rPr>
                        <a:t>security</a:t>
                      </a:r>
                      <a:r>
                        <a:rPr lang="es-ES" sz="1800" noProof="0" dirty="0">
                          <a:solidFill>
                            <a:schemeClr val="tx1"/>
                          </a:solidFill>
                          <a:latin typeface="Montserrat"/>
                        </a:rPr>
                        <a:t> </a:t>
                      </a:r>
                      <a:r>
                        <a:rPr lang="es-ES" sz="1800" noProof="0" err="1">
                          <a:solidFill>
                            <a:schemeClr val="tx1"/>
                          </a:solidFill>
                          <a:latin typeface="Montserrat"/>
                        </a:rPr>
                        <a:t>insurance</a:t>
                      </a:r>
                      <a:endParaRPr lang="es-ES" sz="1800" noProof="0">
                        <a:solidFill>
                          <a:schemeClr val="tx1"/>
                        </a:solidFill>
                        <a:latin typeface="Montserrat"/>
                      </a:endParaRPr>
                    </a:p>
                  </a:txBody>
                  <a:tcPr marL="57150" marR="57150" marT="38100" marB="38100">
                    <a:lnL w="9525" cap="flat" cmpd="sng" algn="ctr">
                      <a:solidFill>
                        <a:srgbClr val="CCCCCC"/>
                      </a:solidFill>
                      <a:prstDash val="solid"/>
                      <a:round/>
                      <a:headEnd type="none" w="sm" len="sm"/>
                      <a:tailEnd type="none" w="sm" len="sm"/>
                    </a:lnL>
                    <a:lnR w="9525" cap="flat" cmpd="sng" algn="ctr">
                      <a:solidFill>
                        <a:srgbClr val="CCCCCC"/>
                      </a:solidFill>
                      <a:prstDash val="solid"/>
                      <a:round/>
                      <a:headEnd type="none" w="sm" len="sm"/>
                      <a:tailEnd type="none" w="sm" len="sm"/>
                    </a:lnR>
                    <a:lnT w="9525" cap="flat" cmpd="sng" algn="ctr">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rowSpan="2">
                  <a:txBody>
                    <a:bodyPr/>
                    <a:lstStyle/>
                    <a:p>
                      <a:pPr marL="457200" lvl="0" indent="-279400" algn="l" rtl="0">
                        <a:lnSpc>
                          <a:spcPct val="115000"/>
                        </a:lnSpc>
                        <a:spcBef>
                          <a:spcPts val="0"/>
                        </a:spcBef>
                        <a:spcAft>
                          <a:spcPts val="0"/>
                        </a:spcAft>
                        <a:buClr>
                          <a:schemeClr val="lt1"/>
                        </a:buClr>
                        <a:buSzPts val="800"/>
                        <a:buChar char="●"/>
                      </a:pPr>
                      <a:r>
                        <a:rPr lang="es-ES" sz="1800" noProof="0" err="1">
                          <a:solidFill>
                            <a:schemeClr val="tx1"/>
                          </a:solidFill>
                          <a:latin typeface="Montserrat"/>
                        </a:rPr>
                        <a:t>Hashicorp</a:t>
                      </a:r>
                      <a:endParaRPr lang="es-ES" sz="1800" noProof="0" dirty="0" err="1">
                        <a:solidFill>
                          <a:schemeClr val="tx1"/>
                        </a:solidFill>
                        <a:latin typeface="Montserrat"/>
                      </a:endParaRPr>
                    </a:p>
                    <a:p>
                      <a:pPr marL="457200" lvl="0" indent="-279400" algn="l" rtl="0">
                        <a:lnSpc>
                          <a:spcPct val="115000"/>
                        </a:lnSpc>
                        <a:spcBef>
                          <a:spcPts val="1000"/>
                        </a:spcBef>
                        <a:spcAft>
                          <a:spcPts val="0"/>
                        </a:spcAft>
                        <a:buClr>
                          <a:schemeClr val="lt1"/>
                        </a:buClr>
                        <a:buSzPts val="800"/>
                        <a:buChar char="●"/>
                      </a:pPr>
                      <a:r>
                        <a:rPr lang="es-ES" sz="1800" noProof="0" err="1">
                          <a:solidFill>
                            <a:schemeClr val="tx1"/>
                          </a:solidFill>
                          <a:latin typeface="Montserrat"/>
                        </a:rPr>
                        <a:t>Skyflow</a:t>
                      </a:r>
                      <a:endParaRPr lang="es-ES" sz="1800" noProof="0">
                        <a:solidFill>
                          <a:schemeClr val="tx1"/>
                        </a:solidFill>
                        <a:latin typeface="Montserrat"/>
                      </a:endParaRPr>
                    </a:p>
                    <a:p>
                      <a:pPr marL="457200" lvl="0" indent="-279400" algn="l" rtl="0">
                        <a:lnSpc>
                          <a:spcPct val="115000"/>
                        </a:lnSpc>
                        <a:spcBef>
                          <a:spcPts val="1000"/>
                        </a:spcBef>
                        <a:spcAft>
                          <a:spcPts val="0"/>
                        </a:spcAft>
                        <a:buClr>
                          <a:schemeClr val="lt1"/>
                        </a:buClr>
                        <a:buSzPts val="800"/>
                        <a:buChar char="●"/>
                      </a:pPr>
                      <a:r>
                        <a:rPr lang="es-ES" sz="1800" noProof="0" err="1">
                          <a:solidFill>
                            <a:schemeClr val="tx1"/>
                          </a:solidFill>
                          <a:latin typeface="Montserrat"/>
                        </a:rPr>
                        <a:t>Fortanix</a:t>
                      </a:r>
                      <a:endParaRPr lang="es-ES" sz="1800" noProof="0">
                        <a:solidFill>
                          <a:schemeClr val="tx1"/>
                        </a:solidFill>
                        <a:latin typeface="Montserrat"/>
                      </a:endParaRPr>
                    </a:p>
                    <a:p>
                      <a:pPr marL="457200" lvl="0" indent="-279400" algn="l" rtl="0">
                        <a:lnSpc>
                          <a:spcPct val="115000"/>
                        </a:lnSpc>
                        <a:spcBef>
                          <a:spcPts val="1000"/>
                        </a:spcBef>
                        <a:spcAft>
                          <a:spcPts val="0"/>
                        </a:spcAft>
                        <a:buClr>
                          <a:schemeClr val="lt1"/>
                        </a:buClr>
                        <a:buSzPts val="800"/>
                        <a:buChar char="●"/>
                      </a:pPr>
                      <a:r>
                        <a:rPr lang="es-ES" sz="1800" noProof="0" err="1">
                          <a:solidFill>
                            <a:schemeClr val="tx1"/>
                          </a:solidFill>
                          <a:latin typeface="Montserrat"/>
                        </a:rPr>
                        <a:t>aKeyless</a:t>
                      </a:r>
                      <a:endParaRPr lang="es-ES" sz="1800" noProof="0">
                        <a:solidFill>
                          <a:schemeClr val="tx1"/>
                        </a:solidFill>
                        <a:latin typeface="Montserrat"/>
                      </a:endParaRPr>
                    </a:p>
                    <a:p>
                      <a:pPr marL="457200" lvl="0" indent="-279400" algn="l" rtl="0">
                        <a:lnSpc>
                          <a:spcPct val="115000"/>
                        </a:lnSpc>
                        <a:spcBef>
                          <a:spcPts val="1000"/>
                        </a:spcBef>
                        <a:spcAft>
                          <a:spcPts val="0"/>
                        </a:spcAft>
                        <a:buClr>
                          <a:schemeClr val="lt1"/>
                        </a:buClr>
                        <a:buSzPts val="800"/>
                        <a:buChar char="●"/>
                      </a:pPr>
                      <a:r>
                        <a:rPr lang="es-ES" sz="1800" noProof="0" err="1">
                          <a:solidFill>
                            <a:schemeClr val="tx1"/>
                          </a:solidFill>
                          <a:latin typeface="Montserrat"/>
                        </a:rPr>
                        <a:t>CyberArk</a:t>
                      </a:r>
                      <a:endParaRPr lang="es-ES" sz="1800" noProof="0">
                        <a:solidFill>
                          <a:schemeClr val="tx1"/>
                        </a:solidFill>
                        <a:latin typeface="Montserrat"/>
                      </a:endParaRPr>
                    </a:p>
                    <a:p>
                      <a:pPr marL="457200" lvl="0" indent="-279400" algn="l" rtl="0">
                        <a:lnSpc>
                          <a:spcPct val="115000"/>
                        </a:lnSpc>
                        <a:spcBef>
                          <a:spcPts val="1000"/>
                        </a:spcBef>
                        <a:spcAft>
                          <a:spcPts val="0"/>
                        </a:spcAft>
                        <a:buClr>
                          <a:schemeClr val="lt1"/>
                        </a:buClr>
                        <a:buSzPts val="800"/>
                        <a:buChar char="●"/>
                      </a:pPr>
                      <a:r>
                        <a:rPr lang="es-ES" sz="1800" noProof="0" err="1">
                          <a:solidFill>
                            <a:schemeClr val="tx1"/>
                          </a:solidFill>
                          <a:latin typeface="Montserrat"/>
                        </a:rPr>
                        <a:t>BeyondTrust</a:t>
                      </a:r>
                      <a:endParaRPr lang="es-ES" sz="1800" noProof="0">
                        <a:solidFill>
                          <a:schemeClr val="tx1"/>
                        </a:solidFill>
                        <a:latin typeface="Montserrat"/>
                      </a:endParaRPr>
                    </a:p>
                    <a:p>
                      <a:pPr marL="457200" lvl="0" indent="-279400" algn="l" rtl="0">
                        <a:lnSpc>
                          <a:spcPct val="115000"/>
                        </a:lnSpc>
                        <a:spcBef>
                          <a:spcPts val="1000"/>
                        </a:spcBef>
                        <a:spcAft>
                          <a:spcPts val="1000"/>
                        </a:spcAft>
                        <a:buClr>
                          <a:schemeClr val="lt1"/>
                        </a:buClr>
                        <a:buSzPts val="800"/>
                        <a:buChar char="●"/>
                      </a:pPr>
                      <a:r>
                        <a:rPr lang="es-ES" sz="1800" noProof="0" dirty="0">
                          <a:solidFill>
                            <a:schemeClr val="bg1"/>
                          </a:solidFill>
                          <a:latin typeface="Montserrat"/>
                        </a:rPr>
                        <a:t>Thales</a:t>
                      </a:r>
                    </a:p>
                  </a:txBody>
                  <a:tcPr marL="57150" marR="57150" marT="38100" marB="38100">
                    <a:lnL w="9525" cap="flat" cmpd="sng" algn="ctr">
                      <a:solidFill>
                        <a:srgbClr val="CCCCCC"/>
                      </a:solidFill>
                      <a:prstDash val="solid"/>
                      <a:round/>
                      <a:headEnd type="none" w="sm" len="sm"/>
                      <a:tailEnd type="none" w="sm" len="sm"/>
                    </a:lnL>
                    <a:lnR w="9525" cap="flat" cmpd="sng" algn="ctr">
                      <a:solidFill>
                        <a:srgbClr val="CCCCCC"/>
                      </a:solidFill>
                      <a:prstDash val="solid"/>
                      <a:round/>
                      <a:headEnd type="none" w="sm" len="sm"/>
                      <a:tailEnd type="none" w="sm" len="sm"/>
                    </a:lnR>
                    <a:lnT w="9525" cap="flat" cmpd="sng" algn="ctr">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a:txBody>
                    <a:bodyPr/>
                    <a:lstStyle/>
                    <a:p>
                      <a:pPr marL="457200" lvl="0" indent="-279400" algn="l" rtl="0">
                        <a:lnSpc>
                          <a:spcPct val="115000"/>
                        </a:lnSpc>
                        <a:spcBef>
                          <a:spcPts val="0"/>
                        </a:spcBef>
                        <a:spcAft>
                          <a:spcPts val="0"/>
                        </a:spcAft>
                        <a:buClr>
                          <a:schemeClr val="lt1"/>
                        </a:buClr>
                        <a:buSzPts val="800"/>
                        <a:buFont typeface="Roboto"/>
                        <a:buChar char="●"/>
                      </a:pPr>
                      <a:r>
                        <a:rPr lang="es-ES" sz="1800" noProof="0" err="1">
                          <a:solidFill>
                            <a:schemeClr val="tx1"/>
                          </a:solidFill>
                          <a:latin typeface="Montserrat"/>
                          <a:ea typeface="Roboto"/>
                          <a:cs typeface="Roboto"/>
                          <a:sym typeface="Roboto"/>
                        </a:rPr>
                        <a:t>Automates</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security</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access</a:t>
                      </a:r>
                      <a:r>
                        <a:rPr lang="es-ES" sz="1800" noProof="0" dirty="0">
                          <a:solidFill>
                            <a:schemeClr val="tx1"/>
                          </a:solidFill>
                          <a:latin typeface="Montserrat"/>
                          <a:ea typeface="Roboto"/>
                          <a:cs typeface="Roboto"/>
                          <a:sym typeface="Roboto"/>
                        </a:rPr>
                        <a:t>, and </a:t>
                      </a:r>
                      <a:r>
                        <a:rPr lang="es-ES" sz="1800" noProof="0" err="1">
                          <a:solidFill>
                            <a:schemeClr val="tx1"/>
                          </a:solidFill>
                          <a:latin typeface="Montserrat"/>
                          <a:ea typeface="Roboto"/>
                          <a:cs typeface="Roboto"/>
                          <a:sym typeface="Roboto"/>
                        </a:rPr>
                        <a:t>compliance</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management</a:t>
                      </a:r>
                      <a:r>
                        <a:rPr lang="es-ES" sz="1800" noProof="0" dirty="0">
                          <a:solidFill>
                            <a:schemeClr val="tx1"/>
                          </a:solidFill>
                          <a:latin typeface="Montserrat"/>
                          <a:ea typeface="Roboto"/>
                          <a:cs typeface="Roboto"/>
                          <a:sym typeface="Roboto"/>
                        </a:rPr>
                        <a:t>.</a:t>
                      </a:r>
                    </a:p>
                    <a:p>
                      <a:pPr marL="457200" lvl="0" indent="-279400" algn="l" rtl="0">
                        <a:lnSpc>
                          <a:spcPct val="115000"/>
                        </a:lnSpc>
                        <a:spcBef>
                          <a:spcPts val="0"/>
                        </a:spcBef>
                        <a:spcAft>
                          <a:spcPts val="0"/>
                        </a:spcAft>
                        <a:buClr>
                          <a:schemeClr val="lt1"/>
                        </a:buClr>
                        <a:buSzPts val="800"/>
                        <a:buFont typeface="Roboto"/>
                        <a:buChar char="●"/>
                      </a:pPr>
                      <a:r>
                        <a:rPr lang="es-ES" sz="1800" noProof="0" err="1">
                          <a:solidFill>
                            <a:schemeClr val="tx1"/>
                          </a:solidFill>
                          <a:latin typeface="Montserrat"/>
                          <a:ea typeface="Roboto"/>
                          <a:cs typeface="Roboto"/>
                          <a:sym typeface="Roboto"/>
                        </a:rPr>
                        <a:t>Services</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offer</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localized</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encryption</a:t>
                      </a:r>
                      <a:r>
                        <a:rPr lang="es-ES" sz="1800" noProof="0" dirty="0">
                          <a:solidFill>
                            <a:schemeClr val="tx1"/>
                          </a:solidFill>
                          <a:latin typeface="Montserrat"/>
                          <a:ea typeface="Roboto"/>
                          <a:cs typeface="Roboto"/>
                          <a:sym typeface="Roboto"/>
                        </a:rPr>
                        <a:t> as a manual </a:t>
                      </a:r>
                      <a:r>
                        <a:rPr lang="es-ES" sz="1800" noProof="0" err="1">
                          <a:solidFill>
                            <a:schemeClr val="tx1"/>
                          </a:solidFill>
                          <a:latin typeface="Montserrat"/>
                          <a:ea typeface="Roboto"/>
                          <a:cs typeface="Roboto"/>
                          <a:sym typeface="Roboto"/>
                        </a:rPr>
                        <a:t>request</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tied</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to</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the</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environment</a:t>
                      </a:r>
                      <a:r>
                        <a:rPr lang="es-ES" sz="1800" noProof="0" dirty="0">
                          <a:solidFill>
                            <a:schemeClr val="tx1"/>
                          </a:solidFill>
                          <a:latin typeface="Montserrat"/>
                          <a:ea typeface="Roboto"/>
                          <a:cs typeface="Roboto"/>
                          <a:sym typeface="Roboto"/>
                        </a:rPr>
                        <a:t>.</a:t>
                      </a:r>
                    </a:p>
                    <a:p>
                      <a:pPr marL="457200" lvl="0" indent="-279400" algn="l" rtl="0">
                        <a:lnSpc>
                          <a:spcPct val="115000"/>
                        </a:lnSpc>
                        <a:spcBef>
                          <a:spcPts val="0"/>
                        </a:spcBef>
                        <a:spcAft>
                          <a:spcPts val="0"/>
                        </a:spcAft>
                        <a:buClr>
                          <a:schemeClr val="lt1"/>
                        </a:buClr>
                        <a:buSzPts val="800"/>
                        <a:buFont typeface="Roboto"/>
                        <a:buChar char="●"/>
                      </a:pPr>
                      <a:r>
                        <a:rPr lang="es-ES" sz="1800" noProof="0" dirty="0">
                          <a:solidFill>
                            <a:schemeClr val="tx1"/>
                          </a:solidFill>
                          <a:latin typeface="Montserrat"/>
                          <a:ea typeface="Roboto"/>
                          <a:cs typeface="Roboto"/>
                          <a:sym typeface="Roboto"/>
                        </a:rPr>
                        <a:t>Security and </a:t>
                      </a:r>
                      <a:r>
                        <a:rPr lang="es-ES" sz="1800" noProof="0" err="1">
                          <a:solidFill>
                            <a:schemeClr val="tx1"/>
                          </a:solidFill>
                          <a:latin typeface="Montserrat"/>
                          <a:ea typeface="Roboto"/>
                          <a:cs typeface="Roboto"/>
                          <a:sym typeface="Roboto"/>
                        </a:rPr>
                        <a:t>compliance</a:t>
                      </a:r>
                      <a:r>
                        <a:rPr lang="es-ES" sz="1800" noProof="0" dirty="0">
                          <a:solidFill>
                            <a:schemeClr val="tx1"/>
                          </a:solidFill>
                          <a:latin typeface="Montserrat"/>
                          <a:ea typeface="Roboto"/>
                          <a:cs typeface="Roboto"/>
                          <a:sym typeface="Roboto"/>
                        </a:rPr>
                        <a:t> do </a:t>
                      </a:r>
                      <a:r>
                        <a:rPr lang="es-ES" sz="1800" noProof="0" err="1">
                          <a:solidFill>
                            <a:schemeClr val="tx1"/>
                          </a:solidFill>
                          <a:latin typeface="Montserrat"/>
                          <a:ea typeface="Roboto"/>
                          <a:cs typeface="Roboto"/>
                          <a:sym typeface="Roboto"/>
                        </a:rPr>
                        <a:t>not</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extend</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beyond</a:t>
                      </a:r>
                      <a:r>
                        <a:rPr lang="es-ES" sz="1800" noProof="0" dirty="0">
                          <a:solidFill>
                            <a:schemeClr val="tx1"/>
                          </a:solidFill>
                          <a:latin typeface="Montserrat"/>
                          <a:ea typeface="Roboto"/>
                          <a:cs typeface="Roboto"/>
                          <a:sym typeface="Roboto"/>
                        </a:rPr>
                        <a:t> a single </a:t>
                      </a:r>
                      <a:r>
                        <a:rPr lang="es-ES" sz="1800" noProof="0" err="1">
                          <a:solidFill>
                            <a:schemeClr val="tx1"/>
                          </a:solidFill>
                          <a:latin typeface="Montserrat"/>
                          <a:ea typeface="Roboto"/>
                          <a:cs typeface="Roboto"/>
                          <a:sym typeface="Roboto"/>
                        </a:rPr>
                        <a:t>environment</a:t>
                      </a:r>
                      <a:r>
                        <a:rPr lang="es-ES" sz="1800" noProof="0" dirty="0">
                          <a:solidFill>
                            <a:schemeClr val="tx1"/>
                          </a:solidFill>
                          <a:latin typeface="Montserrat"/>
                          <a:ea typeface="Roboto"/>
                          <a:cs typeface="Roboto"/>
                          <a:sym typeface="Roboto"/>
                        </a:rPr>
                        <a:t>.</a:t>
                      </a:r>
                    </a:p>
                    <a:p>
                      <a:pPr marL="457200" lvl="0" indent="-279400" algn="l" rtl="0">
                        <a:lnSpc>
                          <a:spcPct val="115000"/>
                        </a:lnSpc>
                        <a:spcBef>
                          <a:spcPts val="0"/>
                        </a:spcBef>
                        <a:spcAft>
                          <a:spcPts val="0"/>
                        </a:spcAft>
                        <a:buClr>
                          <a:schemeClr val="lt1"/>
                        </a:buClr>
                        <a:buSzPts val="800"/>
                        <a:buFont typeface="Roboto"/>
                        <a:buChar char="●"/>
                      </a:pPr>
                      <a:r>
                        <a:rPr lang="es-ES" sz="1800" noProof="0" err="1">
                          <a:solidFill>
                            <a:schemeClr val="tx1"/>
                          </a:solidFill>
                          <a:latin typeface="Montserrat"/>
                          <a:ea typeface="Roboto"/>
                          <a:cs typeface="Roboto"/>
                          <a:sym typeface="Roboto"/>
                        </a:rPr>
                        <a:t>Secrets</a:t>
                      </a:r>
                      <a:r>
                        <a:rPr lang="es-ES" sz="1800" noProof="0" dirty="0">
                          <a:solidFill>
                            <a:schemeClr val="tx1"/>
                          </a:solidFill>
                          <a:latin typeface="Montserrat"/>
                          <a:ea typeface="Roboto"/>
                          <a:cs typeface="Roboto"/>
                          <a:sym typeface="Roboto"/>
                        </a:rPr>
                        <a:t> are </a:t>
                      </a:r>
                      <a:r>
                        <a:rPr lang="es-ES" sz="1800" noProof="0" err="1">
                          <a:solidFill>
                            <a:schemeClr val="tx1"/>
                          </a:solidFill>
                          <a:latin typeface="Montserrat"/>
                          <a:ea typeface="Roboto"/>
                          <a:cs typeface="Roboto"/>
                          <a:sym typeface="Roboto"/>
                        </a:rPr>
                        <a:t>not</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automatically</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rotated</a:t>
                      </a:r>
                      <a:r>
                        <a:rPr lang="es-ES" sz="1800" noProof="0" dirty="0">
                          <a:solidFill>
                            <a:schemeClr val="tx1"/>
                          </a:solidFill>
                          <a:latin typeface="Montserrat"/>
                          <a:ea typeface="Roboto"/>
                          <a:cs typeface="Roboto"/>
                          <a:sym typeface="Roboto"/>
                        </a:rPr>
                        <a:t> per data </a:t>
                      </a:r>
                      <a:r>
                        <a:rPr lang="es-ES" sz="1800" noProof="0" err="1">
                          <a:solidFill>
                            <a:schemeClr val="tx1"/>
                          </a:solidFill>
                          <a:latin typeface="Montserrat"/>
                          <a:ea typeface="Roboto"/>
                          <a:cs typeface="Roboto"/>
                          <a:sym typeface="Roboto"/>
                        </a:rPr>
                        <a:t>record</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leading</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to</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increased</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overhead</a:t>
                      </a:r>
                      <a:r>
                        <a:rPr lang="es-ES" sz="1800" noProof="0" dirty="0">
                          <a:solidFill>
                            <a:schemeClr val="tx1"/>
                          </a:solidFill>
                          <a:latin typeface="Montserrat"/>
                          <a:ea typeface="Roboto"/>
                          <a:cs typeface="Roboto"/>
                          <a:sym typeface="Roboto"/>
                        </a:rPr>
                        <a:t>.</a:t>
                      </a:r>
                    </a:p>
                    <a:p>
                      <a:pPr marL="457200" lvl="0" indent="-279400" algn="l" rtl="0">
                        <a:lnSpc>
                          <a:spcPct val="115000"/>
                        </a:lnSpc>
                        <a:spcBef>
                          <a:spcPts val="0"/>
                        </a:spcBef>
                        <a:spcAft>
                          <a:spcPts val="0"/>
                        </a:spcAft>
                        <a:buClr>
                          <a:schemeClr val="lt1"/>
                        </a:buClr>
                        <a:buSzPts val="800"/>
                        <a:buFont typeface="Roboto"/>
                        <a:buChar char="●"/>
                      </a:pPr>
                      <a:r>
                        <a:rPr lang="es-ES" sz="1800" noProof="0" err="1">
                          <a:solidFill>
                            <a:schemeClr val="tx1"/>
                          </a:solidFill>
                          <a:latin typeface="Montserrat"/>
                          <a:ea typeface="Roboto"/>
                          <a:cs typeface="Roboto"/>
                          <a:sym typeface="Roboto"/>
                        </a:rPr>
                        <a:t>Lack</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of</a:t>
                      </a:r>
                      <a:r>
                        <a:rPr lang="es-ES" sz="1800" noProof="0" dirty="0">
                          <a:solidFill>
                            <a:schemeClr val="tx1"/>
                          </a:solidFill>
                          <a:latin typeface="Montserrat"/>
                          <a:ea typeface="Roboto"/>
                          <a:cs typeface="Roboto"/>
                          <a:sym typeface="Roboto"/>
                        </a:rPr>
                        <a:t> a </a:t>
                      </a:r>
                      <a:r>
                        <a:rPr lang="es-ES" sz="1800" noProof="0" err="1">
                          <a:solidFill>
                            <a:schemeClr val="tx1"/>
                          </a:solidFill>
                          <a:latin typeface="Montserrat"/>
                          <a:ea typeface="Roboto"/>
                          <a:cs typeface="Roboto"/>
                          <a:sym typeface="Roboto"/>
                        </a:rPr>
                        <a:t>secure</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chain</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of</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custody</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for</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compliance</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necessitates</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additional</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access</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management</a:t>
                      </a:r>
                      <a:r>
                        <a:rPr lang="es-ES" sz="1800" noProof="0" dirty="0">
                          <a:solidFill>
                            <a:schemeClr val="tx1"/>
                          </a:solidFill>
                          <a:latin typeface="Montserrat"/>
                          <a:ea typeface="Roboto"/>
                          <a:cs typeface="Roboto"/>
                          <a:sym typeface="Roboto"/>
                        </a:rPr>
                        <a:t> and </a:t>
                      </a:r>
                      <a:r>
                        <a:rPr lang="es-ES" sz="1800" noProof="0" err="1">
                          <a:solidFill>
                            <a:schemeClr val="tx1"/>
                          </a:solidFill>
                          <a:latin typeface="Montserrat"/>
                          <a:ea typeface="Roboto"/>
                          <a:cs typeface="Roboto"/>
                          <a:sym typeface="Roboto"/>
                        </a:rPr>
                        <a:t>logging</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layers</a:t>
                      </a:r>
                      <a:r>
                        <a:rPr lang="es-ES" sz="1800" noProof="0" dirty="0">
                          <a:solidFill>
                            <a:schemeClr val="tx1"/>
                          </a:solidFill>
                          <a:latin typeface="Montserrat"/>
                          <a:ea typeface="Roboto"/>
                          <a:cs typeface="Roboto"/>
                          <a:sym typeface="Roboto"/>
                        </a:rPr>
                        <a:t>.</a:t>
                      </a:r>
                    </a:p>
                    <a:p>
                      <a:pPr marL="457200" lvl="0" indent="-279400" algn="l" rtl="0">
                        <a:lnSpc>
                          <a:spcPct val="115000"/>
                        </a:lnSpc>
                        <a:spcBef>
                          <a:spcPts val="0"/>
                        </a:spcBef>
                        <a:spcAft>
                          <a:spcPts val="0"/>
                        </a:spcAft>
                        <a:buClr>
                          <a:schemeClr val="lt1"/>
                        </a:buClr>
                        <a:buSzPts val="800"/>
                        <a:buFont typeface="Roboto"/>
                        <a:buChar char="●"/>
                      </a:pPr>
                      <a:r>
                        <a:rPr lang="es-ES" sz="1800" noProof="0" dirty="0">
                          <a:solidFill>
                            <a:schemeClr val="tx1"/>
                          </a:solidFill>
                          <a:latin typeface="Montserrat"/>
                          <a:ea typeface="Roboto"/>
                          <a:cs typeface="Roboto"/>
                          <a:sym typeface="Roboto"/>
                        </a:rPr>
                        <a:t>Role-</a:t>
                      </a:r>
                      <a:r>
                        <a:rPr lang="es-ES" sz="1800" noProof="0" err="1">
                          <a:solidFill>
                            <a:schemeClr val="tx1"/>
                          </a:solidFill>
                          <a:latin typeface="Montserrat"/>
                          <a:ea typeface="Roboto"/>
                          <a:cs typeface="Roboto"/>
                          <a:sym typeface="Roboto"/>
                        </a:rPr>
                        <a:t>based</a:t>
                      </a:r>
                      <a:r>
                        <a:rPr lang="es-ES" sz="1800" noProof="0" dirty="0">
                          <a:solidFill>
                            <a:schemeClr val="tx1"/>
                          </a:solidFill>
                          <a:latin typeface="Montserrat"/>
                          <a:ea typeface="Roboto"/>
                          <a:cs typeface="Roboto"/>
                          <a:sym typeface="Roboto"/>
                        </a:rPr>
                        <a:t> data </a:t>
                      </a:r>
                      <a:r>
                        <a:rPr lang="es-ES" sz="1800" noProof="0" err="1">
                          <a:solidFill>
                            <a:schemeClr val="tx1"/>
                          </a:solidFill>
                          <a:latin typeface="Montserrat"/>
                          <a:ea typeface="Roboto"/>
                          <a:cs typeface="Roboto"/>
                          <a:sym typeface="Roboto"/>
                        </a:rPr>
                        <a:t>security</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access</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is</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limited</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to</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applications</a:t>
                      </a:r>
                      <a:r>
                        <a:rPr lang="es-ES" sz="1800" noProof="0" dirty="0">
                          <a:solidFill>
                            <a:schemeClr val="tx1"/>
                          </a:solidFill>
                          <a:latin typeface="Montserrat"/>
                          <a:ea typeface="Roboto"/>
                          <a:cs typeface="Roboto"/>
                          <a:sym typeface="Roboto"/>
                        </a:rPr>
                        <a:t> and </a:t>
                      </a:r>
                      <a:r>
                        <a:rPr lang="es-ES" sz="1800" noProof="0" err="1">
                          <a:solidFill>
                            <a:schemeClr val="tx1"/>
                          </a:solidFill>
                          <a:latin typeface="Montserrat"/>
                          <a:ea typeface="Roboto"/>
                          <a:cs typeface="Roboto"/>
                          <a:sym typeface="Roboto"/>
                        </a:rPr>
                        <a:t>networks</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not</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bound</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to</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the</a:t>
                      </a:r>
                      <a:r>
                        <a:rPr lang="es-ES" sz="1800" noProof="0" dirty="0">
                          <a:solidFill>
                            <a:schemeClr val="tx1"/>
                          </a:solidFill>
                          <a:latin typeface="Montserrat"/>
                          <a:ea typeface="Roboto"/>
                          <a:cs typeface="Roboto"/>
                          <a:sym typeface="Roboto"/>
                        </a:rPr>
                        <a:t> data.</a:t>
                      </a:r>
                    </a:p>
                    <a:p>
                      <a:pPr marL="0" lvl="0" indent="0" algn="l" rtl="0">
                        <a:spcBef>
                          <a:spcPts val="0"/>
                        </a:spcBef>
                        <a:spcAft>
                          <a:spcPts val="0"/>
                        </a:spcAft>
                        <a:buNone/>
                      </a:pPr>
                      <a:endParaRPr lang="es-ES" sz="1800" noProof="0" dirty="0">
                        <a:solidFill>
                          <a:schemeClr val="tx1"/>
                        </a:solidFill>
                        <a:latin typeface="Montserrat"/>
                      </a:endParaRPr>
                    </a:p>
                  </a:txBody>
                  <a:tcPr marL="57150" marR="57150" marT="38100" marB="38100">
                    <a:lnL w="9525" cap="flat" cmpd="sng" algn="ctr">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lgn="ctr">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extLst>
                  <a:ext uri="{0D108BD9-81ED-4DB2-BD59-A6C34878D82A}">
                    <a16:rowId xmlns:a16="http://schemas.microsoft.com/office/drawing/2014/main" val="10002"/>
                  </a:ext>
                </a:extLst>
              </a:tr>
              <a:tr h="1695550">
                <a:tc vMerge="1">
                  <a:txBody>
                    <a:bodyPr/>
                    <a:lstStyle/>
                    <a:p>
                      <a:endParaRPr lang="pt-PT"/>
                    </a:p>
                  </a:txBody>
                  <a:tcPr/>
                </a:tc>
                <a:tc vMerge="1">
                  <a:txBody>
                    <a:bodyPr/>
                    <a:lstStyle/>
                    <a:p>
                      <a:endParaRPr lang="pt-PT"/>
                    </a:p>
                  </a:txBody>
                  <a:tcPr/>
                </a:tc>
                <a:tc vMerge="1">
                  <a:txBody>
                    <a:bodyPr/>
                    <a:lstStyle/>
                    <a:p>
                      <a:endParaRPr lang="pt-PT"/>
                    </a:p>
                  </a:txBody>
                  <a:tcPr/>
                </a:tc>
                <a:tc>
                  <a:txBody>
                    <a:bodyPr/>
                    <a:lstStyle/>
                    <a:p>
                      <a:pPr marL="0" lvl="0" indent="0" algn="l" rtl="0">
                        <a:lnSpc>
                          <a:spcPct val="115000"/>
                        </a:lnSpc>
                        <a:spcBef>
                          <a:spcPts val="0"/>
                        </a:spcBef>
                        <a:spcAft>
                          <a:spcPts val="0"/>
                        </a:spcAft>
                        <a:buNone/>
                      </a:pPr>
                      <a:r>
                        <a:rPr lang="es-ES" sz="1800" b="1" noProof="0" err="1">
                          <a:solidFill>
                            <a:schemeClr val="tx1"/>
                          </a:solidFill>
                          <a:latin typeface="Montserrat"/>
                        </a:rPr>
                        <a:t>Example</a:t>
                      </a:r>
                      <a:r>
                        <a:rPr lang="es-ES" sz="1800" b="1" noProof="0" dirty="0">
                          <a:solidFill>
                            <a:schemeClr val="tx1"/>
                          </a:solidFill>
                          <a:latin typeface="Montserrat"/>
                        </a:rPr>
                        <a:t>: </a:t>
                      </a:r>
                      <a:r>
                        <a:rPr lang="es-ES" sz="1800" b="1" noProof="0" err="1">
                          <a:solidFill>
                            <a:schemeClr val="tx1"/>
                          </a:solidFill>
                          <a:latin typeface="Montserrat"/>
                        </a:rPr>
                        <a:t>akeyless</a:t>
                      </a:r>
                      <a:r>
                        <a:rPr lang="es-ES" sz="1800" noProof="0" dirty="0">
                          <a:solidFill>
                            <a:schemeClr val="tx1"/>
                          </a:solidFill>
                          <a:latin typeface="Montserrat"/>
                        </a:rPr>
                        <a:t> </a:t>
                      </a:r>
                      <a:r>
                        <a:rPr lang="es-ES" sz="1800" noProof="0" err="1">
                          <a:solidFill>
                            <a:schemeClr val="tx1"/>
                          </a:solidFill>
                          <a:latin typeface="Montserrat"/>
                        </a:rPr>
                        <a:t>makes</a:t>
                      </a:r>
                      <a:r>
                        <a:rPr lang="es-ES" sz="1800" noProof="0" dirty="0">
                          <a:solidFill>
                            <a:schemeClr val="tx1"/>
                          </a:solidFill>
                          <a:latin typeface="Montserrat"/>
                        </a:rPr>
                        <a:t> a </a:t>
                      </a:r>
                      <a:r>
                        <a:rPr lang="es-ES" sz="1800" noProof="0" err="1">
                          <a:solidFill>
                            <a:schemeClr val="tx1"/>
                          </a:solidFill>
                          <a:latin typeface="Montserrat"/>
                        </a:rPr>
                        <a:t>copy</a:t>
                      </a:r>
                      <a:r>
                        <a:rPr lang="es-ES" sz="1800" noProof="0" dirty="0">
                          <a:solidFill>
                            <a:schemeClr val="tx1"/>
                          </a:solidFill>
                          <a:latin typeface="Montserrat"/>
                        </a:rPr>
                        <a:t> </a:t>
                      </a:r>
                      <a:r>
                        <a:rPr lang="es-ES" sz="1800" noProof="0" err="1">
                          <a:solidFill>
                            <a:schemeClr val="tx1"/>
                          </a:solidFill>
                          <a:latin typeface="Montserrat"/>
                        </a:rPr>
                        <a:t>of</a:t>
                      </a:r>
                      <a:r>
                        <a:rPr lang="es-ES" sz="1800" noProof="0" dirty="0">
                          <a:solidFill>
                            <a:schemeClr val="tx1"/>
                          </a:solidFill>
                          <a:latin typeface="Montserrat"/>
                        </a:rPr>
                        <a:t> </a:t>
                      </a:r>
                      <a:r>
                        <a:rPr lang="es-ES" sz="1800" noProof="0" err="1">
                          <a:solidFill>
                            <a:schemeClr val="tx1"/>
                          </a:solidFill>
                          <a:latin typeface="Montserrat"/>
                        </a:rPr>
                        <a:t>your</a:t>
                      </a:r>
                      <a:r>
                        <a:rPr lang="es-ES" sz="1800" noProof="0" dirty="0">
                          <a:solidFill>
                            <a:schemeClr val="tx1"/>
                          </a:solidFill>
                          <a:latin typeface="Montserrat"/>
                        </a:rPr>
                        <a:t> </a:t>
                      </a:r>
                      <a:r>
                        <a:rPr lang="es-ES" sz="1800" noProof="0" err="1">
                          <a:solidFill>
                            <a:schemeClr val="tx1"/>
                          </a:solidFill>
                          <a:latin typeface="Montserrat"/>
                        </a:rPr>
                        <a:t>keys</a:t>
                      </a:r>
                      <a:r>
                        <a:rPr lang="es-ES" sz="1800" noProof="0" dirty="0">
                          <a:solidFill>
                            <a:schemeClr val="tx1"/>
                          </a:solidFill>
                          <a:latin typeface="Montserrat"/>
                        </a:rPr>
                        <a:t> and </a:t>
                      </a:r>
                      <a:r>
                        <a:rPr lang="es-ES" sz="1800" noProof="0" err="1">
                          <a:solidFill>
                            <a:schemeClr val="tx1"/>
                          </a:solidFill>
                          <a:latin typeface="Montserrat"/>
                        </a:rPr>
                        <a:t>stores</a:t>
                      </a:r>
                      <a:r>
                        <a:rPr lang="es-ES" sz="1800" noProof="0" dirty="0">
                          <a:solidFill>
                            <a:schemeClr val="tx1"/>
                          </a:solidFill>
                          <a:latin typeface="Montserrat"/>
                        </a:rPr>
                        <a:t> </a:t>
                      </a:r>
                      <a:r>
                        <a:rPr lang="es-ES" sz="1800" noProof="0" err="1">
                          <a:solidFill>
                            <a:schemeClr val="tx1"/>
                          </a:solidFill>
                          <a:latin typeface="Montserrat"/>
                        </a:rPr>
                        <a:t>the</a:t>
                      </a:r>
                      <a:r>
                        <a:rPr lang="es-ES" sz="1800" noProof="0" dirty="0">
                          <a:solidFill>
                            <a:schemeClr val="tx1"/>
                          </a:solidFill>
                          <a:latin typeface="Montserrat"/>
                        </a:rPr>
                        <a:t> </a:t>
                      </a:r>
                      <a:r>
                        <a:rPr lang="es-ES" sz="1800" noProof="0" err="1">
                          <a:solidFill>
                            <a:schemeClr val="tx1"/>
                          </a:solidFill>
                          <a:latin typeface="Montserrat"/>
                        </a:rPr>
                        <a:t>keys</a:t>
                      </a:r>
                      <a:r>
                        <a:rPr lang="es-ES" sz="1800" noProof="0" dirty="0">
                          <a:solidFill>
                            <a:schemeClr val="tx1"/>
                          </a:solidFill>
                          <a:latin typeface="Montserrat"/>
                        </a:rPr>
                        <a:t> </a:t>
                      </a:r>
                      <a:r>
                        <a:rPr lang="es-ES" sz="1800" noProof="0" err="1">
                          <a:solidFill>
                            <a:schemeClr val="tx1"/>
                          </a:solidFill>
                          <a:latin typeface="Montserrat"/>
                        </a:rPr>
                        <a:t>for</a:t>
                      </a:r>
                      <a:r>
                        <a:rPr lang="es-ES" sz="1800" noProof="0" dirty="0">
                          <a:solidFill>
                            <a:schemeClr val="tx1"/>
                          </a:solidFill>
                          <a:latin typeface="Montserrat"/>
                        </a:rPr>
                        <a:t> </a:t>
                      </a:r>
                      <a:r>
                        <a:rPr lang="es-ES" sz="1800" noProof="0" err="1">
                          <a:solidFill>
                            <a:schemeClr val="tx1"/>
                          </a:solidFill>
                          <a:latin typeface="Montserrat"/>
                        </a:rPr>
                        <a:t>your</a:t>
                      </a:r>
                      <a:r>
                        <a:rPr lang="es-ES" sz="1800" noProof="0" dirty="0">
                          <a:solidFill>
                            <a:schemeClr val="tx1"/>
                          </a:solidFill>
                          <a:latin typeface="Montserrat"/>
                        </a:rPr>
                        <a:t> data in </a:t>
                      </a:r>
                      <a:r>
                        <a:rPr lang="es-ES" sz="1800" noProof="0" err="1">
                          <a:solidFill>
                            <a:schemeClr val="tx1"/>
                          </a:solidFill>
                          <a:latin typeface="Montserrat"/>
                        </a:rPr>
                        <a:t>the</a:t>
                      </a:r>
                      <a:r>
                        <a:rPr lang="es-ES" sz="1800" noProof="0" dirty="0">
                          <a:solidFill>
                            <a:schemeClr val="tx1"/>
                          </a:solidFill>
                          <a:latin typeface="Montserrat"/>
                        </a:rPr>
                        <a:t> </a:t>
                      </a:r>
                      <a:r>
                        <a:rPr lang="es-ES" sz="1800" noProof="0" err="1">
                          <a:solidFill>
                            <a:schemeClr val="tx1"/>
                          </a:solidFill>
                          <a:latin typeface="Montserrat"/>
                        </a:rPr>
                        <a:t>cloud</a:t>
                      </a:r>
                      <a:r>
                        <a:rPr lang="es-ES" sz="1800" noProof="0" dirty="0">
                          <a:solidFill>
                            <a:schemeClr val="tx1"/>
                          </a:solidFill>
                          <a:latin typeface="Montserrat"/>
                        </a:rPr>
                        <a:t>, </a:t>
                      </a:r>
                      <a:r>
                        <a:rPr lang="es-ES" sz="1800" noProof="0" err="1">
                          <a:solidFill>
                            <a:schemeClr val="tx1"/>
                          </a:solidFill>
                          <a:latin typeface="Montserrat"/>
                        </a:rPr>
                        <a:t>thus</a:t>
                      </a:r>
                      <a:r>
                        <a:rPr lang="es-ES" sz="1800" noProof="0" dirty="0">
                          <a:solidFill>
                            <a:schemeClr val="tx1"/>
                          </a:solidFill>
                          <a:latin typeface="Montserrat"/>
                        </a:rPr>
                        <a:t> </a:t>
                      </a:r>
                      <a:r>
                        <a:rPr lang="es-ES" sz="1800" noProof="0" err="1">
                          <a:solidFill>
                            <a:schemeClr val="tx1"/>
                          </a:solidFill>
                          <a:latin typeface="Montserrat"/>
                        </a:rPr>
                        <a:t>enabling</a:t>
                      </a:r>
                      <a:r>
                        <a:rPr lang="es-ES" sz="1800" noProof="0" dirty="0">
                          <a:solidFill>
                            <a:schemeClr val="tx1"/>
                          </a:solidFill>
                          <a:latin typeface="Montserrat"/>
                        </a:rPr>
                        <a:t> data </a:t>
                      </a:r>
                      <a:r>
                        <a:rPr lang="es-ES" sz="1800" noProof="0" err="1">
                          <a:solidFill>
                            <a:schemeClr val="tx1"/>
                          </a:solidFill>
                          <a:latin typeface="Montserrat"/>
                        </a:rPr>
                        <a:t>exfiltration</a:t>
                      </a:r>
                      <a:endParaRPr lang="es-ES" sz="1800" noProof="0" dirty="0" err="1">
                        <a:solidFill>
                          <a:schemeClr val="tx1"/>
                        </a:solidFill>
                        <a:latin typeface="Montserrat"/>
                      </a:endParaRPr>
                    </a:p>
                  </a:txBody>
                  <a:tcPr marL="57150" marR="57150" marT="38100" marB="38100">
                    <a:lnL w="9525" cap="flat" cmpd="sng" algn="ctr">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lgn="ctr">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extLst>
                  <a:ext uri="{0D108BD9-81ED-4DB2-BD59-A6C34878D82A}">
                    <a16:rowId xmlns:a16="http://schemas.microsoft.com/office/drawing/2014/main" val="10006"/>
                  </a:ext>
                </a:extLst>
              </a:tr>
            </a:tbl>
          </a:graphicData>
        </a:graphic>
      </p:graphicFrame>
      <p:grpSp>
        <p:nvGrpSpPr>
          <p:cNvPr id="5" name="Group 24">
            <a:extLst>
              <a:ext uri="{FF2B5EF4-FFF2-40B4-BE49-F238E27FC236}">
                <a16:creationId xmlns:a16="http://schemas.microsoft.com/office/drawing/2014/main" id="{BD51E1DF-8A3A-136A-A61A-EE9818FBBB91}"/>
              </a:ext>
            </a:extLst>
          </p:cNvPr>
          <p:cNvGrpSpPr/>
          <p:nvPr/>
        </p:nvGrpSpPr>
        <p:grpSpPr>
          <a:xfrm>
            <a:off x="10682233" y="1620313"/>
            <a:ext cx="612363" cy="56823"/>
            <a:chOff x="0" y="0"/>
            <a:chExt cx="1078484" cy="100076"/>
          </a:xfrm>
        </p:grpSpPr>
        <p:sp>
          <p:nvSpPr>
            <p:cNvPr id="4" name="Freeform 25">
              <a:extLst>
                <a:ext uri="{FF2B5EF4-FFF2-40B4-BE49-F238E27FC236}">
                  <a16:creationId xmlns:a16="http://schemas.microsoft.com/office/drawing/2014/main" id="{113978D0-B96D-21D1-1CE7-E3F06D1CC606}"/>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es-ES" sz="1800" noProof="0"/>
            </a:p>
          </p:txBody>
        </p:sp>
      </p:grpSp>
      <p:sp>
        <p:nvSpPr>
          <p:cNvPr id="6" name="Google Shape;294;g8cff37a39f_0_44">
            <a:extLst>
              <a:ext uri="{FF2B5EF4-FFF2-40B4-BE49-F238E27FC236}">
                <a16:creationId xmlns:a16="http://schemas.microsoft.com/office/drawing/2014/main" id="{B4602E3A-DF3E-C962-D1B6-FB9BDB28A7B1}"/>
              </a:ext>
            </a:extLst>
          </p:cNvPr>
          <p:cNvSpPr txBox="1">
            <a:spLocks/>
          </p:cNvSpPr>
          <p:nvPr/>
        </p:nvSpPr>
        <p:spPr>
          <a:xfrm>
            <a:off x="1043770" y="1017304"/>
            <a:ext cx="16035376" cy="748199"/>
          </a:xfrm>
          <a:prstGeom prst="rect">
            <a:avLst/>
          </a:prstGeom>
          <a:noFill/>
          <a:ln>
            <a:noFill/>
          </a:ln>
        </p:spPr>
        <p:txBody>
          <a:bodyPr spcFirstLastPara="1" wrap="square" lIns="182850" tIns="182850" rIns="182850" bIns="18285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1pPr>
            <a:lvl2pPr marR="0" lvl="1"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2pPr>
            <a:lvl3pPr marR="0" lvl="2"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3pPr>
            <a:lvl4pPr marR="0" lvl="3"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4pPr>
            <a:lvl5pPr marR="0" lvl="4"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5pPr>
            <a:lvl6pPr marR="0" lvl="5"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6pPr>
            <a:lvl7pPr marR="0" lvl="6"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7pPr>
            <a:lvl8pPr marR="0" lvl="7"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8pPr>
            <a:lvl9pPr marR="0" lvl="8"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9pPr>
          </a:lstStyle>
          <a:p>
            <a:pPr defTabSz="1371600">
              <a:defRPr/>
            </a:pPr>
            <a:r>
              <a:rPr lang="en-US" sz="4000" dirty="0">
                <a:solidFill>
                  <a:prstClr val="black"/>
                </a:solidFill>
              </a:rPr>
              <a:t>Data Access Control - Differentiation</a:t>
            </a:r>
            <a:endParaRPr lang="en-US" dirty="0"/>
          </a:p>
        </p:txBody>
      </p:sp>
    </p:spTree>
    <p:extLst>
      <p:ext uri="{BB962C8B-B14F-4D97-AF65-F5344CB8AC3E}">
        <p14:creationId xmlns:p14="http://schemas.microsoft.com/office/powerpoint/2010/main" val="21586716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Shape 914">
          <a:extLst>
            <a:ext uri="{FF2B5EF4-FFF2-40B4-BE49-F238E27FC236}">
              <a16:creationId xmlns:a16="http://schemas.microsoft.com/office/drawing/2014/main" id="{64B61D4F-932B-44FB-4E92-E07CB2D06FB8}"/>
            </a:ext>
          </a:extLst>
        </p:cNvPr>
        <p:cNvGrpSpPr/>
        <p:nvPr/>
      </p:nvGrpSpPr>
      <p:grpSpPr>
        <a:xfrm>
          <a:off x="0" y="0"/>
          <a:ext cx="0" cy="0"/>
          <a:chOff x="0" y="0"/>
          <a:chExt cx="0" cy="0"/>
        </a:xfrm>
      </p:grpSpPr>
      <p:sp>
        <p:nvSpPr>
          <p:cNvPr id="919" name="Google Shape;919;p82">
            <a:extLst>
              <a:ext uri="{FF2B5EF4-FFF2-40B4-BE49-F238E27FC236}">
                <a16:creationId xmlns:a16="http://schemas.microsoft.com/office/drawing/2014/main" id="{4AAFFE45-0B31-82E2-94B7-587A1C2AA726}"/>
              </a:ext>
            </a:extLst>
          </p:cNvPr>
          <p:cNvSpPr txBox="1"/>
          <p:nvPr/>
        </p:nvSpPr>
        <p:spPr>
          <a:xfrm>
            <a:off x="11029550" y="8537677"/>
            <a:ext cx="2489400" cy="800158"/>
          </a:xfrm>
          <a:prstGeom prst="rect">
            <a:avLst/>
          </a:prstGeom>
          <a:noFill/>
          <a:ln>
            <a:noFill/>
          </a:ln>
        </p:spPr>
        <p:txBody>
          <a:bodyPr spcFirstLastPara="1" wrap="square" lIns="182850" tIns="182850" rIns="182850" bIns="182850" anchor="t" anchorCtr="0">
            <a:spAutoFit/>
          </a:bodyPr>
          <a:lstStyle/>
          <a:p>
            <a:pPr>
              <a:buSzPts val="1400"/>
            </a:pPr>
            <a:endParaRPr lang="es-ES" sz="2800" noProof="0">
              <a:latin typeface="Proxima Nova"/>
              <a:ea typeface="Proxima Nova"/>
              <a:cs typeface="Proxima Nova"/>
              <a:sym typeface="Proxima Nova"/>
            </a:endParaRPr>
          </a:p>
        </p:txBody>
      </p:sp>
      <p:sp>
        <p:nvSpPr>
          <p:cNvPr id="920" name="Google Shape;920;p82">
            <a:extLst>
              <a:ext uri="{FF2B5EF4-FFF2-40B4-BE49-F238E27FC236}">
                <a16:creationId xmlns:a16="http://schemas.microsoft.com/office/drawing/2014/main" id="{C0C545E2-6851-7103-8720-0BD479B0EBD9}"/>
              </a:ext>
            </a:extLst>
          </p:cNvPr>
          <p:cNvSpPr txBox="1"/>
          <p:nvPr/>
        </p:nvSpPr>
        <p:spPr>
          <a:xfrm>
            <a:off x="13772750" y="7118676"/>
            <a:ext cx="2489400" cy="800158"/>
          </a:xfrm>
          <a:prstGeom prst="rect">
            <a:avLst/>
          </a:prstGeom>
          <a:noFill/>
          <a:ln>
            <a:noFill/>
          </a:ln>
        </p:spPr>
        <p:txBody>
          <a:bodyPr spcFirstLastPara="1" wrap="square" lIns="182850" tIns="182850" rIns="182850" bIns="182850" anchor="t" anchorCtr="0">
            <a:spAutoFit/>
          </a:bodyPr>
          <a:lstStyle/>
          <a:p>
            <a:pPr>
              <a:buSzPts val="1400"/>
            </a:pPr>
            <a:endParaRPr lang="es-ES" sz="2800" noProof="0">
              <a:solidFill>
                <a:schemeClr val="bg1"/>
              </a:solidFill>
              <a:latin typeface="Proxima Nova"/>
              <a:ea typeface="Proxima Nova"/>
              <a:cs typeface="Proxima Nova"/>
              <a:sym typeface="Proxima Nova"/>
            </a:endParaRPr>
          </a:p>
        </p:txBody>
      </p:sp>
      <p:graphicFrame>
        <p:nvGraphicFramePr>
          <p:cNvPr id="930" name="Google Shape;930;p82">
            <a:extLst>
              <a:ext uri="{FF2B5EF4-FFF2-40B4-BE49-F238E27FC236}">
                <a16:creationId xmlns:a16="http://schemas.microsoft.com/office/drawing/2014/main" id="{08D1EFE9-EDCC-FEEC-8584-629F401BFD41}"/>
              </a:ext>
            </a:extLst>
          </p:cNvPr>
          <p:cNvGraphicFramePr/>
          <p:nvPr>
            <p:extLst>
              <p:ext uri="{D42A27DB-BD31-4B8C-83A1-F6EECF244321}">
                <p14:modId xmlns:p14="http://schemas.microsoft.com/office/powerpoint/2010/main" val="64647387"/>
              </p:ext>
            </p:extLst>
          </p:nvPr>
        </p:nvGraphicFramePr>
        <p:xfrm>
          <a:off x="800550" y="2056226"/>
          <a:ext cx="16710300" cy="7648004"/>
        </p:xfrm>
        <a:graphic>
          <a:graphicData uri="http://schemas.openxmlformats.org/drawingml/2006/table">
            <a:tbl>
              <a:tblPr>
                <a:noFill/>
              </a:tblPr>
              <a:tblGrid>
                <a:gridCol w="2735400">
                  <a:extLst>
                    <a:ext uri="{9D8B030D-6E8A-4147-A177-3AD203B41FA5}">
                      <a16:colId xmlns:a16="http://schemas.microsoft.com/office/drawing/2014/main" val="20000"/>
                    </a:ext>
                  </a:extLst>
                </a:gridCol>
                <a:gridCol w="5495800">
                  <a:extLst>
                    <a:ext uri="{9D8B030D-6E8A-4147-A177-3AD203B41FA5}">
                      <a16:colId xmlns:a16="http://schemas.microsoft.com/office/drawing/2014/main" val="20001"/>
                    </a:ext>
                  </a:extLst>
                </a:gridCol>
                <a:gridCol w="2705100">
                  <a:extLst>
                    <a:ext uri="{9D8B030D-6E8A-4147-A177-3AD203B41FA5}">
                      <a16:colId xmlns:a16="http://schemas.microsoft.com/office/drawing/2014/main" val="20002"/>
                    </a:ext>
                  </a:extLst>
                </a:gridCol>
                <a:gridCol w="5774000">
                  <a:extLst>
                    <a:ext uri="{9D8B030D-6E8A-4147-A177-3AD203B41FA5}">
                      <a16:colId xmlns:a16="http://schemas.microsoft.com/office/drawing/2014/main" val="20003"/>
                    </a:ext>
                  </a:extLst>
                </a:gridCol>
              </a:tblGrid>
              <a:tr h="520778">
                <a:tc>
                  <a:txBody>
                    <a:bodyPr/>
                    <a:lstStyle/>
                    <a:p>
                      <a:pPr marL="0" lvl="0" indent="0" algn="ctr" rtl="0">
                        <a:lnSpc>
                          <a:spcPct val="115000"/>
                        </a:lnSpc>
                        <a:spcBef>
                          <a:spcPts val="0"/>
                        </a:spcBef>
                        <a:spcAft>
                          <a:spcPts val="0"/>
                        </a:spcAft>
                        <a:buNone/>
                      </a:pPr>
                      <a:r>
                        <a:rPr lang="es-ES" sz="1800" b="1" noProof="0" err="1">
                          <a:solidFill>
                            <a:schemeClr val="bg1"/>
                          </a:solidFill>
                          <a:latin typeface="Montserrat"/>
                        </a:rPr>
                        <a:t>Cost</a:t>
                      </a:r>
                      <a:r>
                        <a:rPr lang="es-ES" sz="1800" b="1" noProof="0" dirty="0">
                          <a:solidFill>
                            <a:schemeClr val="bg1"/>
                          </a:solidFill>
                          <a:latin typeface="Montserrat"/>
                        </a:rPr>
                        <a:t> Benefit</a:t>
                      </a:r>
                    </a:p>
                  </a:txBody>
                  <a:tcPr marL="57150" marR="57150" marT="38100" marB="38100" anchor="ctr">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lgn="ctr">
                      <a:solidFill>
                        <a:srgbClr val="CCCCCC"/>
                      </a:solidFill>
                      <a:prstDash val="solid"/>
                      <a:round/>
                      <a:headEnd type="none" w="sm" len="sm"/>
                      <a:tailEnd type="none" w="sm" len="sm"/>
                    </a:lnB>
                    <a:solidFill>
                      <a:srgbClr val="6800FF"/>
                    </a:solidFill>
                  </a:tcPr>
                </a:tc>
                <a:tc>
                  <a:txBody>
                    <a:bodyPr/>
                    <a:lstStyle/>
                    <a:p>
                      <a:pPr marL="0" lvl="0" indent="0" algn="ctr" rtl="0">
                        <a:lnSpc>
                          <a:spcPct val="115000"/>
                        </a:lnSpc>
                        <a:spcBef>
                          <a:spcPts val="0"/>
                        </a:spcBef>
                        <a:spcAft>
                          <a:spcPts val="0"/>
                        </a:spcAft>
                        <a:buNone/>
                      </a:pPr>
                      <a:r>
                        <a:rPr lang="es-ES" sz="1800" b="1" noProof="0" err="1">
                          <a:solidFill>
                            <a:schemeClr val="bg1"/>
                          </a:solidFill>
                          <a:latin typeface="Montserrat"/>
                        </a:rPr>
                        <a:t>Value</a:t>
                      </a:r>
                      <a:r>
                        <a:rPr lang="es-ES" sz="1800" b="1" noProof="0" dirty="0">
                          <a:solidFill>
                            <a:schemeClr val="bg1"/>
                          </a:solidFill>
                          <a:latin typeface="Montserrat"/>
                        </a:rPr>
                        <a:t> </a:t>
                      </a:r>
                      <a:r>
                        <a:rPr lang="es-ES" sz="1800" b="1" noProof="0" err="1">
                          <a:solidFill>
                            <a:schemeClr val="bg1"/>
                          </a:solidFill>
                          <a:latin typeface="Montserrat"/>
                        </a:rPr>
                        <a:t>Prop</a:t>
                      </a:r>
                    </a:p>
                  </a:txBody>
                  <a:tcPr marL="57150" marR="57150" marT="38100" marB="38100" anchor="ctr">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lgn="ctr">
                      <a:solidFill>
                        <a:srgbClr val="CCCCCC"/>
                      </a:solidFill>
                      <a:prstDash val="solid"/>
                      <a:round/>
                      <a:headEnd type="none" w="sm" len="sm"/>
                      <a:tailEnd type="none" w="sm" len="sm"/>
                    </a:lnB>
                    <a:solidFill>
                      <a:srgbClr val="6800FF"/>
                    </a:solidFill>
                  </a:tcPr>
                </a:tc>
                <a:tc>
                  <a:txBody>
                    <a:bodyPr/>
                    <a:lstStyle/>
                    <a:p>
                      <a:pPr marL="0" lvl="0" indent="0" algn="ctr" rtl="0">
                        <a:lnSpc>
                          <a:spcPct val="115000"/>
                        </a:lnSpc>
                        <a:spcBef>
                          <a:spcPts val="0"/>
                        </a:spcBef>
                        <a:spcAft>
                          <a:spcPts val="0"/>
                        </a:spcAft>
                        <a:buNone/>
                      </a:pPr>
                      <a:r>
                        <a:rPr lang="es-ES" sz="1800" b="1" noProof="0" err="1">
                          <a:solidFill>
                            <a:schemeClr val="bg1"/>
                          </a:solidFill>
                          <a:latin typeface="Montserrat"/>
                        </a:rPr>
                        <a:t>Replaces</a:t>
                      </a:r>
                    </a:p>
                  </a:txBody>
                  <a:tcPr marL="57150" marR="57150" marT="38100" marB="38100" anchor="ctr">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lgn="ctr">
                      <a:solidFill>
                        <a:srgbClr val="CCCCCC"/>
                      </a:solidFill>
                      <a:prstDash val="solid"/>
                      <a:round/>
                      <a:headEnd type="none" w="sm" len="sm"/>
                      <a:tailEnd type="none" w="sm" len="sm"/>
                    </a:lnB>
                    <a:solidFill>
                      <a:srgbClr val="6800FF"/>
                    </a:solidFill>
                  </a:tcPr>
                </a:tc>
                <a:tc>
                  <a:txBody>
                    <a:bodyPr/>
                    <a:lstStyle/>
                    <a:p>
                      <a:pPr marL="0" lvl="0" indent="0" algn="ctr" rtl="0">
                        <a:lnSpc>
                          <a:spcPct val="115000"/>
                        </a:lnSpc>
                        <a:spcBef>
                          <a:spcPts val="0"/>
                        </a:spcBef>
                        <a:spcAft>
                          <a:spcPts val="0"/>
                        </a:spcAft>
                        <a:buNone/>
                      </a:pPr>
                      <a:r>
                        <a:rPr lang="es-ES" sz="1800" b="1" noProof="0" err="1">
                          <a:solidFill>
                            <a:schemeClr val="bg1"/>
                          </a:solidFill>
                          <a:latin typeface="Montserrat"/>
                        </a:rPr>
                        <a:t>Replaces</a:t>
                      </a:r>
                      <a:r>
                        <a:rPr lang="es-ES" sz="1800" b="1" noProof="0" dirty="0">
                          <a:solidFill>
                            <a:schemeClr val="bg1"/>
                          </a:solidFill>
                          <a:latin typeface="Montserrat"/>
                        </a:rPr>
                        <a:t> </a:t>
                      </a:r>
                      <a:r>
                        <a:rPr lang="es-ES" sz="1800" b="1" noProof="0" err="1">
                          <a:solidFill>
                            <a:schemeClr val="bg1"/>
                          </a:solidFill>
                          <a:latin typeface="Montserrat"/>
                        </a:rPr>
                        <a:t>Take</a:t>
                      </a:r>
                      <a:r>
                        <a:rPr lang="es-ES" sz="1800" b="1" noProof="0" dirty="0">
                          <a:solidFill>
                            <a:schemeClr val="bg1"/>
                          </a:solidFill>
                          <a:latin typeface="Montserrat"/>
                        </a:rPr>
                        <a:t> </a:t>
                      </a:r>
                      <a:r>
                        <a:rPr lang="es-ES" sz="1800" b="1" noProof="0" err="1">
                          <a:solidFill>
                            <a:schemeClr val="bg1"/>
                          </a:solidFill>
                          <a:latin typeface="Montserrat"/>
                        </a:rPr>
                        <a:t>Away</a:t>
                      </a:r>
                    </a:p>
                  </a:txBody>
                  <a:tcPr marL="57150" marR="57150" marT="38100" marB="38100" anchor="ctr">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solidFill>
                      <a:srgbClr val="6800FF"/>
                    </a:solidFill>
                  </a:tcPr>
                </a:tc>
                <a:extLst>
                  <a:ext uri="{0D108BD9-81ED-4DB2-BD59-A6C34878D82A}">
                    <a16:rowId xmlns:a16="http://schemas.microsoft.com/office/drawing/2014/main" val="10000"/>
                  </a:ext>
                </a:extLst>
              </a:tr>
              <a:tr h="5496166">
                <a:tc rowSpan="2">
                  <a:txBody>
                    <a:bodyPr/>
                    <a:lstStyle/>
                    <a:p>
                      <a:pPr marL="457200" lvl="0" indent="-228600" algn="l" rtl="0">
                        <a:lnSpc>
                          <a:spcPct val="115000"/>
                        </a:lnSpc>
                        <a:spcBef>
                          <a:spcPts val="0"/>
                        </a:spcBef>
                        <a:spcAft>
                          <a:spcPts val="1000"/>
                        </a:spcAft>
                        <a:buNone/>
                      </a:pPr>
                      <a:r>
                        <a:rPr lang="es-ES" sz="1800" noProof="0" dirty="0">
                          <a:solidFill>
                            <a:schemeClr val="bg1"/>
                          </a:solidFill>
                          <a:latin typeface="Montserrat"/>
                        </a:rPr>
                        <a:t>2 </a:t>
                      </a:r>
                      <a:r>
                        <a:rPr lang="es-ES" sz="1800" noProof="0" dirty="0">
                          <a:solidFill>
                            <a:schemeClr val="tx1"/>
                          </a:solidFill>
                          <a:latin typeface="Montserrat"/>
                        </a:rPr>
                        <a:t>x </a:t>
                      </a:r>
                      <a:r>
                        <a:rPr lang="es-ES" sz="1800" noProof="0" err="1">
                          <a:solidFill>
                            <a:schemeClr val="tx1"/>
                          </a:solidFill>
                          <a:latin typeface="Montserrat"/>
                        </a:rPr>
                        <a:t>cost</a:t>
                      </a:r>
                      <a:r>
                        <a:rPr lang="es-ES" sz="1800" noProof="0" dirty="0">
                          <a:solidFill>
                            <a:schemeClr val="tx1"/>
                          </a:solidFill>
                          <a:latin typeface="Montserrat"/>
                        </a:rPr>
                        <a:t> </a:t>
                      </a:r>
                      <a:r>
                        <a:rPr lang="es-ES" sz="1800" noProof="0" err="1">
                          <a:solidFill>
                            <a:schemeClr val="tx1"/>
                          </a:solidFill>
                          <a:latin typeface="Montserrat"/>
                        </a:rPr>
                        <a:t>savings</a:t>
                      </a:r>
                    </a:p>
                  </a:txBody>
                  <a:tcPr marL="57150" marR="57150" marT="38100" marB="38100">
                    <a:lnL w="9525" cap="flat" cmpd="sng">
                      <a:solidFill>
                        <a:srgbClr val="CCCCCC"/>
                      </a:solidFill>
                      <a:prstDash val="solid"/>
                      <a:round/>
                      <a:headEnd type="none" w="sm" len="sm"/>
                      <a:tailEnd type="none" w="sm" len="sm"/>
                    </a:lnL>
                    <a:lnR w="9525" cap="flat" cmpd="sng" algn="ctr">
                      <a:solidFill>
                        <a:srgbClr val="CCCCCC"/>
                      </a:solidFill>
                      <a:prstDash val="solid"/>
                      <a:round/>
                      <a:headEnd type="none" w="sm" len="sm"/>
                      <a:tailEnd type="none" w="sm" len="sm"/>
                    </a:lnR>
                    <a:lnT w="9525" cap="flat" cmpd="sng" algn="ctr">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rowSpan="2">
                  <a:txBody>
                    <a:bodyPr/>
                    <a:lstStyle/>
                    <a:p>
                      <a:pPr marL="457200" lvl="0" indent="-279400" algn="l" rtl="0">
                        <a:lnSpc>
                          <a:spcPct val="115000"/>
                        </a:lnSpc>
                        <a:spcBef>
                          <a:spcPts val="0"/>
                        </a:spcBef>
                        <a:spcAft>
                          <a:spcPts val="0"/>
                        </a:spcAft>
                        <a:buClr>
                          <a:schemeClr val="lt1"/>
                        </a:buClr>
                        <a:buSzPts val="800"/>
                        <a:buFont typeface="Roboto"/>
                        <a:buChar char="●"/>
                      </a:pPr>
                      <a:r>
                        <a:rPr lang="es-ES" sz="1800" noProof="0" dirty="0">
                          <a:solidFill>
                            <a:schemeClr val="tx1"/>
                          </a:solidFill>
                          <a:latin typeface="Montserrat"/>
                          <a:ea typeface="Roboto"/>
                          <a:cs typeface="Roboto"/>
                          <a:sym typeface="Roboto"/>
                        </a:rPr>
                        <a:t>XQ </a:t>
                      </a:r>
                      <a:r>
                        <a:rPr lang="es-ES" sz="1800" noProof="0" err="1">
                          <a:solidFill>
                            <a:schemeClr val="tx1"/>
                          </a:solidFill>
                          <a:latin typeface="Montserrat"/>
                          <a:ea typeface="Roboto"/>
                          <a:cs typeface="Roboto"/>
                          <a:sym typeface="Roboto"/>
                        </a:rPr>
                        <a:t>integrates</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encryption</a:t>
                      </a:r>
                      <a:r>
                        <a:rPr lang="es-ES" sz="1800" noProof="0" dirty="0">
                          <a:solidFill>
                            <a:schemeClr val="tx1"/>
                          </a:solidFill>
                          <a:latin typeface="Montserrat"/>
                          <a:ea typeface="Roboto"/>
                          <a:cs typeface="Roboto"/>
                          <a:sym typeface="Roboto"/>
                        </a:rPr>
                        <a:t>, DLP, and Data Access Control </a:t>
                      </a:r>
                      <a:r>
                        <a:rPr lang="es-ES" sz="1800" noProof="0" err="1">
                          <a:solidFill>
                            <a:schemeClr val="tx1"/>
                          </a:solidFill>
                          <a:latin typeface="Montserrat"/>
                          <a:ea typeface="Roboto"/>
                          <a:cs typeface="Roboto"/>
                          <a:sym typeface="Roboto"/>
                        </a:rPr>
                        <a:t>directly</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to</a:t>
                      </a:r>
                      <a:r>
                        <a:rPr lang="es-ES" sz="1800" noProof="0" dirty="0">
                          <a:solidFill>
                            <a:schemeClr val="tx1"/>
                          </a:solidFill>
                          <a:latin typeface="Montserrat"/>
                          <a:ea typeface="Roboto"/>
                          <a:cs typeface="Roboto"/>
                          <a:sym typeface="Roboto"/>
                        </a:rPr>
                        <a:t> data </a:t>
                      </a:r>
                      <a:r>
                        <a:rPr lang="es-ES" sz="1800" noProof="0" err="1">
                          <a:solidFill>
                            <a:schemeClr val="tx1"/>
                          </a:solidFill>
                          <a:latin typeface="Montserrat"/>
                          <a:ea typeface="Roboto"/>
                          <a:cs typeface="Roboto"/>
                          <a:sym typeface="Roboto"/>
                        </a:rPr>
                        <a:t>for</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streamlined</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security</a:t>
                      </a:r>
                      <a:r>
                        <a:rPr lang="es-ES" sz="1800" noProof="0" dirty="0">
                          <a:solidFill>
                            <a:schemeClr val="tx1"/>
                          </a:solidFill>
                          <a:latin typeface="Montserrat"/>
                          <a:ea typeface="Roboto"/>
                          <a:cs typeface="Roboto"/>
                          <a:sym typeface="Roboto"/>
                        </a:rPr>
                        <a:t>.</a:t>
                      </a:r>
                    </a:p>
                    <a:p>
                      <a:pPr marL="457200" lvl="0" indent="-279400" algn="l" rtl="0">
                        <a:lnSpc>
                          <a:spcPct val="115000"/>
                        </a:lnSpc>
                        <a:spcBef>
                          <a:spcPts val="1000"/>
                        </a:spcBef>
                        <a:spcAft>
                          <a:spcPts val="0"/>
                        </a:spcAft>
                        <a:buClr>
                          <a:schemeClr val="lt1"/>
                        </a:buClr>
                        <a:buSzPts val="800"/>
                        <a:buFont typeface="Roboto"/>
                        <a:buChar char="●"/>
                      </a:pPr>
                      <a:r>
                        <a:rPr lang="es-ES" sz="1800" noProof="0" err="1">
                          <a:solidFill>
                            <a:schemeClr val="tx1"/>
                          </a:solidFill>
                          <a:latin typeface="Montserrat"/>
                          <a:ea typeface="Roboto"/>
                          <a:cs typeface="Roboto"/>
                          <a:sym typeface="Roboto"/>
                        </a:rPr>
                        <a:t>Enables</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immediate</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identification</a:t>
                      </a:r>
                      <a:r>
                        <a:rPr lang="es-ES" sz="1800" noProof="0" dirty="0">
                          <a:solidFill>
                            <a:schemeClr val="tx1"/>
                          </a:solidFill>
                          <a:latin typeface="Montserrat"/>
                          <a:ea typeface="Roboto"/>
                          <a:cs typeface="Roboto"/>
                          <a:sym typeface="Roboto"/>
                        </a:rPr>
                        <a:t> and real-time </a:t>
                      </a:r>
                      <a:r>
                        <a:rPr lang="es-ES" sz="1800" noProof="0" err="1">
                          <a:solidFill>
                            <a:schemeClr val="tx1"/>
                          </a:solidFill>
                          <a:latin typeface="Montserrat"/>
                          <a:ea typeface="Roboto"/>
                          <a:cs typeface="Roboto"/>
                          <a:sym typeface="Roboto"/>
                        </a:rPr>
                        <a:t>mitigation</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of</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breaches</a:t>
                      </a:r>
                      <a:r>
                        <a:rPr lang="es-ES" sz="1800" noProof="0" dirty="0">
                          <a:solidFill>
                            <a:schemeClr val="tx1"/>
                          </a:solidFill>
                          <a:latin typeface="Montserrat"/>
                          <a:ea typeface="Roboto"/>
                          <a:cs typeface="Roboto"/>
                          <a:sym typeface="Roboto"/>
                        </a:rPr>
                        <a:t>.</a:t>
                      </a:r>
                    </a:p>
                    <a:p>
                      <a:pPr marL="457200" lvl="0" indent="-279400" algn="l" rtl="0">
                        <a:lnSpc>
                          <a:spcPct val="115000"/>
                        </a:lnSpc>
                        <a:spcBef>
                          <a:spcPts val="1000"/>
                        </a:spcBef>
                        <a:spcAft>
                          <a:spcPts val="0"/>
                        </a:spcAft>
                        <a:buClr>
                          <a:schemeClr val="lt1"/>
                        </a:buClr>
                        <a:buSzPts val="800"/>
                        <a:buFont typeface="Roboto"/>
                        <a:buChar char="●"/>
                      </a:pPr>
                      <a:r>
                        <a:rPr lang="es-ES" sz="1800" noProof="0" err="1">
                          <a:solidFill>
                            <a:schemeClr val="tx1"/>
                          </a:solidFill>
                          <a:latin typeface="Montserrat"/>
                          <a:ea typeface="Roboto"/>
                          <a:cs typeface="Roboto"/>
                          <a:sym typeface="Roboto"/>
                        </a:rPr>
                        <a:t>Implements</a:t>
                      </a:r>
                      <a:r>
                        <a:rPr lang="es-ES" sz="1800" noProof="0" dirty="0">
                          <a:solidFill>
                            <a:schemeClr val="tx1"/>
                          </a:solidFill>
                          <a:latin typeface="Montserrat"/>
                          <a:ea typeface="Roboto"/>
                          <a:cs typeface="Roboto"/>
                          <a:sym typeface="Roboto"/>
                        </a:rPr>
                        <a:t> DLP </a:t>
                      </a:r>
                      <a:r>
                        <a:rPr lang="es-ES" sz="1800" noProof="0" err="1">
                          <a:solidFill>
                            <a:schemeClr val="tx1"/>
                          </a:solidFill>
                          <a:latin typeface="Montserrat"/>
                          <a:ea typeface="Roboto"/>
                          <a:cs typeface="Roboto"/>
                          <a:sym typeface="Roboto"/>
                        </a:rPr>
                        <a:t>policies</a:t>
                      </a:r>
                      <a:r>
                        <a:rPr lang="es-ES" sz="1800" noProof="0" dirty="0">
                          <a:solidFill>
                            <a:schemeClr val="tx1"/>
                          </a:solidFill>
                          <a:latin typeface="Montserrat"/>
                          <a:ea typeface="Roboto"/>
                          <a:cs typeface="Roboto"/>
                          <a:sym typeface="Roboto"/>
                        </a:rPr>
                        <a:t> at </a:t>
                      </a:r>
                      <a:r>
                        <a:rPr lang="es-ES" sz="1800" noProof="0" err="1">
                          <a:solidFill>
                            <a:schemeClr val="tx1"/>
                          </a:solidFill>
                          <a:latin typeface="Montserrat"/>
                          <a:ea typeface="Roboto"/>
                          <a:cs typeface="Roboto"/>
                          <a:sym typeface="Roboto"/>
                        </a:rPr>
                        <a:t>the</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granularity</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of</a:t>
                      </a:r>
                      <a:r>
                        <a:rPr lang="es-ES" sz="1800" noProof="0" dirty="0">
                          <a:solidFill>
                            <a:schemeClr val="tx1"/>
                          </a:solidFill>
                          <a:latin typeface="Montserrat"/>
                          <a:ea typeface="Roboto"/>
                          <a:cs typeface="Roboto"/>
                          <a:sym typeface="Roboto"/>
                        </a:rPr>
                        <a:t> individual data </a:t>
                      </a:r>
                      <a:r>
                        <a:rPr lang="es-ES" sz="1800" noProof="0" err="1">
                          <a:solidFill>
                            <a:schemeClr val="tx1"/>
                          </a:solidFill>
                          <a:latin typeface="Montserrat"/>
                          <a:ea typeface="Roboto"/>
                          <a:cs typeface="Roboto"/>
                          <a:sym typeface="Roboto"/>
                        </a:rPr>
                        <a:t>objects</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with</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dynamic</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access</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adjustments</a:t>
                      </a:r>
                      <a:r>
                        <a:rPr lang="es-ES" sz="1800" noProof="0" dirty="0">
                          <a:solidFill>
                            <a:schemeClr val="tx1"/>
                          </a:solidFill>
                          <a:latin typeface="Montserrat"/>
                          <a:ea typeface="Roboto"/>
                          <a:cs typeface="Roboto"/>
                          <a:sym typeface="Roboto"/>
                        </a:rPr>
                        <a:t>.</a:t>
                      </a:r>
                    </a:p>
                    <a:p>
                      <a:pPr marL="457200" lvl="0" indent="-279400" algn="l" rtl="0">
                        <a:lnSpc>
                          <a:spcPct val="115000"/>
                        </a:lnSpc>
                        <a:spcBef>
                          <a:spcPts val="1000"/>
                        </a:spcBef>
                        <a:spcAft>
                          <a:spcPts val="0"/>
                        </a:spcAft>
                        <a:buClr>
                          <a:schemeClr val="lt1"/>
                        </a:buClr>
                        <a:buSzPts val="800"/>
                        <a:buFont typeface="Roboto"/>
                        <a:buChar char="●"/>
                      </a:pPr>
                      <a:r>
                        <a:rPr lang="es-ES" sz="1800" noProof="0" err="1">
                          <a:solidFill>
                            <a:schemeClr val="tx1"/>
                          </a:solidFill>
                          <a:latin typeface="Montserrat"/>
                          <a:ea typeface="Roboto"/>
                          <a:cs typeface="Roboto"/>
                          <a:sym typeface="Roboto"/>
                        </a:rPr>
                        <a:t>Oversees</a:t>
                      </a:r>
                      <a:r>
                        <a:rPr lang="es-ES" sz="1800" noProof="0" dirty="0">
                          <a:solidFill>
                            <a:schemeClr val="tx1"/>
                          </a:solidFill>
                          <a:latin typeface="Montserrat"/>
                          <a:ea typeface="Roboto"/>
                          <a:cs typeface="Roboto"/>
                          <a:sym typeface="Roboto"/>
                        </a:rPr>
                        <a:t> DLP </a:t>
                      </a:r>
                      <a:r>
                        <a:rPr lang="es-ES" sz="1800" noProof="0" err="1">
                          <a:solidFill>
                            <a:schemeClr val="tx1"/>
                          </a:solidFill>
                          <a:latin typeface="Montserrat"/>
                          <a:ea typeface="Roboto"/>
                          <a:cs typeface="Roboto"/>
                          <a:sym typeface="Roboto"/>
                        </a:rPr>
                        <a:t>across</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all</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platforms</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guarding</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against</a:t>
                      </a:r>
                      <a:r>
                        <a:rPr lang="es-ES" sz="1800" noProof="0" dirty="0">
                          <a:solidFill>
                            <a:schemeClr val="tx1"/>
                          </a:solidFill>
                          <a:latin typeface="Montserrat"/>
                          <a:ea typeface="Roboto"/>
                          <a:cs typeface="Roboto"/>
                          <a:sym typeface="Roboto"/>
                        </a:rPr>
                        <a:t> data </a:t>
                      </a:r>
                      <a:r>
                        <a:rPr lang="es-ES" sz="1800" noProof="0" err="1">
                          <a:solidFill>
                            <a:schemeClr val="tx1"/>
                          </a:solidFill>
                          <a:latin typeface="Montserrat"/>
                          <a:ea typeface="Roboto"/>
                          <a:cs typeface="Roboto"/>
                          <a:sym typeface="Roboto"/>
                        </a:rPr>
                        <a:t>exfiltration</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ransomware</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double</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extortion</a:t>
                      </a:r>
                      <a:r>
                        <a:rPr lang="es-ES" sz="1800" noProof="0" dirty="0">
                          <a:solidFill>
                            <a:schemeClr val="tx1"/>
                          </a:solidFill>
                          <a:latin typeface="Montserrat"/>
                          <a:ea typeface="Roboto"/>
                          <a:cs typeface="Roboto"/>
                          <a:sym typeface="Roboto"/>
                        </a:rPr>
                        <a:t>, and </a:t>
                      </a:r>
                      <a:r>
                        <a:rPr lang="es-ES" sz="1800" noProof="0" err="1">
                          <a:solidFill>
                            <a:schemeClr val="tx1"/>
                          </a:solidFill>
                          <a:latin typeface="Montserrat"/>
                          <a:ea typeface="Roboto"/>
                          <a:cs typeface="Roboto"/>
                          <a:sym typeface="Roboto"/>
                        </a:rPr>
                        <a:t>insider</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threats</a:t>
                      </a:r>
                      <a:r>
                        <a:rPr lang="es-ES" sz="1800" noProof="0" dirty="0">
                          <a:solidFill>
                            <a:schemeClr val="tx1"/>
                          </a:solidFill>
                          <a:latin typeface="Montserrat"/>
                          <a:ea typeface="Roboto"/>
                          <a:cs typeface="Roboto"/>
                          <a:sym typeface="Roboto"/>
                        </a:rPr>
                        <a:t>.</a:t>
                      </a:r>
                    </a:p>
                    <a:p>
                      <a:pPr marL="457200" lvl="0" indent="-279400" algn="l" rtl="0">
                        <a:lnSpc>
                          <a:spcPct val="115000"/>
                        </a:lnSpc>
                        <a:spcBef>
                          <a:spcPts val="1000"/>
                        </a:spcBef>
                        <a:spcAft>
                          <a:spcPts val="0"/>
                        </a:spcAft>
                        <a:buClr>
                          <a:schemeClr val="lt1"/>
                        </a:buClr>
                        <a:buSzPts val="800"/>
                        <a:buFont typeface="Roboto"/>
                        <a:buChar char="●"/>
                      </a:pPr>
                      <a:r>
                        <a:rPr lang="es-ES" sz="1800" noProof="0" err="1">
                          <a:solidFill>
                            <a:schemeClr val="tx1"/>
                          </a:solidFill>
                          <a:latin typeface="Montserrat"/>
                          <a:ea typeface="Roboto"/>
                          <a:cs typeface="Roboto"/>
                          <a:sym typeface="Roboto"/>
                        </a:rPr>
                        <a:t>Provides</a:t>
                      </a:r>
                      <a:r>
                        <a:rPr lang="es-ES" sz="1800" noProof="0" dirty="0">
                          <a:solidFill>
                            <a:schemeClr val="tx1"/>
                          </a:solidFill>
                          <a:latin typeface="Montserrat"/>
                          <a:ea typeface="Roboto"/>
                          <a:cs typeface="Roboto"/>
                          <a:sym typeface="Roboto"/>
                        </a:rPr>
                        <a:t> comprehensive </a:t>
                      </a:r>
                      <a:r>
                        <a:rPr lang="es-ES" sz="1800" noProof="0" err="1">
                          <a:solidFill>
                            <a:schemeClr val="tx1"/>
                          </a:solidFill>
                          <a:latin typeface="Montserrat"/>
                          <a:ea typeface="Roboto"/>
                          <a:cs typeface="Roboto"/>
                          <a:sym typeface="Roboto"/>
                        </a:rPr>
                        <a:t>protection</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by</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addressing</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threats</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posed</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by</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network</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administrators</a:t>
                      </a:r>
                      <a:r>
                        <a:rPr lang="es-ES" sz="1800" noProof="0" dirty="0">
                          <a:solidFill>
                            <a:schemeClr val="tx1"/>
                          </a:solidFill>
                          <a:latin typeface="Montserrat"/>
                          <a:ea typeface="Roboto"/>
                          <a:cs typeface="Roboto"/>
                          <a:sym typeface="Roboto"/>
                        </a:rPr>
                        <a:t> and similar </a:t>
                      </a:r>
                      <a:r>
                        <a:rPr lang="es-ES" sz="1800" noProof="0" err="1">
                          <a:solidFill>
                            <a:schemeClr val="tx1"/>
                          </a:solidFill>
                          <a:latin typeface="Montserrat"/>
                          <a:ea typeface="Roboto"/>
                          <a:cs typeface="Roboto"/>
                          <a:sym typeface="Roboto"/>
                        </a:rPr>
                        <a:t>entities</a:t>
                      </a:r>
                      <a:r>
                        <a:rPr lang="es-ES" sz="1800" noProof="0" dirty="0">
                          <a:solidFill>
                            <a:schemeClr val="tx1"/>
                          </a:solidFill>
                          <a:latin typeface="Montserrat"/>
                          <a:ea typeface="Roboto"/>
                          <a:cs typeface="Roboto"/>
                          <a:sym typeface="Roboto"/>
                        </a:rPr>
                        <a:t>.</a:t>
                      </a:r>
                    </a:p>
                    <a:p>
                      <a:pPr marL="457200" lvl="0" indent="0" algn="l" rtl="0">
                        <a:lnSpc>
                          <a:spcPct val="115000"/>
                        </a:lnSpc>
                        <a:spcBef>
                          <a:spcPts val="1000"/>
                        </a:spcBef>
                        <a:spcAft>
                          <a:spcPts val="0"/>
                        </a:spcAft>
                        <a:buNone/>
                      </a:pPr>
                      <a:endParaRPr lang="es-ES" sz="1600" noProof="0">
                        <a:solidFill>
                          <a:schemeClr val="bg1"/>
                        </a:solidFill>
                        <a:latin typeface="Montserrat" panose="00000500000000000000" pitchFamily="2" charset="0"/>
                        <a:ea typeface="Roboto"/>
                        <a:cs typeface="Roboto"/>
                        <a:sym typeface="Roboto"/>
                      </a:endParaRPr>
                    </a:p>
                  </a:txBody>
                  <a:tcPr marL="57150" marR="57150" marT="38100" marB="38100">
                    <a:lnL w="9525" cap="flat" cmpd="sng" algn="ctr">
                      <a:solidFill>
                        <a:srgbClr val="CCCCCC"/>
                      </a:solidFill>
                      <a:prstDash val="solid"/>
                      <a:round/>
                      <a:headEnd type="none" w="sm" len="sm"/>
                      <a:tailEnd type="none" w="sm" len="sm"/>
                    </a:lnL>
                    <a:lnR w="9525" cap="flat" cmpd="sng" algn="ctr">
                      <a:solidFill>
                        <a:srgbClr val="CCCCCC"/>
                      </a:solidFill>
                      <a:prstDash val="solid"/>
                      <a:round/>
                      <a:headEnd type="none" w="sm" len="sm"/>
                      <a:tailEnd type="none" w="sm" len="sm"/>
                    </a:lnR>
                    <a:lnT w="9525" cap="flat" cmpd="sng" algn="ctr">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rowSpan="2">
                  <a:txBody>
                    <a:bodyPr/>
                    <a:lstStyle/>
                    <a:p>
                      <a:pPr marL="457200" lvl="0" indent="-279400" algn="l" rtl="0">
                        <a:lnSpc>
                          <a:spcPct val="115000"/>
                        </a:lnSpc>
                        <a:spcBef>
                          <a:spcPts val="0"/>
                        </a:spcBef>
                        <a:spcAft>
                          <a:spcPts val="0"/>
                        </a:spcAft>
                        <a:buClr>
                          <a:schemeClr val="lt1"/>
                        </a:buClr>
                        <a:buSzPts val="800"/>
                        <a:buFont typeface="Roboto"/>
                        <a:buChar char="●"/>
                      </a:pPr>
                      <a:r>
                        <a:rPr lang="es-ES" sz="1800" noProof="0" dirty="0">
                          <a:solidFill>
                            <a:schemeClr val="tx1"/>
                          </a:solidFill>
                          <a:latin typeface="Montserrat"/>
                          <a:ea typeface="Roboto"/>
                          <a:cs typeface="Roboto"/>
                          <a:sym typeface="Roboto"/>
                        </a:rPr>
                        <a:t>WIZ</a:t>
                      </a:r>
                    </a:p>
                    <a:p>
                      <a:pPr marL="457200" lvl="0" indent="-279400" algn="l" rtl="0">
                        <a:lnSpc>
                          <a:spcPct val="115000"/>
                        </a:lnSpc>
                        <a:spcBef>
                          <a:spcPts val="1000"/>
                        </a:spcBef>
                        <a:spcAft>
                          <a:spcPts val="0"/>
                        </a:spcAft>
                        <a:buClr>
                          <a:schemeClr val="lt1"/>
                        </a:buClr>
                        <a:buSzPts val="800"/>
                        <a:buFont typeface="Roboto"/>
                        <a:buChar char="●"/>
                      </a:pPr>
                      <a:r>
                        <a:rPr lang="es-ES" sz="1800" noProof="0" err="1">
                          <a:solidFill>
                            <a:schemeClr val="tx1"/>
                          </a:solidFill>
                          <a:latin typeface="Montserrat"/>
                          <a:ea typeface="Roboto"/>
                          <a:cs typeface="Roboto"/>
                          <a:sym typeface="Roboto"/>
                        </a:rPr>
                        <a:t>Zscalar</a:t>
                      </a:r>
                      <a:endParaRPr lang="es-ES" sz="1800" noProof="0">
                        <a:solidFill>
                          <a:schemeClr val="tx1"/>
                        </a:solidFill>
                        <a:latin typeface="Montserrat"/>
                        <a:ea typeface="Roboto"/>
                        <a:cs typeface="Roboto"/>
                        <a:sym typeface="Roboto"/>
                      </a:endParaRPr>
                    </a:p>
                    <a:p>
                      <a:pPr marL="457200" lvl="0" indent="-279400" algn="l" rtl="0">
                        <a:lnSpc>
                          <a:spcPct val="115000"/>
                        </a:lnSpc>
                        <a:spcBef>
                          <a:spcPts val="1000"/>
                        </a:spcBef>
                        <a:spcAft>
                          <a:spcPts val="0"/>
                        </a:spcAft>
                        <a:buClr>
                          <a:schemeClr val="lt1"/>
                        </a:buClr>
                        <a:buSzPts val="800"/>
                        <a:buFont typeface="Roboto"/>
                        <a:buChar char="●"/>
                      </a:pPr>
                      <a:r>
                        <a:rPr lang="es-ES" sz="1800" noProof="0" dirty="0">
                          <a:solidFill>
                            <a:schemeClr val="tx1"/>
                          </a:solidFill>
                          <a:latin typeface="Montserrat"/>
                          <a:ea typeface="Roboto"/>
                          <a:cs typeface="Roboto"/>
                          <a:sym typeface="Roboto"/>
                        </a:rPr>
                        <a:t>Digital Guardian DLP </a:t>
                      </a:r>
                      <a:r>
                        <a:rPr lang="es-ES" sz="1800" noProof="0" err="1">
                          <a:solidFill>
                            <a:schemeClr val="tx1"/>
                          </a:solidFill>
                          <a:latin typeface="Montserrat"/>
                          <a:ea typeface="Roboto"/>
                          <a:cs typeface="Roboto"/>
                          <a:sym typeface="Roboto"/>
                        </a:rPr>
                        <a:t>platform</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Fortra</a:t>
                      </a:r>
                      <a:endParaRPr lang="es-ES" sz="1800" noProof="0">
                        <a:solidFill>
                          <a:schemeClr val="tx1"/>
                        </a:solidFill>
                        <a:latin typeface="Montserrat"/>
                        <a:ea typeface="Roboto"/>
                        <a:cs typeface="Roboto"/>
                        <a:sym typeface="Roboto"/>
                      </a:endParaRPr>
                    </a:p>
                    <a:p>
                      <a:pPr marL="457200" lvl="0" indent="-279400" algn="l" rtl="0">
                        <a:lnSpc>
                          <a:spcPct val="115000"/>
                        </a:lnSpc>
                        <a:spcBef>
                          <a:spcPts val="1000"/>
                        </a:spcBef>
                        <a:spcAft>
                          <a:spcPts val="0"/>
                        </a:spcAft>
                        <a:buClr>
                          <a:schemeClr val="lt1"/>
                        </a:buClr>
                        <a:buSzPts val="800"/>
                        <a:buFont typeface="Roboto"/>
                        <a:buChar char="●"/>
                      </a:pPr>
                      <a:r>
                        <a:rPr lang="es-ES" sz="1800" noProof="0" dirty="0">
                          <a:solidFill>
                            <a:schemeClr val="tx1"/>
                          </a:solidFill>
                          <a:latin typeface="Montserrat"/>
                          <a:ea typeface="Roboto"/>
                          <a:cs typeface="Roboto"/>
                          <a:sym typeface="Roboto"/>
                        </a:rPr>
                        <a:t>Symantec Data </a:t>
                      </a:r>
                      <a:r>
                        <a:rPr lang="es-ES" sz="1800" noProof="0" err="1">
                          <a:solidFill>
                            <a:schemeClr val="tx1"/>
                          </a:solidFill>
                          <a:latin typeface="Montserrat"/>
                          <a:ea typeface="Roboto"/>
                          <a:cs typeface="Roboto"/>
                          <a:sym typeface="Roboto"/>
                        </a:rPr>
                        <a:t>Loss</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Prevention</a:t>
                      </a:r>
                      <a:endParaRPr lang="es-ES" sz="1800" noProof="0">
                        <a:solidFill>
                          <a:schemeClr val="tx1"/>
                        </a:solidFill>
                        <a:latin typeface="Montserrat"/>
                        <a:ea typeface="Roboto"/>
                        <a:cs typeface="Roboto"/>
                        <a:sym typeface="Roboto"/>
                      </a:endParaRPr>
                    </a:p>
                    <a:p>
                      <a:pPr marL="457200" lvl="0" indent="-279400" algn="l" rtl="0">
                        <a:lnSpc>
                          <a:spcPct val="115000"/>
                        </a:lnSpc>
                        <a:spcBef>
                          <a:spcPts val="1000"/>
                        </a:spcBef>
                        <a:spcAft>
                          <a:spcPts val="0"/>
                        </a:spcAft>
                        <a:buClr>
                          <a:schemeClr val="lt1"/>
                        </a:buClr>
                        <a:buSzPts val="800"/>
                        <a:buFont typeface="Roboto"/>
                        <a:buChar char="●"/>
                      </a:pPr>
                      <a:r>
                        <a:rPr lang="es-ES" sz="1800" noProof="0" err="1">
                          <a:solidFill>
                            <a:schemeClr val="tx1"/>
                          </a:solidFill>
                          <a:latin typeface="Montserrat"/>
                          <a:ea typeface="Roboto"/>
                          <a:cs typeface="Roboto"/>
                          <a:sym typeface="Roboto"/>
                        </a:rPr>
                        <a:t>Forcepoint</a:t>
                      </a:r>
                      <a:r>
                        <a:rPr lang="es-ES" sz="1800" noProof="0" dirty="0">
                          <a:solidFill>
                            <a:schemeClr val="tx1"/>
                          </a:solidFill>
                          <a:latin typeface="Montserrat"/>
                          <a:ea typeface="Roboto"/>
                          <a:cs typeface="Roboto"/>
                          <a:sym typeface="Roboto"/>
                        </a:rPr>
                        <a:t> DLP</a:t>
                      </a:r>
                    </a:p>
                    <a:p>
                      <a:pPr marL="457200" lvl="0" indent="-279400" algn="l" rtl="0">
                        <a:lnSpc>
                          <a:spcPct val="115000"/>
                        </a:lnSpc>
                        <a:spcBef>
                          <a:spcPts val="1000"/>
                        </a:spcBef>
                        <a:spcAft>
                          <a:spcPts val="0"/>
                        </a:spcAft>
                        <a:buClr>
                          <a:schemeClr val="lt1"/>
                        </a:buClr>
                        <a:buSzPts val="800"/>
                        <a:buFont typeface="Roboto"/>
                        <a:buChar char="●"/>
                      </a:pPr>
                      <a:r>
                        <a:rPr lang="es-ES" sz="1800" noProof="0" err="1">
                          <a:solidFill>
                            <a:schemeClr val="tx1"/>
                          </a:solidFill>
                          <a:latin typeface="Montserrat"/>
                          <a:ea typeface="Roboto"/>
                          <a:cs typeface="Roboto"/>
                          <a:sym typeface="Roboto"/>
                        </a:rPr>
                        <a:t>Trelix</a:t>
                      </a:r>
                      <a:r>
                        <a:rPr lang="es-ES" sz="1800" noProof="0" dirty="0">
                          <a:solidFill>
                            <a:schemeClr val="tx1"/>
                          </a:solidFill>
                          <a:latin typeface="Montserrat"/>
                          <a:ea typeface="Roboto"/>
                          <a:cs typeface="Roboto"/>
                          <a:sym typeface="Roboto"/>
                        </a:rPr>
                        <a:t> DLP Capture </a:t>
                      </a:r>
                    </a:p>
                    <a:p>
                      <a:pPr marL="457200" lvl="0" indent="-279400" algn="l" rtl="0">
                        <a:lnSpc>
                          <a:spcPct val="115000"/>
                        </a:lnSpc>
                        <a:spcBef>
                          <a:spcPts val="1000"/>
                        </a:spcBef>
                        <a:spcAft>
                          <a:spcPts val="1000"/>
                        </a:spcAft>
                        <a:buClr>
                          <a:schemeClr val="lt1"/>
                        </a:buClr>
                        <a:buSzPts val="800"/>
                        <a:buFont typeface="Roboto"/>
                        <a:buChar char="●"/>
                      </a:pPr>
                      <a:r>
                        <a:rPr lang="es-ES" sz="1800" noProof="0" err="1">
                          <a:solidFill>
                            <a:schemeClr val="tx1"/>
                          </a:solidFill>
                          <a:latin typeface="Montserrat"/>
                          <a:ea typeface="Roboto"/>
                          <a:cs typeface="Roboto"/>
                          <a:sym typeface="Roboto"/>
                        </a:rPr>
                        <a:t>Trellix</a:t>
                      </a:r>
                      <a:r>
                        <a:rPr lang="es-ES" sz="1800" noProof="0" dirty="0">
                          <a:solidFill>
                            <a:schemeClr val="tx1"/>
                          </a:solidFill>
                          <a:latin typeface="Montserrat"/>
                          <a:ea typeface="Roboto"/>
                          <a:cs typeface="Roboto"/>
                          <a:sym typeface="Roboto"/>
                        </a:rPr>
                        <a:t> Data </a:t>
                      </a:r>
                      <a:r>
                        <a:rPr lang="es-ES" sz="1800" noProof="0" err="1">
                          <a:solidFill>
                            <a:schemeClr val="tx1"/>
                          </a:solidFill>
                          <a:latin typeface="Montserrat"/>
                          <a:ea typeface="Roboto"/>
                          <a:cs typeface="Roboto"/>
                          <a:sym typeface="Roboto"/>
                        </a:rPr>
                        <a:t>Loss</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Prevention</a:t>
                      </a:r>
                      <a:r>
                        <a:rPr lang="es-ES" sz="1800" noProof="0" dirty="0">
                          <a:solidFill>
                            <a:schemeClr val="tx1"/>
                          </a:solidFill>
                          <a:latin typeface="Montserrat"/>
                          <a:ea typeface="Roboto"/>
                          <a:cs typeface="Roboto"/>
                          <a:sym typeface="Roboto"/>
                        </a:rPr>
                        <a:t> (DLP) </a:t>
                      </a:r>
                      <a:r>
                        <a:rPr lang="es-ES" sz="1800" noProof="0" err="1">
                          <a:solidFill>
                            <a:schemeClr val="tx1"/>
                          </a:solidFill>
                          <a:latin typeface="Montserrat"/>
                          <a:ea typeface="Roboto"/>
                          <a:cs typeface="Roboto"/>
                          <a:sym typeface="Roboto"/>
                        </a:rPr>
                        <a:t>Endpoint</a:t>
                      </a:r>
                      <a:endParaRPr lang="es-ES" sz="1800" noProof="0">
                        <a:solidFill>
                          <a:schemeClr val="tx1"/>
                        </a:solidFill>
                        <a:latin typeface="Montserrat"/>
                        <a:ea typeface="Roboto"/>
                        <a:cs typeface="Roboto"/>
                        <a:sym typeface="Roboto"/>
                      </a:endParaRPr>
                    </a:p>
                  </a:txBody>
                  <a:tcPr marL="57150" marR="57150" marT="38100" marB="38100">
                    <a:lnL w="9525" cap="flat" cmpd="sng" algn="ctr">
                      <a:solidFill>
                        <a:srgbClr val="CCCCCC"/>
                      </a:solidFill>
                      <a:prstDash val="solid"/>
                      <a:round/>
                      <a:headEnd type="none" w="sm" len="sm"/>
                      <a:tailEnd type="none" w="sm" len="sm"/>
                    </a:lnL>
                    <a:lnR w="9525" cap="flat" cmpd="sng" algn="ctr">
                      <a:solidFill>
                        <a:srgbClr val="CCCCCC"/>
                      </a:solidFill>
                      <a:prstDash val="solid"/>
                      <a:round/>
                      <a:headEnd type="none" w="sm" len="sm"/>
                      <a:tailEnd type="none" w="sm" len="sm"/>
                    </a:lnR>
                    <a:lnT w="9525" cap="flat" cmpd="sng" algn="ctr">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a:txBody>
                    <a:bodyPr/>
                    <a:lstStyle/>
                    <a:p>
                      <a:pPr marL="457200" lvl="0" indent="-279400" algn="l" rtl="0">
                        <a:lnSpc>
                          <a:spcPct val="115000"/>
                        </a:lnSpc>
                        <a:spcBef>
                          <a:spcPts val="0"/>
                        </a:spcBef>
                        <a:spcAft>
                          <a:spcPts val="0"/>
                        </a:spcAft>
                        <a:buClr>
                          <a:schemeClr val="lt1"/>
                        </a:buClr>
                        <a:buSzPts val="800"/>
                        <a:buFont typeface="Roboto"/>
                        <a:buChar char="●"/>
                      </a:pPr>
                      <a:r>
                        <a:rPr lang="es-ES" sz="1800" noProof="0" err="1">
                          <a:solidFill>
                            <a:schemeClr val="tx1"/>
                          </a:solidFill>
                          <a:latin typeface="Montserrat"/>
                          <a:ea typeface="Roboto"/>
                          <a:cs typeface="Roboto"/>
                          <a:sym typeface="Roboto"/>
                        </a:rPr>
                        <a:t>Ensures</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every</a:t>
                      </a:r>
                      <a:r>
                        <a:rPr lang="es-ES" sz="1800" noProof="0" dirty="0">
                          <a:solidFill>
                            <a:schemeClr val="tx1"/>
                          </a:solidFill>
                          <a:latin typeface="Montserrat"/>
                          <a:ea typeface="Roboto"/>
                          <a:cs typeface="Roboto"/>
                          <a:sym typeface="Roboto"/>
                        </a:rPr>
                        <a:t> data </a:t>
                      </a:r>
                      <a:r>
                        <a:rPr lang="es-ES" sz="1800" noProof="0" err="1">
                          <a:solidFill>
                            <a:schemeClr val="tx1"/>
                          </a:solidFill>
                          <a:latin typeface="Montserrat"/>
                          <a:ea typeface="Roboto"/>
                          <a:cs typeface="Roboto"/>
                          <a:sym typeface="Roboto"/>
                        </a:rPr>
                        <a:t>packet</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is</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uniquely</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encrypted</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from</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the</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edge</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preventing</a:t>
                      </a:r>
                      <a:r>
                        <a:rPr lang="es-ES" sz="1800" noProof="0" dirty="0">
                          <a:solidFill>
                            <a:schemeClr val="tx1"/>
                          </a:solidFill>
                          <a:latin typeface="Montserrat"/>
                          <a:ea typeface="Roboto"/>
                          <a:cs typeface="Roboto"/>
                          <a:sym typeface="Roboto"/>
                        </a:rPr>
                        <a:t> lateral </a:t>
                      </a:r>
                      <a:r>
                        <a:rPr lang="es-ES" sz="1800" noProof="0" err="1">
                          <a:solidFill>
                            <a:schemeClr val="tx1"/>
                          </a:solidFill>
                          <a:latin typeface="Montserrat"/>
                          <a:ea typeface="Roboto"/>
                          <a:cs typeface="Roboto"/>
                          <a:sym typeface="Roboto"/>
                        </a:rPr>
                        <a:t>movement</a:t>
                      </a:r>
                      <a:r>
                        <a:rPr lang="es-ES" sz="1800" noProof="0" dirty="0">
                          <a:solidFill>
                            <a:schemeClr val="tx1"/>
                          </a:solidFill>
                          <a:latin typeface="Montserrat"/>
                          <a:ea typeface="Roboto"/>
                          <a:cs typeface="Roboto"/>
                          <a:sym typeface="Roboto"/>
                        </a:rPr>
                        <a:t> in case </a:t>
                      </a:r>
                      <a:r>
                        <a:rPr lang="es-ES" sz="1800" noProof="0" err="1">
                          <a:solidFill>
                            <a:schemeClr val="tx1"/>
                          </a:solidFill>
                          <a:latin typeface="Montserrat"/>
                          <a:ea typeface="Roboto"/>
                          <a:cs typeface="Roboto"/>
                          <a:sym typeface="Roboto"/>
                        </a:rPr>
                        <a:t>of</a:t>
                      </a:r>
                      <a:r>
                        <a:rPr lang="es-ES" sz="1800" noProof="0" dirty="0">
                          <a:solidFill>
                            <a:schemeClr val="tx1"/>
                          </a:solidFill>
                          <a:latin typeface="Montserrat"/>
                          <a:ea typeface="Roboto"/>
                          <a:cs typeface="Roboto"/>
                          <a:sym typeface="Roboto"/>
                        </a:rPr>
                        <a:t> a </a:t>
                      </a:r>
                      <a:r>
                        <a:rPr lang="es-ES" sz="1800" noProof="0" err="1">
                          <a:solidFill>
                            <a:schemeClr val="tx1"/>
                          </a:solidFill>
                          <a:latin typeface="Montserrat"/>
                          <a:ea typeface="Roboto"/>
                          <a:cs typeface="Roboto"/>
                          <a:sym typeface="Roboto"/>
                        </a:rPr>
                        <a:t>breach</a:t>
                      </a:r>
                      <a:r>
                        <a:rPr lang="es-ES" sz="1800" noProof="0" dirty="0">
                          <a:solidFill>
                            <a:schemeClr val="tx1"/>
                          </a:solidFill>
                          <a:latin typeface="Montserrat"/>
                          <a:ea typeface="Roboto"/>
                          <a:cs typeface="Roboto"/>
                          <a:sym typeface="Roboto"/>
                        </a:rPr>
                        <a:t>.</a:t>
                      </a:r>
                    </a:p>
                    <a:p>
                      <a:pPr marL="457200" lvl="0" indent="-279400" algn="l" rtl="0">
                        <a:lnSpc>
                          <a:spcPct val="115000"/>
                        </a:lnSpc>
                        <a:spcBef>
                          <a:spcPts val="0"/>
                        </a:spcBef>
                        <a:spcAft>
                          <a:spcPts val="0"/>
                        </a:spcAft>
                        <a:buClr>
                          <a:schemeClr val="lt1"/>
                        </a:buClr>
                        <a:buSzPts val="800"/>
                        <a:buFont typeface="Roboto"/>
                        <a:buChar char="●"/>
                      </a:pPr>
                      <a:r>
                        <a:rPr lang="es-ES" sz="1800" noProof="0" err="1">
                          <a:solidFill>
                            <a:schemeClr val="tx1"/>
                          </a:solidFill>
                          <a:latin typeface="Montserrat"/>
                          <a:ea typeface="Roboto"/>
                          <a:cs typeface="Roboto"/>
                          <a:sym typeface="Roboto"/>
                        </a:rPr>
                        <a:t>The</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competition</a:t>
                      </a:r>
                      <a:r>
                        <a:rPr lang="es-ES" sz="1800" noProof="0" dirty="0">
                          <a:solidFill>
                            <a:schemeClr val="tx1"/>
                          </a:solidFill>
                          <a:latin typeface="Montserrat"/>
                          <a:ea typeface="Roboto"/>
                          <a:cs typeface="Roboto"/>
                          <a:sym typeface="Roboto"/>
                        </a:rPr>
                        <a:t> DLP </a:t>
                      </a:r>
                      <a:r>
                        <a:rPr lang="es-ES" sz="1800" noProof="0" err="1">
                          <a:solidFill>
                            <a:schemeClr val="tx1"/>
                          </a:solidFill>
                          <a:latin typeface="Montserrat"/>
                          <a:ea typeface="Roboto"/>
                          <a:cs typeface="Roboto"/>
                          <a:sym typeface="Roboto"/>
                        </a:rPr>
                        <a:t>scans</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existing</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environments</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for</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breaches</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while</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the</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solution</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enables</a:t>
                      </a:r>
                      <a:r>
                        <a:rPr lang="es-ES" sz="1800" noProof="0" dirty="0">
                          <a:solidFill>
                            <a:schemeClr val="tx1"/>
                          </a:solidFill>
                          <a:latin typeface="Montserrat"/>
                          <a:ea typeface="Roboto"/>
                          <a:cs typeface="Roboto"/>
                          <a:sym typeface="Roboto"/>
                        </a:rPr>
                        <a:t> DLP </a:t>
                      </a:r>
                      <a:r>
                        <a:rPr lang="es-ES" sz="1800" noProof="0" err="1">
                          <a:solidFill>
                            <a:schemeClr val="tx1"/>
                          </a:solidFill>
                          <a:latin typeface="Montserrat"/>
                          <a:ea typeface="Roboto"/>
                          <a:cs typeface="Roboto"/>
                          <a:sym typeface="Roboto"/>
                        </a:rPr>
                        <a:t>policies</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across</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all</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environments</a:t>
                      </a:r>
                      <a:r>
                        <a:rPr lang="es-ES" sz="1800" noProof="0" dirty="0">
                          <a:solidFill>
                            <a:schemeClr val="tx1"/>
                          </a:solidFill>
                          <a:latin typeface="Montserrat"/>
                          <a:ea typeface="Roboto"/>
                          <a:cs typeface="Roboto"/>
                          <a:sym typeface="Roboto"/>
                        </a:rPr>
                        <a:t>.</a:t>
                      </a:r>
                    </a:p>
                    <a:p>
                      <a:pPr marL="457200" lvl="0" indent="-279400" algn="l" rtl="0">
                        <a:lnSpc>
                          <a:spcPct val="115000"/>
                        </a:lnSpc>
                        <a:spcBef>
                          <a:spcPts val="0"/>
                        </a:spcBef>
                        <a:spcAft>
                          <a:spcPts val="0"/>
                        </a:spcAft>
                        <a:buClr>
                          <a:schemeClr val="lt1"/>
                        </a:buClr>
                        <a:buSzPts val="800"/>
                        <a:buFont typeface="Roboto"/>
                        <a:buChar char="●"/>
                      </a:pPr>
                      <a:r>
                        <a:rPr lang="es-ES" sz="1800" noProof="0" err="1">
                          <a:solidFill>
                            <a:schemeClr val="tx1"/>
                          </a:solidFill>
                          <a:latin typeface="Montserrat"/>
                          <a:ea typeface="Roboto"/>
                          <a:cs typeface="Roboto"/>
                          <a:sym typeface="Roboto"/>
                        </a:rPr>
                        <a:t>Allows</a:t>
                      </a:r>
                      <a:r>
                        <a:rPr lang="es-ES" sz="1800" noProof="0" dirty="0">
                          <a:solidFill>
                            <a:schemeClr val="tx1"/>
                          </a:solidFill>
                          <a:latin typeface="Montserrat"/>
                          <a:ea typeface="Roboto"/>
                          <a:cs typeface="Roboto"/>
                          <a:sym typeface="Roboto"/>
                        </a:rPr>
                        <a:t> data </a:t>
                      </a:r>
                      <a:r>
                        <a:rPr lang="es-ES" sz="1800" noProof="0" err="1">
                          <a:solidFill>
                            <a:schemeClr val="tx1"/>
                          </a:solidFill>
                          <a:latin typeface="Montserrat"/>
                          <a:ea typeface="Roboto"/>
                          <a:cs typeface="Roboto"/>
                          <a:sym typeface="Roboto"/>
                        </a:rPr>
                        <a:t>revocation</a:t>
                      </a:r>
                      <a:r>
                        <a:rPr lang="es-ES" sz="1800" noProof="0" dirty="0">
                          <a:solidFill>
                            <a:schemeClr val="tx1"/>
                          </a:solidFill>
                          <a:latin typeface="Montserrat"/>
                          <a:ea typeface="Roboto"/>
                          <a:cs typeface="Roboto"/>
                          <a:sym typeface="Roboto"/>
                        </a:rPr>
                        <a:t> at </a:t>
                      </a:r>
                      <a:r>
                        <a:rPr lang="es-ES" sz="1800" noProof="0" err="1">
                          <a:solidFill>
                            <a:schemeClr val="tx1"/>
                          </a:solidFill>
                          <a:latin typeface="Montserrat"/>
                          <a:ea typeface="Roboto"/>
                          <a:cs typeface="Roboto"/>
                          <a:sym typeface="Roboto"/>
                        </a:rPr>
                        <a:t>any</a:t>
                      </a:r>
                      <a:r>
                        <a:rPr lang="es-ES" sz="1800" noProof="0" dirty="0">
                          <a:solidFill>
                            <a:schemeClr val="tx1"/>
                          </a:solidFill>
                          <a:latin typeface="Montserrat"/>
                          <a:ea typeface="Roboto"/>
                          <a:cs typeface="Roboto"/>
                          <a:sym typeface="Roboto"/>
                        </a:rPr>
                        <a:t> time, </a:t>
                      </a:r>
                      <a:r>
                        <a:rPr lang="es-ES" sz="1800" noProof="0" err="1">
                          <a:solidFill>
                            <a:schemeClr val="tx1"/>
                          </a:solidFill>
                          <a:latin typeface="Montserrat"/>
                          <a:ea typeface="Roboto"/>
                          <a:cs typeface="Roboto"/>
                          <a:sym typeface="Roboto"/>
                        </a:rPr>
                        <a:t>georestriction</a:t>
                      </a:r>
                      <a:r>
                        <a:rPr lang="es-ES" sz="1800" noProof="0" dirty="0">
                          <a:solidFill>
                            <a:schemeClr val="tx1"/>
                          </a:solidFill>
                          <a:latin typeface="Montserrat"/>
                          <a:ea typeface="Roboto"/>
                          <a:cs typeface="Roboto"/>
                          <a:sym typeface="Roboto"/>
                        </a:rPr>
                        <a:t>, and time-</a:t>
                      </a:r>
                      <a:r>
                        <a:rPr lang="es-ES" sz="1800" noProof="0" err="1">
                          <a:solidFill>
                            <a:schemeClr val="tx1"/>
                          </a:solidFill>
                          <a:latin typeface="Montserrat"/>
                          <a:ea typeface="Roboto"/>
                          <a:cs typeface="Roboto"/>
                          <a:sym typeface="Roboto"/>
                        </a:rPr>
                        <a:t>restricted</a:t>
                      </a:r>
                      <a:r>
                        <a:rPr lang="es-ES" sz="1800" noProof="0" dirty="0">
                          <a:solidFill>
                            <a:schemeClr val="tx1"/>
                          </a:solidFill>
                          <a:latin typeface="Montserrat"/>
                          <a:ea typeface="Roboto"/>
                          <a:cs typeface="Roboto"/>
                          <a:sym typeface="Roboto"/>
                        </a:rPr>
                        <a:t> DLP </a:t>
                      </a:r>
                      <a:r>
                        <a:rPr lang="es-ES" sz="1800" noProof="0" err="1">
                          <a:solidFill>
                            <a:schemeClr val="tx1"/>
                          </a:solidFill>
                          <a:latin typeface="Montserrat"/>
                          <a:ea typeface="Roboto"/>
                          <a:cs typeface="Roboto"/>
                          <a:sym typeface="Roboto"/>
                        </a:rPr>
                        <a:t>policies</a:t>
                      </a:r>
                      <a:r>
                        <a:rPr lang="es-ES" sz="1800" noProof="0" dirty="0">
                          <a:solidFill>
                            <a:schemeClr val="tx1"/>
                          </a:solidFill>
                          <a:latin typeface="Montserrat"/>
                          <a:ea typeface="Roboto"/>
                          <a:cs typeface="Roboto"/>
                          <a:sym typeface="Roboto"/>
                        </a:rPr>
                        <a:t> at </a:t>
                      </a:r>
                      <a:r>
                        <a:rPr lang="es-ES" sz="1800" noProof="0" err="1">
                          <a:solidFill>
                            <a:schemeClr val="tx1"/>
                          </a:solidFill>
                          <a:latin typeface="Montserrat"/>
                          <a:ea typeface="Roboto"/>
                          <a:cs typeface="Roboto"/>
                          <a:sym typeface="Roboto"/>
                        </a:rPr>
                        <a:t>the</a:t>
                      </a:r>
                      <a:r>
                        <a:rPr lang="es-ES" sz="1800" noProof="0" dirty="0">
                          <a:solidFill>
                            <a:schemeClr val="tx1"/>
                          </a:solidFill>
                          <a:latin typeface="Montserrat"/>
                          <a:ea typeface="Roboto"/>
                          <a:cs typeface="Roboto"/>
                          <a:sym typeface="Roboto"/>
                        </a:rPr>
                        <a:t> data </a:t>
                      </a:r>
                      <a:r>
                        <a:rPr lang="es-ES" sz="1800" noProof="0" err="1">
                          <a:solidFill>
                            <a:schemeClr val="tx1"/>
                          </a:solidFill>
                          <a:latin typeface="Montserrat"/>
                          <a:ea typeface="Roboto"/>
                          <a:cs typeface="Roboto"/>
                          <a:sym typeface="Roboto"/>
                        </a:rPr>
                        <a:t>object</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level</a:t>
                      </a:r>
                      <a:r>
                        <a:rPr lang="es-ES" sz="1800" noProof="0" dirty="0">
                          <a:solidFill>
                            <a:schemeClr val="tx1"/>
                          </a:solidFill>
                          <a:latin typeface="Montserrat"/>
                          <a:ea typeface="Roboto"/>
                          <a:cs typeface="Roboto"/>
                          <a:sym typeface="Roboto"/>
                        </a:rPr>
                        <a:t>.</a:t>
                      </a:r>
                    </a:p>
                    <a:p>
                      <a:pPr marL="457200" lvl="0" indent="-279400" algn="l" rtl="0">
                        <a:lnSpc>
                          <a:spcPct val="115000"/>
                        </a:lnSpc>
                        <a:spcBef>
                          <a:spcPts val="0"/>
                        </a:spcBef>
                        <a:spcAft>
                          <a:spcPts val="0"/>
                        </a:spcAft>
                        <a:buClr>
                          <a:schemeClr val="lt1"/>
                        </a:buClr>
                        <a:buSzPts val="800"/>
                        <a:buFont typeface="Roboto"/>
                        <a:buChar char="●"/>
                      </a:pPr>
                      <a:r>
                        <a:rPr lang="es-ES" sz="1800" noProof="0" dirty="0">
                          <a:solidFill>
                            <a:schemeClr val="tx1"/>
                          </a:solidFill>
                          <a:latin typeface="Montserrat"/>
                          <a:ea typeface="Roboto"/>
                          <a:cs typeface="Roboto"/>
                          <a:sym typeface="Roboto"/>
                        </a:rPr>
                        <a:t>Logs data </a:t>
                      </a:r>
                      <a:r>
                        <a:rPr lang="es-ES" sz="1800" noProof="0" err="1">
                          <a:solidFill>
                            <a:schemeClr val="tx1"/>
                          </a:solidFill>
                          <a:latin typeface="Montserrat"/>
                          <a:ea typeface="Roboto"/>
                          <a:cs typeface="Roboto"/>
                          <a:sym typeface="Roboto"/>
                        </a:rPr>
                        <a:t>access</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across</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the</a:t>
                      </a:r>
                      <a:r>
                        <a:rPr lang="es-ES" sz="1800" noProof="0" dirty="0">
                          <a:solidFill>
                            <a:schemeClr val="tx1"/>
                          </a:solidFill>
                          <a:latin typeface="Montserrat"/>
                          <a:ea typeface="Roboto"/>
                          <a:cs typeface="Roboto"/>
                          <a:sym typeface="Roboto"/>
                        </a:rPr>
                        <a:t> digital estate, </a:t>
                      </a:r>
                      <a:r>
                        <a:rPr lang="es-ES" sz="1800" noProof="0" err="1">
                          <a:solidFill>
                            <a:schemeClr val="tx1"/>
                          </a:solidFill>
                          <a:latin typeface="Montserrat"/>
                          <a:ea typeface="Roboto"/>
                          <a:cs typeface="Roboto"/>
                          <a:sym typeface="Roboto"/>
                        </a:rPr>
                        <a:t>providing</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forensic-level</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audit</a:t>
                      </a:r>
                      <a:r>
                        <a:rPr lang="es-ES" sz="1800" noProof="0" dirty="0">
                          <a:solidFill>
                            <a:schemeClr val="tx1"/>
                          </a:solidFill>
                          <a:latin typeface="Montserrat"/>
                          <a:ea typeface="Roboto"/>
                          <a:cs typeface="Roboto"/>
                          <a:sym typeface="Roboto"/>
                        </a:rPr>
                        <a:t> logs and real-time </a:t>
                      </a:r>
                      <a:r>
                        <a:rPr lang="es-ES" sz="1800" noProof="0" err="1">
                          <a:solidFill>
                            <a:schemeClr val="tx1"/>
                          </a:solidFill>
                          <a:latin typeface="Montserrat"/>
                          <a:ea typeface="Roboto"/>
                          <a:cs typeface="Roboto"/>
                          <a:sym typeface="Roboto"/>
                        </a:rPr>
                        <a:t>breach</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notifications</a:t>
                      </a:r>
                      <a:r>
                        <a:rPr lang="es-ES" sz="1800" noProof="0" dirty="0">
                          <a:solidFill>
                            <a:schemeClr val="tx1"/>
                          </a:solidFill>
                          <a:latin typeface="Montserrat"/>
                          <a:ea typeface="Roboto"/>
                          <a:cs typeface="Roboto"/>
                          <a:sym typeface="Roboto"/>
                        </a:rPr>
                        <a:t>.</a:t>
                      </a:r>
                    </a:p>
                    <a:p>
                      <a:pPr marL="457200" lvl="0" indent="-279400" algn="l" rtl="0">
                        <a:lnSpc>
                          <a:spcPct val="115000"/>
                        </a:lnSpc>
                        <a:spcBef>
                          <a:spcPts val="0"/>
                        </a:spcBef>
                        <a:spcAft>
                          <a:spcPts val="0"/>
                        </a:spcAft>
                        <a:buClr>
                          <a:schemeClr val="lt1"/>
                        </a:buClr>
                        <a:buSzPts val="800"/>
                        <a:buFont typeface="Roboto"/>
                        <a:buChar char="●"/>
                      </a:pPr>
                      <a:r>
                        <a:rPr lang="es-ES" sz="1800" noProof="0" err="1">
                          <a:solidFill>
                            <a:schemeClr val="tx1"/>
                          </a:solidFill>
                          <a:latin typeface="Montserrat"/>
                          <a:ea typeface="Roboto"/>
                          <a:cs typeface="Roboto"/>
                          <a:sym typeface="Roboto"/>
                        </a:rPr>
                        <a:t>Forcepoint</a:t>
                      </a:r>
                      <a:r>
                        <a:rPr lang="es-ES" sz="1800" noProof="0" dirty="0">
                          <a:solidFill>
                            <a:schemeClr val="tx1"/>
                          </a:solidFill>
                          <a:latin typeface="Montserrat"/>
                          <a:ea typeface="Roboto"/>
                          <a:cs typeface="Roboto"/>
                          <a:sym typeface="Roboto"/>
                        </a:rPr>
                        <a:t> DLP </a:t>
                      </a:r>
                      <a:r>
                        <a:rPr lang="es-ES" sz="1800" noProof="0" err="1">
                          <a:solidFill>
                            <a:schemeClr val="tx1"/>
                          </a:solidFill>
                          <a:latin typeface="Montserrat"/>
                          <a:ea typeface="Roboto"/>
                          <a:cs typeface="Roboto"/>
                          <a:sym typeface="Roboto"/>
                        </a:rPr>
                        <a:t>classifies</a:t>
                      </a:r>
                      <a:r>
                        <a:rPr lang="es-ES" sz="1800" noProof="0" dirty="0">
                          <a:solidFill>
                            <a:schemeClr val="tx1"/>
                          </a:solidFill>
                          <a:latin typeface="Montserrat"/>
                          <a:ea typeface="Roboto"/>
                          <a:cs typeface="Roboto"/>
                          <a:sym typeface="Roboto"/>
                        </a:rPr>
                        <a:t> data and </a:t>
                      </a:r>
                      <a:r>
                        <a:rPr lang="es-ES" sz="1800" noProof="0" err="1">
                          <a:solidFill>
                            <a:schemeClr val="tx1"/>
                          </a:solidFill>
                          <a:latin typeface="Montserrat"/>
                          <a:ea typeface="Roboto"/>
                          <a:cs typeface="Roboto"/>
                          <a:sym typeface="Roboto"/>
                        </a:rPr>
                        <a:t>restricts</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access</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but</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lacks</a:t>
                      </a:r>
                      <a:r>
                        <a:rPr lang="es-ES" sz="1800" noProof="0" dirty="0">
                          <a:solidFill>
                            <a:schemeClr val="tx1"/>
                          </a:solidFill>
                          <a:latin typeface="Montserrat"/>
                          <a:ea typeface="Roboto"/>
                          <a:cs typeface="Roboto"/>
                          <a:sym typeface="Roboto"/>
                        </a:rPr>
                        <a:t> individual per-file </a:t>
                      </a:r>
                      <a:r>
                        <a:rPr lang="es-ES" sz="1800" noProof="0" err="1">
                          <a:solidFill>
                            <a:schemeClr val="tx1"/>
                          </a:solidFill>
                          <a:latin typeface="Montserrat"/>
                          <a:ea typeface="Roboto"/>
                          <a:cs typeface="Roboto"/>
                          <a:sym typeface="Roboto"/>
                        </a:rPr>
                        <a:t>encryption</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cross-platform</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security</a:t>
                      </a:r>
                      <a:r>
                        <a:rPr lang="es-ES" sz="1800" noProof="0" dirty="0">
                          <a:solidFill>
                            <a:schemeClr val="tx1"/>
                          </a:solidFill>
                          <a:latin typeface="Montserrat"/>
                          <a:ea typeface="Roboto"/>
                          <a:cs typeface="Roboto"/>
                          <a:sym typeface="Roboto"/>
                        </a:rPr>
                        <a:t>, and data </a:t>
                      </a:r>
                      <a:r>
                        <a:rPr lang="es-ES" sz="1800" noProof="0" err="1">
                          <a:solidFill>
                            <a:schemeClr val="tx1"/>
                          </a:solidFill>
                          <a:latin typeface="Montserrat"/>
                          <a:ea typeface="Roboto"/>
                          <a:cs typeface="Roboto"/>
                          <a:sym typeface="Roboto"/>
                        </a:rPr>
                        <a:t>revocation</a:t>
                      </a:r>
                      <a:r>
                        <a:rPr lang="es-ES" sz="1800" noProof="0" dirty="0">
                          <a:solidFill>
                            <a:schemeClr val="tx1"/>
                          </a:solidFill>
                          <a:latin typeface="Montserrat"/>
                          <a:ea typeface="Roboto"/>
                          <a:cs typeface="Roboto"/>
                          <a:sym typeface="Roboto"/>
                        </a:rPr>
                        <a:t> </a:t>
                      </a:r>
                      <a:r>
                        <a:rPr lang="es-ES" sz="1800" noProof="0" err="1">
                          <a:solidFill>
                            <a:schemeClr val="tx1"/>
                          </a:solidFill>
                          <a:latin typeface="Montserrat"/>
                          <a:ea typeface="Roboto"/>
                          <a:cs typeface="Roboto"/>
                          <a:sym typeface="Roboto"/>
                        </a:rPr>
                        <a:t>ability</a:t>
                      </a:r>
                      <a:r>
                        <a:rPr lang="es-ES" sz="1800" noProof="0" dirty="0">
                          <a:solidFill>
                            <a:schemeClr val="tx1"/>
                          </a:solidFill>
                          <a:latin typeface="Montserrat"/>
                          <a:ea typeface="Roboto"/>
                          <a:cs typeface="Roboto"/>
                          <a:sym typeface="Roboto"/>
                        </a:rPr>
                        <a:t>.</a:t>
                      </a:r>
                      <a:endParaRPr lang="es-ES" sz="1800" noProof="0" dirty="0">
                        <a:solidFill>
                          <a:schemeClr val="tx1"/>
                        </a:solidFill>
                        <a:latin typeface="Montserrat"/>
                      </a:endParaRPr>
                    </a:p>
                  </a:txBody>
                  <a:tcPr marL="57150" marR="57150" marT="38100" marB="38100">
                    <a:lnL w="9525" cap="flat" cmpd="sng" algn="ctr">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lgn="ctr">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extLst>
                  <a:ext uri="{0D108BD9-81ED-4DB2-BD59-A6C34878D82A}">
                    <a16:rowId xmlns:a16="http://schemas.microsoft.com/office/drawing/2014/main" val="10002"/>
                  </a:ext>
                </a:extLst>
              </a:tr>
              <a:tr h="1631060">
                <a:tc vMerge="1">
                  <a:txBody>
                    <a:bodyPr/>
                    <a:lstStyle/>
                    <a:p>
                      <a:endParaRPr lang="pt-PT"/>
                    </a:p>
                  </a:txBody>
                  <a:tcPr/>
                </a:tc>
                <a:tc vMerge="1">
                  <a:txBody>
                    <a:bodyPr/>
                    <a:lstStyle/>
                    <a:p>
                      <a:endParaRPr lang="pt-PT"/>
                    </a:p>
                  </a:txBody>
                  <a:tcPr/>
                </a:tc>
                <a:tc vMerge="1">
                  <a:txBody>
                    <a:bodyPr/>
                    <a:lstStyle/>
                    <a:p>
                      <a:endParaRPr lang="pt-PT"/>
                    </a:p>
                  </a:txBody>
                  <a:tcPr/>
                </a:tc>
                <a:tc>
                  <a:txBody>
                    <a:bodyPr/>
                    <a:lstStyle/>
                    <a:p>
                      <a:pPr marL="0" lvl="0" indent="0" algn="l" rtl="0">
                        <a:lnSpc>
                          <a:spcPct val="115000"/>
                        </a:lnSpc>
                        <a:spcBef>
                          <a:spcPts val="0"/>
                        </a:spcBef>
                        <a:spcAft>
                          <a:spcPts val="0"/>
                        </a:spcAft>
                        <a:buNone/>
                      </a:pPr>
                      <a:r>
                        <a:rPr lang="es-ES" sz="1800" b="1" noProof="0" err="1">
                          <a:solidFill>
                            <a:schemeClr val="tx1"/>
                          </a:solidFill>
                          <a:latin typeface="Montserrat"/>
                        </a:rPr>
                        <a:t>Example</a:t>
                      </a:r>
                      <a:r>
                        <a:rPr lang="es-ES" sz="1800" b="1" noProof="0" dirty="0">
                          <a:solidFill>
                            <a:schemeClr val="tx1"/>
                          </a:solidFill>
                          <a:latin typeface="Montserrat"/>
                        </a:rPr>
                        <a:t>: </a:t>
                      </a:r>
                      <a:r>
                        <a:rPr lang="es-ES" sz="1800" b="1" noProof="0" err="1">
                          <a:solidFill>
                            <a:schemeClr val="tx1"/>
                          </a:solidFill>
                          <a:latin typeface="Montserrat"/>
                        </a:rPr>
                        <a:t>Forcepoint</a:t>
                      </a:r>
                      <a:r>
                        <a:rPr lang="es-ES" sz="1800" b="1" noProof="0" dirty="0">
                          <a:solidFill>
                            <a:schemeClr val="tx1"/>
                          </a:solidFill>
                          <a:latin typeface="Montserrat"/>
                        </a:rPr>
                        <a:t> </a:t>
                      </a:r>
                      <a:r>
                        <a:rPr lang="es-ES" sz="1800" b="0" noProof="0" err="1">
                          <a:solidFill>
                            <a:schemeClr val="tx1"/>
                          </a:solidFill>
                          <a:latin typeface="Montserrat"/>
                        </a:rPr>
                        <a:t>does</a:t>
                      </a:r>
                      <a:r>
                        <a:rPr lang="es-ES" sz="1800" b="0" noProof="0" dirty="0">
                          <a:solidFill>
                            <a:schemeClr val="tx1"/>
                          </a:solidFill>
                          <a:latin typeface="Montserrat"/>
                        </a:rPr>
                        <a:t> </a:t>
                      </a:r>
                      <a:r>
                        <a:rPr lang="es-ES" sz="1800" b="0" noProof="0" err="1">
                          <a:solidFill>
                            <a:schemeClr val="tx1"/>
                          </a:solidFill>
                          <a:latin typeface="Montserrat"/>
                        </a:rPr>
                        <a:t>not</a:t>
                      </a:r>
                      <a:r>
                        <a:rPr lang="es-ES" sz="1800" b="0" noProof="0" dirty="0">
                          <a:solidFill>
                            <a:schemeClr val="tx1"/>
                          </a:solidFill>
                          <a:latin typeface="Montserrat"/>
                        </a:rPr>
                        <a:t> </a:t>
                      </a:r>
                      <a:r>
                        <a:rPr lang="es-ES" sz="1800" b="0" noProof="0" err="1">
                          <a:solidFill>
                            <a:schemeClr val="tx1"/>
                          </a:solidFill>
                          <a:latin typeface="Montserrat"/>
                        </a:rPr>
                        <a:t>protect</a:t>
                      </a:r>
                      <a:r>
                        <a:rPr lang="es-ES" sz="1800" b="0" noProof="0" dirty="0">
                          <a:solidFill>
                            <a:schemeClr val="tx1"/>
                          </a:solidFill>
                          <a:latin typeface="Montserrat"/>
                        </a:rPr>
                        <a:t> </a:t>
                      </a:r>
                      <a:r>
                        <a:rPr lang="es-ES" sz="1800" b="0" noProof="0" err="1">
                          <a:solidFill>
                            <a:schemeClr val="tx1"/>
                          </a:solidFill>
                          <a:latin typeface="Montserrat"/>
                        </a:rPr>
                        <a:t>cloud</a:t>
                      </a:r>
                      <a:r>
                        <a:rPr lang="es-ES" sz="1800" b="0" noProof="0" dirty="0">
                          <a:solidFill>
                            <a:schemeClr val="tx1"/>
                          </a:solidFill>
                          <a:latin typeface="Montserrat"/>
                        </a:rPr>
                        <a:t> data </a:t>
                      </a:r>
                      <a:r>
                        <a:rPr lang="es-ES" sz="1800" b="0" noProof="0" err="1">
                          <a:solidFill>
                            <a:schemeClr val="tx1"/>
                          </a:solidFill>
                          <a:latin typeface="Montserrat"/>
                        </a:rPr>
                        <a:t>from</a:t>
                      </a:r>
                      <a:r>
                        <a:rPr lang="es-ES" sz="1800" b="0" noProof="0" dirty="0">
                          <a:solidFill>
                            <a:schemeClr val="tx1"/>
                          </a:solidFill>
                          <a:latin typeface="Montserrat"/>
                        </a:rPr>
                        <a:t> </a:t>
                      </a:r>
                      <a:r>
                        <a:rPr lang="es-ES" sz="1800" b="0" noProof="0" err="1">
                          <a:solidFill>
                            <a:schemeClr val="tx1"/>
                          </a:solidFill>
                          <a:latin typeface="Montserrat"/>
                        </a:rPr>
                        <a:t>network</a:t>
                      </a:r>
                      <a:r>
                        <a:rPr lang="es-ES" sz="1800" b="0" noProof="0" dirty="0">
                          <a:solidFill>
                            <a:schemeClr val="tx1"/>
                          </a:solidFill>
                          <a:latin typeface="Montserrat"/>
                        </a:rPr>
                        <a:t> </a:t>
                      </a:r>
                      <a:r>
                        <a:rPr lang="es-ES" sz="1800" b="0" noProof="0" err="1">
                          <a:solidFill>
                            <a:schemeClr val="tx1"/>
                          </a:solidFill>
                          <a:latin typeface="Montserrat"/>
                        </a:rPr>
                        <a:t>admins</a:t>
                      </a:r>
                      <a:r>
                        <a:rPr lang="es-ES" sz="1800" b="0" noProof="0" dirty="0">
                          <a:solidFill>
                            <a:schemeClr val="tx1"/>
                          </a:solidFill>
                          <a:latin typeface="Montserrat"/>
                        </a:rPr>
                        <a:t>, </a:t>
                      </a:r>
                      <a:r>
                        <a:rPr lang="es-ES" sz="1800" b="0" noProof="0" err="1">
                          <a:solidFill>
                            <a:schemeClr val="tx1"/>
                          </a:solidFill>
                          <a:latin typeface="Montserrat"/>
                        </a:rPr>
                        <a:t>insider</a:t>
                      </a:r>
                      <a:r>
                        <a:rPr lang="es-ES" sz="1800" b="0" noProof="0" dirty="0">
                          <a:solidFill>
                            <a:schemeClr val="tx1"/>
                          </a:solidFill>
                          <a:latin typeface="Montserrat"/>
                        </a:rPr>
                        <a:t> </a:t>
                      </a:r>
                      <a:r>
                        <a:rPr lang="es-ES" sz="1800" b="0" noProof="0" err="1">
                          <a:solidFill>
                            <a:schemeClr val="tx1"/>
                          </a:solidFill>
                          <a:latin typeface="Montserrat"/>
                        </a:rPr>
                        <a:t>threats</a:t>
                      </a:r>
                      <a:r>
                        <a:rPr lang="es-ES" sz="1800" b="0" noProof="0" dirty="0">
                          <a:solidFill>
                            <a:schemeClr val="tx1"/>
                          </a:solidFill>
                          <a:latin typeface="Montserrat"/>
                        </a:rPr>
                        <a:t>, </a:t>
                      </a:r>
                      <a:r>
                        <a:rPr lang="es-ES" sz="1800" b="0" noProof="0" err="1">
                          <a:solidFill>
                            <a:schemeClr val="tx1"/>
                          </a:solidFill>
                          <a:latin typeface="Montserrat"/>
                        </a:rPr>
                        <a:t>aging</a:t>
                      </a:r>
                      <a:r>
                        <a:rPr lang="es-ES" sz="1800" b="0" noProof="0" dirty="0">
                          <a:solidFill>
                            <a:schemeClr val="tx1"/>
                          </a:solidFill>
                          <a:latin typeface="Montserrat"/>
                        </a:rPr>
                        <a:t> </a:t>
                      </a:r>
                      <a:r>
                        <a:rPr lang="es-ES" sz="1800" b="0" noProof="0" err="1">
                          <a:solidFill>
                            <a:schemeClr val="tx1"/>
                          </a:solidFill>
                          <a:latin typeface="Montserrat"/>
                        </a:rPr>
                        <a:t>credentials</a:t>
                      </a:r>
                      <a:r>
                        <a:rPr lang="es-ES" sz="1800" b="0" noProof="0" dirty="0">
                          <a:solidFill>
                            <a:schemeClr val="tx1"/>
                          </a:solidFill>
                          <a:latin typeface="Montserrat"/>
                        </a:rPr>
                        <a:t>, </a:t>
                      </a:r>
                      <a:r>
                        <a:rPr lang="es-ES" sz="1800" b="0" noProof="0" err="1">
                          <a:solidFill>
                            <a:schemeClr val="tx1"/>
                          </a:solidFill>
                          <a:latin typeface="Montserrat"/>
                        </a:rPr>
                        <a:t>or</a:t>
                      </a:r>
                      <a:r>
                        <a:rPr lang="es-ES" sz="1800" b="0" noProof="0" dirty="0">
                          <a:solidFill>
                            <a:schemeClr val="tx1"/>
                          </a:solidFill>
                          <a:latin typeface="Montserrat"/>
                        </a:rPr>
                        <a:t> </a:t>
                      </a:r>
                      <a:r>
                        <a:rPr lang="es-ES" sz="1800" b="0" noProof="0" err="1">
                          <a:solidFill>
                            <a:schemeClr val="tx1"/>
                          </a:solidFill>
                          <a:latin typeface="Montserrat"/>
                        </a:rPr>
                        <a:t>geolocation-based</a:t>
                      </a:r>
                      <a:r>
                        <a:rPr lang="es-ES" sz="1800" b="0" noProof="0" dirty="0">
                          <a:solidFill>
                            <a:schemeClr val="tx1"/>
                          </a:solidFill>
                          <a:latin typeface="Montserrat"/>
                        </a:rPr>
                        <a:t> </a:t>
                      </a:r>
                      <a:r>
                        <a:rPr lang="es-ES" sz="1800" b="0" noProof="0" err="1">
                          <a:solidFill>
                            <a:schemeClr val="tx1"/>
                          </a:solidFill>
                          <a:latin typeface="Montserrat"/>
                        </a:rPr>
                        <a:t>access</a:t>
                      </a:r>
                      <a:r>
                        <a:rPr lang="es-ES" sz="1800" b="0" noProof="0" dirty="0">
                          <a:solidFill>
                            <a:schemeClr val="tx1"/>
                          </a:solidFill>
                          <a:latin typeface="Montserrat"/>
                        </a:rPr>
                        <a:t> </a:t>
                      </a:r>
                      <a:r>
                        <a:rPr lang="es-ES" sz="1800" b="0" noProof="0" err="1">
                          <a:solidFill>
                            <a:schemeClr val="tx1"/>
                          </a:solidFill>
                          <a:latin typeface="Montserrat"/>
                        </a:rPr>
                        <a:t>restrictions</a:t>
                      </a:r>
                      <a:r>
                        <a:rPr lang="es-ES" sz="1800" b="0" noProof="0" dirty="0">
                          <a:solidFill>
                            <a:schemeClr val="tx1"/>
                          </a:solidFill>
                          <a:latin typeface="Montserrat"/>
                        </a:rPr>
                        <a:t>.</a:t>
                      </a:r>
                    </a:p>
                  </a:txBody>
                  <a:tcPr marL="57150" marR="57150" marT="38100" marB="38100">
                    <a:lnL w="9525" cap="flat" cmpd="sng" algn="ctr">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lgn="ctr">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extLst>
                  <a:ext uri="{0D108BD9-81ED-4DB2-BD59-A6C34878D82A}">
                    <a16:rowId xmlns:a16="http://schemas.microsoft.com/office/drawing/2014/main" val="10006"/>
                  </a:ext>
                </a:extLst>
              </a:tr>
            </a:tbl>
          </a:graphicData>
        </a:graphic>
      </p:graphicFrame>
      <p:sp>
        <p:nvSpPr>
          <p:cNvPr id="2" name="Title 1">
            <a:extLst>
              <a:ext uri="{FF2B5EF4-FFF2-40B4-BE49-F238E27FC236}">
                <a16:creationId xmlns:a16="http://schemas.microsoft.com/office/drawing/2014/main" id="{0952A348-ABE0-729D-F37A-0835D2BB72BA}"/>
              </a:ext>
            </a:extLst>
          </p:cNvPr>
          <p:cNvSpPr>
            <a:spLocks noGrp="1"/>
          </p:cNvSpPr>
          <p:nvPr>
            <p:ph type="title" idx="4294967295"/>
          </p:nvPr>
        </p:nvSpPr>
        <p:spPr>
          <a:xfrm>
            <a:off x="1080600" y="1042450"/>
            <a:ext cx="10216200" cy="1145400"/>
          </a:xfrm>
        </p:spPr>
        <p:txBody>
          <a:bodyPr/>
          <a:lstStyle/>
          <a:p>
            <a:r>
              <a:rPr lang="es-ES" sz="4000" b="1" noProof="0">
                <a:solidFill>
                  <a:schemeClr val="lt1"/>
                </a:solidFill>
              </a:rPr>
              <a:t>Data Access Control - </a:t>
            </a:r>
            <a:r>
              <a:rPr lang="es-ES" sz="4000" b="1" noProof="0" err="1">
                <a:solidFill>
                  <a:schemeClr val="lt1"/>
                </a:solidFill>
              </a:rPr>
              <a:t>Differentiation</a:t>
            </a:r>
            <a:br>
              <a:rPr lang="es-ES" sz="4000" b="1" noProof="0">
                <a:solidFill>
                  <a:schemeClr val="lt1"/>
                </a:solidFill>
                <a:latin typeface="Proxima Nova"/>
                <a:ea typeface="Proxima Nova"/>
                <a:cs typeface="Proxima Nova"/>
                <a:sym typeface="Proxima Nova"/>
              </a:rPr>
            </a:br>
            <a:endParaRPr lang="es-ES" noProof="0"/>
          </a:p>
        </p:txBody>
      </p:sp>
      <p:grpSp>
        <p:nvGrpSpPr>
          <p:cNvPr id="5" name="Group 24">
            <a:extLst>
              <a:ext uri="{FF2B5EF4-FFF2-40B4-BE49-F238E27FC236}">
                <a16:creationId xmlns:a16="http://schemas.microsoft.com/office/drawing/2014/main" id="{500CF664-E13F-4E78-1325-8767399F1957}"/>
              </a:ext>
            </a:extLst>
          </p:cNvPr>
          <p:cNvGrpSpPr/>
          <p:nvPr/>
        </p:nvGrpSpPr>
        <p:grpSpPr>
          <a:xfrm>
            <a:off x="10989150" y="1620313"/>
            <a:ext cx="612363" cy="56823"/>
            <a:chOff x="0" y="0"/>
            <a:chExt cx="1078484" cy="100076"/>
          </a:xfrm>
        </p:grpSpPr>
        <p:sp>
          <p:nvSpPr>
            <p:cNvPr id="4" name="Freeform 25">
              <a:extLst>
                <a:ext uri="{FF2B5EF4-FFF2-40B4-BE49-F238E27FC236}">
                  <a16:creationId xmlns:a16="http://schemas.microsoft.com/office/drawing/2014/main" id="{A1A5D35B-D5CC-695D-C3E5-446856844FE1}"/>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es-ES" sz="1800" noProof="0"/>
            </a:p>
          </p:txBody>
        </p:sp>
      </p:grpSp>
      <p:sp>
        <p:nvSpPr>
          <p:cNvPr id="6" name="Google Shape;294;g8cff37a39f_0_44">
            <a:extLst>
              <a:ext uri="{FF2B5EF4-FFF2-40B4-BE49-F238E27FC236}">
                <a16:creationId xmlns:a16="http://schemas.microsoft.com/office/drawing/2014/main" id="{22593D0D-DE9E-5A85-9C74-DA31210EEF78}"/>
              </a:ext>
            </a:extLst>
          </p:cNvPr>
          <p:cNvSpPr txBox="1">
            <a:spLocks/>
          </p:cNvSpPr>
          <p:nvPr/>
        </p:nvSpPr>
        <p:spPr>
          <a:xfrm>
            <a:off x="1043770" y="1017304"/>
            <a:ext cx="16035376" cy="748199"/>
          </a:xfrm>
          <a:prstGeom prst="rect">
            <a:avLst/>
          </a:prstGeom>
          <a:noFill/>
          <a:ln>
            <a:noFill/>
          </a:ln>
        </p:spPr>
        <p:txBody>
          <a:bodyPr spcFirstLastPara="1" wrap="square" lIns="182850" tIns="182850" rIns="182850" bIns="18285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1pPr>
            <a:lvl2pPr marR="0" lvl="1"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2pPr>
            <a:lvl3pPr marR="0" lvl="2"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3pPr>
            <a:lvl4pPr marR="0" lvl="3"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4pPr>
            <a:lvl5pPr marR="0" lvl="4"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5pPr>
            <a:lvl6pPr marR="0" lvl="5"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6pPr>
            <a:lvl7pPr marR="0" lvl="6"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7pPr>
            <a:lvl8pPr marR="0" lvl="7"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8pPr>
            <a:lvl9pPr marR="0" lvl="8" algn="l" rtl="0">
              <a:lnSpc>
                <a:spcPct val="100000"/>
              </a:lnSpc>
              <a:spcBef>
                <a:spcPts val="0"/>
              </a:spcBef>
              <a:spcAft>
                <a:spcPts val="0"/>
              </a:spcAft>
              <a:buClr>
                <a:schemeClr val="dk1"/>
              </a:buClr>
              <a:buSzPts val="2000"/>
              <a:buFont typeface="Montserrat"/>
              <a:buNone/>
              <a:defRPr sz="2000" b="1" i="0" u="none" strike="noStrike" cap="none">
                <a:solidFill>
                  <a:schemeClr val="dk1"/>
                </a:solidFill>
                <a:latin typeface="Montserrat"/>
                <a:ea typeface="Montserrat"/>
                <a:cs typeface="Montserrat"/>
                <a:sym typeface="Montserrat"/>
              </a:defRPr>
            </a:lvl9pPr>
          </a:lstStyle>
          <a:p>
            <a:pPr defTabSz="1371600">
              <a:defRPr/>
            </a:pPr>
            <a:r>
              <a:rPr lang="en-US" sz="4000" dirty="0">
                <a:solidFill>
                  <a:prstClr val="black"/>
                </a:solidFill>
              </a:rPr>
              <a:t>Data Access Control - Differentiation</a:t>
            </a:r>
            <a:endParaRPr lang="en-US" dirty="0"/>
          </a:p>
        </p:txBody>
      </p:sp>
    </p:spTree>
    <p:extLst>
      <p:ext uri="{BB962C8B-B14F-4D97-AF65-F5344CB8AC3E}">
        <p14:creationId xmlns:p14="http://schemas.microsoft.com/office/powerpoint/2010/main" val="26635338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21">
            <a:extLst>
              <a:ext uri="{FF2B5EF4-FFF2-40B4-BE49-F238E27FC236}">
                <a16:creationId xmlns:a16="http://schemas.microsoft.com/office/drawing/2014/main" id="{12B71810-4471-208D-C5F0-949448AB3F2B}"/>
              </a:ext>
            </a:extLst>
          </p:cNvPr>
          <p:cNvSpPr txBox="1"/>
          <p:nvPr/>
        </p:nvSpPr>
        <p:spPr>
          <a:xfrm>
            <a:off x="439467" y="928762"/>
            <a:ext cx="16315355" cy="1539204"/>
          </a:xfrm>
          <a:prstGeom prst="rect">
            <a:avLst/>
          </a:prstGeom>
        </p:spPr>
        <p:txBody>
          <a:bodyPr wrap="square" lIns="0" tIns="0" rIns="0" bIns="0" rtlCol="0" anchor="t">
            <a:spAutoFit/>
          </a:bodyPr>
          <a:lstStyle/>
          <a:p>
            <a:pPr>
              <a:lnSpc>
                <a:spcPts val="5600"/>
              </a:lnSpc>
              <a:spcAft>
                <a:spcPts val="1200"/>
              </a:spcAft>
            </a:pPr>
            <a:r>
              <a:rPr lang="es-ES" sz="4400" b="1" noProof="0">
                <a:solidFill>
                  <a:schemeClr val="bg1"/>
                </a:solidFill>
                <a:latin typeface="Montserrat"/>
                <a:ea typeface="+mn-lt"/>
                <a:cs typeface="+mn-lt"/>
              </a:rPr>
              <a:t>Low </a:t>
            </a:r>
            <a:r>
              <a:rPr lang="es-ES" sz="4400" b="1" noProof="0" err="1">
                <a:solidFill>
                  <a:schemeClr val="bg1"/>
                </a:solidFill>
                <a:latin typeface="Montserrat"/>
                <a:ea typeface="+mn-lt"/>
                <a:cs typeface="+mn-lt"/>
              </a:rPr>
              <a:t>code</a:t>
            </a:r>
            <a:endParaRPr lang="es-ES" sz="4400" b="1" noProof="0">
              <a:solidFill>
                <a:schemeClr val="bg1"/>
              </a:solidFill>
              <a:latin typeface="Montserrat" pitchFamily="2" charset="0"/>
              <a:ea typeface="+mn-lt"/>
              <a:cs typeface="+mn-lt"/>
            </a:endParaRPr>
          </a:p>
          <a:p>
            <a:pPr>
              <a:lnSpc>
                <a:spcPts val="5600"/>
              </a:lnSpc>
              <a:spcAft>
                <a:spcPts val="1200"/>
              </a:spcAft>
            </a:pPr>
            <a:r>
              <a:rPr lang="es-ES" sz="4400" b="1" noProof="0" err="1">
                <a:solidFill>
                  <a:srgbClr val="5C00D6"/>
                </a:solidFill>
                <a:latin typeface="Montserrat" pitchFamily="2" charset="0"/>
                <a:ea typeface="+mn-lt"/>
                <a:cs typeface="+mn-lt"/>
              </a:rPr>
              <a:t>It</a:t>
            </a:r>
            <a:r>
              <a:rPr lang="es-ES" sz="4400" b="1" noProof="0">
                <a:solidFill>
                  <a:srgbClr val="5C00D6"/>
                </a:solidFill>
                <a:latin typeface="Montserrat" pitchFamily="2" charset="0"/>
                <a:ea typeface="+mn-lt"/>
                <a:cs typeface="+mn-lt"/>
              </a:rPr>
              <a:t> can </a:t>
            </a:r>
            <a:r>
              <a:rPr lang="es-ES" sz="4400" b="1" noProof="0" err="1">
                <a:solidFill>
                  <a:srgbClr val="5C00D6"/>
                </a:solidFill>
                <a:latin typeface="Montserrat" pitchFamily="2" charset="0"/>
                <a:ea typeface="+mn-lt"/>
                <a:cs typeface="+mn-lt"/>
              </a:rPr>
              <a:t>help</a:t>
            </a:r>
            <a:r>
              <a:rPr lang="es-ES" sz="4400" b="1" noProof="0">
                <a:solidFill>
                  <a:srgbClr val="5C00D6"/>
                </a:solidFill>
                <a:latin typeface="Montserrat" pitchFamily="2" charset="0"/>
                <a:ea typeface="+mn-lt"/>
                <a:cs typeface="+mn-lt"/>
              </a:rPr>
              <a:t> </a:t>
            </a:r>
            <a:r>
              <a:rPr lang="es-ES" sz="4400" b="1" noProof="0" err="1">
                <a:solidFill>
                  <a:srgbClr val="5C00D6"/>
                </a:solidFill>
                <a:latin typeface="Montserrat" pitchFamily="2" charset="0"/>
                <a:ea typeface="+mn-lt"/>
                <a:cs typeface="+mn-lt"/>
              </a:rPr>
              <a:t>you</a:t>
            </a:r>
            <a:r>
              <a:rPr lang="es-ES" sz="4400" b="1" noProof="0">
                <a:solidFill>
                  <a:srgbClr val="5C00D6"/>
                </a:solidFill>
                <a:latin typeface="Montserrat" pitchFamily="2" charset="0"/>
                <a:ea typeface="+mn-lt"/>
                <a:cs typeface="+mn-lt"/>
              </a:rPr>
              <a:t> </a:t>
            </a:r>
            <a:r>
              <a:rPr lang="es-ES" sz="4400" b="1" noProof="0" err="1">
                <a:solidFill>
                  <a:srgbClr val="5C00D6"/>
                </a:solidFill>
                <a:latin typeface="Montserrat" pitchFamily="2" charset="0"/>
                <a:ea typeface="+mn-lt"/>
                <a:cs typeface="+mn-lt"/>
              </a:rPr>
              <a:t>boost</a:t>
            </a:r>
            <a:r>
              <a:rPr lang="es-ES" sz="4400" b="1" noProof="0">
                <a:solidFill>
                  <a:srgbClr val="5C00D6"/>
                </a:solidFill>
                <a:latin typeface="Montserrat" pitchFamily="2" charset="0"/>
                <a:ea typeface="+mn-lt"/>
                <a:cs typeface="+mn-lt"/>
              </a:rPr>
              <a:t> </a:t>
            </a:r>
            <a:r>
              <a:rPr lang="es-ES" sz="4400" b="1" noProof="0" err="1">
                <a:solidFill>
                  <a:srgbClr val="5C00D6"/>
                </a:solidFill>
                <a:latin typeface="Montserrat" pitchFamily="2" charset="0"/>
                <a:ea typeface="+mn-lt"/>
                <a:cs typeface="+mn-lt"/>
              </a:rPr>
              <a:t>your</a:t>
            </a:r>
            <a:r>
              <a:rPr lang="es-ES" sz="4400" b="1" noProof="0">
                <a:solidFill>
                  <a:srgbClr val="5C00D6"/>
                </a:solidFill>
                <a:latin typeface="Montserrat" pitchFamily="2" charset="0"/>
                <a:ea typeface="+mn-lt"/>
                <a:cs typeface="+mn-lt"/>
              </a:rPr>
              <a:t> </a:t>
            </a:r>
            <a:r>
              <a:rPr lang="es-ES" sz="4400" b="1" noProof="0" err="1">
                <a:solidFill>
                  <a:srgbClr val="5C00D6"/>
                </a:solidFill>
                <a:latin typeface="Montserrat" pitchFamily="2" charset="0"/>
                <a:ea typeface="+mn-lt"/>
                <a:cs typeface="+mn-lt"/>
              </a:rPr>
              <a:t>development</a:t>
            </a:r>
            <a:r>
              <a:rPr lang="es-ES" sz="4400" b="1" noProof="0">
                <a:solidFill>
                  <a:srgbClr val="5C00D6"/>
                </a:solidFill>
                <a:latin typeface="Montserrat" pitchFamily="2" charset="0"/>
                <a:ea typeface="+mn-lt"/>
                <a:cs typeface="+mn-lt"/>
              </a:rPr>
              <a:t> </a:t>
            </a:r>
          </a:p>
        </p:txBody>
      </p:sp>
      <p:sp>
        <p:nvSpPr>
          <p:cNvPr id="8" name="Retângulo Arredondado 107">
            <a:extLst>
              <a:ext uri="{FF2B5EF4-FFF2-40B4-BE49-F238E27FC236}">
                <a16:creationId xmlns:a16="http://schemas.microsoft.com/office/drawing/2014/main" id="{5DBD1769-2197-87CB-EF5A-B6F06FF79609}"/>
              </a:ext>
            </a:extLst>
          </p:cNvPr>
          <p:cNvSpPr/>
          <p:nvPr/>
        </p:nvSpPr>
        <p:spPr>
          <a:xfrm>
            <a:off x="839548" y="3031113"/>
            <a:ext cx="2818190" cy="536342"/>
          </a:xfrm>
          <a:prstGeom prst="roundRect">
            <a:avLst/>
          </a:prstGeom>
          <a:solidFill>
            <a:sysClr val="windowText" lastClr="000000">
              <a:lumMod val="50000"/>
              <a:lumOff val="50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9" name="Conector Reto 56">
            <a:extLst>
              <a:ext uri="{FF2B5EF4-FFF2-40B4-BE49-F238E27FC236}">
                <a16:creationId xmlns:a16="http://schemas.microsoft.com/office/drawing/2014/main" id="{7D8D7411-A2DA-AB17-3404-2A2532F47BA1}"/>
              </a:ext>
            </a:extLst>
          </p:cNvPr>
          <p:cNvCxnSpPr/>
          <p:nvPr/>
        </p:nvCxnSpPr>
        <p:spPr>
          <a:xfrm>
            <a:off x="888432" y="4601697"/>
            <a:ext cx="16560800" cy="0"/>
          </a:xfrm>
          <a:prstGeom prst="line">
            <a:avLst/>
          </a:prstGeom>
          <a:noFill/>
          <a:ln w="3175" cap="flat" cmpd="sng" algn="ctr">
            <a:solidFill>
              <a:sysClr val="windowText" lastClr="000000">
                <a:lumMod val="50000"/>
                <a:lumOff val="50000"/>
              </a:sysClr>
            </a:solidFill>
            <a:prstDash val="solid"/>
            <a:miter lim="800000"/>
          </a:ln>
          <a:effectLst/>
        </p:spPr>
      </p:cxnSp>
      <p:cxnSp>
        <p:nvCxnSpPr>
          <p:cNvPr id="10" name="Conector Reto 57">
            <a:extLst>
              <a:ext uri="{FF2B5EF4-FFF2-40B4-BE49-F238E27FC236}">
                <a16:creationId xmlns:a16="http://schemas.microsoft.com/office/drawing/2014/main" id="{2C08D75F-910C-3DFF-281A-5ED9787B5E4C}"/>
              </a:ext>
            </a:extLst>
          </p:cNvPr>
          <p:cNvCxnSpPr/>
          <p:nvPr/>
        </p:nvCxnSpPr>
        <p:spPr>
          <a:xfrm>
            <a:off x="863600" y="5575348"/>
            <a:ext cx="16560800" cy="0"/>
          </a:xfrm>
          <a:prstGeom prst="line">
            <a:avLst/>
          </a:prstGeom>
          <a:noFill/>
          <a:ln w="3175" cap="flat" cmpd="sng" algn="ctr">
            <a:solidFill>
              <a:sysClr val="windowText" lastClr="000000">
                <a:lumMod val="50000"/>
                <a:lumOff val="50000"/>
              </a:sysClr>
            </a:solidFill>
            <a:prstDash val="solid"/>
            <a:miter lim="800000"/>
          </a:ln>
          <a:effectLst/>
        </p:spPr>
      </p:cxnSp>
      <p:cxnSp>
        <p:nvCxnSpPr>
          <p:cNvPr id="11" name="Conector Reto 58">
            <a:extLst>
              <a:ext uri="{FF2B5EF4-FFF2-40B4-BE49-F238E27FC236}">
                <a16:creationId xmlns:a16="http://schemas.microsoft.com/office/drawing/2014/main" id="{0541275E-38C8-531D-92FE-0446CC5B3306}"/>
              </a:ext>
            </a:extLst>
          </p:cNvPr>
          <p:cNvCxnSpPr/>
          <p:nvPr/>
        </p:nvCxnSpPr>
        <p:spPr>
          <a:xfrm>
            <a:off x="863600" y="6548999"/>
            <a:ext cx="16560800" cy="0"/>
          </a:xfrm>
          <a:prstGeom prst="line">
            <a:avLst/>
          </a:prstGeom>
          <a:noFill/>
          <a:ln w="3175" cap="flat" cmpd="sng" algn="ctr">
            <a:solidFill>
              <a:sysClr val="windowText" lastClr="000000">
                <a:lumMod val="50000"/>
                <a:lumOff val="50000"/>
              </a:sysClr>
            </a:solidFill>
            <a:prstDash val="solid"/>
            <a:miter lim="800000"/>
          </a:ln>
          <a:effectLst/>
        </p:spPr>
      </p:cxnSp>
      <p:cxnSp>
        <p:nvCxnSpPr>
          <p:cNvPr id="12" name="Conector Reto 59">
            <a:extLst>
              <a:ext uri="{FF2B5EF4-FFF2-40B4-BE49-F238E27FC236}">
                <a16:creationId xmlns:a16="http://schemas.microsoft.com/office/drawing/2014/main" id="{4290D49D-137E-D300-9102-89BB20050FD8}"/>
              </a:ext>
            </a:extLst>
          </p:cNvPr>
          <p:cNvCxnSpPr/>
          <p:nvPr/>
        </p:nvCxnSpPr>
        <p:spPr>
          <a:xfrm>
            <a:off x="863600" y="7522650"/>
            <a:ext cx="16560800" cy="0"/>
          </a:xfrm>
          <a:prstGeom prst="line">
            <a:avLst/>
          </a:prstGeom>
          <a:noFill/>
          <a:ln w="3175" cap="flat" cmpd="sng" algn="ctr">
            <a:solidFill>
              <a:sysClr val="windowText" lastClr="000000">
                <a:lumMod val="50000"/>
                <a:lumOff val="50000"/>
              </a:sysClr>
            </a:solidFill>
            <a:prstDash val="solid"/>
            <a:miter lim="800000"/>
          </a:ln>
          <a:effectLst/>
        </p:spPr>
      </p:cxnSp>
      <p:cxnSp>
        <p:nvCxnSpPr>
          <p:cNvPr id="13" name="Conector Reto 60">
            <a:extLst>
              <a:ext uri="{FF2B5EF4-FFF2-40B4-BE49-F238E27FC236}">
                <a16:creationId xmlns:a16="http://schemas.microsoft.com/office/drawing/2014/main" id="{4DA0D9A5-1785-0D99-223A-97856EC4439C}"/>
              </a:ext>
            </a:extLst>
          </p:cNvPr>
          <p:cNvCxnSpPr/>
          <p:nvPr/>
        </p:nvCxnSpPr>
        <p:spPr>
          <a:xfrm>
            <a:off x="863600" y="8496300"/>
            <a:ext cx="16560800" cy="0"/>
          </a:xfrm>
          <a:prstGeom prst="line">
            <a:avLst/>
          </a:prstGeom>
          <a:noFill/>
          <a:ln w="3175" cap="flat" cmpd="sng" algn="ctr">
            <a:solidFill>
              <a:sysClr val="windowText" lastClr="000000">
                <a:lumMod val="50000"/>
                <a:lumOff val="50000"/>
              </a:sysClr>
            </a:solidFill>
            <a:prstDash val="solid"/>
            <a:miter lim="800000"/>
          </a:ln>
          <a:effectLst/>
        </p:spPr>
      </p:cxnSp>
      <p:sp>
        <p:nvSpPr>
          <p:cNvPr id="44" name="Retângulo 43">
            <a:extLst>
              <a:ext uri="{FF2B5EF4-FFF2-40B4-BE49-F238E27FC236}">
                <a16:creationId xmlns:a16="http://schemas.microsoft.com/office/drawing/2014/main" id="{7C3DCD17-C200-4798-8830-CE572D5A910D}"/>
              </a:ext>
            </a:extLst>
          </p:cNvPr>
          <p:cNvSpPr/>
          <p:nvPr/>
        </p:nvSpPr>
        <p:spPr>
          <a:xfrm>
            <a:off x="10421688" y="3341236"/>
            <a:ext cx="643448" cy="5530139"/>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0" name="Retângulo 49">
            <a:extLst>
              <a:ext uri="{FF2B5EF4-FFF2-40B4-BE49-F238E27FC236}">
                <a16:creationId xmlns:a16="http://schemas.microsoft.com/office/drawing/2014/main" id="{E7738F61-EE1D-677D-2D99-533A781231F8}"/>
              </a:ext>
            </a:extLst>
          </p:cNvPr>
          <p:cNvSpPr/>
          <p:nvPr/>
        </p:nvSpPr>
        <p:spPr>
          <a:xfrm>
            <a:off x="3558901" y="3557243"/>
            <a:ext cx="643448" cy="5530139"/>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1" name="TextBox 7">
            <a:extLst>
              <a:ext uri="{FF2B5EF4-FFF2-40B4-BE49-F238E27FC236}">
                <a16:creationId xmlns:a16="http://schemas.microsoft.com/office/drawing/2014/main" id="{68DC150D-2006-198E-35D0-18D690DDA90F}"/>
              </a:ext>
            </a:extLst>
          </p:cNvPr>
          <p:cNvSpPr txBox="1"/>
          <p:nvPr/>
        </p:nvSpPr>
        <p:spPr>
          <a:xfrm>
            <a:off x="1038697" y="3162114"/>
            <a:ext cx="2325260" cy="307777"/>
          </a:xfrm>
          <a:prstGeom prst="rect">
            <a:avLst/>
          </a:prstGeom>
          <a:ln>
            <a:noFill/>
          </a:ln>
        </p:spPr>
        <p:txBody>
          <a:bodyPr lIns="0" tIns="0" rIns="0" bIns="0" rtlCol="0" anchor="ctr">
            <a:spAutoFit/>
          </a:bodyPr>
          <a:lstStyle/>
          <a:p>
            <a:r>
              <a:rPr lang="es-ES" sz="2000" b="1" dirty="0" err="1">
                <a:solidFill>
                  <a:prstClr val="white"/>
                </a:solidFill>
                <a:latin typeface="Montserrat"/>
              </a:rPr>
              <a:t>Criteria</a:t>
            </a:r>
            <a:endParaRPr lang="es-ES" sz="2000" b="1" noProof="0" dirty="0" err="1">
              <a:solidFill>
                <a:prstClr val="white"/>
              </a:solidFill>
              <a:latin typeface="Montserrat" pitchFamily="2" charset="77"/>
            </a:endParaRPr>
          </a:p>
        </p:txBody>
      </p:sp>
      <p:sp>
        <p:nvSpPr>
          <p:cNvPr id="52" name="TextBox 6">
            <a:extLst>
              <a:ext uri="{FF2B5EF4-FFF2-40B4-BE49-F238E27FC236}">
                <a16:creationId xmlns:a16="http://schemas.microsoft.com/office/drawing/2014/main" id="{322B29A4-9D34-2F08-2514-E6C7F7ADEB33}"/>
              </a:ext>
            </a:extLst>
          </p:cNvPr>
          <p:cNvSpPr txBox="1"/>
          <p:nvPr/>
        </p:nvSpPr>
        <p:spPr>
          <a:xfrm>
            <a:off x="1057961" y="4042870"/>
            <a:ext cx="2243055" cy="275204"/>
          </a:xfrm>
          <a:prstGeom prst="rect">
            <a:avLst/>
          </a:prstGeom>
        </p:spPr>
        <p:txBody>
          <a:bodyPr wrap="square" lIns="0" tIns="0" rIns="0" bIns="0" rtlCol="0" anchor="t">
            <a:spAutoFit/>
          </a:bodyPr>
          <a:lstStyle/>
          <a:p>
            <a:pPr>
              <a:lnSpc>
                <a:spcPts val="2379"/>
              </a:lnSpc>
              <a:spcBef>
                <a:spcPct val="0"/>
              </a:spcBef>
            </a:pPr>
            <a:r>
              <a:rPr lang="es-ES" spc="8" noProof="0" err="1">
                <a:solidFill>
                  <a:prstClr val="black"/>
                </a:solidFill>
                <a:latin typeface="Montserrat" pitchFamily="2" charset="0"/>
              </a:rPr>
              <a:t>Responsibility</a:t>
            </a:r>
            <a:endParaRPr lang="es-ES" spc="8" noProof="0">
              <a:solidFill>
                <a:prstClr val="black"/>
              </a:solidFill>
              <a:latin typeface="Montserrat" pitchFamily="2" charset="0"/>
            </a:endParaRPr>
          </a:p>
        </p:txBody>
      </p:sp>
      <p:sp>
        <p:nvSpPr>
          <p:cNvPr id="53" name="TextBox 19">
            <a:extLst>
              <a:ext uri="{FF2B5EF4-FFF2-40B4-BE49-F238E27FC236}">
                <a16:creationId xmlns:a16="http://schemas.microsoft.com/office/drawing/2014/main" id="{1AA8BA45-7928-9D4B-A68E-3635E1489BC9}"/>
              </a:ext>
            </a:extLst>
          </p:cNvPr>
          <p:cNvSpPr txBox="1"/>
          <p:nvPr/>
        </p:nvSpPr>
        <p:spPr>
          <a:xfrm>
            <a:off x="1074496" y="4992088"/>
            <a:ext cx="2679693" cy="283411"/>
          </a:xfrm>
          <a:prstGeom prst="rect">
            <a:avLst/>
          </a:prstGeom>
        </p:spPr>
        <p:txBody>
          <a:bodyPr wrap="square" lIns="0" tIns="0" rIns="0" bIns="0" rtlCol="0" anchor="t">
            <a:spAutoFit/>
          </a:bodyPr>
          <a:lstStyle/>
          <a:p>
            <a:pPr>
              <a:lnSpc>
                <a:spcPts val="2379"/>
              </a:lnSpc>
              <a:spcBef>
                <a:spcPct val="0"/>
              </a:spcBef>
            </a:pPr>
            <a:r>
              <a:rPr lang="es-ES" spc="8" noProof="0">
                <a:solidFill>
                  <a:prstClr val="black"/>
                </a:solidFill>
                <a:latin typeface="Montserrat" pitchFamily="2" charset="0"/>
              </a:rPr>
              <a:t>Time </a:t>
            </a:r>
            <a:r>
              <a:rPr lang="es-ES" spc="8" noProof="0" err="1">
                <a:solidFill>
                  <a:prstClr val="black"/>
                </a:solidFill>
                <a:latin typeface="Montserrat" pitchFamily="2" charset="0"/>
              </a:rPr>
              <a:t>to</a:t>
            </a:r>
            <a:r>
              <a:rPr lang="es-ES" spc="8" noProof="0">
                <a:solidFill>
                  <a:prstClr val="black"/>
                </a:solidFill>
                <a:latin typeface="Montserrat" pitchFamily="2" charset="0"/>
              </a:rPr>
              <a:t> </a:t>
            </a:r>
            <a:r>
              <a:rPr lang="es-ES" spc="8" noProof="0" err="1">
                <a:solidFill>
                  <a:prstClr val="black"/>
                </a:solidFill>
                <a:latin typeface="Montserrat" pitchFamily="2" charset="0"/>
              </a:rPr>
              <a:t>launch</a:t>
            </a:r>
            <a:r>
              <a:rPr lang="es-ES" spc="8" noProof="0">
                <a:solidFill>
                  <a:prstClr val="black"/>
                </a:solidFill>
                <a:latin typeface="Montserrat" pitchFamily="2" charset="0"/>
              </a:rPr>
              <a:t>​</a:t>
            </a:r>
          </a:p>
        </p:txBody>
      </p:sp>
      <p:sp>
        <p:nvSpPr>
          <p:cNvPr id="54" name="TextBox 22">
            <a:extLst>
              <a:ext uri="{FF2B5EF4-FFF2-40B4-BE49-F238E27FC236}">
                <a16:creationId xmlns:a16="http://schemas.microsoft.com/office/drawing/2014/main" id="{A32DEC68-C598-5812-9B18-053FE4F26988}"/>
              </a:ext>
            </a:extLst>
          </p:cNvPr>
          <p:cNvSpPr txBox="1"/>
          <p:nvPr/>
        </p:nvSpPr>
        <p:spPr>
          <a:xfrm>
            <a:off x="1074497" y="5904631"/>
            <a:ext cx="2679693" cy="275204"/>
          </a:xfrm>
          <a:prstGeom prst="rect">
            <a:avLst/>
          </a:prstGeom>
        </p:spPr>
        <p:txBody>
          <a:bodyPr wrap="square" lIns="0" tIns="0" rIns="0" bIns="0" rtlCol="0" anchor="t">
            <a:spAutoFit/>
          </a:bodyPr>
          <a:lstStyle/>
          <a:p>
            <a:pPr>
              <a:lnSpc>
                <a:spcPts val="2379"/>
              </a:lnSpc>
              <a:spcBef>
                <a:spcPct val="0"/>
              </a:spcBef>
            </a:pPr>
            <a:r>
              <a:rPr lang="es-ES" spc="8" noProof="0" err="1">
                <a:solidFill>
                  <a:prstClr val="black"/>
                </a:solidFill>
                <a:latin typeface="Montserrat" pitchFamily="2" charset="0"/>
              </a:rPr>
              <a:t>Costs</a:t>
            </a:r>
            <a:r>
              <a:rPr lang="es-ES" spc="8" noProof="0">
                <a:solidFill>
                  <a:prstClr val="black"/>
                </a:solidFill>
                <a:latin typeface="Montserrat" pitchFamily="2" charset="0"/>
              </a:rPr>
              <a:t>​</a:t>
            </a:r>
          </a:p>
        </p:txBody>
      </p:sp>
      <p:sp>
        <p:nvSpPr>
          <p:cNvPr id="55" name="TextBox 25">
            <a:extLst>
              <a:ext uri="{FF2B5EF4-FFF2-40B4-BE49-F238E27FC236}">
                <a16:creationId xmlns:a16="http://schemas.microsoft.com/office/drawing/2014/main" id="{3173CDA0-A158-A334-D2B7-91AE55AABA9F}"/>
              </a:ext>
            </a:extLst>
          </p:cNvPr>
          <p:cNvSpPr txBox="1"/>
          <p:nvPr/>
        </p:nvSpPr>
        <p:spPr>
          <a:xfrm>
            <a:off x="1074497" y="6872677"/>
            <a:ext cx="1893745" cy="283411"/>
          </a:xfrm>
          <a:prstGeom prst="rect">
            <a:avLst/>
          </a:prstGeom>
        </p:spPr>
        <p:txBody>
          <a:bodyPr wrap="square" lIns="0" tIns="0" rIns="0" bIns="0" rtlCol="0" anchor="t">
            <a:spAutoFit/>
          </a:bodyPr>
          <a:lstStyle/>
          <a:p>
            <a:pPr>
              <a:lnSpc>
                <a:spcPts val="2379"/>
              </a:lnSpc>
              <a:spcBef>
                <a:spcPct val="0"/>
              </a:spcBef>
            </a:pPr>
            <a:r>
              <a:rPr lang="es-ES" spc="8" noProof="0" err="1">
                <a:solidFill>
                  <a:prstClr val="black"/>
                </a:solidFill>
                <a:latin typeface="Montserrat" pitchFamily="2" charset="0"/>
              </a:rPr>
              <a:t>Reusability</a:t>
            </a:r>
            <a:r>
              <a:rPr lang="es-ES" spc="8" noProof="0">
                <a:solidFill>
                  <a:prstClr val="black"/>
                </a:solidFill>
                <a:latin typeface="Montserrat" pitchFamily="2" charset="0"/>
              </a:rPr>
              <a:t>  </a:t>
            </a:r>
          </a:p>
        </p:txBody>
      </p:sp>
      <p:sp>
        <p:nvSpPr>
          <p:cNvPr id="56" name="TextBox 28">
            <a:extLst>
              <a:ext uri="{FF2B5EF4-FFF2-40B4-BE49-F238E27FC236}">
                <a16:creationId xmlns:a16="http://schemas.microsoft.com/office/drawing/2014/main" id="{2752FBA0-EADF-46E6-8E06-BA15BA387393}"/>
              </a:ext>
            </a:extLst>
          </p:cNvPr>
          <p:cNvSpPr txBox="1"/>
          <p:nvPr/>
        </p:nvSpPr>
        <p:spPr>
          <a:xfrm>
            <a:off x="1074496" y="7862840"/>
            <a:ext cx="2679693" cy="275204"/>
          </a:xfrm>
          <a:prstGeom prst="rect">
            <a:avLst/>
          </a:prstGeom>
        </p:spPr>
        <p:txBody>
          <a:bodyPr wrap="square" lIns="0" tIns="0" rIns="0" bIns="0" rtlCol="0" anchor="t">
            <a:spAutoFit/>
          </a:bodyPr>
          <a:lstStyle/>
          <a:p>
            <a:pPr>
              <a:lnSpc>
                <a:spcPts val="2379"/>
              </a:lnSpc>
              <a:spcBef>
                <a:spcPct val="0"/>
              </a:spcBef>
            </a:pPr>
            <a:r>
              <a:rPr lang="es-ES" spc="8" noProof="0" err="1">
                <a:solidFill>
                  <a:prstClr val="black"/>
                </a:solidFill>
                <a:latin typeface="Montserrat" pitchFamily="2" charset="0"/>
              </a:rPr>
              <a:t>Scalability</a:t>
            </a:r>
            <a:r>
              <a:rPr lang="es-ES" spc="8" noProof="0">
                <a:solidFill>
                  <a:prstClr val="black"/>
                </a:solidFill>
                <a:latin typeface="Montserrat" pitchFamily="2" charset="0"/>
              </a:rPr>
              <a:t> </a:t>
            </a:r>
          </a:p>
        </p:txBody>
      </p:sp>
      <p:sp>
        <p:nvSpPr>
          <p:cNvPr id="57" name="TextBox 35">
            <a:extLst>
              <a:ext uri="{FF2B5EF4-FFF2-40B4-BE49-F238E27FC236}">
                <a16:creationId xmlns:a16="http://schemas.microsoft.com/office/drawing/2014/main" id="{E9ED8F63-9089-7C6C-52E7-2AC1CB4CDCB0}"/>
              </a:ext>
            </a:extLst>
          </p:cNvPr>
          <p:cNvSpPr txBox="1"/>
          <p:nvPr/>
        </p:nvSpPr>
        <p:spPr>
          <a:xfrm>
            <a:off x="1074496" y="8682729"/>
            <a:ext cx="2679693" cy="275204"/>
          </a:xfrm>
          <a:prstGeom prst="rect">
            <a:avLst/>
          </a:prstGeom>
        </p:spPr>
        <p:txBody>
          <a:bodyPr wrap="square" lIns="0" tIns="0" rIns="0" bIns="0" rtlCol="0" anchor="t">
            <a:spAutoFit/>
          </a:bodyPr>
          <a:lstStyle/>
          <a:p>
            <a:pPr>
              <a:lnSpc>
                <a:spcPts val="2379"/>
              </a:lnSpc>
              <a:spcBef>
                <a:spcPct val="0"/>
              </a:spcBef>
            </a:pPr>
            <a:r>
              <a:rPr lang="es-ES" spc="8" noProof="0">
                <a:solidFill>
                  <a:prstClr val="black"/>
                </a:solidFill>
                <a:latin typeface="Montserrat" pitchFamily="2" charset="0"/>
              </a:rPr>
              <a:t>Security</a:t>
            </a:r>
          </a:p>
        </p:txBody>
      </p:sp>
      <p:sp>
        <p:nvSpPr>
          <p:cNvPr id="58" name="TextBox 17">
            <a:extLst>
              <a:ext uri="{FF2B5EF4-FFF2-40B4-BE49-F238E27FC236}">
                <a16:creationId xmlns:a16="http://schemas.microsoft.com/office/drawing/2014/main" id="{89ACFD57-CBAE-6226-E75C-3BD2F32E37A9}"/>
              </a:ext>
            </a:extLst>
          </p:cNvPr>
          <p:cNvSpPr txBox="1"/>
          <p:nvPr/>
        </p:nvSpPr>
        <p:spPr>
          <a:xfrm>
            <a:off x="4829145" y="4004763"/>
            <a:ext cx="5822998" cy="236731"/>
          </a:xfrm>
          <a:prstGeom prst="rect">
            <a:avLst/>
          </a:prstGeom>
        </p:spPr>
        <p:txBody>
          <a:bodyPr wrap="square" lIns="0" tIns="0" rIns="0" bIns="0" rtlCol="0" anchor="t">
            <a:spAutoFit/>
          </a:bodyPr>
          <a:lstStyle/>
          <a:p>
            <a:pPr algn="just">
              <a:lnSpc>
                <a:spcPts val="1959"/>
              </a:lnSpc>
              <a:spcBef>
                <a:spcPct val="0"/>
              </a:spcBef>
            </a:pPr>
            <a:r>
              <a:rPr lang="es-ES" sz="1400" spc="6" noProof="0">
                <a:solidFill>
                  <a:srgbClr val="000000"/>
                </a:solidFill>
                <a:latin typeface="Montserrat"/>
                <a:ea typeface="Calibri" panose="020F0502020204030204"/>
                <a:cs typeface="Calibri" panose="020F0502020204030204"/>
              </a:rPr>
              <a:t>IT </a:t>
            </a:r>
            <a:r>
              <a:rPr lang="es-ES" sz="1400" spc="6" noProof="0" err="1">
                <a:solidFill>
                  <a:srgbClr val="000000"/>
                </a:solidFill>
                <a:latin typeface="Montserrat"/>
                <a:ea typeface="Calibri" panose="020F0502020204030204"/>
                <a:cs typeface="Calibri" panose="020F0502020204030204"/>
              </a:rPr>
              <a:t>developers</a:t>
            </a:r>
            <a:r>
              <a:rPr lang="es-ES" sz="1400" spc="6" noProof="0">
                <a:solidFill>
                  <a:srgbClr val="000000"/>
                </a:solidFill>
                <a:latin typeface="Montserrat"/>
                <a:ea typeface="Calibri" panose="020F0502020204030204"/>
                <a:cs typeface="Calibri" panose="020F0502020204030204"/>
              </a:rPr>
              <a:t> and </a:t>
            </a:r>
            <a:r>
              <a:rPr lang="es-ES" sz="1400" spc="6" noProof="0" err="1">
                <a:solidFill>
                  <a:srgbClr val="000000"/>
                </a:solidFill>
                <a:latin typeface="Montserrat"/>
                <a:ea typeface="Calibri" panose="020F0502020204030204"/>
                <a:cs typeface="Calibri" panose="020F0502020204030204"/>
              </a:rPr>
              <a:t>citizen</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developers</a:t>
            </a:r>
            <a:r>
              <a:rPr lang="es-ES" sz="1400" spc="6" noProof="0">
                <a:solidFill>
                  <a:srgbClr val="000000"/>
                </a:solidFill>
                <a:latin typeface="Montserrat"/>
                <a:ea typeface="Calibri" panose="020F0502020204030204"/>
                <a:cs typeface="Calibri" panose="020F0502020204030204"/>
              </a:rPr>
              <a:t>​ </a:t>
            </a:r>
            <a:r>
              <a:rPr lang="es-ES" sz="1400" spc="6" noProof="0">
                <a:solidFill>
                  <a:srgbClr val="000000"/>
                </a:solidFill>
                <a:latin typeface="Montserrat"/>
              </a:rPr>
              <a:t>​</a:t>
            </a:r>
          </a:p>
        </p:txBody>
      </p:sp>
      <p:sp>
        <p:nvSpPr>
          <p:cNvPr id="59" name="TextBox 20">
            <a:extLst>
              <a:ext uri="{FF2B5EF4-FFF2-40B4-BE49-F238E27FC236}">
                <a16:creationId xmlns:a16="http://schemas.microsoft.com/office/drawing/2014/main" id="{68FE948F-0637-CB98-84E0-2FD598B05A7B}"/>
              </a:ext>
            </a:extLst>
          </p:cNvPr>
          <p:cNvSpPr txBox="1"/>
          <p:nvPr/>
        </p:nvSpPr>
        <p:spPr>
          <a:xfrm>
            <a:off x="4748476" y="4793875"/>
            <a:ext cx="5673212" cy="746230"/>
          </a:xfrm>
          <a:prstGeom prst="rect">
            <a:avLst/>
          </a:prstGeom>
        </p:spPr>
        <p:txBody>
          <a:bodyPr wrap="square" lIns="0" tIns="0" rIns="0" bIns="0" rtlCol="0" anchor="t">
            <a:spAutoFit/>
          </a:bodyPr>
          <a:lstStyle/>
          <a:p>
            <a:pPr algn="just">
              <a:lnSpc>
                <a:spcPts val="1959"/>
              </a:lnSpc>
              <a:spcBef>
                <a:spcPct val="0"/>
              </a:spcBef>
            </a:pPr>
            <a:r>
              <a:rPr lang="es-ES" sz="1400" spc="6" noProof="0">
                <a:solidFill>
                  <a:srgbClr val="000000"/>
                </a:solidFill>
                <a:latin typeface="Montserrat"/>
                <a:ea typeface="Calibri" panose="020F0502020204030204"/>
                <a:cs typeface="Calibri" panose="020F0502020204030204"/>
              </a:rPr>
              <a:t>1 </a:t>
            </a:r>
            <a:r>
              <a:rPr lang="es-ES" sz="1400" spc="6" noProof="0" err="1">
                <a:solidFill>
                  <a:srgbClr val="000000"/>
                </a:solidFill>
                <a:latin typeface="Montserrat"/>
                <a:ea typeface="Calibri" panose="020F0502020204030204"/>
                <a:cs typeface="Calibri" panose="020F0502020204030204"/>
              </a:rPr>
              <a:t>to</a:t>
            </a:r>
            <a:r>
              <a:rPr lang="es-ES" sz="1400" spc="6" noProof="0">
                <a:solidFill>
                  <a:srgbClr val="000000"/>
                </a:solidFill>
                <a:latin typeface="Montserrat"/>
                <a:ea typeface="Calibri" panose="020F0502020204030204"/>
                <a:cs typeface="Calibri" panose="020F0502020204030204"/>
              </a:rPr>
              <a:t> 4 </a:t>
            </a:r>
            <a:r>
              <a:rPr lang="es-ES" sz="1400" spc="6" noProof="0" err="1">
                <a:solidFill>
                  <a:srgbClr val="000000"/>
                </a:solidFill>
                <a:latin typeface="Montserrat"/>
                <a:ea typeface="Calibri" panose="020F0502020204030204"/>
                <a:cs typeface="Calibri" panose="020F0502020204030204"/>
              </a:rPr>
              <a:t>weeks</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thanks</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to</a:t>
            </a:r>
            <a:r>
              <a:rPr lang="es-ES" sz="1400" spc="6" noProof="0">
                <a:solidFill>
                  <a:srgbClr val="000000"/>
                </a:solidFill>
                <a:latin typeface="Montserrat"/>
                <a:ea typeface="Calibri" panose="020F0502020204030204"/>
                <a:cs typeface="Calibri" panose="020F0502020204030204"/>
              </a:rPr>
              <a:t> drag and </a:t>
            </a:r>
            <a:r>
              <a:rPr lang="es-ES" sz="1400" spc="6" noProof="0" err="1">
                <a:solidFill>
                  <a:srgbClr val="000000"/>
                </a:solidFill>
                <a:latin typeface="Montserrat"/>
                <a:ea typeface="Calibri" panose="020F0502020204030204"/>
                <a:cs typeface="Calibri" panose="020F0502020204030204"/>
              </a:rPr>
              <a:t>drop</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editors</a:t>
            </a:r>
            <a:r>
              <a:rPr lang="es-ES" sz="1400" spc="6" noProof="0">
                <a:solidFill>
                  <a:srgbClr val="000000"/>
                </a:solidFill>
                <a:latin typeface="Montserrat"/>
                <a:ea typeface="Calibri" panose="020F0502020204030204"/>
                <a:cs typeface="Calibri" panose="020F0502020204030204"/>
              </a:rPr>
              <a:t>, Ci/CD (</a:t>
            </a:r>
            <a:r>
              <a:rPr lang="es-ES" sz="1400" spc="6" noProof="0" err="1">
                <a:solidFill>
                  <a:srgbClr val="000000"/>
                </a:solidFill>
                <a:latin typeface="Montserrat"/>
                <a:ea typeface="Calibri" panose="020F0502020204030204"/>
                <a:cs typeface="Calibri" panose="020F0502020204030204"/>
              </a:rPr>
              <a:t>continuous</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integration</a:t>
            </a:r>
            <a:r>
              <a:rPr lang="es-ES" sz="1400" spc="6" noProof="0">
                <a:solidFill>
                  <a:srgbClr val="000000"/>
                </a:solidFill>
                <a:latin typeface="Montserrat"/>
                <a:ea typeface="Calibri" panose="020F0502020204030204"/>
                <a:cs typeface="Calibri" panose="020F0502020204030204"/>
              </a:rPr>
              <a:t>/</a:t>
            </a:r>
            <a:r>
              <a:rPr lang="es-ES" sz="1400" spc="6" noProof="0" err="1">
                <a:solidFill>
                  <a:srgbClr val="000000"/>
                </a:solidFill>
                <a:latin typeface="Montserrat"/>
                <a:ea typeface="Calibri" panose="020F0502020204030204"/>
                <a:cs typeface="Calibri" panose="020F0502020204030204"/>
              </a:rPr>
              <a:t>continuous</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delivery</a:t>
            </a:r>
            <a:r>
              <a:rPr lang="es-ES" sz="1400" spc="6" noProof="0">
                <a:solidFill>
                  <a:srgbClr val="000000"/>
                </a:solidFill>
                <a:latin typeface="Montserrat"/>
                <a:ea typeface="Calibri" panose="020F0502020204030204"/>
                <a:cs typeface="Calibri" panose="020F0502020204030204"/>
              </a:rPr>
              <a:t>), Cloud Native</a:t>
            </a:r>
            <a:endParaRPr lang="es-ES" sz="1400" noProof="0">
              <a:solidFill>
                <a:prstClr val="black"/>
              </a:solidFill>
              <a:latin typeface="Montserrat"/>
            </a:endParaRPr>
          </a:p>
          <a:p>
            <a:pPr algn="just">
              <a:lnSpc>
                <a:spcPts val="1959"/>
              </a:lnSpc>
              <a:spcBef>
                <a:spcPct val="0"/>
              </a:spcBef>
            </a:pPr>
            <a:endParaRPr lang="es-ES" sz="1400" spc="6" noProof="0">
              <a:solidFill>
                <a:srgbClr val="000000"/>
              </a:solidFill>
              <a:latin typeface="Montserrat"/>
            </a:endParaRPr>
          </a:p>
        </p:txBody>
      </p:sp>
      <p:sp>
        <p:nvSpPr>
          <p:cNvPr id="60" name="TextBox 23">
            <a:extLst>
              <a:ext uri="{FF2B5EF4-FFF2-40B4-BE49-F238E27FC236}">
                <a16:creationId xmlns:a16="http://schemas.microsoft.com/office/drawing/2014/main" id="{256B72FD-88D7-9D94-7787-4E131D0359D0}"/>
              </a:ext>
            </a:extLst>
          </p:cNvPr>
          <p:cNvSpPr txBox="1"/>
          <p:nvPr/>
        </p:nvSpPr>
        <p:spPr>
          <a:xfrm>
            <a:off x="4829144" y="5705403"/>
            <a:ext cx="5777067" cy="752065"/>
          </a:xfrm>
          <a:prstGeom prst="rect">
            <a:avLst/>
          </a:prstGeom>
        </p:spPr>
        <p:txBody>
          <a:bodyPr wrap="square" lIns="0" tIns="0" rIns="0" bIns="0" rtlCol="0" anchor="t">
            <a:spAutoFit/>
          </a:bodyPr>
          <a:lstStyle/>
          <a:p>
            <a:pPr>
              <a:lnSpc>
                <a:spcPts val="1959"/>
              </a:lnSpc>
              <a:spcBef>
                <a:spcPct val="0"/>
              </a:spcBef>
            </a:pPr>
            <a:r>
              <a:rPr lang="es-ES" sz="1400" spc="6" noProof="0" err="1">
                <a:solidFill>
                  <a:srgbClr val="000000"/>
                </a:solidFill>
                <a:latin typeface="Montserrat"/>
                <a:ea typeface="Calibri" panose="020F0502020204030204"/>
                <a:cs typeface="Calibri" panose="020F0502020204030204"/>
              </a:rPr>
              <a:t>Most</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low-code</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platforms</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work</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on</a:t>
            </a:r>
            <a:r>
              <a:rPr lang="es-ES" sz="1400" spc="6" noProof="0">
                <a:solidFill>
                  <a:srgbClr val="000000"/>
                </a:solidFill>
                <a:latin typeface="Montserrat"/>
                <a:ea typeface="Calibri" panose="020F0502020204030204"/>
                <a:cs typeface="Calibri" panose="020F0502020204030204"/>
              </a:rPr>
              <a:t> a </a:t>
            </a:r>
            <a:r>
              <a:rPr lang="es-ES" sz="1400" spc="6" noProof="0" err="1">
                <a:solidFill>
                  <a:srgbClr val="000000"/>
                </a:solidFill>
                <a:latin typeface="Montserrat"/>
                <a:ea typeface="Calibri" panose="020F0502020204030204"/>
                <a:cs typeface="Calibri" panose="020F0502020204030204"/>
              </a:rPr>
              <a:t>subscription</a:t>
            </a:r>
            <a:r>
              <a:rPr lang="es-ES" sz="1400" spc="6" noProof="0">
                <a:solidFill>
                  <a:srgbClr val="000000"/>
                </a:solidFill>
                <a:latin typeface="Montserrat"/>
                <a:ea typeface="Calibri" panose="020F0502020204030204"/>
                <a:cs typeface="Calibri" panose="020F0502020204030204"/>
              </a:rPr>
              <a:t> basis, </a:t>
            </a:r>
            <a:r>
              <a:rPr lang="es-ES" sz="1400" spc="6" noProof="0" err="1">
                <a:solidFill>
                  <a:srgbClr val="000000"/>
                </a:solidFill>
                <a:latin typeface="Montserrat"/>
                <a:ea typeface="Calibri" panose="020F0502020204030204"/>
                <a:cs typeface="Calibri" panose="020F0502020204030204"/>
              </a:rPr>
              <a:t>allowing</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you</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to</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pay</a:t>
            </a:r>
            <a:r>
              <a:rPr lang="es-ES" sz="1400" spc="6" noProof="0">
                <a:solidFill>
                  <a:srgbClr val="000000"/>
                </a:solidFill>
                <a:latin typeface="Montserrat"/>
                <a:ea typeface="Calibri" panose="020F0502020204030204"/>
                <a:cs typeface="Calibri" panose="020F0502020204030204"/>
              </a:rPr>
              <a:t> as </a:t>
            </a:r>
            <a:r>
              <a:rPr lang="es-ES" sz="1400" spc="6" noProof="0" err="1">
                <a:solidFill>
                  <a:srgbClr val="000000"/>
                </a:solidFill>
                <a:latin typeface="Montserrat"/>
                <a:ea typeface="Calibri" panose="020F0502020204030204"/>
                <a:cs typeface="Calibri" panose="020F0502020204030204"/>
              </a:rPr>
              <a:t>your</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business</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grows</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It</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also</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makes</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reduction</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easier</a:t>
            </a:r>
            <a:r>
              <a:rPr lang="es-ES" sz="1400" spc="6" noProof="0">
                <a:solidFill>
                  <a:srgbClr val="000000"/>
                </a:solidFill>
                <a:latin typeface="Montserrat"/>
                <a:ea typeface="Calibri" panose="020F0502020204030204"/>
                <a:cs typeface="Calibri" panose="020F0502020204030204"/>
              </a:rPr>
              <a:t>.</a:t>
            </a:r>
            <a:endParaRPr lang="es-ES" sz="1400" noProof="0">
              <a:solidFill>
                <a:prstClr val="black"/>
              </a:solidFill>
              <a:latin typeface="Calibri" panose="020F0502020204030204"/>
            </a:endParaRPr>
          </a:p>
        </p:txBody>
      </p:sp>
      <p:sp>
        <p:nvSpPr>
          <p:cNvPr id="61" name="TextBox 26">
            <a:extLst>
              <a:ext uri="{FF2B5EF4-FFF2-40B4-BE49-F238E27FC236}">
                <a16:creationId xmlns:a16="http://schemas.microsoft.com/office/drawing/2014/main" id="{DBC5CF84-CC74-86BC-FB1F-C7AC38625D4F}"/>
              </a:ext>
            </a:extLst>
          </p:cNvPr>
          <p:cNvSpPr txBox="1"/>
          <p:nvPr/>
        </p:nvSpPr>
        <p:spPr>
          <a:xfrm>
            <a:off x="4829144" y="6652846"/>
            <a:ext cx="5223633" cy="1006173"/>
          </a:xfrm>
          <a:prstGeom prst="rect">
            <a:avLst/>
          </a:prstGeom>
        </p:spPr>
        <p:txBody>
          <a:bodyPr wrap="square" lIns="0" tIns="0" rIns="0" bIns="0" rtlCol="0" anchor="t">
            <a:spAutoFit/>
          </a:bodyPr>
          <a:lstStyle/>
          <a:p>
            <a:pPr algn="just">
              <a:lnSpc>
                <a:spcPts val="1959"/>
              </a:lnSpc>
              <a:spcBef>
                <a:spcPct val="0"/>
              </a:spcBef>
            </a:pPr>
            <a:r>
              <a:rPr lang="es-ES" sz="1400" spc="6" noProof="0" err="1">
                <a:solidFill>
                  <a:srgbClr val="000000"/>
                </a:solidFill>
                <a:latin typeface="Montserrat"/>
              </a:rPr>
              <a:t>You</a:t>
            </a:r>
            <a:r>
              <a:rPr lang="es-ES" sz="1400" spc="6" noProof="0">
                <a:solidFill>
                  <a:srgbClr val="000000"/>
                </a:solidFill>
                <a:latin typeface="Montserrat"/>
              </a:rPr>
              <a:t> can </a:t>
            </a:r>
            <a:r>
              <a:rPr lang="es-ES" sz="1400" spc="6" noProof="0" err="1">
                <a:solidFill>
                  <a:srgbClr val="000000"/>
                </a:solidFill>
                <a:latin typeface="Montserrat"/>
              </a:rPr>
              <a:t>reuse</a:t>
            </a:r>
            <a:r>
              <a:rPr lang="es-ES" sz="1400" spc="6" noProof="0">
                <a:solidFill>
                  <a:srgbClr val="000000"/>
                </a:solidFill>
                <a:latin typeface="Montserrat"/>
              </a:rPr>
              <a:t> </a:t>
            </a:r>
            <a:r>
              <a:rPr lang="es-ES" sz="1400" spc="6" noProof="0" err="1">
                <a:solidFill>
                  <a:srgbClr val="000000"/>
                </a:solidFill>
                <a:latin typeface="Montserrat"/>
              </a:rPr>
              <a:t>different</a:t>
            </a:r>
            <a:r>
              <a:rPr lang="es-ES" sz="1400" spc="6" noProof="0">
                <a:solidFill>
                  <a:srgbClr val="000000"/>
                </a:solidFill>
                <a:latin typeface="Montserrat"/>
              </a:rPr>
              <a:t> </a:t>
            </a:r>
            <a:r>
              <a:rPr lang="es-ES" sz="1400" spc="6" noProof="0" err="1">
                <a:solidFill>
                  <a:srgbClr val="000000"/>
                </a:solidFill>
                <a:latin typeface="Montserrat"/>
              </a:rPr>
              <a:t>resources</a:t>
            </a:r>
            <a:r>
              <a:rPr lang="es-ES" sz="1400" spc="6" noProof="0">
                <a:solidFill>
                  <a:srgbClr val="000000"/>
                </a:solidFill>
                <a:latin typeface="Montserrat"/>
              </a:rPr>
              <a:t> and </a:t>
            </a:r>
            <a:r>
              <a:rPr lang="es-ES" sz="1400" spc="6" noProof="0" err="1">
                <a:solidFill>
                  <a:srgbClr val="000000"/>
                </a:solidFill>
                <a:latin typeface="Montserrat"/>
              </a:rPr>
              <a:t>code</a:t>
            </a:r>
            <a:r>
              <a:rPr lang="es-ES" sz="1400" spc="6" noProof="0">
                <a:solidFill>
                  <a:srgbClr val="000000"/>
                </a:solidFill>
                <a:latin typeface="Montserrat"/>
              </a:rPr>
              <a:t> blocks from </a:t>
            </a:r>
            <a:r>
              <a:rPr lang="es-ES" sz="1400" spc="6" noProof="0" err="1">
                <a:solidFill>
                  <a:srgbClr val="000000"/>
                </a:solidFill>
                <a:latin typeface="Montserrat"/>
              </a:rPr>
              <a:t>one</a:t>
            </a:r>
            <a:r>
              <a:rPr lang="es-ES" sz="1400" spc="6" noProof="0">
                <a:solidFill>
                  <a:srgbClr val="000000"/>
                </a:solidFill>
                <a:latin typeface="Montserrat"/>
              </a:rPr>
              <a:t> </a:t>
            </a:r>
            <a:r>
              <a:rPr lang="es-ES" sz="1400" spc="6" noProof="0" err="1">
                <a:solidFill>
                  <a:srgbClr val="000000"/>
                </a:solidFill>
                <a:latin typeface="Montserrat"/>
              </a:rPr>
              <a:t>low-code</a:t>
            </a:r>
            <a:r>
              <a:rPr lang="es-ES" sz="1400" spc="6" noProof="0">
                <a:solidFill>
                  <a:srgbClr val="000000"/>
                </a:solidFill>
                <a:latin typeface="Montserrat"/>
              </a:rPr>
              <a:t> </a:t>
            </a:r>
            <a:r>
              <a:rPr lang="es-ES" sz="1400" spc="6" noProof="0" err="1">
                <a:solidFill>
                  <a:srgbClr val="000000"/>
                </a:solidFill>
                <a:latin typeface="Montserrat"/>
              </a:rPr>
              <a:t>application</a:t>
            </a:r>
            <a:r>
              <a:rPr lang="es-ES" sz="1400" spc="6" noProof="0">
                <a:solidFill>
                  <a:srgbClr val="000000"/>
                </a:solidFill>
                <a:latin typeface="Montserrat"/>
              </a:rPr>
              <a:t> </a:t>
            </a:r>
            <a:r>
              <a:rPr lang="es-ES" sz="1400" spc="6" noProof="0" err="1">
                <a:solidFill>
                  <a:srgbClr val="000000"/>
                </a:solidFill>
                <a:latin typeface="Montserrat"/>
              </a:rPr>
              <a:t>to</a:t>
            </a:r>
            <a:r>
              <a:rPr lang="es-ES" sz="1400" spc="6" noProof="0">
                <a:solidFill>
                  <a:srgbClr val="000000"/>
                </a:solidFill>
                <a:latin typeface="Montserrat"/>
              </a:rPr>
              <a:t> </a:t>
            </a:r>
            <a:r>
              <a:rPr lang="es-ES" sz="1400" spc="6" noProof="0" err="1">
                <a:solidFill>
                  <a:srgbClr val="000000"/>
                </a:solidFill>
                <a:latin typeface="Montserrat"/>
              </a:rPr>
              <a:t>another</a:t>
            </a:r>
            <a:r>
              <a:rPr lang="es-ES" sz="1400" spc="6" noProof="0">
                <a:solidFill>
                  <a:srgbClr val="000000"/>
                </a:solidFill>
                <a:latin typeface="Montserrat"/>
              </a:rPr>
              <a:t> </a:t>
            </a:r>
            <a:r>
              <a:rPr lang="es-ES" sz="1400" spc="6" noProof="0" err="1">
                <a:solidFill>
                  <a:srgbClr val="000000"/>
                </a:solidFill>
                <a:latin typeface="Montserrat"/>
              </a:rPr>
              <a:t>for</a:t>
            </a:r>
            <a:r>
              <a:rPr lang="es-ES" sz="1400" spc="6" noProof="0">
                <a:solidFill>
                  <a:srgbClr val="000000"/>
                </a:solidFill>
                <a:latin typeface="Montserrat"/>
              </a:rPr>
              <a:t> </a:t>
            </a:r>
            <a:r>
              <a:rPr lang="es-ES" sz="1400" spc="6" noProof="0" err="1">
                <a:solidFill>
                  <a:srgbClr val="000000"/>
                </a:solidFill>
                <a:latin typeface="Montserrat"/>
              </a:rPr>
              <a:t>rapid</a:t>
            </a:r>
            <a:r>
              <a:rPr lang="es-ES" sz="1400" spc="6" noProof="0">
                <a:solidFill>
                  <a:srgbClr val="000000"/>
                </a:solidFill>
                <a:latin typeface="Montserrat"/>
              </a:rPr>
              <a:t> </a:t>
            </a:r>
            <a:r>
              <a:rPr lang="es-ES" sz="1400" spc="6" noProof="0" err="1">
                <a:solidFill>
                  <a:srgbClr val="000000"/>
                </a:solidFill>
                <a:latin typeface="Montserrat"/>
              </a:rPr>
              <a:t>development</a:t>
            </a:r>
            <a:r>
              <a:rPr lang="es-ES" sz="1400" spc="6" noProof="0">
                <a:solidFill>
                  <a:srgbClr val="000000"/>
                </a:solidFill>
                <a:latin typeface="Montserrat"/>
              </a:rPr>
              <a:t>.</a:t>
            </a:r>
            <a:endParaRPr lang="es-ES" sz="1400" noProof="0">
              <a:solidFill>
                <a:prstClr val="black"/>
              </a:solidFill>
              <a:latin typeface="Calibri" panose="020F0502020204030204"/>
            </a:endParaRPr>
          </a:p>
          <a:p>
            <a:pPr algn="just">
              <a:lnSpc>
                <a:spcPts val="1959"/>
              </a:lnSpc>
              <a:spcBef>
                <a:spcPct val="0"/>
              </a:spcBef>
            </a:pPr>
            <a:r>
              <a:rPr lang="es-ES" sz="1400" spc="6" noProof="0">
                <a:solidFill>
                  <a:srgbClr val="000000"/>
                </a:solidFill>
                <a:latin typeface="Montserrat"/>
              </a:rPr>
              <a:t>. </a:t>
            </a:r>
          </a:p>
        </p:txBody>
      </p:sp>
      <p:sp>
        <p:nvSpPr>
          <p:cNvPr id="62" name="TextBox 29">
            <a:extLst>
              <a:ext uri="{FF2B5EF4-FFF2-40B4-BE49-F238E27FC236}">
                <a16:creationId xmlns:a16="http://schemas.microsoft.com/office/drawing/2014/main" id="{9277F366-2711-A09D-908B-97A452DBD93B}"/>
              </a:ext>
            </a:extLst>
          </p:cNvPr>
          <p:cNvSpPr txBox="1"/>
          <p:nvPr/>
        </p:nvSpPr>
        <p:spPr>
          <a:xfrm>
            <a:off x="4829145" y="7892326"/>
            <a:ext cx="6362010" cy="489749"/>
          </a:xfrm>
          <a:prstGeom prst="rect">
            <a:avLst/>
          </a:prstGeom>
        </p:spPr>
        <p:txBody>
          <a:bodyPr wrap="square" lIns="0" tIns="0" rIns="0" bIns="0" rtlCol="0" anchor="t">
            <a:spAutoFit/>
          </a:bodyPr>
          <a:lstStyle/>
          <a:p>
            <a:pPr algn="just">
              <a:lnSpc>
                <a:spcPts val="1959"/>
              </a:lnSpc>
              <a:spcBef>
                <a:spcPct val="0"/>
              </a:spcBef>
            </a:pPr>
            <a:r>
              <a:rPr lang="es-ES" sz="1400" spc="6" noProof="0" err="1">
                <a:solidFill>
                  <a:srgbClr val="000000"/>
                </a:solidFill>
                <a:latin typeface="Montserrat"/>
              </a:rPr>
              <a:t>Highly</a:t>
            </a:r>
            <a:r>
              <a:rPr lang="es-ES" sz="1400" spc="6" noProof="0">
                <a:solidFill>
                  <a:srgbClr val="000000"/>
                </a:solidFill>
                <a:latin typeface="Montserrat"/>
              </a:rPr>
              <a:t> </a:t>
            </a:r>
            <a:r>
              <a:rPr lang="es-ES" sz="1400" spc="6" noProof="0" err="1">
                <a:solidFill>
                  <a:srgbClr val="000000"/>
                </a:solidFill>
                <a:latin typeface="Montserrat"/>
              </a:rPr>
              <a:t>scalable</a:t>
            </a:r>
            <a:r>
              <a:rPr lang="es-ES" sz="1400" spc="6" noProof="0">
                <a:solidFill>
                  <a:srgbClr val="000000"/>
                </a:solidFill>
                <a:latin typeface="Montserrat"/>
              </a:rPr>
              <a:t> </a:t>
            </a:r>
            <a:r>
              <a:rPr lang="es-ES" sz="1400" spc="6" noProof="0" err="1">
                <a:solidFill>
                  <a:srgbClr val="000000"/>
                </a:solidFill>
                <a:latin typeface="Montserrat"/>
              </a:rPr>
              <a:t>depending</a:t>
            </a:r>
            <a:r>
              <a:rPr lang="es-ES" sz="1400" spc="6" noProof="0">
                <a:solidFill>
                  <a:srgbClr val="000000"/>
                </a:solidFill>
                <a:latin typeface="Montserrat"/>
              </a:rPr>
              <a:t> </a:t>
            </a:r>
            <a:r>
              <a:rPr lang="es-ES" sz="1400" spc="6" noProof="0" err="1">
                <a:solidFill>
                  <a:srgbClr val="000000"/>
                </a:solidFill>
                <a:latin typeface="Montserrat"/>
              </a:rPr>
              <a:t>on</a:t>
            </a:r>
            <a:r>
              <a:rPr lang="es-ES" sz="1400" spc="6" noProof="0">
                <a:solidFill>
                  <a:srgbClr val="000000"/>
                </a:solidFill>
                <a:latin typeface="Montserrat"/>
              </a:rPr>
              <a:t> </a:t>
            </a:r>
            <a:r>
              <a:rPr lang="es-ES" sz="1400" spc="6" noProof="0" err="1">
                <a:solidFill>
                  <a:srgbClr val="000000"/>
                </a:solidFill>
                <a:latin typeface="Montserrat"/>
              </a:rPr>
              <a:t>demand</a:t>
            </a:r>
            <a:r>
              <a:rPr lang="es-ES" sz="1400" spc="6" noProof="0">
                <a:solidFill>
                  <a:srgbClr val="000000"/>
                </a:solidFill>
                <a:latin typeface="Montserrat"/>
              </a:rPr>
              <a:t> </a:t>
            </a:r>
          </a:p>
          <a:p>
            <a:pPr algn="just">
              <a:lnSpc>
                <a:spcPts val="1959"/>
              </a:lnSpc>
              <a:spcBef>
                <a:spcPct val="0"/>
              </a:spcBef>
            </a:pPr>
            <a:r>
              <a:rPr lang="es-ES" sz="1400" spc="6" noProof="0">
                <a:solidFill>
                  <a:srgbClr val="000000"/>
                </a:solidFill>
                <a:latin typeface="Montserrat"/>
              </a:rPr>
              <a:t>​</a:t>
            </a:r>
          </a:p>
        </p:txBody>
      </p:sp>
      <p:sp>
        <p:nvSpPr>
          <p:cNvPr id="63" name="TextBox 36">
            <a:extLst>
              <a:ext uri="{FF2B5EF4-FFF2-40B4-BE49-F238E27FC236}">
                <a16:creationId xmlns:a16="http://schemas.microsoft.com/office/drawing/2014/main" id="{18C289C0-AC45-C5BC-FD93-2F3F398F13CE}"/>
              </a:ext>
            </a:extLst>
          </p:cNvPr>
          <p:cNvSpPr txBox="1"/>
          <p:nvPr/>
        </p:nvSpPr>
        <p:spPr>
          <a:xfrm>
            <a:off x="4829145" y="8719268"/>
            <a:ext cx="5903263" cy="489749"/>
          </a:xfrm>
          <a:prstGeom prst="rect">
            <a:avLst/>
          </a:prstGeom>
        </p:spPr>
        <p:txBody>
          <a:bodyPr wrap="square" lIns="0" tIns="0" rIns="0" bIns="0" rtlCol="0" anchor="t">
            <a:spAutoFit/>
          </a:bodyPr>
          <a:lstStyle/>
          <a:p>
            <a:pPr algn="just">
              <a:lnSpc>
                <a:spcPts val="1959"/>
              </a:lnSpc>
              <a:spcBef>
                <a:spcPct val="0"/>
              </a:spcBef>
            </a:pPr>
            <a:r>
              <a:rPr lang="es-ES" sz="1400" spc="6" noProof="0" err="1">
                <a:solidFill>
                  <a:srgbClr val="000000"/>
                </a:solidFill>
                <a:latin typeface="Montserrat"/>
                <a:ea typeface="Calibri" panose="020F0502020204030204"/>
                <a:cs typeface="Calibri" panose="020F0502020204030204"/>
              </a:rPr>
              <a:t>Dedicated</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support</a:t>
            </a:r>
            <a:r>
              <a:rPr lang="es-ES" sz="1400" spc="6" noProof="0">
                <a:solidFill>
                  <a:srgbClr val="000000"/>
                </a:solidFill>
                <a:latin typeface="Montserrat"/>
                <a:ea typeface="Calibri" panose="020F0502020204030204"/>
                <a:cs typeface="Calibri" panose="020F0502020204030204"/>
              </a:rPr>
              <a:t> team </a:t>
            </a:r>
            <a:r>
              <a:rPr lang="es-ES" sz="1400" spc="6" noProof="0" err="1">
                <a:solidFill>
                  <a:srgbClr val="000000"/>
                </a:solidFill>
                <a:latin typeface="Montserrat"/>
                <a:ea typeface="Calibri" panose="020F0502020204030204"/>
                <a:cs typeface="Calibri" panose="020F0502020204030204"/>
              </a:rPr>
              <a:t>provided</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by</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the</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low-code</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platform</a:t>
            </a:r>
            <a:r>
              <a:rPr lang="es-ES" sz="1400" spc="6" noProof="0">
                <a:solidFill>
                  <a:srgbClr val="000000"/>
                </a:solidFill>
                <a:latin typeface="Montserrat"/>
                <a:ea typeface="Calibri" panose="020F0502020204030204"/>
                <a:cs typeface="Calibri" panose="020F0502020204030204"/>
              </a:rPr>
              <a:t>.  </a:t>
            </a:r>
            <a:endParaRPr lang="es-ES" sz="1400" noProof="0">
              <a:solidFill>
                <a:prstClr val="black"/>
              </a:solidFill>
              <a:latin typeface="Calibri" panose="020F0502020204030204"/>
            </a:endParaRPr>
          </a:p>
          <a:p>
            <a:pPr algn="just">
              <a:lnSpc>
                <a:spcPts val="1959"/>
              </a:lnSpc>
              <a:spcBef>
                <a:spcPct val="0"/>
              </a:spcBef>
            </a:pPr>
            <a:r>
              <a:rPr lang="es-ES" sz="1400" spc="6" noProof="0">
                <a:solidFill>
                  <a:srgbClr val="000000"/>
                </a:solidFill>
                <a:latin typeface="Montserrat"/>
              </a:rPr>
              <a:t>.​</a:t>
            </a:r>
          </a:p>
        </p:txBody>
      </p:sp>
      <p:sp>
        <p:nvSpPr>
          <p:cNvPr id="64" name="TextBox 18">
            <a:extLst>
              <a:ext uri="{FF2B5EF4-FFF2-40B4-BE49-F238E27FC236}">
                <a16:creationId xmlns:a16="http://schemas.microsoft.com/office/drawing/2014/main" id="{93D8BAF4-168A-2183-12E5-C4D7EF7845B6}"/>
              </a:ext>
            </a:extLst>
          </p:cNvPr>
          <p:cNvSpPr txBox="1"/>
          <p:nvPr/>
        </p:nvSpPr>
        <p:spPr>
          <a:xfrm>
            <a:off x="11528149" y="4028930"/>
            <a:ext cx="5076750" cy="236731"/>
          </a:xfrm>
          <a:prstGeom prst="rect">
            <a:avLst/>
          </a:prstGeom>
        </p:spPr>
        <p:txBody>
          <a:bodyPr wrap="square" lIns="0" tIns="0" rIns="0" bIns="0" rtlCol="0" anchor="t">
            <a:spAutoFit/>
          </a:bodyPr>
          <a:lstStyle/>
          <a:p>
            <a:pPr algn="just">
              <a:lnSpc>
                <a:spcPts val="1959"/>
              </a:lnSpc>
              <a:spcBef>
                <a:spcPct val="0"/>
              </a:spcBef>
            </a:pPr>
            <a:r>
              <a:rPr lang="es-ES" sz="1400" spc="6" noProof="0" err="1">
                <a:solidFill>
                  <a:srgbClr val="000000"/>
                </a:solidFill>
                <a:latin typeface="Montserrat"/>
              </a:rPr>
              <a:t>Specialized</a:t>
            </a:r>
            <a:r>
              <a:rPr lang="es-ES" sz="1400" spc="6" noProof="0">
                <a:solidFill>
                  <a:srgbClr val="000000"/>
                </a:solidFill>
                <a:latin typeface="Montserrat"/>
              </a:rPr>
              <a:t> IT </a:t>
            </a:r>
            <a:r>
              <a:rPr lang="es-ES" sz="1400" spc="6" noProof="0" err="1">
                <a:solidFill>
                  <a:srgbClr val="000000"/>
                </a:solidFill>
                <a:latin typeface="Montserrat"/>
              </a:rPr>
              <a:t>developers</a:t>
            </a:r>
            <a:endParaRPr lang="es-ES" sz="1400" spc="6" noProof="0">
              <a:solidFill>
                <a:srgbClr val="000000"/>
              </a:solidFill>
              <a:latin typeface="Montserrat"/>
            </a:endParaRPr>
          </a:p>
        </p:txBody>
      </p:sp>
      <p:sp>
        <p:nvSpPr>
          <p:cNvPr id="65" name="TextBox 21">
            <a:extLst>
              <a:ext uri="{FF2B5EF4-FFF2-40B4-BE49-F238E27FC236}">
                <a16:creationId xmlns:a16="http://schemas.microsoft.com/office/drawing/2014/main" id="{4C60DB5F-2359-E24D-75DF-E18E17CCF79E}"/>
              </a:ext>
            </a:extLst>
          </p:cNvPr>
          <p:cNvSpPr txBox="1"/>
          <p:nvPr/>
        </p:nvSpPr>
        <p:spPr>
          <a:xfrm>
            <a:off x="11528149" y="4863119"/>
            <a:ext cx="5076750" cy="489749"/>
          </a:xfrm>
          <a:prstGeom prst="rect">
            <a:avLst/>
          </a:prstGeom>
        </p:spPr>
        <p:txBody>
          <a:bodyPr wrap="square" lIns="0" tIns="0" rIns="0" bIns="0" rtlCol="0" anchor="t">
            <a:spAutoFit/>
          </a:bodyPr>
          <a:lstStyle/>
          <a:p>
            <a:pPr>
              <a:lnSpc>
                <a:spcPts val="1959"/>
              </a:lnSpc>
              <a:spcBef>
                <a:spcPct val="0"/>
              </a:spcBef>
            </a:pPr>
            <a:r>
              <a:rPr lang="es-ES" sz="1400" spc="6" noProof="0">
                <a:solidFill>
                  <a:srgbClr val="000000"/>
                </a:solidFill>
                <a:latin typeface="Montserrat"/>
                <a:ea typeface="Calibri" panose="020F0502020204030204"/>
                <a:cs typeface="Calibri" panose="020F0502020204030204"/>
              </a:rPr>
              <a:t>4 </a:t>
            </a:r>
            <a:r>
              <a:rPr lang="es-ES" sz="1400" spc="6" noProof="0" err="1">
                <a:solidFill>
                  <a:srgbClr val="000000"/>
                </a:solidFill>
                <a:latin typeface="Montserrat"/>
                <a:ea typeface="Calibri" panose="020F0502020204030204"/>
                <a:cs typeface="Calibri" panose="020F0502020204030204"/>
              </a:rPr>
              <a:t>to</a:t>
            </a:r>
            <a:r>
              <a:rPr lang="es-ES" sz="1400" spc="6" noProof="0">
                <a:solidFill>
                  <a:srgbClr val="000000"/>
                </a:solidFill>
                <a:latin typeface="Montserrat"/>
                <a:ea typeface="Calibri" panose="020F0502020204030204"/>
                <a:cs typeface="Calibri" panose="020F0502020204030204"/>
              </a:rPr>
              <a:t> 6 </a:t>
            </a:r>
            <a:r>
              <a:rPr lang="es-ES" sz="1400" spc="6" noProof="0" err="1">
                <a:solidFill>
                  <a:srgbClr val="000000"/>
                </a:solidFill>
                <a:latin typeface="Montserrat"/>
                <a:ea typeface="Calibri" panose="020F0502020204030204"/>
                <a:cs typeface="Calibri" panose="020F0502020204030204"/>
              </a:rPr>
              <a:t>months</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of</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development</a:t>
            </a:r>
            <a:r>
              <a:rPr lang="es-ES" sz="1400" spc="6" noProof="0">
                <a:solidFill>
                  <a:srgbClr val="000000"/>
                </a:solidFill>
                <a:latin typeface="Montserrat"/>
                <a:ea typeface="Calibri" panose="020F0502020204030204"/>
                <a:cs typeface="Calibri" panose="020F0502020204030204"/>
              </a:rPr>
              <a:t>, Ci/CD </a:t>
            </a:r>
            <a:r>
              <a:rPr lang="es-ES" sz="1400" spc="6" noProof="0" err="1">
                <a:solidFill>
                  <a:srgbClr val="000000"/>
                </a:solidFill>
                <a:latin typeface="Montserrat"/>
                <a:ea typeface="Calibri" panose="020F0502020204030204"/>
                <a:cs typeface="Calibri" panose="020F0502020204030204"/>
              </a:rPr>
              <a:t>creation</a:t>
            </a:r>
            <a:r>
              <a:rPr lang="es-ES" sz="1400" spc="6" noProof="0">
                <a:solidFill>
                  <a:srgbClr val="000000"/>
                </a:solidFill>
                <a:latin typeface="Montserrat"/>
                <a:ea typeface="Calibri" panose="020F0502020204030204"/>
                <a:cs typeface="Calibri" panose="020F0502020204030204"/>
              </a:rPr>
              <a:t>, Cloud </a:t>
            </a:r>
            <a:r>
              <a:rPr lang="es-ES" sz="1400" spc="6" noProof="0" err="1">
                <a:solidFill>
                  <a:srgbClr val="000000"/>
                </a:solidFill>
                <a:latin typeface="Montserrat"/>
                <a:ea typeface="Calibri" panose="020F0502020204030204"/>
                <a:cs typeface="Calibri" panose="020F0502020204030204"/>
              </a:rPr>
              <a:t>configuration</a:t>
            </a:r>
            <a:r>
              <a:rPr lang="es-ES" sz="1400" spc="6" noProof="0">
                <a:solidFill>
                  <a:srgbClr val="000000"/>
                </a:solidFill>
                <a:latin typeface="Montserrat"/>
                <a:ea typeface="Calibri" panose="020F0502020204030204"/>
                <a:cs typeface="Calibri" panose="020F0502020204030204"/>
              </a:rPr>
              <a:t> and </a:t>
            </a:r>
            <a:r>
              <a:rPr lang="es-ES" sz="1400" spc="6" noProof="0" err="1">
                <a:solidFill>
                  <a:srgbClr val="000000"/>
                </a:solidFill>
                <a:latin typeface="Montserrat"/>
                <a:ea typeface="Calibri" panose="020F0502020204030204"/>
                <a:cs typeface="Calibri" panose="020F0502020204030204"/>
              </a:rPr>
              <a:t>implementation</a:t>
            </a:r>
            <a:endParaRPr lang="es-ES" sz="1400" noProof="0">
              <a:solidFill>
                <a:prstClr val="black"/>
              </a:solidFill>
              <a:latin typeface="Montserrat"/>
            </a:endParaRPr>
          </a:p>
        </p:txBody>
      </p:sp>
      <p:sp>
        <p:nvSpPr>
          <p:cNvPr id="66" name="TextBox 24">
            <a:extLst>
              <a:ext uri="{FF2B5EF4-FFF2-40B4-BE49-F238E27FC236}">
                <a16:creationId xmlns:a16="http://schemas.microsoft.com/office/drawing/2014/main" id="{39D95ACD-8C3D-522D-B3DE-37D6E78C94D5}"/>
              </a:ext>
            </a:extLst>
          </p:cNvPr>
          <p:cNvSpPr txBox="1"/>
          <p:nvPr/>
        </p:nvSpPr>
        <p:spPr>
          <a:xfrm>
            <a:off x="11503317" y="5739408"/>
            <a:ext cx="5921083" cy="494815"/>
          </a:xfrm>
          <a:prstGeom prst="rect">
            <a:avLst/>
          </a:prstGeom>
        </p:spPr>
        <p:txBody>
          <a:bodyPr wrap="square" lIns="0" tIns="0" rIns="0" bIns="0" rtlCol="0" anchor="t">
            <a:spAutoFit/>
          </a:bodyPr>
          <a:lstStyle/>
          <a:p>
            <a:pPr>
              <a:lnSpc>
                <a:spcPts val="1959"/>
              </a:lnSpc>
              <a:spcBef>
                <a:spcPct val="0"/>
              </a:spcBef>
            </a:pPr>
            <a:r>
              <a:rPr lang="es-ES" sz="1400" spc="6" noProof="0" err="1">
                <a:solidFill>
                  <a:srgbClr val="000000"/>
                </a:solidFill>
                <a:latin typeface="Montserrat"/>
                <a:ea typeface="Calibri" panose="020F0502020204030204"/>
                <a:cs typeface="Calibri" panose="020F0502020204030204"/>
              </a:rPr>
              <a:t>You</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need</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upfront</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investment</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for</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an</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experienced</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development</a:t>
            </a:r>
            <a:r>
              <a:rPr lang="es-ES" sz="1400" spc="6" noProof="0">
                <a:solidFill>
                  <a:srgbClr val="000000"/>
                </a:solidFill>
                <a:latin typeface="Montserrat"/>
                <a:ea typeface="Calibri" panose="020F0502020204030204"/>
                <a:cs typeface="Calibri" panose="020F0502020204030204"/>
              </a:rPr>
              <a:t> team, </a:t>
            </a:r>
            <a:r>
              <a:rPr lang="es-ES" sz="1400" spc="6" noProof="0" err="1">
                <a:solidFill>
                  <a:srgbClr val="000000"/>
                </a:solidFill>
                <a:latin typeface="Montserrat"/>
                <a:ea typeface="Calibri" panose="020F0502020204030204"/>
                <a:cs typeface="Calibri" panose="020F0502020204030204"/>
              </a:rPr>
              <a:t>infrastructure</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setup</a:t>
            </a:r>
            <a:r>
              <a:rPr lang="es-ES" sz="1400" spc="6" noProof="0">
                <a:solidFill>
                  <a:srgbClr val="000000"/>
                </a:solidFill>
                <a:latin typeface="Montserrat"/>
                <a:ea typeface="Calibri" panose="020F0502020204030204"/>
                <a:cs typeface="Calibri" panose="020F0502020204030204"/>
              </a:rPr>
              <a:t>, and </a:t>
            </a:r>
            <a:r>
              <a:rPr lang="es-ES" sz="1400" spc="6" noProof="0" err="1">
                <a:solidFill>
                  <a:srgbClr val="000000"/>
                </a:solidFill>
                <a:latin typeface="Montserrat"/>
                <a:ea typeface="Calibri" panose="020F0502020204030204"/>
                <a:cs typeface="Calibri" panose="020F0502020204030204"/>
              </a:rPr>
              <a:t>ongoing</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management</a:t>
            </a:r>
            <a:r>
              <a:rPr lang="es-ES" sz="1400" spc="6" noProof="0">
                <a:solidFill>
                  <a:srgbClr val="000000"/>
                </a:solidFill>
                <a:latin typeface="Montserrat"/>
                <a:ea typeface="Calibri" panose="020F0502020204030204"/>
                <a:cs typeface="Calibri" panose="020F0502020204030204"/>
              </a:rPr>
              <a:t>.</a:t>
            </a:r>
            <a:endParaRPr lang="es-ES" sz="1400" noProof="0">
              <a:solidFill>
                <a:prstClr val="black"/>
              </a:solidFill>
              <a:latin typeface="Calibri" panose="020F0502020204030204"/>
            </a:endParaRPr>
          </a:p>
        </p:txBody>
      </p:sp>
      <p:sp>
        <p:nvSpPr>
          <p:cNvPr id="67" name="TextBox 27">
            <a:extLst>
              <a:ext uri="{FF2B5EF4-FFF2-40B4-BE49-F238E27FC236}">
                <a16:creationId xmlns:a16="http://schemas.microsoft.com/office/drawing/2014/main" id="{5EE901E0-3BDD-F639-5D2D-C17C748DB87F}"/>
              </a:ext>
            </a:extLst>
          </p:cNvPr>
          <p:cNvSpPr txBox="1"/>
          <p:nvPr/>
        </p:nvSpPr>
        <p:spPr>
          <a:xfrm>
            <a:off x="11503316" y="6699651"/>
            <a:ext cx="5921083" cy="1002710"/>
          </a:xfrm>
          <a:prstGeom prst="rect">
            <a:avLst/>
          </a:prstGeom>
        </p:spPr>
        <p:txBody>
          <a:bodyPr wrap="square" lIns="0" tIns="0" rIns="0" bIns="0" rtlCol="0" anchor="t">
            <a:spAutoFit/>
          </a:bodyPr>
          <a:lstStyle/>
          <a:p>
            <a:pPr algn="just">
              <a:lnSpc>
                <a:spcPts val="1959"/>
              </a:lnSpc>
              <a:spcBef>
                <a:spcPct val="0"/>
              </a:spcBef>
            </a:pPr>
            <a:r>
              <a:rPr lang="es-ES" sz="1400" spc="6" noProof="0" err="1">
                <a:solidFill>
                  <a:srgbClr val="000000"/>
                </a:solidFill>
                <a:latin typeface="Montserrat"/>
                <a:ea typeface="Calibri" panose="020F0502020204030204"/>
                <a:cs typeface="Calibri" panose="020F0502020204030204"/>
              </a:rPr>
              <a:t>While</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it's</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not</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impossible</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to</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reuse</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code</a:t>
            </a:r>
            <a:r>
              <a:rPr lang="es-ES" sz="1400" spc="6" noProof="0">
                <a:solidFill>
                  <a:srgbClr val="000000"/>
                </a:solidFill>
                <a:latin typeface="Montserrat"/>
                <a:ea typeface="Calibri" panose="020F0502020204030204"/>
                <a:cs typeface="Calibri" panose="020F0502020204030204"/>
              </a:rPr>
              <a:t> from </a:t>
            </a:r>
            <a:r>
              <a:rPr lang="es-ES" sz="1400" spc="6" noProof="0" err="1">
                <a:solidFill>
                  <a:srgbClr val="000000"/>
                </a:solidFill>
                <a:latin typeface="Montserrat"/>
                <a:ea typeface="Calibri" panose="020F0502020204030204"/>
                <a:cs typeface="Calibri" panose="020F0502020204030204"/>
              </a:rPr>
              <a:t>one</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high-code</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application</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to</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another</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it</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would</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require</a:t>
            </a:r>
            <a:r>
              <a:rPr lang="es-ES" sz="1400" spc="6" noProof="0">
                <a:solidFill>
                  <a:srgbClr val="000000"/>
                </a:solidFill>
                <a:latin typeface="Montserrat"/>
                <a:ea typeface="Calibri" panose="020F0502020204030204"/>
                <a:cs typeface="Calibri" panose="020F0502020204030204"/>
              </a:rPr>
              <a:t> a </a:t>
            </a:r>
            <a:r>
              <a:rPr lang="es-ES" sz="1400" spc="6" noProof="0" err="1">
                <a:solidFill>
                  <a:srgbClr val="000000"/>
                </a:solidFill>
                <a:latin typeface="Montserrat"/>
                <a:ea typeface="Calibri" panose="020F0502020204030204"/>
                <a:cs typeface="Calibri" panose="020F0502020204030204"/>
              </a:rPr>
              <a:t>lot</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of</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tweaking</a:t>
            </a:r>
            <a:r>
              <a:rPr lang="es-ES" sz="1400" spc="6" noProof="0">
                <a:solidFill>
                  <a:srgbClr val="000000"/>
                </a:solidFill>
                <a:latin typeface="Montserrat"/>
                <a:ea typeface="Calibri" panose="020F0502020204030204"/>
                <a:cs typeface="Calibri" panose="020F0502020204030204"/>
              </a:rPr>
              <a:t> and </a:t>
            </a:r>
            <a:r>
              <a:rPr lang="es-ES" sz="1400" spc="6" noProof="0" err="1">
                <a:solidFill>
                  <a:srgbClr val="000000"/>
                </a:solidFill>
                <a:latin typeface="Montserrat"/>
                <a:ea typeface="Calibri" panose="020F0502020204030204"/>
                <a:cs typeface="Calibri" panose="020F0502020204030204"/>
              </a:rPr>
              <a:t>maneuvering</a:t>
            </a:r>
            <a:r>
              <a:rPr lang="es-ES" sz="1400" spc="6" noProof="0">
                <a:solidFill>
                  <a:srgbClr val="000000"/>
                </a:solidFill>
                <a:latin typeface="Montserrat"/>
                <a:ea typeface="Calibri" panose="020F0502020204030204"/>
                <a:cs typeface="Calibri" panose="020F0502020204030204"/>
              </a:rPr>
              <a:t> - </a:t>
            </a:r>
            <a:r>
              <a:rPr lang="es-ES" sz="1400" spc="6" noProof="0" err="1">
                <a:solidFill>
                  <a:srgbClr val="000000"/>
                </a:solidFill>
                <a:latin typeface="Montserrat"/>
                <a:ea typeface="Calibri" panose="020F0502020204030204"/>
                <a:cs typeface="Calibri" panose="020F0502020204030204"/>
              </a:rPr>
              <a:t>all</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of</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which</a:t>
            </a:r>
            <a:r>
              <a:rPr lang="es-ES" sz="1400" spc="6" noProof="0">
                <a:solidFill>
                  <a:srgbClr val="000000"/>
                </a:solidFill>
                <a:latin typeface="Montserrat"/>
                <a:ea typeface="Calibri" panose="020F0502020204030204"/>
                <a:cs typeface="Calibri" panose="020F0502020204030204"/>
              </a:rPr>
              <a:t> can be a time-</a:t>
            </a:r>
            <a:r>
              <a:rPr lang="es-ES" sz="1400" spc="6" noProof="0" err="1">
                <a:solidFill>
                  <a:srgbClr val="000000"/>
                </a:solidFill>
                <a:latin typeface="Montserrat"/>
                <a:ea typeface="Calibri" panose="020F0502020204030204"/>
                <a:cs typeface="Calibri" panose="020F0502020204030204"/>
              </a:rPr>
              <a:t>consuming</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process</a:t>
            </a:r>
            <a:endParaRPr lang="es-ES" sz="1400" noProof="0">
              <a:solidFill>
                <a:prstClr val="black"/>
              </a:solidFill>
              <a:latin typeface="Calibri" panose="020F0502020204030204"/>
            </a:endParaRPr>
          </a:p>
          <a:p>
            <a:pPr algn="just">
              <a:lnSpc>
                <a:spcPts val="1959"/>
              </a:lnSpc>
              <a:spcBef>
                <a:spcPct val="0"/>
              </a:spcBef>
            </a:pPr>
            <a:r>
              <a:rPr lang="es-ES" sz="1400" spc="6" noProof="0">
                <a:solidFill>
                  <a:srgbClr val="000000"/>
                </a:solidFill>
                <a:latin typeface="Montserrat"/>
              </a:rPr>
              <a:t>​</a:t>
            </a:r>
          </a:p>
        </p:txBody>
      </p:sp>
      <p:sp>
        <p:nvSpPr>
          <p:cNvPr id="68" name="TextBox 30">
            <a:extLst>
              <a:ext uri="{FF2B5EF4-FFF2-40B4-BE49-F238E27FC236}">
                <a16:creationId xmlns:a16="http://schemas.microsoft.com/office/drawing/2014/main" id="{0B33832D-33D9-C6E9-7201-09D38A16B86F}"/>
              </a:ext>
            </a:extLst>
          </p:cNvPr>
          <p:cNvSpPr txBox="1"/>
          <p:nvPr/>
        </p:nvSpPr>
        <p:spPr>
          <a:xfrm>
            <a:off x="11528149" y="7892326"/>
            <a:ext cx="5206166" cy="236731"/>
          </a:xfrm>
          <a:prstGeom prst="rect">
            <a:avLst/>
          </a:prstGeom>
        </p:spPr>
        <p:txBody>
          <a:bodyPr wrap="square" lIns="0" tIns="0" rIns="0" bIns="0" rtlCol="0" anchor="t">
            <a:spAutoFit/>
          </a:bodyPr>
          <a:lstStyle/>
          <a:p>
            <a:pPr>
              <a:lnSpc>
                <a:spcPts val="1959"/>
              </a:lnSpc>
              <a:spcBef>
                <a:spcPct val="0"/>
              </a:spcBef>
            </a:pPr>
            <a:r>
              <a:rPr lang="es-ES" sz="1400" spc="6" noProof="0" err="1">
                <a:solidFill>
                  <a:srgbClr val="000000"/>
                </a:solidFill>
                <a:latin typeface="Montserrat"/>
              </a:rPr>
              <a:t>Need</a:t>
            </a:r>
            <a:r>
              <a:rPr lang="es-ES" sz="1400" spc="6" noProof="0">
                <a:solidFill>
                  <a:srgbClr val="000000"/>
                </a:solidFill>
                <a:latin typeface="Montserrat"/>
              </a:rPr>
              <a:t> </a:t>
            </a:r>
            <a:r>
              <a:rPr lang="es-ES" sz="1400" spc="6" noProof="0" err="1">
                <a:solidFill>
                  <a:srgbClr val="000000"/>
                </a:solidFill>
                <a:latin typeface="Montserrat"/>
              </a:rPr>
              <a:t>to</a:t>
            </a:r>
            <a:r>
              <a:rPr lang="es-ES" sz="1400" spc="6" noProof="0">
                <a:solidFill>
                  <a:srgbClr val="000000"/>
                </a:solidFill>
                <a:latin typeface="Montserrat"/>
              </a:rPr>
              <a:t> plan and </a:t>
            </a:r>
            <a:r>
              <a:rPr lang="es-ES" sz="1400" spc="6" noProof="0" err="1">
                <a:solidFill>
                  <a:srgbClr val="000000"/>
                </a:solidFill>
                <a:latin typeface="Montserrat"/>
              </a:rPr>
              <a:t>build</a:t>
            </a:r>
            <a:r>
              <a:rPr lang="es-ES" sz="1400" spc="6" noProof="0">
                <a:solidFill>
                  <a:srgbClr val="000000"/>
                </a:solidFill>
                <a:latin typeface="Montserrat"/>
              </a:rPr>
              <a:t> </a:t>
            </a:r>
            <a:r>
              <a:rPr lang="es-ES" sz="1400" spc="6" noProof="0" err="1">
                <a:solidFill>
                  <a:srgbClr val="000000"/>
                </a:solidFill>
                <a:latin typeface="Montserrat"/>
              </a:rPr>
              <a:t>according</a:t>
            </a:r>
            <a:r>
              <a:rPr lang="es-ES" sz="1400" spc="6" noProof="0">
                <a:solidFill>
                  <a:srgbClr val="000000"/>
                </a:solidFill>
                <a:latin typeface="Montserrat"/>
              </a:rPr>
              <a:t> </a:t>
            </a:r>
            <a:r>
              <a:rPr lang="es-ES" sz="1400" spc="6" noProof="0" err="1">
                <a:solidFill>
                  <a:srgbClr val="000000"/>
                </a:solidFill>
                <a:latin typeface="Montserrat"/>
              </a:rPr>
              <a:t>to</a:t>
            </a:r>
            <a:r>
              <a:rPr lang="es-ES" sz="1400" spc="6" noProof="0">
                <a:solidFill>
                  <a:srgbClr val="000000"/>
                </a:solidFill>
                <a:latin typeface="Montserrat"/>
              </a:rPr>
              <a:t> </a:t>
            </a:r>
            <a:r>
              <a:rPr lang="es-ES" sz="1400" spc="6" noProof="0" err="1">
                <a:solidFill>
                  <a:srgbClr val="000000"/>
                </a:solidFill>
                <a:latin typeface="Montserrat"/>
              </a:rPr>
              <a:t>scale</a:t>
            </a:r>
            <a:r>
              <a:rPr lang="es-ES" sz="1400" spc="6" noProof="0">
                <a:solidFill>
                  <a:srgbClr val="000000"/>
                </a:solidFill>
                <a:latin typeface="Montserrat"/>
              </a:rPr>
              <a:t> </a:t>
            </a:r>
          </a:p>
        </p:txBody>
      </p:sp>
      <p:sp>
        <p:nvSpPr>
          <p:cNvPr id="69" name="TextBox 37">
            <a:extLst>
              <a:ext uri="{FF2B5EF4-FFF2-40B4-BE49-F238E27FC236}">
                <a16:creationId xmlns:a16="http://schemas.microsoft.com/office/drawing/2014/main" id="{D68591B0-F5FC-C122-BD96-B9D44FF32265}"/>
              </a:ext>
            </a:extLst>
          </p:cNvPr>
          <p:cNvSpPr txBox="1"/>
          <p:nvPr/>
        </p:nvSpPr>
        <p:spPr>
          <a:xfrm>
            <a:off x="11528149" y="8591028"/>
            <a:ext cx="5512946" cy="494815"/>
          </a:xfrm>
          <a:prstGeom prst="rect">
            <a:avLst/>
          </a:prstGeom>
        </p:spPr>
        <p:txBody>
          <a:bodyPr wrap="square" lIns="0" tIns="0" rIns="0" bIns="0" rtlCol="0" anchor="t">
            <a:spAutoFit/>
          </a:bodyPr>
          <a:lstStyle/>
          <a:p>
            <a:pPr>
              <a:lnSpc>
                <a:spcPts val="1959"/>
              </a:lnSpc>
              <a:spcBef>
                <a:spcPct val="0"/>
              </a:spcBef>
            </a:pPr>
            <a:r>
              <a:rPr lang="es-ES" sz="1400" spc="6" noProof="0" err="1">
                <a:solidFill>
                  <a:srgbClr val="000000"/>
                </a:solidFill>
                <a:latin typeface="Montserrat"/>
                <a:ea typeface="Calibri" panose="020F0502020204030204"/>
                <a:cs typeface="Calibri" panose="020F0502020204030204"/>
              </a:rPr>
              <a:t>Your</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internal</a:t>
            </a:r>
            <a:r>
              <a:rPr lang="es-ES" sz="1400" spc="6" noProof="0">
                <a:solidFill>
                  <a:srgbClr val="000000"/>
                </a:solidFill>
                <a:latin typeface="Montserrat"/>
                <a:ea typeface="Calibri" panose="020F0502020204030204"/>
                <a:cs typeface="Calibri" panose="020F0502020204030204"/>
              </a:rPr>
              <a:t> IT team </a:t>
            </a:r>
            <a:r>
              <a:rPr lang="es-ES" sz="1400" spc="6" noProof="0" err="1">
                <a:solidFill>
                  <a:srgbClr val="000000"/>
                </a:solidFill>
                <a:latin typeface="Montserrat"/>
                <a:ea typeface="Calibri" panose="020F0502020204030204"/>
                <a:cs typeface="Calibri" panose="020F0502020204030204"/>
              </a:rPr>
              <a:t>will</a:t>
            </a:r>
            <a:r>
              <a:rPr lang="es-ES" sz="1400" spc="6" noProof="0">
                <a:solidFill>
                  <a:srgbClr val="000000"/>
                </a:solidFill>
                <a:latin typeface="Montserrat"/>
                <a:ea typeface="Calibri" panose="020F0502020204030204"/>
                <a:cs typeface="Calibri" panose="020F0502020204030204"/>
              </a:rPr>
              <a:t> be </a:t>
            </a:r>
            <a:r>
              <a:rPr lang="es-ES" sz="1400" spc="6" noProof="0" err="1">
                <a:solidFill>
                  <a:srgbClr val="000000"/>
                </a:solidFill>
                <a:latin typeface="Montserrat"/>
                <a:ea typeface="Calibri" panose="020F0502020204030204"/>
                <a:cs typeface="Calibri" panose="020F0502020204030204"/>
              </a:rPr>
              <a:t>responsible</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for</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providing</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support</a:t>
            </a:r>
            <a:r>
              <a:rPr lang="es-ES" sz="1400" spc="6" noProof="0">
                <a:solidFill>
                  <a:srgbClr val="000000"/>
                </a:solidFill>
                <a:latin typeface="Montserrat"/>
                <a:ea typeface="Calibri" panose="020F0502020204030204"/>
                <a:cs typeface="Calibri" panose="020F0502020204030204"/>
              </a:rPr>
              <a:t> and </a:t>
            </a:r>
            <a:r>
              <a:rPr lang="es-ES" sz="1400" spc="6" noProof="0" err="1">
                <a:solidFill>
                  <a:srgbClr val="000000"/>
                </a:solidFill>
                <a:latin typeface="Montserrat"/>
                <a:ea typeface="Calibri" panose="020F0502020204030204"/>
                <a:cs typeface="Calibri" panose="020F0502020204030204"/>
              </a:rPr>
              <a:t>managing</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the</a:t>
            </a:r>
            <a:r>
              <a:rPr lang="es-ES" sz="1400" spc="6" noProof="0">
                <a:solidFill>
                  <a:srgbClr val="000000"/>
                </a:solidFill>
                <a:latin typeface="Montserrat"/>
                <a:ea typeface="Calibri" panose="020F0502020204030204"/>
                <a:cs typeface="Calibri" panose="020F0502020204030204"/>
              </a:rPr>
              <a:t> </a:t>
            </a:r>
            <a:r>
              <a:rPr lang="es-ES" sz="1400" spc="6" noProof="0" err="1">
                <a:solidFill>
                  <a:srgbClr val="000000"/>
                </a:solidFill>
                <a:latin typeface="Montserrat"/>
                <a:ea typeface="Calibri" panose="020F0502020204030204"/>
                <a:cs typeface="Calibri" panose="020F0502020204030204"/>
              </a:rPr>
              <a:t>application</a:t>
            </a:r>
            <a:endParaRPr lang="es-ES" sz="1400" noProof="0">
              <a:solidFill>
                <a:prstClr val="black"/>
              </a:solidFill>
              <a:latin typeface="Calibri" panose="020F0502020204030204"/>
            </a:endParaRPr>
          </a:p>
        </p:txBody>
      </p:sp>
      <p:sp>
        <p:nvSpPr>
          <p:cNvPr id="70" name="Retângulo Arredondado 86">
            <a:extLst>
              <a:ext uri="{FF2B5EF4-FFF2-40B4-BE49-F238E27FC236}">
                <a16:creationId xmlns:a16="http://schemas.microsoft.com/office/drawing/2014/main" id="{0F2D34F1-267D-FF36-FE09-165174ABE004}"/>
              </a:ext>
            </a:extLst>
          </p:cNvPr>
          <p:cNvSpPr/>
          <p:nvPr/>
        </p:nvSpPr>
        <p:spPr>
          <a:xfrm>
            <a:off x="4231374" y="3031113"/>
            <a:ext cx="6190314" cy="536342"/>
          </a:xfrm>
          <a:prstGeom prst="roundRect">
            <a:avLst/>
          </a:prstGeom>
          <a:solidFill>
            <a:srgbClr val="6800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1" name="Retângulo Arredondado 87">
            <a:extLst>
              <a:ext uri="{FF2B5EF4-FFF2-40B4-BE49-F238E27FC236}">
                <a16:creationId xmlns:a16="http://schemas.microsoft.com/office/drawing/2014/main" id="{243CBA49-6053-3176-B433-D9E5168A393C}"/>
              </a:ext>
            </a:extLst>
          </p:cNvPr>
          <p:cNvSpPr/>
          <p:nvPr/>
        </p:nvSpPr>
        <p:spPr>
          <a:xfrm>
            <a:off x="11140675" y="3026715"/>
            <a:ext cx="6190314" cy="536342"/>
          </a:xfrm>
          <a:prstGeom prst="roundRect">
            <a:avLst/>
          </a:prstGeom>
          <a:solidFill>
            <a:srgbClr val="FF2C3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2" name="TextBox 11">
            <a:extLst>
              <a:ext uri="{FF2B5EF4-FFF2-40B4-BE49-F238E27FC236}">
                <a16:creationId xmlns:a16="http://schemas.microsoft.com/office/drawing/2014/main" id="{00D6B4E4-FA8E-4536-C5F7-451C8D3FC90C}"/>
              </a:ext>
            </a:extLst>
          </p:cNvPr>
          <p:cNvSpPr txBox="1"/>
          <p:nvPr/>
        </p:nvSpPr>
        <p:spPr>
          <a:xfrm>
            <a:off x="4537916" y="3089662"/>
            <a:ext cx="1810392" cy="374141"/>
          </a:xfrm>
          <a:prstGeom prst="rect">
            <a:avLst/>
          </a:prstGeom>
        </p:spPr>
        <p:txBody>
          <a:bodyPr lIns="0" tIns="0" rIns="0" bIns="0" rtlCol="0" anchor="ctr">
            <a:spAutoFit/>
          </a:bodyPr>
          <a:lstStyle/>
          <a:p>
            <a:pPr>
              <a:lnSpc>
                <a:spcPts val="3120"/>
              </a:lnSpc>
              <a:spcBef>
                <a:spcPct val="0"/>
              </a:spcBef>
            </a:pPr>
            <a:r>
              <a:rPr lang="es-ES" sz="2000" b="1" noProof="0">
                <a:solidFill>
                  <a:prstClr val="white"/>
                </a:solidFill>
                <a:latin typeface="Montserrat" pitchFamily="2" charset="77"/>
              </a:rPr>
              <a:t>Low </a:t>
            </a:r>
            <a:r>
              <a:rPr lang="es-ES" sz="2000" b="1" noProof="0" err="1">
                <a:solidFill>
                  <a:prstClr val="white"/>
                </a:solidFill>
                <a:latin typeface="Montserrat" pitchFamily="2" charset="77"/>
              </a:rPr>
              <a:t>Code</a:t>
            </a:r>
            <a:endParaRPr lang="es-ES" sz="2000" b="1" noProof="0">
              <a:solidFill>
                <a:prstClr val="white"/>
              </a:solidFill>
              <a:latin typeface="Montserrat" pitchFamily="2" charset="77"/>
            </a:endParaRPr>
          </a:p>
        </p:txBody>
      </p:sp>
      <p:sp>
        <p:nvSpPr>
          <p:cNvPr id="73" name="TextBox 15">
            <a:extLst>
              <a:ext uri="{FF2B5EF4-FFF2-40B4-BE49-F238E27FC236}">
                <a16:creationId xmlns:a16="http://schemas.microsoft.com/office/drawing/2014/main" id="{78E23876-AA0C-86C5-B4A5-81A00DD95C89}"/>
              </a:ext>
            </a:extLst>
          </p:cNvPr>
          <p:cNvSpPr txBox="1"/>
          <p:nvPr/>
        </p:nvSpPr>
        <p:spPr>
          <a:xfrm>
            <a:off x="11358978" y="3155502"/>
            <a:ext cx="4484683" cy="307777"/>
          </a:xfrm>
          <a:prstGeom prst="rect">
            <a:avLst/>
          </a:prstGeom>
        </p:spPr>
        <p:txBody>
          <a:bodyPr wrap="square" lIns="0" tIns="0" rIns="0" bIns="0" rtlCol="0" anchor="ctr">
            <a:spAutoFit/>
          </a:bodyPr>
          <a:lstStyle/>
          <a:p>
            <a:pPr>
              <a:spcBef>
                <a:spcPct val="0"/>
              </a:spcBef>
            </a:pPr>
            <a:r>
              <a:rPr lang="es-ES" sz="2000" b="1" noProof="0" err="1">
                <a:solidFill>
                  <a:prstClr val="white"/>
                </a:solidFill>
                <a:latin typeface="Montserrat" pitchFamily="2" charset="77"/>
              </a:rPr>
              <a:t>Traditional</a:t>
            </a:r>
            <a:r>
              <a:rPr lang="es-ES" sz="2000" b="1" noProof="0">
                <a:solidFill>
                  <a:prstClr val="white"/>
                </a:solidFill>
                <a:latin typeface="Montserrat" pitchFamily="2" charset="77"/>
              </a:rPr>
              <a:t> </a:t>
            </a:r>
            <a:r>
              <a:rPr lang="es-ES" sz="2000" b="1" noProof="0" err="1">
                <a:solidFill>
                  <a:prstClr val="white"/>
                </a:solidFill>
                <a:latin typeface="Montserrat" pitchFamily="2" charset="77"/>
              </a:rPr>
              <a:t>Development</a:t>
            </a:r>
            <a:r>
              <a:rPr lang="es-ES" sz="2000" b="1" noProof="0">
                <a:solidFill>
                  <a:prstClr val="white"/>
                </a:solidFill>
                <a:latin typeface="Montserrat" pitchFamily="2" charset="77"/>
              </a:rPr>
              <a:t> </a:t>
            </a:r>
            <a:endParaRPr lang="es-ES" sz="2000" b="1" noProof="0">
              <a:solidFill>
                <a:prstClr val="white"/>
              </a:solidFill>
              <a:latin typeface="Montserrat" pitchFamily="2" charset="77"/>
              <a:cs typeface="Calibri"/>
            </a:endParaRPr>
          </a:p>
        </p:txBody>
      </p:sp>
      <p:sp>
        <p:nvSpPr>
          <p:cNvPr id="74" name="Divisa 95">
            <a:extLst>
              <a:ext uri="{FF2B5EF4-FFF2-40B4-BE49-F238E27FC236}">
                <a16:creationId xmlns:a16="http://schemas.microsoft.com/office/drawing/2014/main" id="{835466A2-6BEA-45CD-85DA-53BFBFB27AF6}"/>
              </a:ext>
            </a:extLst>
          </p:cNvPr>
          <p:cNvSpPr/>
          <p:nvPr/>
        </p:nvSpPr>
        <p:spPr>
          <a:xfrm>
            <a:off x="4355260" y="4077213"/>
            <a:ext cx="216000" cy="144000"/>
          </a:xfrm>
          <a:prstGeom prst="chevron">
            <a:avLst/>
          </a:prstGeom>
          <a:solidFill>
            <a:srgbClr val="6800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5" name="Divisa 96">
            <a:extLst>
              <a:ext uri="{FF2B5EF4-FFF2-40B4-BE49-F238E27FC236}">
                <a16:creationId xmlns:a16="http://schemas.microsoft.com/office/drawing/2014/main" id="{3862B15D-270C-5FAE-0C80-9A9267C0C697}"/>
              </a:ext>
            </a:extLst>
          </p:cNvPr>
          <p:cNvSpPr/>
          <p:nvPr/>
        </p:nvSpPr>
        <p:spPr>
          <a:xfrm>
            <a:off x="4355260" y="5004480"/>
            <a:ext cx="216000" cy="144000"/>
          </a:xfrm>
          <a:prstGeom prst="chevron">
            <a:avLst/>
          </a:prstGeom>
          <a:solidFill>
            <a:srgbClr val="6800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6" name="Divisa 97">
            <a:extLst>
              <a:ext uri="{FF2B5EF4-FFF2-40B4-BE49-F238E27FC236}">
                <a16:creationId xmlns:a16="http://schemas.microsoft.com/office/drawing/2014/main" id="{66C5AE16-0659-BD07-C069-64D49A7173D1}"/>
              </a:ext>
            </a:extLst>
          </p:cNvPr>
          <p:cNvSpPr/>
          <p:nvPr/>
        </p:nvSpPr>
        <p:spPr>
          <a:xfrm>
            <a:off x="4355260" y="5913845"/>
            <a:ext cx="216000" cy="144000"/>
          </a:xfrm>
          <a:prstGeom prst="chevron">
            <a:avLst/>
          </a:prstGeom>
          <a:solidFill>
            <a:srgbClr val="6800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7" name="Divisa 98">
            <a:extLst>
              <a:ext uri="{FF2B5EF4-FFF2-40B4-BE49-F238E27FC236}">
                <a16:creationId xmlns:a16="http://schemas.microsoft.com/office/drawing/2014/main" id="{1693D918-2F7E-A099-4BCC-0138DF5DE489}"/>
              </a:ext>
            </a:extLst>
          </p:cNvPr>
          <p:cNvSpPr/>
          <p:nvPr/>
        </p:nvSpPr>
        <p:spPr>
          <a:xfrm>
            <a:off x="4355260" y="6957358"/>
            <a:ext cx="216000" cy="144000"/>
          </a:xfrm>
          <a:prstGeom prst="chevron">
            <a:avLst/>
          </a:prstGeom>
          <a:solidFill>
            <a:srgbClr val="6800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8" name="Divisa 99">
            <a:extLst>
              <a:ext uri="{FF2B5EF4-FFF2-40B4-BE49-F238E27FC236}">
                <a16:creationId xmlns:a16="http://schemas.microsoft.com/office/drawing/2014/main" id="{67A4AFCD-B4B5-7FEE-09FE-8FA550947AF4}"/>
              </a:ext>
            </a:extLst>
          </p:cNvPr>
          <p:cNvSpPr/>
          <p:nvPr/>
        </p:nvSpPr>
        <p:spPr>
          <a:xfrm>
            <a:off x="4355260" y="7949077"/>
            <a:ext cx="216000" cy="144000"/>
          </a:xfrm>
          <a:prstGeom prst="chevron">
            <a:avLst/>
          </a:prstGeom>
          <a:solidFill>
            <a:srgbClr val="6800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9" name="Divisa 100">
            <a:extLst>
              <a:ext uri="{FF2B5EF4-FFF2-40B4-BE49-F238E27FC236}">
                <a16:creationId xmlns:a16="http://schemas.microsoft.com/office/drawing/2014/main" id="{F3D7A403-30A6-5547-12F4-08E0A3FD60E9}"/>
              </a:ext>
            </a:extLst>
          </p:cNvPr>
          <p:cNvSpPr/>
          <p:nvPr/>
        </p:nvSpPr>
        <p:spPr>
          <a:xfrm>
            <a:off x="4355260" y="8802256"/>
            <a:ext cx="216000" cy="144000"/>
          </a:xfrm>
          <a:prstGeom prst="chevron">
            <a:avLst/>
          </a:prstGeom>
          <a:solidFill>
            <a:srgbClr val="6800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80" name="Divisa 101">
            <a:extLst>
              <a:ext uri="{FF2B5EF4-FFF2-40B4-BE49-F238E27FC236}">
                <a16:creationId xmlns:a16="http://schemas.microsoft.com/office/drawing/2014/main" id="{411182B1-C2B6-32EE-40C0-52B439487483}"/>
              </a:ext>
            </a:extLst>
          </p:cNvPr>
          <p:cNvSpPr/>
          <p:nvPr/>
        </p:nvSpPr>
        <p:spPr>
          <a:xfrm>
            <a:off x="11142978" y="4114297"/>
            <a:ext cx="216000" cy="144000"/>
          </a:xfrm>
          <a:prstGeom prst="chevron">
            <a:avLst/>
          </a:prstGeom>
          <a:solidFill>
            <a:srgbClr val="FF2C3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81" name="Divisa 102">
            <a:extLst>
              <a:ext uri="{FF2B5EF4-FFF2-40B4-BE49-F238E27FC236}">
                <a16:creationId xmlns:a16="http://schemas.microsoft.com/office/drawing/2014/main" id="{E998C98C-C59B-136C-02DC-92AB0B6A9B5A}"/>
              </a:ext>
            </a:extLst>
          </p:cNvPr>
          <p:cNvSpPr/>
          <p:nvPr/>
        </p:nvSpPr>
        <p:spPr>
          <a:xfrm>
            <a:off x="11142978" y="5076480"/>
            <a:ext cx="216000" cy="144000"/>
          </a:xfrm>
          <a:prstGeom prst="chevron">
            <a:avLst/>
          </a:prstGeom>
          <a:solidFill>
            <a:srgbClr val="FF2C3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82" name="Divisa 103">
            <a:extLst>
              <a:ext uri="{FF2B5EF4-FFF2-40B4-BE49-F238E27FC236}">
                <a16:creationId xmlns:a16="http://schemas.microsoft.com/office/drawing/2014/main" id="{C32ED256-0169-F324-86E5-D4EF0ABB2043}"/>
              </a:ext>
            </a:extLst>
          </p:cNvPr>
          <p:cNvSpPr/>
          <p:nvPr/>
        </p:nvSpPr>
        <p:spPr>
          <a:xfrm>
            <a:off x="11142978" y="5918053"/>
            <a:ext cx="216000" cy="144000"/>
          </a:xfrm>
          <a:prstGeom prst="chevron">
            <a:avLst/>
          </a:prstGeom>
          <a:solidFill>
            <a:srgbClr val="FF2C3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83" name="Divisa 104">
            <a:extLst>
              <a:ext uri="{FF2B5EF4-FFF2-40B4-BE49-F238E27FC236}">
                <a16:creationId xmlns:a16="http://schemas.microsoft.com/office/drawing/2014/main" id="{CBF2190F-6544-D6B2-5AFD-146B93EBE92E}"/>
              </a:ext>
            </a:extLst>
          </p:cNvPr>
          <p:cNvSpPr/>
          <p:nvPr/>
        </p:nvSpPr>
        <p:spPr>
          <a:xfrm>
            <a:off x="11142978" y="6980371"/>
            <a:ext cx="216000" cy="144000"/>
          </a:xfrm>
          <a:prstGeom prst="chevron">
            <a:avLst/>
          </a:prstGeom>
          <a:solidFill>
            <a:srgbClr val="FF2C3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84" name="Divisa 105">
            <a:extLst>
              <a:ext uri="{FF2B5EF4-FFF2-40B4-BE49-F238E27FC236}">
                <a16:creationId xmlns:a16="http://schemas.microsoft.com/office/drawing/2014/main" id="{2FF11D9F-64A9-642A-0E70-83E3D708DC00}"/>
              </a:ext>
            </a:extLst>
          </p:cNvPr>
          <p:cNvSpPr/>
          <p:nvPr/>
        </p:nvSpPr>
        <p:spPr>
          <a:xfrm>
            <a:off x="11142978" y="7953343"/>
            <a:ext cx="216000" cy="144000"/>
          </a:xfrm>
          <a:prstGeom prst="chevron">
            <a:avLst/>
          </a:prstGeom>
          <a:solidFill>
            <a:srgbClr val="FF2C3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85" name="Divisa 106">
            <a:extLst>
              <a:ext uri="{FF2B5EF4-FFF2-40B4-BE49-F238E27FC236}">
                <a16:creationId xmlns:a16="http://schemas.microsoft.com/office/drawing/2014/main" id="{C806B4E0-2232-3BF0-50B4-19BF147B541A}"/>
              </a:ext>
            </a:extLst>
          </p:cNvPr>
          <p:cNvSpPr/>
          <p:nvPr/>
        </p:nvSpPr>
        <p:spPr>
          <a:xfrm>
            <a:off x="11142978" y="8761366"/>
            <a:ext cx="216000" cy="144000"/>
          </a:xfrm>
          <a:prstGeom prst="chevron">
            <a:avLst/>
          </a:prstGeom>
          <a:solidFill>
            <a:srgbClr val="FF2C3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nvGrpSpPr>
          <p:cNvPr id="4" name="Group 24">
            <a:extLst>
              <a:ext uri="{FF2B5EF4-FFF2-40B4-BE49-F238E27FC236}">
                <a16:creationId xmlns:a16="http://schemas.microsoft.com/office/drawing/2014/main" id="{D70D0910-FF92-EEDA-D287-E0A2E887B3D3}"/>
              </a:ext>
            </a:extLst>
          </p:cNvPr>
          <p:cNvGrpSpPr/>
          <p:nvPr/>
        </p:nvGrpSpPr>
        <p:grpSpPr>
          <a:xfrm>
            <a:off x="3306453" y="1432224"/>
            <a:ext cx="612363" cy="56823"/>
            <a:chOff x="0" y="0"/>
            <a:chExt cx="1078484" cy="100076"/>
          </a:xfrm>
        </p:grpSpPr>
        <p:sp>
          <p:nvSpPr>
            <p:cNvPr id="3" name="Freeform 25">
              <a:extLst>
                <a:ext uri="{FF2B5EF4-FFF2-40B4-BE49-F238E27FC236}">
                  <a16:creationId xmlns:a16="http://schemas.microsoft.com/office/drawing/2014/main" id="{ED05C986-01B5-E112-8F76-B92E91A20057}"/>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es-ES" sz="1800" noProof="0"/>
            </a:p>
          </p:txBody>
        </p:sp>
      </p:grpSp>
    </p:spTree>
    <p:extLst>
      <p:ext uri="{BB962C8B-B14F-4D97-AF65-F5344CB8AC3E}">
        <p14:creationId xmlns:p14="http://schemas.microsoft.com/office/powerpoint/2010/main" val="3342961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Elipse 17">
            <a:extLst>
              <a:ext uri="{FF2B5EF4-FFF2-40B4-BE49-F238E27FC236}">
                <a16:creationId xmlns:a16="http://schemas.microsoft.com/office/drawing/2014/main" id="{3DD9AEEA-A1C1-E2E6-155F-ABBDCAC69870}"/>
              </a:ext>
            </a:extLst>
          </p:cNvPr>
          <p:cNvSpPr/>
          <p:nvPr/>
        </p:nvSpPr>
        <p:spPr>
          <a:xfrm>
            <a:off x="5608975" y="2553030"/>
            <a:ext cx="5777820" cy="5777820"/>
          </a:xfrm>
          <a:prstGeom prst="ellipse">
            <a:avLst/>
          </a:prstGeom>
          <a:solidFill>
            <a:srgbClr val="7D43FF"/>
          </a:solidFill>
          <a:ln>
            <a:no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white"/>
              </a:solidFill>
              <a:effectLst/>
              <a:uLnTx/>
              <a:uFillTx/>
              <a:latin typeface="Montserrat Light" panose="00000400000000000000" pitchFamily="2" charset="0"/>
              <a:ea typeface="+mn-ea"/>
              <a:cs typeface="+mn-cs"/>
              <a:sym typeface="Arial"/>
            </a:endParaRPr>
          </a:p>
        </p:txBody>
      </p:sp>
      <p:sp>
        <p:nvSpPr>
          <p:cNvPr id="17" name="Elipse 16">
            <a:extLst>
              <a:ext uri="{FF2B5EF4-FFF2-40B4-BE49-F238E27FC236}">
                <a16:creationId xmlns:a16="http://schemas.microsoft.com/office/drawing/2014/main" id="{90B51349-F533-C395-C981-DB4A36761AFE}"/>
              </a:ext>
            </a:extLst>
          </p:cNvPr>
          <p:cNvSpPr/>
          <p:nvPr/>
        </p:nvSpPr>
        <p:spPr>
          <a:xfrm>
            <a:off x="6147590" y="3630262"/>
            <a:ext cx="4700587" cy="4700587"/>
          </a:xfrm>
          <a:prstGeom prst="ellipse">
            <a:avLst/>
          </a:prstGeom>
          <a:solidFill>
            <a:srgbClr val="9565FF"/>
          </a:solidFill>
          <a:ln>
            <a:no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white"/>
              </a:solidFill>
              <a:effectLst/>
              <a:uLnTx/>
              <a:uFillTx/>
              <a:latin typeface="Montserrat Light" panose="00000400000000000000" pitchFamily="2" charset="0"/>
              <a:ea typeface="+mn-ea"/>
              <a:cs typeface="+mn-cs"/>
              <a:sym typeface="Arial"/>
            </a:endParaRPr>
          </a:p>
        </p:txBody>
      </p:sp>
      <p:sp>
        <p:nvSpPr>
          <p:cNvPr id="16" name="Elipse 15">
            <a:extLst>
              <a:ext uri="{FF2B5EF4-FFF2-40B4-BE49-F238E27FC236}">
                <a16:creationId xmlns:a16="http://schemas.microsoft.com/office/drawing/2014/main" id="{132AB224-0E27-4851-F4D4-6FFDD82286B9}"/>
              </a:ext>
            </a:extLst>
          </p:cNvPr>
          <p:cNvSpPr/>
          <p:nvPr/>
        </p:nvSpPr>
        <p:spPr>
          <a:xfrm>
            <a:off x="6754206" y="4843493"/>
            <a:ext cx="3487356" cy="3487356"/>
          </a:xfrm>
          <a:prstGeom prst="ellipse">
            <a:avLst/>
          </a:prstGeom>
          <a:solidFill>
            <a:srgbClr val="AF8BFF"/>
          </a:solidFill>
          <a:ln>
            <a:no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white"/>
              </a:solidFill>
              <a:effectLst/>
              <a:uLnTx/>
              <a:uFillTx/>
              <a:latin typeface="Montserrat Light" panose="00000400000000000000" pitchFamily="2" charset="0"/>
              <a:ea typeface="+mn-ea"/>
              <a:cs typeface="+mn-cs"/>
              <a:sym typeface="Arial"/>
            </a:endParaRPr>
          </a:p>
        </p:txBody>
      </p:sp>
      <p:sp>
        <p:nvSpPr>
          <p:cNvPr id="15" name="Elipse 14">
            <a:extLst>
              <a:ext uri="{FF2B5EF4-FFF2-40B4-BE49-F238E27FC236}">
                <a16:creationId xmlns:a16="http://schemas.microsoft.com/office/drawing/2014/main" id="{7BD6F8A7-F4A0-C96E-A44A-43C5A4AC0453}"/>
              </a:ext>
            </a:extLst>
          </p:cNvPr>
          <p:cNvSpPr/>
          <p:nvPr/>
        </p:nvSpPr>
        <p:spPr>
          <a:xfrm>
            <a:off x="7227503" y="5790086"/>
            <a:ext cx="2540763" cy="2540763"/>
          </a:xfrm>
          <a:prstGeom prst="ellipse">
            <a:avLst/>
          </a:prstGeom>
          <a:solidFill>
            <a:srgbClr val="C2A7FF"/>
          </a:solidFill>
          <a:ln>
            <a:no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white"/>
              </a:solidFill>
              <a:effectLst/>
              <a:uLnTx/>
              <a:uFillTx/>
              <a:latin typeface="Montserrat Light" panose="00000400000000000000" pitchFamily="2" charset="0"/>
              <a:ea typeface="+mn-ea"/>
              <a:cs typeface="+mn-cs"/>
              <a:sym typeface="Arial"/>
            </a:endParaRPr>
          </a:p>
        </p:txBody>
      </p:sp>
      <p:sp>
        <p:nvSpPr>
          <p:cNvPr id="14" name="Elipse 13">
            <a:extLst>
              <a:ext uri="{FF2B5EF4-FFF2-40B4-BE49-F238E27FC236}">
                <a16:creationId xmlns:a16="http://schemas.microsoft.com/office/drawing/2014/main" id="{CF0D0607-3A8E-B9A2-93BE-576FBAAF0E76}"/>
              </a:ext>
            </a:extLst>
          </p:cNvPr>
          <p:cNvSpPr/>
          <p:nvPr/>
        </p:nvSpPr>
        <p:spPr>
          <a:xfrm>
            <a:off x="7654920" y="6644924"/>
            <a:ext cx="1685925" cy="1685925"/>
          </a:xfrm>
          <a:prstGeom prst="ellipse">
            <a:avLst/>
          </a:prstGeom>
          <a:gradFill flip="none" rotWithShape="1">
            <a:gsLst>
              <a:gs pos="0">
                <a:schemeClr val="accent1">
                  <a:lumMod val="5000"/>
                  <a:lumOff val="95000"/>
                </a:schemeClr>
              </a:gs>
              <a:gs pos="64000">
                <a:srgbClr val="D2BDFF"/>
              </a:gs>
            </a:gsLst>
            <a:path path="circle">
              <a:fillToRect l="50000" t="50000" r="50000" b="50000"/>
            </a:path>
            <a:tileRect/>
          </a:gradFill>
          <a:ln>
            <a:no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65000"/>
                    <a:lumOff val="35000"/>
                  </a:prstClr>
                </a:solidFill>
                <a:effectLst/>
                <a:uLnTx/>
                <a:uFillTx/>
                <a:latin typeface="Montserrat Light" panose="00000400000000000000" pitchFamily="2" charset="0"/>
                <a:ea typeface="+mn-ea"/>
                <a:cs typeface="+mn-cs"/>
                <a:sym typeface="Arial"/>
              </a:rPr>
              <a:t>Tools and Process</a:t>
            </a:r>
          </a:p>
        </p:txBody>
      </p:sp>
      <p:sp>
        <p:nvSpPr>
          <p:cNvPr id="21" name="CaixaDeTexto 20">
            <a:extLst>
              <a:ext uri="{FF2B5EF4-FFF2-40B4-BE49-F238E27FC236}">
                <a16:creationId xmlns:a16="http://schemas.microsoft.com/office/drawing/2014/main" id="{B768ADC4-B54A-89FD-ADCB-5A22B837B94C}"/>
              </a:ext>
            </a:extLst>
          </p:cNvPr>
          <p:cNvSpPr txBox="1"/>
          <p:nvPr/>
        </p:nvSpPr>
        <p:spPr>
          <a:xfrm>
            <a:off x="7576339" y="6005155"/>
            <a:ext cx="1843088"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Montserrat Light" panose="00000400000000000000" pitchFamily="2" charset="0"/>
                <a:ea typeface="+mn-ea"/>
                <a:cs typeface="Arial"/>
                <a:sym typeface="Arial"/>
              </a:rPr>
              <a:t>Practices and techniques</a:t>
            </a:r>
          </a:p>
        </p:txBody>
      </p:sp>
      <p:sp>
        <p:nvSpPr>
          <p:cNvPr id="24" name="CaixaDeTexto 23">
            <a:extLst>
              <a:ext uri="{FF2B5EF4-FFF2-40B4-BE49-F238E27FC236}">
                <a16:creationId xmlns:a16="http://schemas.microsoft.com/office/drawing/2014/main" id="{207F08FE-DFA3-503E-5056-BDAEEFFD99A8}"/>
              </a:ext>
            </a:extLst>
          </p:cNvPr>
          <p:cNvSpPr txBox="1"/>
          <p:nvPr/>
        </p:nvSpPr>
        <p:spPr>
          <a:xfrm>
            <a:off x="7740647" y="5175691"/>
            <a:ext cx="1514475"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Montserrat Light" panose="00000400000000000000" pitchFamily="2" charset="0"/>
                <a:ea typeface="+mn-ea"/>
                <a:cs typeface="Arial"/>
                <a:sym typeface="Arial"/>
              </a:rPr>
              <a:t>Principles</a:t>
            </a:r>
            <a:endParaRPr kumimoji="0" lang="en-US" sz="1600" b="0" i="0" u="none" strike="noStrike" kern="1200" cap="none" spc="0" normalizeH="0" baseline="0" noProof="0">
              <a:ln>
                <a:noFill/>
              </a:ln>
              <a:solidFill>
                <a:prstClr val="black"/>
              </a:solidFill>
              <a:effectLst/>
              <a:uLnTx/>
              <a:uFillTx/>
              <a:latin typeface="Calibri"/>
              <a:ea typeface="+mn-ea"/>
              <a:cs typeface="Arial"/>
              <a:sym typeface="Arial"/>
            </a:endParaRPr>
          </a:p>
        </p:txBody>
      </p:sp>
      <p:sp>
        <p:nvSpPr>
          <p:cNvPr id="25" name="CaixaDeTexto 24">
            <a:extLst>
              <a:ext uri="{FF2B5EF4-FFF2-40B4-BE49-F238E27FC236}">
                <a16:creationId xmlns:a16="http://schemas.microsoft.com/office/drawing/2014/main" id="{C3D75EB3-1037-F593-B198-A893F9F44A17}"/>
              </a:ext>
            </a:extLst>
          </p:cNvPr>
          <p:cNvSpPr txBox="1"/>
          <p:nvPr/>
        </p:nvSpPr>
        <p:spPr>
          <a:xfrm>
            <a:off x="7740647" y="4129244"/>
            <a:ext cx="1514475"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Montserrat Light" panose="00000400000000000000" pitchFamily="2" charset="0"/>
                <a:ea typeface="+mn-ea"/>
                <a:cs typeface="Arial"/>
                <a:sym typeface="Arial"/>
              </a:rPr>
              <a:t>Values</a:t>
            </a:r>
            <a:endParaRPr kumimoji="0" lang="en-US" sz="1600" b="0" i="0" u="none" strike="noStrike" kern="1200" cap="none" spc="0" normalizeH="0" baseline="0" noProof="0">
              <a:ln>
                <a:noFill/>
              </a:ln>
              <a:solidFill>
                <a:prstClr val="black"/>
              </a:solidFill>
              <a:effectLst/>
              <a:uLnTx/>
              <a:uFillTx/>
              <a:latin typeface="Calibri"/>
              <a:ea typeface="+mn-ea"/>
              <a:cs typeface="Arial"/>
              <a:sym typeface="Arial"/>
            </a:endParaRPr>
          </a:p>
        </p:txBody>
      </p:sp>
      <p:sp>
        <p:nvSpPr>
          <p:cNvPr id="28" name="CaixaDeTexto 27">
            <a:extLst>
              <a:ext uri="{FF2B5EF4-FFF2-40B4-BE49-F238E27FC236}">
                <a16:creationId xmlns:a16="http://schemas.microsoft.com/office/drawing/2014/main" id="{14342932-BA8A-3E38-5559-F342F1FFAC92}"/>
              </a:ext>
            </a:extLst>
          </p:cNvPr>
          <p:cNvSpPr txBox="1"/>
          <p:nvPr/>
        </p:nvSpPr>
        <p:spPr>
          <a:xfrm>
            <a:off x="7740647" y="2975236"/>
            <a:ext cx="1514475"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Montserrat Light" panose="00000400000000000000" pitchFamily="2" charset="0"/>
                <a:ea typeface="+mn-ea"/>
                <a:cs typeface="Arial"/>
                <a:sym typeface="Arial"/>
              </a:rPr>
              <a:t>Mindset</a:t>
            </a:r>
            <a:endParaRPr kumimoji="0" lang="en-US" sz="1600" b="0" i="0" u="none" strike="noStrike" kern="1200" cap="none" spc="0" normalizeH="0" baseline="0" noProof="0">
              <a:ln>
                <a:noFill/>
              </a:ln>
              <a:solidFill>
                <a:prstClr val="black"/>
              </a:solidFill>
              <a:effectLst/>
              <a:uLnTx/>
              <a:uFillTx/>
              <a:latin typeface="Calibri"/>
              <a:ea typeface="+mn-ea"/>
              <a:cs typeface="Arial"/>
              <a:sym typeface="Arial"/>
            </a:endParaRPr>
          </a:p>
        </p:txBody>
      </p:sp>
      <p:cxnSp>
        <p:nvCxnSpPr>
          <p:cNvPr id="30" name="Conector reto 29">
            <a:extLst>
              <a:ext uri="{FF2B5EF4-FFF2-40B4-BE49-F238E27FC236}">
                <a16:creationId xmlns:a16="http://schemas.microsoft.com/office/drawing/2014/main" id="{72546C35-61CC-AFE1-370D-640FDB456AED}"/>
              </a:ext>
            </a:extLst>
          </p:cNvPr>
          <p:cNvCxnSpPr>
            <a:cxnSpLocks/>
          </p:cNvCxnSpPr>
          <p:nvPr/>
        </p:nvCxnSpPr>
        <p:spPr>
          <a:xfrm>
            <a:off x="5411785" y="5675786"/>
            <a:ext cx="6465155" cy="0"/>
          </a:xfrm>
          <a:prstGeom prst="line">
            <a:avLst/>
          </a:prstGeom>
          <a:ln w="285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35" name="Chave Esquerda 34">
            <a:extLst>
              <a:ext uri="{FF2B5EF4-FFF2-40B4-BE49-F238E27FC236}">
                <a16:creationId xmlns:a16="http://schemas.microsoft.com/office/drawing/2014/main" id="{2C637D03-0F48-F4DE-CA0B-062B790D9393}"/>
              </a:ext>
            </a:extLst>
          </p:cNvPr>
          <p:cNvSpPr/>
          <p:nvPr/>
        </p:nvSpPr>
        <p:spPr>
          <a:xfrm>
            <a:off x="4975110" y="2510876"/>
            <a:ext cx="400050" cy="2916776"/>
          </a:xfrm>
          <a:prstGeom prst="leftBrace">
            <a:avLst>
              <a:gd name="adj1" fmla="val 0"/>
              <a:gd name="adj2" fmla="val 50000"/>
            </a:avLst>
          </a:prstGeom>
          <a:ln>
            <a:solidFill>
              <a:srgbClr val="6800FF"/>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sym typeface="Arial"/>
            </a:endParaRPr>
          </a:p>
        </p:txBody>
      </p:sp>
      <p:sp>
        <p:nvSpPr>
          <p:cNvPr id="36" name="Chave Esquerda 35">
            <a:extLst>
              <a:ext uri="{FF2B5EF4-FFF2-40B4-BE49-F238E27FC236}">
                <a16:creationId xmlns:a16="http://schemas.microsoft.com/office/drawing/2014/main" id="{FEFB067E-E6AC-B3B2-4408-913688C7AD95}"/>
              </a:ext>
            </a:extLst>
          </p:cNvPr>
          <p:cNvSpPr/>
          <p:nvPr/>
        </p:nvSpPr>
        <p:spPr>
          <a:xfrm>
            <a:off x="4975110" y="5790006"/>
            <a:ext cx="400050" cy="2369393"/>
          </a:xfrm>
          <a:prstGeom prst="leftBrace">
            <a:avLst>
              <a:gd name="adj1" fmla="val 0"/>
              <a:gd name="adj2" fmla="val 50000"/>
            </a:avLst>
          </a:prstGeom>
          <a:ln>
            <a:solidFill>
              <a:srgbClr val="6800FF"/>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sym typeface="Arial"/>
            </a:endParaRPr>
          </a:p>
        </p:txBody>
      </p:sp>
      <p:sp>
        <p:nvSpPr>
          <p:cNvPr id="37" name="CaixaDeTexto 36">
            <a:extLst>
              <a:ext uri="{FF2B5EF4-FFF2-40B4-BE49-F238E27FC236}">
                <a16:creationId xmlns:a16="http://schemas.microsoft.com/office/drawing/2014/main" id="{94E7B6E9-EC1A-0F1D-9C25-44D75CE43D15}"/>
              </a:ext>
            </a:extLst>
          </p:cNvPr>
          <p:cNvSpPr txBox="1"/>
          <p:nvPr/>
        </p:nvSpPr>
        <p:spPr>
          <a:xfrm>
            <a:off x="1452467" y="3738431"/>
            <a:ext cx="2666114"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Montserrat Light" panose="00000400000000000000" pitchFamily="2" charset="0"/>
                <a:ea typeface="+mn-ea"/>
                <a:cs typeface="Arial"/>
                <a:sym typeface="Arial"/>
              </a:rPr>
              <a:t>Being Agile Way</a:t>
            </a:r>
          </a:p>
        </p:txBody>
      </p:sp>
      <p:sp>
        <p:nvSpPr>
          <p:cNvPr id="38" name="CaixaDeTexto 37">
            <a:extLst>
              <a:ext uri="{FF2B5EF4-FFF2-40B4-BE49-F238E27FC236}">
                <a16:creationId xmlns:a16="http://schemas.microsoft.com/office/drawing/2014/main" id="{AF23B648-C1BF-05AA-C50A-442EAF077D52}"/>
              </a:ext>
            </a:extLst>
          </p:cNvPr>
          <p:cNvSpPr txBox="1"/>
          <p:nvPr/>
        </p:nvSpPr>
        <p:spPr>
          <a:xfrm>
            <a:off x="1439643" y="6743869"/>
            <a:ext cx="2694969"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Montserrat Light" panose="00000400000000000000" pitchFamily="2" charset="0"/>
                <a:ea typeface="+mn-ea"/>
                <a:cs typeface="Arial"/>
                <a:sym typeface="Arial"/>
              </a:rPr>
              <a:t>Doing Agile Way</a:t>
            </a:r>
          </a:p>
        </p:txBody>
      </p:sp>
      <p:sp>
        <p:nvSpPr>
          <p:cNvPr id="41" name="CaixaDeTexto 40">
            <a:extLst>
              <a:ext uri="{FF2B5EF4-FFF2-40B4-BE49-F238E27FC236}">
                <a16:creationId xmlns:a16="http://schemas.microsoft.com/office/drawing/2014/main" id="{E182FE2B-8958-604E-DC56-F9F1A056B4A2}"/>
              </a:ext>
            </a:extLst>
          </p:cNvPr>
          <p:cNvSpPr txBox="1"/>
          <p:nvPr/>
        </p:nvSpPr>
        <p:spPr>
          <a:xfrm>
            <a:off x="11876940" y="5475731"/>
            <a:ext cx="2105063"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Montserrat Light" panose="00000400000000000000" pitchFamily="2" charset="0"/>
                <a:ea typeface="+mn-ea"/>
                <a:cs typeface="Arial"/>
                <a:sym typeface="Arial"/>
              </a:rPr>
              <a:t>Adoption Effort</a:t>
            </a:r>
          </a:p>
        </p:txBody>
      </p:sp>
      <p:sp>
        <p:nvSpPr>
          <p:cNvPr id="42" name="Retângulo: Cantos Arredondados 41">
            <a:extLst>
              <a:ext uri="{FF2B5EF4-FFF2-40B4-BE49-F238E27FC236}">
                <a16:creationId xmlns:a16="http://schemas.microsoft.com/office/drawing/2014/main" id="{1F5F860B-2060-FB93-067D-D934904BA503}"/>
              </a:ext>
            </a:extLst>
          </p:cNvPr>
          <p:cNvSpPr/>
          <p:nvPr/>
        </p:nvSpPr>
        <p:spPr>
          <a:xfrm>
            <a:off x="12046012" y="2511641"/>
            <a:ext cx="1766920" cy="463595"/>
          </a:xfrm>
          <a:prstGeom prst="roundRect">
            <a:avLst>
              <a:gd name="adj" fmla="val 50000"/>
            </a:avLst>
          </a:prstGeom>
          <a:solidFill>
            <a:srgbClr val="FF3B3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Montserrat Light" panose="00000400000000000000" pitchFamily="2" charset="0"/>
                <a:ea typeface="+mn-ea"/>
                <a:cs typeface="+mn-cs"/>
                <a:sym typeface="Arial"/>
              </a:rPr>
              <a:t>Hard</a:t>
            </a:r>
          </a:p>
        </p:txBody>
      </p:sp>
      <p:sp>
        <p:nvSpPr>
          <p:cNvPr id="43" name="Retângulo: Cantos Arredondados 42">
            <a:extLst>
              <a:ext uri="{FF2B5EF4-FFF2-40B4-BE49-F238E27FC236}">
                <a16:creationId xmlns:a16="http://schemas.microsoft.com/office/drawing/2014/main" id="{5CFAD2FD-B852-8C90-3B39-2065429E19DA}"/>
              </a:ext>
            </a:extLst>
          </p:cNvPr>
          <p:cNvSpPr/>
          <p:nvPr/>
        </p:nvSpPr>
        <p:spPr>
          <a:xfrm>
            <a:off x="12046012" y="7867254"/>
            <a:ext cx="1766920" cy="463595"/>
          </a:xfrm>
          <a:prstGeom prst="roundRect">
            <a:avLst>
              <a:gd name="adj" fmla="val 50000"/>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Montserrat Light" panose="00000400000000000000" pitchFamily="2" charset="0"/>
                <a:ea typeface="+mn-ea"/>
                <a:cs typeface="+mn-cs"/>
                <a:sym typeface="Arial"/>
              </a:rPr>
              <a:t>Easy</a:t>
            </a:r>
          </a:p>
        </p:txBody>
      </p:sp>
      <p:cxnSp>
        <p:nvCxnSpPr>
          <p:cNvPr id="45" name="Conector de Seta Reta 44">
            <a:extLst>
              <a:ext uri="{FF2B5EF4-FFF2-40B4-BE49-F238E27FC236}">
                <a16:creationId xmlns:a16="http://schemas.microsoft.com/office/drawing/2014/main" id="{E79ACD58-DB23-9A3F-09B9-F8EBEB46F296}"/>
              </a:ext>
            </a:extLst>
          </p:cNvPr>
          <p:cNvCxnSpPr>
            <a:cxnSpLocks/>
          </p:cNvCxnSpPr>
          <p:nvPr/>
        </p:nvCxnSpPr>
        <p:spPr>
          <a:xfrm flipV="1">
            <a:off x="12929472" y="2975236"/>
            <a:ext cx="0" cy="2500495"/>
          </a:xfrm>
          <a:prstGeom prst="straightConnector1">
            <a:avLst/>
          </a:prstGeom>
          <a:ln w="28575">
            <a:solidFill>
              <a:schemeClr val="bg1">
                <a:lumMod val="7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7" name="Conector de Seta Reta 46">
            <a:extLst>
              <a:ext uri="{FF2B5EF4-FFF2-40B4-BE49-F238E27FC236}">
                <a16:creationId xmlns:a16="http://schemas.microsoft.com/office/drawing/2014/main" id="{D78A6A48-81C1-821D-36E5-CBED80310F9A}"/>
              </a:ext>
            </a:extLst>
          </p:cNvPr>
          <p:cNvCxnSpPr>
            <a:cxnSpLocks/>
          </p:cNvCxnSpPr>
          <p:nvPr/>
        </p:nvCxnSpPr>
        <p:spPr>
          <a:xfrm>
            <a:off x="12929472" y="5875841"/>
            <a:ext cx="0" cy="1991413"/>
          </a:xfrm>
          <a:prstGeom prst="straightConnector1">
            <a:avLst/>
          </a:prstGeom>
          <a:ln w="28575">
            <a:solidFill>
              <a:schemeClr val="bg1">
                <a:lumMod val="7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57" name="CaixaDeTexto 56">
            <a:extLst>
              <a:ext uri="{FF2B5EF4-FFF2-40B4-BE49-F238E27FC236}">
                <a16:creationId xmlns:a16="http://schemas.microsoft.com/office/drawing/2014/main" id="{8B953E04-DB71-D4A4-FC8A-BBB74D69087C}"/>
              </a:ext>
            </a:extLst>
          </p:cNvPr>
          <p:cNvSpPr txBox="1"/>
          <p:nvPr/>
        </p:nvSpPr>
        <p:spPr>
          <a:xfrm>
            <a:off x="13181595" y="3359809"/>
            <a:ext cx="3175824" cy="160043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ontserrat Light" panose="00000400000000000000" pitchFamily="2" charset="0"/>
                <a:ea typeface="+mn-ea"/>
                <a:cs typeface="Arial"/>
                <a:sym typeface="Arial"/>
              </a:rPr>
              <a:t>Requires greater commitment from the Boar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ontserrat Light" panose="00000400000000000000" pitchFamily="2" charset="0"/>
                <a:ea typeface="+mn-ea"/>
                <a:cs typeface="Arial"/>
                <a:sym typeface="Arial"/>
              </a:rPr>
              <a:t>Skill in </a:t>
            </a:r>
            <a:r>
              <a:rPr kumimoji="0" lang="en-US" sz="1400" b="1" i="0" u="none" strike="noStrike" kern="1200" cap="none" spc="0" normalizeH="0" baseline="0" noProof="0">
                <a:ln>
                  <a:noFill/>
                </a:ln>
                <a:solidFill>
                  <a:prstClr val="black"/>
                </a:solidFill>
                <a:effectLst/>
                <a:uLnTx/>
                <a:uFillTx/>
                <a:latin typeface="Montserrat Light" panose="00000400000000000000" pitchFamily="2" charset="0"/>
                <a:ea typeface="+mn-ea"/>
                <a:cs typeface="Arial"/>
                <a:sym typeface="Arial"/>
              </a:rPr>
              <a:t>organizational ambidexter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ontserrat Light" panose="00000400000000000000" pitchFamily="2" charset="0"/>
                <a:ea typeface="+mn-ea"/>
                <a:cs typeface="Arial"/>
                <a:sym typeface="Arial"/>
              </a:rPr>
              <a:t>Executive support and c-level engagem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ontserrat Light" panose="00000400000000000000" pitchFamily="2" charset="0"/>
                <a:ea typeface="+mn-ea"/>
                <a:cs typeface="Arial"/>
                <a:sym typeface="Arial"/>
              </a:rPr>
              <a:t>Organizational culture</a:t>
            </a:r>
          </a:p>
        </p:txBody>
      </p:sp>
      <p:sp>
        <p:nvSpPr>
          <p:cNvPr id="66" name="CaixaDeTexto 65">
            <a:extLst>
              <a:ext uri="{FF2B5EF4-FFF2-40B4-BE49-F238E27FC236}">
                <a16:creationId xmlns:a16="http://schemas.microsoft.com/office/drawing/2014/main" id="{94A3A581-61F9-0240-A769-F11710B5FCA0}"/>
              </a:ext>
            </a:extLst>
          </p:cNvPr>
          <p:cNvSpPr txBox="1"/>
          <p:nvPr/>
        </p:nvSpPr>
        <p:spPr>
          <a:xfrm>
            <a:off x="13181594" y="6159093"/>
            <a:ext cx="3413071" cy="1169551"/>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ontserrat Light" panose="00000400000000000000" pitchFamily="2" charset="0"/>
                <a:ea typeface="+mn-ea"/>
                <a:cs typeface="Arial"/>
                <a:sym typeface="Arial"/>
              </a:rPr>
              <a:t>Are they just team practic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ontserrat Light" panose="00000400000000000000" pitchFamily="2" charset="0"/>
                <a:ea typeface="+mn-ea"/>
                <a:cs typeface="Arial"/>
                <a:sym typeface="Arial"/>
              </a:rPr>
              <a:t>Scaled method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ontserrat Light" panose="00000400000000000000" pitchFamily="2" charset="0"/>
                <a:ea typeface="+mn-ea"/>
                <a:cs typeface="Arial"/>
                <a:sym typeface="Arial"/>
              </a:rPr>
              <a:t>Local, departmental resul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ontserrat Light" panose="00000400000000000000" pitchFamily="2" charset="0"/>
                <a:ea typeface="+mn-ea"/>
                <a:cs typeface="Arial"/>
                <a:sym typeface="Arial"/>
              </a:rPr>
              <a:t>Market tool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ontserrat Light" panose="00000400000000000000" pitchFamily="2" charset="0"/>
                <a:ea typeface="+mn-ea"/>
                <a:cs typeface="Arial"/>
                <a:sym typeface="Arial"/>
              </a:rPr>
              <a:t>Membership and engagement</a:t>
            </a:r>
          </a:p>
        </p:txBody>
      </p:sp>
      <p:pic>
        <p:nvPicPr>
          <p:cNvPr id="3" name="object 2" descr="Imagem em preto e branco&#10;&#10;O conteúdo gerado por IA pode estar incorreto.">
            <a:extLst>
              <a:ext uri="{FF2B5EF4-FFF2-40B4-BE49-F238E27FC236}">
                <a16:creationId xmlns:a16="http://schemas.microsoft.com/office/drawing/2014/main" id="{18AF7533-B9DF-B9AC-CC6A-22FAEE09E0B0}"/>
              </a:ext>
            </a:extLst>
          </p:cNvPr>
          <p:cNvPicPr/>
          <p:nvPr/>
        </p:nvPicPr>
        <p:blipFill>
          <a:blip r:embed="rId2" cstate="print">
            <a:alphaModFix amt="4000"/>
          </a:blip>
          <a:stretch>
            <a:fillRect/>
          </a:stretch>
        </p:blipFill>
        <p:spPr>
          <a:xfrm>
            <a:off x="3867" y="0"/>
            <a:ext cx="4146331" cy="10287000"/>
          </a:xfrm>
          <a:prstGeom prst="rect">
            <a:avLst/>
          </a:prstGeom>
        </p:spPr>
      </p:pic>
      <p:sp>
        <p:nvSpPr>
          <p:cNvPr id="6" name="Google Shape;875;p28">
            <a:extLst>
              <a:ext uri="{FF2B5EF4-FFF2-40B4-BE49-F238E27FC236}">
                <a16:creationId xmlns:a16="http://schemas.microsoft.com/office/drawing/2014/main" id="{B5D5031E-923F-B416-FA58-A8995F16411A}"/>
              </a:ext>
            </a:extLst>
          </p:cNvPr>
          <p:cNvSpPr txBox="1"/>
          <p:nvPr/>
        </p:nvSpPr>
        <p:spPr>
          <a:xfrm>
            <a:off x="716348" y="773013"/>
            <a:ext cx="8273270" cy="615553"/>
          </a:xfrm>
          <a:prstGeom prst="rect">
            <a:avLst/>
          </a:prstGeom>
          <a:noFill/>
          <a:ln>
            <a:noFill/>
          </a:ln>
        </p:spPr>
        <p:txBody>
          <a:bodyPr spcFirstLastPara="1" wrap="square" lIns="0" tIns="0" rIns="0" bIns="0" anchor="t" anchorCtr="0">
            <a:spAutoFit/>
          </a:bodyPr>
          <a:lstStyle/>
          <a:p>
            <a:r>
              <a:rPr lang="en-US" sz="4000" b="1">
                <a:latin typeface="Montserrat"/>
              </a:rPr>
              <a:t>Be </a:t>
            </a:r>
            <a:r>
              <a:rPr lang="en-US" sz="4000" b="1" i="1">
                <a:solidFill>
                  <a:srgbClr val="6816FF"/>
                </a:solidFill>
                <a:latin typeface="Montserrat"/>
              </a:rPr>
              <a:t>AGILE</a:t>
            </a:r>
            <a:endParaRPr lang="pt-BR" i="1">
              <a:solidFill>
                <a:srgbClr val="6816FF"/>
              </a:solidFill>
            </a:endParaRPr>
          </a:p>
        </p:txBody>
      </p:sp>
      <p:grpSp>
        <p:nvGrpSpPr>
          <p:cNvPr id="9" name="Group 7">
            <a:extLst>
              <a:ext uri="{FF2B5EF4-FFF2-40B4-BE49-F238E27FC236}">
                <a16:creationId xmlns:a16="http://schemas.microsoft.com/office/drawing/2014/main" id="{6CD0B60C-F6E7-BFA7-700D-3A8B588A1BC1}"/>
              </a:ext>
            </a:extLst>
          </p:cNvPr>
          <p:cNvGrpSpPr/>
          <p:nvPr/>
        </p:nvGrpSpPr>
        <p:grpSpPr>
          <a:xfrm>
            <a:off x="3262618" y="1192304"/>
            <a:ext cx="612363" cy="56823"/>
            <a:chOff x="0" y="0"/>
            <a:chExt cx="1078484" cy="100076"/>
          </a:xfrm>
        </p:grpSpPr>
        <p:sp>
          <p:nvSpPr>
            <p:cNvPr id="8" name="Freeform 8">
              <a:extLst>
                <a:ext uri="{FF2B5EF4-FFF2-40B4-BE49-F238E27FC236}">
                  <a16:creationId xmlns:a16="http://schemas.microsoft.com/office/drawing/2014/main" id="{3EC87F87-89F0-819C-1183-CC59E86FF6EE}"/>
                </a:ext>
              </a:extLst>
            </p:cNvPr>
            <p:cNvSpPr/>
            <p:nvPr/>
          </p:nvSpPr>
          <p:spPr>
            <a:xfrm>
              <a:off x="0" y="0"/>
              <a:ext cx="1078484" cy="100076"/>
            </a:xfrm>
            <a:custGeom>
              <a:avLst/>
              <a:gdLst/>
              <a:ahLst/>
              <a:cxnLst/>
              <a:rect l="l" t="t" r="r" b="b"/>
              <a:pathLst>
                <a:path w="1078484" h="100076">
                  <a:moveTo>
                    <a:pt x="0" y="50038"/>
                  </a:moveTo>
                  <a:cubicBezTo>
                    <a:pt x="0" y="22352"/>
                    <a:pt x="22352" y="0"/>
                    <a:pt x="50038" y="0"/>
                  </a:cubicBezTo>
                  <a:lnTo>
                    <a:pt x="1028446" y="0"/>
                  </a:lnTo>
                  <a:cubicBezTo>
                    <a:pt x="1056005" y="0"/>
                    <a:pt x="1078484" y="22352"/>
                    <a:pt x="1078484" y="50038"/>
                  </a:cubicBezTo>
                  <a:cubicBezTo>
                    <a:pt x="1078484" y="77724"/>
                    <a:pt x="1056132" y="100076"/>
                    <a:pt x="1028446" y="100076"/>
                  </a:cubicBezTo>
                  <a:lnTo>
                    <a:pt x="50038" y="100076"/>
                  </a:lnTo>
                  <a:cubicBezTo>
                    <a:pt x="22352" y="99949"/>
                    <a:pt x="0" y="77597"/>
                    <a:pt x="0" y="50038"/>
                  </a:cubicBezTo>
                  <a:close/>
                </a:path>
              </a:pathLst>
            </a:custGeom>
            <a:gradFill rotWithShape="1">
              <a:gsLst>
                <a:gs pos="0">
                  <a:srgbClr val="FF2C34">
                    <a:alpha val="100000"/>
                  </a:srgbClr>
                </a:gs>
                <a:gs pos="100000">
                  <a:srgbClr val="6800FF">
                    <a:alpha val="100000"/>
                  </a:srgbClr>
                </a:gs>
              </a:gsLst>
              <a:lin ang="317874"/>
            </a:gradFill>
          </p:spPr>
          <p:txBody>
            <a:bodyPr/>
            <a:lstStyle/>
            <a:p>
              <a:endParaRPr lang="pt-BR"/>
            </a:p>
          </p:txBody>
        </p:sp>
      </p:grpSp>
    </p:spTree>
    <p:extLst>
      <p:ext uri="{BB962C8B-B14F-4D97-AF65-F5344CB8AC3E}">
        <p14:creationId xmlns:p14="http://schemas.microsoft.com/office/powerpoint/2010/main" val="13900515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EE4P_TEMPLATESTYLE" val="3"/>
</p:tagLst>
</file>

<file path=ppt/tags/tag6.xml><?xml version="1.0" encoding="utf-8"?>
<p:tagLst xmlns:a="http://schemas.openxmlformats.org/drawingml/2006/main" xmlns:r="http://schemas.openxmlformats.org/officeDocument/2006/relationships" xmlns:p="http://schemas.openxmlformats.org/presentationml/2006/main">
  <p:tag name="EE4P_TEMPLATESTYLE" val="13"/>
</p:tagLst>
</file>

<file path=ppt/tags/tag7.xml><?xml version="1.0" encoding="utf-8"?>
<p:tagLst xmlns:a="http://schemas.openxmlformats.org/drawingml/2006/main" xmlns:r="http://schemas.openxmlformats.org/officeDocument/2006/relationships" xmlns:p="http://schemas.openxmlformats.org/presentationml/2006/main">
  <p:tag name="EE4P_TEMPLATESTYLE" val="13"/>
</p:tagLst>
</file>

<file path=ppt/tags/tag8.xml><?xml version="1.0" encoding="utf-8"?>
<p:tagLst xmlns:a="http://schemas.openxmlformats.org/drawingml/2006/main" xmlns:r="http://schemas.openxmlformats.org/officeDocument/2006/relationships" xmlns:p="http://schemas.openxmlformats.org/presentationml/2006/main">
  <p:tag name="EE4P_TEMPLATESTYLE" val="13"/>
</p:tagLst>
</file>

<file path=ppt/theme/theme1.xml><?xml version="1.0" encoding="utf-8"?>
<a:theme xmlns:a="http://schemas.openxmlformats.org/drawingml/2006/main" name="1_Simple Dark">
  <a:themeElements>
    <a:clrScheme name="Simple Dark">
      <a:dk1>
        <a:srgbClr val="FFFFFF"/>
      </a:dk1>
      <a:lt1>
        <a:srgbClr val="212121"/>
      </a:lt1>
      <a:dk2>
        <a:srgbClr val="303030"/>
      </a:dk2>
      <a:lt2>
        <a:srgbClr val="ADADAD"/>
      </a:lt2>
      <a:accent1>
        <a:srgbClr val="009688"/>
      </a:accent1>
      <a:accent2>
        <a:srgbClr val="EEEEEE"/>
      </a:accent2>
      <a:accent3>
        <a:srgbClr val="78909C"/>
      </a:accent3>
      <a:accent4>
        <a:srgbClr val="FFAB40"/>
      </a:accent4>
      <a:accent5>
        <a:srgbClr val="4DD0E1"/>
      </a:accent5>
      <a:accent6>
        <a:srgbClr val="EEFF41"/>
      </a:accent6>
      <a:hlink>
        <a:srgbClr val="4DD0E1"/>
      </a:hlink>
      <a:folHlink>
        <a:srgbClr val="4DD0E1"/>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Tema do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Simple Dark">
  <a:themeElements>
    <a:clrScheme name="Simple Dark">
      <a:dk1>
        <a:srgbClr val="FFFFFF"/>
      </a:dk1>
      <a:lt1>
        <a:srgbClr val="212121"/>
      </a:lt1>
      <a:dk2>
        <a:srgbClr val="303030"/>
      </a:dk2>
      <a:lt2>
        <a:srgbClr val="ADADAD"/>
      </a:lt2>
      <a:accent1>
        <a:srgbClr val="009688"/>
      </a:accent1>
      <a:accent2>
        <a:srgbClr val="EEEEEE"/>
      </a:accent2>
      <a:accent3>
        <a:srgbClr val="78909C"/>
      </a:accent3>
      <a:accent4>
        <a:srgbClr val="FFAB40"/>
      </a:accent4>
      <a:accent5>
        <a:srgbClr val="4DD0E1"/>
      </a:accent5>
      <a:accent6>
        <a:srgbClr val="EEFF41"/>
      </a:accent6>
      <a:hlink>
        <a:srgbClr val="4DD0E1"/>
      </a:hlink>
      <a:folHlink>
        <a:srgbClr val="4DD0E1"/>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4285F4"/>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Simple Light">
  <a:themeElements>
    <a:clrScheme name="Simple Light">
      <a:dk1>
        <a:srgbClr val="000000"/>
      </a:dk1>
      <a:lt1>
        <a:srgbClr val="FFFFFF"/>
      </a:lt1>
      <a:dk2>
        <a:srgbClr val="595959"/>
      </a:dk2>
      <a:lt2>
        <a:srgbClr val="EEEEEE"/>
      </a:lt2>
      <a:accent1>
        <a:srgbClr val="4285F4"/>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3_Simple Light">
  <a:themeElements>
    <a:clrScheme name="Simple Light">
      <a:dk1>
        <a:srgbClr val="000000"/>
      </a:dk1>
      <a:lt1>
        <a:srgbClr val="FFFFFF"/>
      </a:lt1>
      <a:dk2>
        <a:srgbClr val="595959"/>
      </a:dk2>
      <a:lt2>
        <a:srgbClr val="EEEEEE"/>
      </a:lt2>
      <a:accent1>
        <a:srgbClr val="4285F4"/>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Simple Dark">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11afa612-bd3e-45fc-88a8-7073d6328b3e" xsi:nil="true"/>
    <lcf76f155ced4ddcb4097134ff3c332f xmlns="f72e885e-944a-44b1-8e3c-99863fda79fa">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o" ma:contentTypeID="0x010100C5C969B5AB55EF4990551EDE8C8C05B2" ma:contentTypeVersion="14" ma:contentTypeDescription="Crie um novo documento." ma:contentTypeScope="" ma:versionID="27cb263d9d80d16a6e83684c3b5369cd">
  <xsd:schema xmlns:xsd="http://www.w3.org/2001/XMLSchema" xmlns:xs="http://www.w3.org/2001/XMLSchema" xmlns:p="http://schemas.microsoft.com/office/2006/metadata/properties" xmlns:ns2="f72e885e-944a-44b1-8e3c-99863fda79fa" xmlns:ns3="11afa612-bd3e-45fc-88a8-7073d6328b3e" targetNamespace="http://schemas.microsoft.com/office/2006/metadata/properties" ma:root="true" ma:fieldsID="f31d37f43e8b483f4e67582052f57c68" ns2:_="" ns3:_="">
    <xsd:import namespace="f72e885e-944a-44b1-8e3c-99863fda79fa"/>
    <xsd:import namespace="11afa612-bd3e-45fc-88a8-7073d6328b3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72e885e-944a-44b1-8e3c-99863fda79f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5" nillable="true" ma:taxonomy="true" ma:internalName="lcf76f155ced4ddcb4097134ff3c332f" ma:taxonomyFieldName="MediaServiceImageTags" ma:displayName="Marcações de imagem" ma:readOnly="false" ma:fieldId="{5cf76f15-5ced-4ddc-b409-7134ff3c332f}" ma:taxonomyMulti="true" ma:sspId="87da5a08-8e1f-4fc1-a282-d661ff800fd6"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1afa612-bd3e-45fc-88a8-7073d6328b3e" elementFormDefault="qualified">
    <xsd:import namespace="http://schemas.microsoft.com/office/2006/documentManagement/types"/>
    <xsd:import namespace="http://schemas.microsoft.com/office/infopath/2007/PartnerControls"/>
    <xsd:element name="SharedWithUsers" ma:index="12" nillable="true" ma:displayName="Compartilhado com"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Detalhes de Compartilhado Com" ma:internalName="SharedWithDetails" ma:readOnly="true">
      <xsd:simpleType>
        <xsd:restriction base="dms:Note">
          <xsd:maxLength value="255"/>
        </xsd:restriction>
      </xsd:simpleType>
    </xsd:element>
    <xsd:element name="TaxCatchAll" ma:index="16" nillable="true" ma:displayName="Taxonomy Catch All Column" ma:hidden="true" ma:list="{9b95a134-d40f-4894-9013-4e30b98b8707}" ma:internalName="TaxCatchAll" ma:showField="CatchAllData" ma:web="11afa612-bd3e-45fc-88a8-7073d6328b3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ú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3592BCC-8175-4C93-AA91-359EC5A3A683}">
  <ds:schemaRefs>
    <ds:schemaRef ds:uri="http://purl.org/dc/terms/"/>
    <ds:schemaRef ds:uri="http://schemas.microsoft.com/office/2006/metadata/properties"/>
    <ds:schemaRef ds:uri="http://www.w3.org/XML/1998/namespace"/>
    <ds:schemaRef ds:uri="http://purl.org/dc/dcmitype/"/>
    <ds:schemaRef ds:uri="http://schemas.microsoft.com/office/2006/documentManagement/types"/>
    <ds:schemaRef ds:uri="d097d074-0900-4653-98eb-c9a22f0ee49f"/>
    <ds:schemaRef ds:uri="fde5f268-e964-4c13-97f0-d48ac3088c9c"/>
    <ds:schemaRef ds:uri="http://schemas.openxmlformats.org/package/2006/metadata/core-properties"/>
    <ds:schemaRef ds:uri="http://schemas.microsoft.com/office/infopath/2007/PartnerControls"/>
    <ds:schemaRef ds:uri="http://purl.org/dc/elements/1.1/"/>
    <ds:schemaRef ds:uri="11afa612-bd3e-45fc-88a8-7073d6328b3e"/>
    <ds:schemaRef ds:uri="f72e885e-944a-44b1-8e3c-99863fda79fa"/>
  </ds:schemaRefs>
</ds:datastoreItem>
</file>

<file path=customXml/itemProps2.xml><?xml version="1.0" encoding="utf-8"?>
<ds:datastoreItem xmlns:ds="http://schemas.openxmlformats.org/officeDocument/2006/customXml" ds:itemID="{5C677FD3-9008-495A-9224-85A32C13903F}">
  <ds:schemaRefs>
    <ds:schemaRef ds:uri="http://schemas.microsoft.com/sharepoint/v3/contenttype/forms"/>
  </ds:schemaRefs>
</ds:datastoreItem>
</file>

<file path=customXml/itemProps3.xml><?xml version="1.0" encoding="utf-8"?>
<ds:datastoreItem xmlns:ds="http://schemas.openxmlformats.org/officeDocument/2006/customXml" ds:itemID="{F3DFF18D-BB12-4E61-B0D0-24F14EFE5D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72e885e-944a-44b1-8e3c-99863fda79fa"/>
    <ds:schemaRef ds:uri="11afa612-bd3e-45fc-88a8-7073d6328b3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11298</Words>
  <Application>Microsoft Office PowerPoint</Application>
  <PresentationFormat>Personalizar</PresentationFormat>
  <Paragraphs>1551</Paragraphs>
  <Slides>89</Slides>
  <Notes>20</Notes>
  <HiddenSlides>0</HiddenSlides>
  <MMClips>0</MMClips>
  <ScaleCrop>false</ScaleCrop>
  <HeadingPairs>
    <vt:vector size="4" baseType="variant">
      <vt:variant>
        <vt:lpstr>Tema</vt:lpstr>
      </vt:variant>
      <vt:variant>
        <vt:i4>8</vt:i4>
      </vt:variant>
      <vt:variant>
        <vt:lpstr>Títulos de slides</vt:lpstr>
      </vt:variant>
      <vt:variant>
        <vt:i4>89</vt:i4>
      </vt:variant>
    </vt:vector>
  </HeadingPairs>
  <TitlesOfParts>
    <vt:vector size="97" baseType="lpstr">
      <vt:lpstr>1_Simple Dark</vt:lpstr>
      <vt:lpstr>Simple Dark</vt:lpstr>
      <vt:lpstr>Simple Light</vt:lpstr>
      <vt:lpstr>Office Theme</vt:lpstr>
      <vt:lpstr>1_Simple Light</vt:lpstr>
      <vt:lpstr>3_Simple Light</vt:lpstr>
      <vt:lpstr>Tema do Office</vt:lpstr>
      <vt:lpstr>1_Simple Dark</vt:lpstr>
      <vt:lpstr>Apresentação do PowerPoint</vt:lpstr>
      <vt:lpstr>Apresentação do PowerPoint</vt:lpstr>
      <vt:lpstr>Apresentação do PowerPoint</vt:lpstr>
      <vt:lpstr>INDUSTRIALIZATION OF SOFTWARE DEVELOPMENT</vt:lpstr>
      <vt:lpstr>Apresentação do PowerPoint</vt:lpstr>
      <vt:lpstr>Apresentação do PowerPoint</vt:lpstr>
      <vt:lpstr>Apresentação do PowerPoint</vt:lpstr>
      <vt:lpstr>The organizations have invested a lot in Agility, mainly resulting from Digital Transformation initiatives, but they have not achieved the expected results. </vt:lpstr>
      <vt:lpstr>Apresentação do PowerPoint</vt:lpstr>
      <vt:lpstr>Apresentação do PowerPoint</vt:lpstr>
      <vt:lpstr>AGILE TRANSFORMATION JOURNEY</vt:lpstr>
      <vt:lpstr>Apresentação do PowerPoint</vt:lpstr>
      <vt:lpstr>Apresentação do PowerPoint</vt:lpstr>
      <vt:lpstr>Apresentação do PowerPoint</vt:lpstr>
      <vt:lpstr>Apresentação do PowerPoint</vt:lpstr>
      <vt:lpstr>REASON The AI you can Trust</vt:lpstr>
      <vt:lpstr>Apresentação do PowerPoint</vt:lpstr>
      <vt:lpstr>GARTNER hype cycle artificial intelligence</vt:lpstr>
      <vt:lpstr>Apresentação do PowerPoint</vt:lpstr>
      <vt:lpstr>Apresentação do PowerPoint</vt:lpstr>
      <vt:lpstr>AI adoption journey in decision making From prediction to reasoning: the need for trust</vt:lpstr>
      <vt:lpstr>Applying Reason from prediction to reasoning: How it works</vt:lpstr>
      <vt:lpstr>Apresentação do PowerPoint</vt:lpstr>
      <vt:lpstr>Deliver trusted outcomes with sources and logical reasoning</vt:lpstr>
      <vt:lpstr>Apresentação do PowerPoint</vt:lpstr>
      <vt:lpstr>How does it work</vt:lpstr>
      <vt:lpstr>Do you still see any Reason to not choose Qintess as your Partner? Take the right Decision!</vt:lpstr>
      <vt:lpstr>ADVISORY SERVICES  BDA – Business Driven Architecture</vt:lpstr>
      <vt:lpstr>Business Driven Architecture  PORTFOLIO</vt:lpstr>
      <vt:lpstr>Apresentação do PowerPoint</vt:lpstr>
      <vt:lpstr>Vision, Mission and Value</vt:lpstr>
      <vt:lpstr>Qintess will help you choose the best path to success…​</vt:lpstr>
      <vt:lpstr>…supported by an effective Architecture function</vt:lpstr>
      <vt:lpstr>Managing the Architecture is an ongoing Process  based on a dialogue with the business</vt:lpstr>
      <vt:lpstr>ADVISORY SERVICES  Digital Office &amp;  NextGen PMO</vt:lpstr>
      <vt:lpstr>Digital Office Major challenges and objective</vt:lpstr>
      <vt:lpstr>Digital Office guiding principles A business-driven technology team to support the transformation journey​ ​ </vt:lpstr>
      <vt:lpstr>A layered approach to cover all workstreams​</vt:lpstr>
      <vt:lpstr>Digital Office structure Acting as an orchestrator between areas/teams, processes and solutions​ ​ </vt:lpstr>
      <vt:lpstr>NextGen PMO A new approach of delivering greater results</vt:lpstr>
      <vt:lpstr>Apresentação do PowerPoint</vt:lpstr>
      <vt:lpstr>Apresentação do PowerPoint</vt:lpstr>
      <vt:lpstr>Apresentação do PowerPoint</vt:lpstr>
      <vt:lpstr>Deliverables Main challenges in delivering expected results are on the human-side  </vt:lpstr>
      <vt:lpstr>ADVISORY SERVICES  BDD – Business Driven Design</vt:lpstr>
      <vt:lpstr>Business Driven Design Using design thinking principles and a human-centric approach to create new strategies and efficient business models   </vt:lpstr>
      <vt:lpstr>Why invest in Business Driven Design? Shaping a compelling brand and a solid business model, keeping your company human-focused and future-ready. Beyond Customer Impact, business design also drives internal efficiency and adaptability. It empowers teams to work collaboratively, break silos, and iterate quickly in response to change</vt:lpstr>
      <vt:lpstr>How does Business Driven Design works? 4 dimensions where change must take place for organizations to develop an ecosystem that allows them to react quickly to human needs, delivering high-quality digital experiences at scale.</vt:lpstr>
      <vt:lpstr>DATA SECURE SENTINEL</vt:lpstr>
      <vt:lpstr>Apresentação do PowerPoint</vt:lpstr>
      <vt:lpstr>Apresentação do PowerPoint</vt:lpstr>
      <vt:lpstr>Recurring business impacting challenges</vt:lpstr>
      <vt:lpstr>Date secure sentinel value offer Traditional Data Loss Prevention solutions are complex, hard to deploy, and require extensive data categorization and policy management</vt:lpstr>
      <vt:lpstr>Apresentação do PowerPoint</vt:lpstr>
      <vt:lpstr>Apresentação do PowerPoint</vt:lpstr>
      <vt:lpstr>Apresentação do PowerPoint</vt:lpstr>
      <vt:lpstr>Data Sovereignty Know Your Customer validation and customer data transparency </vt:lpstr>
      <vt:lpstr>QONFORM</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INNOVATION &amp; DIGITAL ENABLEMENT</vt:lpstr>
      <vt:lpstr>Innovation programs To assess the maturity level of Innovation and its contribution to the company, we apply our proprietary AI model, enabling us to propose tools and various approaches to achieve your objectives with maximum impact to the business.  </vt:lpstr>
      <vt:lpstr>IQ Framework adopts</vt:lpstr>
      <vt:lpstr>Third Edition</vt:lpstr>
      <vt:lpstr>QINTESS SYSTEM MODERNIZATION </vt:lpstr>
      <vt:lpstr>Apresentação do PowerPoint</vt:lpstr>
      <vt:lpstr>Apresentação do PowerPoint</vt:lpstr>
      <vt:lpstr>Apresentação do PowerPoint</vt:lpstr>
      <vt:lpstr>Apresentação do PowerPoint</vt:lpstr>
      <vt:lpstr>Apresentação do PowerPoint</vt:lpstr>
      <vt:lpstr>Apresentação do PowerPoint</vt:lpstr>
      <vt:lpstr>Appendix</vt:lpstr>
      <vt:lpstr>Business Driven Architecture IT AS A BUSINESS PARTNER – DELIVERABLES EXAMPLES</vt:lpstr>
      <vt:lpstr>Business Driven Architecture IMPROVE IT EFFECTIVENESS – DELIVERABLES EXAMPLES</vt:lpstr>
      <vt:lpstr>Business Driven Architecture TECHNOLOGY AS A COMPETITIVE ADVANTAGE – DELIVERABLES EXAMPLES</vt:lpstr>
      <vt:lpstr>Business Driven Architecture ARCHITECTURE ADVISORY SERVICES – DELIVERABLES EXAMPLES</vt:lpstr>
      <vt:lpstr>Business Driven Architecture PROTECT ORGANIZATION ASSETS – DELIVERABLES EXAMPLES</vt:lpstr>
      <vt:lpstr>Apresentação do PowerPoint</vt:lpstr>
      <vt:lpstr>Apresentação do PowerPoint</vt:lpstr>
      <vt:lpstr>Data Access Control - Differentiation </vt:lpstr>
      <vt:lpstr>Apresentação do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DA Advisory Services</dc:title>
  <dc:creator>Nuno Oliveira</dc:creator>
  <cp:lastModifiedBy>Nuno Manuel Duarte Oliveira</cp:lastModifiedBy>
  <cp:revision>422</cp:revision>
  <dcterms:modified xsi:type="dcterms:W3CDTF">2025-05-09T14:07: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5C969B5AB55EF4990551EDE8C8C05B2</vt:lpwstr>
  </property>
  <property fmtid="{D5CDD505-2E9C-101B-9397-08002B2CF9AE}" pid="3" name="NXPowerLiteLastOptimized">
    <vt:lpwstr>10967110</vt:lpwstr>
  </property>
  <property fmtid="{D5CDD505-2E9C-101B-9397-08002B2CF9AE}" pid="4" name="NXPowerLiteSettings">
    <vt:lpwstr>C7000400038000</vt:lpwstr>
  </property>
  <property fmtid="{D5CDD505-2E9C-101B-9397-08002B2CF9AE}" pid="5" name="NXPowerLiteVersion">
    <vt:lpwstr>S9.0.1</vt:lpwstr>
  </property>
  <property fmtid="{D5CDD505-2E9C-101B-9397-08002B2CF9AE}" pid="6" name="_dlc_DocIdItemGuid">
    <vt:lpwstr>6c331e54-612d-46a3-91b0-17700efbd8cb</vt:lpwstr>
  </property>
  <property fmtid="{D5CDD505-2E9C-101B-9397-08002B2CF9AE}" pid="7" name="MediaServiceImageTags">
    <vt:lpwstr/>
  </property>
</Properties>
</file>